
<file path=[Content_Types].xml><?xml version="1.0" encoding="utf-8"?>
<Types xmlns="http://schemas.openxmlformats.org/package/2006/content-types">
  <Override PartName="/ppt/slideMasters/slideMaster3.xml" ContentType="application/vnd.openxmlformats-officedocument.presentationml.slideMaster+xml"/>
  <Override PartName="/ppt/slides/slide47.xml" ContentType="application/vnd.openxmlformats-officedocument.presentationml.slide+xml"/>
  <Override PartName="/ppt/slides/slide58.xml" ContentType="application/vnd.openxmlformats-officedocument.presentationml.slide+xml"/>
  <Override PartName="/ppt/tags/tag8.xml" ContentType="application/vnd.openxmlformats-officedocument.presentationml.tags+xml"/>
  <Override PartName="/ppt/slideLayouts/slideLayout57.xml" ContentType="application/vnd.openxmlformats-officedocument.presentationml.slideLayout+xml"/>
  <Override PartName="/ppt/theme/theme5.xml" ContentType="application/vnd.openxmlformats-officedocument.theme+xml"/>
  <Override PartName="/ppt/notesSlides/notesSlide2.xml" ContentType="application/vnd.openxmlformats-officedocument.presentationml.notesSlide+xml"/>
  <Override PartName="/ppt/slides/slide36.xml" ContentType="application/vnd.openxmlformats-officedocument.presentationml.slide+xml"/>
  <Override PartName="/ppt/slideLayouts/slideLayout46.xml" ContentType="application/vnd.openxmlformats-officedocument.presentationml.slideLayout+xml"/>
  <Override PartName="/ppt/notesSlides/notesSlide38.xml" ContentType="application/vnd.openxmlformats-officedocument.presentationml.notesSlide+xml"/>
  <Override PartName="/ppt/slides/slide25.xml" ContentType="application/vnd.openxmlformats-officedocument.presentationml.slide+xml"/>
  <Override PartName="/ppt/slides/slide72.xml" ContentType="application/vnd.openxmlformats-officedocument.presentationml.slide+xml"/>
  <Override PartName="/ppt/slideLayouts/slideLayout2.xml" ContentType="application/vnd.openxmlformats-officedocument.presentationml.slideLayout+xml"/>
  <Override PartName="/ppt/slideLayouts/slideLayout35.xml" ContentType="application/vnd.openxmlformats-officedocument.presentationml.slideLayout+xml"/>
  <Override PartName="/ppt/tags/tag49.xml" ContentType="application/vnd.openxmlformats-officedocument.presentationml.tags+xml"/>
  <Override PartName="/ppt/slideLayouts/slideLayout82.xml" ContentType="application/vnd.openxmlformats-officedocument.presentationml.slideLayout+xml"/>
  <Override PartName="/ppt/notesSlides/notesSlide27.xml" ContentType="application/vnd.openxmlformats-officedocument.presentationml.notesSlide+xml"/>
  <Default Extension="xml" ContentType="application/xml"/>
  <Override PartName="/ppt/slides/slide14.xml" ContentType="application/vnd.openxmlformats-officedocument.presentationml.slide+xml"/>
  <Override PartName="/ppt/slides/slide50.xml" ContentType="application/vnd.openxmlformats-officedocument.presentationml.slide+xml"/>
  <Override PartName="/ppt/slides/slide61.xml" ContentType="application/vnd.openxmlformats-officedocument.presentationml.slide+xml"/>
  <Override PartName="/ppt/notesMasters/notesMaster1.xml" ContentType="application/vnd.openxmlformats-officedocument.presentationml.notesMaster+xml"/>
  <Override PartName="/ppt/slideLayouts/slideLayout13.xml" ContentType="application/vnd.openxmlformats-officedocument.presentationml.slideLayout+xml"/>
  <Override PartName="/ppt/slideLayouts/slideLayout24.xml" ContentType="application/vnd.openxmlformats-officedocument.presentationml.slideLayout+xml"/>
  <Override PartName="/ppt/slideLayouts/slideLayout60.xml" ContentType="application/vnd.openxmlformats-officedocument.presentationml.slideLayout+xml"/>
  <Override PartName="/ppt/tags/tag38.xml" ContentType="application/vnd.openxmlformats-officedocument.presentationml.tags+xml"/>
  <Override PartName="/ppt/slideLayouts/slideLayout71.xml" ContentType="application/vnd.openxmlformats-officedocument.presentationml.slideLayout+xml"/>
  <Override PartName="/ppt/tags/tag85.xml" ContentType="application/vnd.openxmlformats-officedocument.presentationml.tags+xml"/>
  <Override PartName="/ppt/theme/themeOverride1.xml" ContentType="application/vnd.openxmlformats-officedocument.themeOverride+xml"/>
  <Override PartName="/ppt/notesSlides/notesSlide16.xml" ContentType="application/vnd.openxmlformats-officedocument.presentationml.notesSlide+xml"/>
  <Override PartName="/ppt/tableStyles.xml" ContentType="application/vnd.openxmlformats-officedocument.presentationml.tableStyles+xml"/>
  <Override PartName="/ppt/tags/tag16.xml" ContentType="application/vnd.openxmlformats-officedocument.presentationml.tags+xml"/>
  <Override PartName="/ppt/tags/tag27.xml" ContentType="application/vnd.openxmlformats-officedocument.presentationml.tags+xml"/>
  <Override PartName="/ppt/tags/tag63.xml" ContentType="application/vnd.openxmlformats-officedocument.presentationml.tags+xml"/>
  <Override PartName="/ppt/tags/tag74.xml" ContentType="application/vnd.openxmlformats-officedocument.presentationml.tags+xml"/>
  <Override PartName="/ppt/notesSlides/notesSlide41.xml" ContentType="application/vnd.openxmlformats-officedocument.presentationml.notesSlide+xml"/>
  <Override PartName="/ppt/tags/tag52.xml" ContentType="application/vnd.openxmlformats-officedocument.presentationml.tags+xml"/>
  <Override PartName="/ppt/notesSlides/notesSlide30.xml" ContentType="application/vnd.openxmlformats-officedocument.presentationml.notesSlide+xml"/>
  <Override PartName="/ppt/tags/tag41.xml" ContentType="application/vnd.openxmlformats-officedocument.presentationml.tags+xml"/>
  <Default Extension="xlsx" ContentType="application/vnd.openxmlformats-officedocument.spreadsheetml.sheet"/>
  <Override PartName="/ppt/notesSlides/notesSlide7.xml" ContentType="application/vnd.openxmlformats-officedocument.presentationml.notesSlide+xml"/>
  <Override PartName="/ppt/diagrams/layout1.xml" ContentType="application/vnd.openxmlformats-officedocument.drawingml.diagramLayout+xml"/>
  <Override PartName="/ppt/charts/chart3.xml" ContentType="application/vnd.openxmlformats-officedocument.drawingml.chart+xml"/>
  <Override PartName="/ppt/diagrams/data2.xml" ContentType="application/vnd.openxmlformats-officedocument.drawingml.diagramData+xml"/>
  <Override PartName="/ppt/slides/slide77.xml" ContentType="application/vnd.openxmlformats-officedocument.presentationml.slide+xml"/>
  <Override PartName="/ppt/tags/tag30.xml" ContentType="application/vnd.openxmlformats-officedocument.presentationml.tags+xml"/>
  <Override PartName="/ppt/slides/slide5.xml" ContentType="application/vnd.openxmlformats-officedocument.presentationml.slide+xml"/>
  <Override PartName="/ppt/slides/slide19.xml" ContentType="application/vnd.openxmlformats-officedocument.presentationml.slide+xml"/>
  <Override PartName="/ppt/slides/slide66.xml" ContentType="application/vnd.openxmlformats-officedocument.presentationml.slide+xml"/>
  <Override PartName="/ppt/slideLayouts/slideLayout7.xml" ContentType="application/vnd.openxmlformats-officedocument.presentationml.slideLayout+xml"/>
  <Override PartName="/ppt/slideLayouts/slideLayout29.xml" ContentType="application/vnd.openxmlformats-officedocument.presentationml.slideLayout+xml"/>
  <Override PartName="/ppt/slideLayouts/slideLayout76.xml" ContentType="application/vnd.openxmlformats-officedocument.presentationml.slideLayout+xml"/>
  <Default Extension="png" ContentType="image/png"/>
  <Override PartName="/ppt/drawings/drawing3.xml" ContentType="application/vnd.openxmlformats-officedocument.drawingml.chartshapes+xml"/>
  <Override PartName="/ppt/slides/slide55.xml" ContentType="application/vnd.openxmlformats-officedocument.presentationml.slide+xml"/>
  <Override PartName="/ppt/slideLayouts/slideLayout18.xml" ContentType="application/vnd.openxmlformats-officedocument.presentationml.slideLayout+xml"/>
  <Override PartName="/ppt/theme/theme2.xml" ContentType="application/vnd.openxmlformats-officedocument.theme+xml"/>
  <Override PartName="/ppt/tags/tag5.xml" ContentType="application/vnd.openxmlformats-officedocument.presentationml.tags+xml"/>
  <Override PartName="/ppt/slideLayouts/slideLayout65.xml" ContentType="application/vnd.openxmlformats-officedocument.presentationml.slideLayout+xml"/>
  <Override PartName="/ppt/tags/tag79.xml" ContentType="application/vnd.openxmlformats-officedocument.presentationml.tags+xml"/>
  <Override PartName="/ppt/slides/slide33.xml" ContentType="application/vnd.openxmlformats-officedocument.presentationml.slide+xml"/>
  <Override PartName="/ppt/slides/slide44.xml" ContentType="application/vnd.openxmlformats-officedocument.presentationml.slide+xml"/>
  <Override PartName="/ppt/slides/slide80.xml" ContentType="application/vnd.openxmlformats-officedocument.presentationml.slide+xml"/>
  <Override PartName="/ppt/slideLayouts/slideLayout43.xml" ContentType="application/vnd.openxmlformats-officedocument.presentationml.slideLayout+xml"/>
  <Default Extension="emf" ContentType="image/x-emf"/>
  <Override PartName="/ppt/slideLayouts/slideLayout54.xml" ContentType="application/vnd.openxmlformats-officedocument.presentationml.slideLayout+xml"/>
  <Override PartName="/ppt/tags/tag68.xml" ContentType="application/vnd.openxmlformats-officedocument.presentationml.tags+xml"/>
  <Override PartName="/ppt/presentation.xml" ContentType="application/vnd.openxmlformats-officedocument.presentationml.presentation.main+xml"/>
  <Override PartName="/ppt/slides/slide22.xml" ContentType="application/vnd.openxmlformats-officedocument.presentationml.slide+xml"/>
  <Override PartName="/ppt/slideLayouts/slideLayout32.xml" ContentType="application/vnd.openxmlformats-officedocument.presentationml.slideLayout+xml"/>
  <Override PartName="/ppt/tags/tag57.xml" ContentType="application/vnd.openxmlformats-officedocument.presentationml.tags+xml"/>
  <Override PartName="/ppt/notesSlides/notesSlide24.xml" ContentType="application/vnd.openxmlformats-officedocument.presentationml.notesSlide+xml"/>
  <Override PartName="/ppt/notesSlides/notesSlide35.xml" ContentType="application/vnd.openxmlformats-officedocument.presentationml.notesSlide+xml"/>
  <Override PartName="/docProps/app.xml" ContentType="application/vnd.openxmlformats-officedocument.extended-properties+xml"/>
  <Override PartName="/ppt/slides/slide11.xml" ContentType="application/vnd.openxmlformats-officedocument.presentationml.slide+xml"/>
  <Override PartName="/ppt/slideLayouts/slideLayout21.xml" ContentType="application/vnd.openxmlformats-officedocument.presentationml.slideLayout+xml"/>
  <Override PartName="/ppt/tags/tag35.xml" ContentType="application/vnd.openxmlformats-officedocument.presentationml.tags+xml"/>
  <Override PartName="/ppt/tags/tag46.xml" ContentType="application/vnd.openxmlformats-officedocument.presentationml.tags+xml"/>
  <Override PartName="/ppt/tags/tag82.xml" ContentType="application/vnd.openxmlformats-officedocument.presentationml.tags+xml"/>
  <Override PartName="/ppt/notesSlides/notesSlide13.xml" ContentType="application/vnd.openxmlformats-officedocument.presentationml.notesSlide+xml"/>
  <Override PartName="/ppt/slideLayouts/slideLayout10.xml" ContentType="application/vnd.openxmlformats-officedocument.presentationml.slideLayout+xml"/>
  <Override PartName="/ppt/tags/tag24.xml" ContentType="application/vnd.openxmlformats-officedocument.presentationml.tags+xml"/>
  <Override PartName="/ppt/tags/tag71.xml" ContentType="application/vnd.openxmlformats-officedocument.presentationml.tags+xml"/>
  <Override PartName="/ppt/tags/tag13.xml" ContentType="application/vnd.openxmlformats-officedocument.presentationml.tags+xml"/>
  <Override PartName="/ppt/tags/tag60.xml" ContentType="application/vnd.openxmlformats-officedocument.presentationml.tags+xml"/>
  <Override PartName="/ppt/slideMasters/slideMaster5.xml" ContentType="application/vnd.openxmlformats-officedocument.presentationml.slideMaster+xml"/>
  <Override PartName="/ppt/slides/slide49.xml" ContentType="application/vnd.openxmlformats-officedocument.presentationml.slide+xml"/>
  <Override PartName="/ppt/slideLayouts/slideLayout59.xml" ContentType="application/vnd.openxmlformats-officedocument.presentationml.slideLayout+xml"/>
  <Override PartName="/ppt/theme/theme7.xml" ContentType="application/vnd.openxmlformats-officedocument.theme+xml"/>
  <Override PartName="/ppt/notesSlides/notesSlide4.xml" ContentType="application/vnd.openxmlformats-officedocument.presentationml.notesSlide+xml"/>
  <Override PartName="/ppt/slides/slide38.xml" ContentType="application/vnd.openxmlformats-officedocument.presentationml.slide+xml"/>
  <Override PartName="/ppt/slideLayouts/slideLayout48.xml" ContentType="application/vnd.openxmlformats-officedocument.presentationml.slideLayout+xml"/>
  <Override PartName="/ppt/diagrams/colors1.xml" ContentType="application/vnd.openxmlformats-officedocument.drawingml.diagramColors+xml"/>
  <Override PartName="/ppt/slides/slide27.xml" ContentType="application/vnd.openxmlformats-officedocument.presentationml.slide+xml"/>
  <Override PartName="/ppt/slides/slide74.xml" ContentType="application/vnd.openxmlformats-officedocument.presentationml.slide+xml"/>
  <Override PartName="/ppt/slideLayouts/slideLayout4.xml" ContentType="application/vnd.openxmlformats-officedocument.presentationml.slideLayout+xml"/>
  <Override PartName="/ppt/slideLayouts/slideLayout37.xml" ContentType="application/vnd.openxmlformats-officedocument.presentationml.slideLayout+xml"/>
  <Override PartName="/ppt/notesSlides/notesSlide29.xml" ContentType="application/vnd.openxmlformats-officedocument.presentationml.notesSlide+xml"/>
  <Override PartName="/ppt/slides/slide2.xml" ContentType="application/vnd.openxmlformats-officedocument.presentationml.slide+xml"/>
  <Override PartName="/ppt/slides/slide16.xml" ContentType="application/vnd.openxmlformats-officedocument.presentationml.slide+xml"/>
  <Override PartName="/ppt/slides/slide52.xml" ContentType="application/vnd.openxmlformats-officedocument.presentationml.slide+xml"/>
  <Override PartName="/ppt/slides/slide63.xml" ContentType="application/vnd.openxmlformats-officedocument.presentationml.slide+xml"/>
  <Override PartName="/ppt/slideLayouts/slideLayout15.xml" ContentType="application/vnd.openxmlformats-officedocument.presentationml.slideLayout+xml"/>
  <Override PartName="/ppt/slideLayouts/slideLayout26.xml" ContentType="application/vnd.openxmlformats-officedocument.presentationml.slideLayout+xml"/>
  <Override PartName="/ppt/tags/tag2.xml" ContentType="application/vnd.openxmlformats-officedocument.presentationml.tags+xml"/>
  <Override PartName="/ppt/slideLayouts/slideLayout62.xml" ContentType="application/vnd.openxmlformats-officedocument.presentationml.slideLayout+xml"/>
  <Override PartName="/ppt/tags/tag87.xml" ContentType="application/vnd.openxmlformats-officedocument.presentationml.tags+xml"/>
  <Override PartName="/ppt/slideLayouts/slideLayout73.xml" ContentType="application/vnd.openxmlformats-officedocument.presentationml.slideLayout+xml"/>
  <Override PartName="/ppt/notesSlides/notesSlide18.xml" ContentType="application/vnd.openxmlformats-officedocument.presentationml.notesSlide+xml"/>
  <Override PartName="/ppt/slides/slide41.xml" ContentType="application/vnd.openxmlformats-officedocument.presentationml.slide+xml"/>
  <Override PartName="/ppt/slideLayouts/slideLayout51.xml" ContentType="application/vnd.openxmlformats-officedocument.presentationml.slideLayout+xml"/>
  <Override PartName="/ppt/tags/tag29.xml" ContentType="application/vnd.openxmlformats-officedocument.presentationml.tags+xml"/>
  <Override PartName="/ppt/tags/tag76.xml" ContentType="application/vnd.openxmlformats-officedocument.presentationml.tags+xml"/>
  <Override PartName="/ppt/slides/slide30.xml" ContentType="application/vnd.openxmlformats-officedocument.presentationml.slide+xml"/>
  <Override PartName="/ppt/slideLayouts/slideLayout40.xml" ContentType="application/vnd.openxmlformats-officedocument.presentationml.slideLayout+xml"/>
  <Override PartName="/ppt/tags/tag18.xml" ContentType="application/vnd.openxmlformats-officedocument.presentationml.tags+xml"/>
  <Override PartName="/ppt/tags/tag54.xml" ContentType="application/vnd.openxmlformats-officedocument.presentationml.tags+xml"/>
  <Override PartName="/ppt/tags/tag65.xml" ContentType="application/vnd.openxmlformats-officedocument.presentationml.tags+xml"/>
  <Override PartName="/ppt/notesSlides/notesSlide32.xml" ContentType="application/vnd.openxmlformats-officedocument.presentationml.notesSlide+xml"/>
  <Override PartName="/ppt/tags/tag43.xml" ContentType="application/vnd.openxmlformats-officedocument.presentationml.tags+xml"/>
  <Override PartName="/ppt/notesSlides/notesSlide9.xml" ContentType="application/vnd.openxmlformats-officedocument.presentationml.notesSlide+xml"/>
  <Override PartName="/ppt/tags/tag90.xml" ContentType="application/vnd.openxmlformats-officedocument.presentationml.tags+xml"/>
  <Override PartName="/ppt/notesSlides/notesSlide21.xml" ContentType="application/vnd.openxmlformats-officedocument.presentationml.notesSlide+xml"/>
  <Override PartName="/ppt/slides/slide79.xml" ContentType="application/vnd.openxmlformats-officedocument.presentationml.slide+xml"/>
  <Override PartName="/ppt/tags/tag32.xml" ContentType="application/vnd.openxmlformats-officedocument.presentationml.tags+xml"/>
  <Override PartName="/ppt/notesSlides/notesSlide10.xml" ContentType="application/vnd.openxmlformats-officedocument.presentationml.notesSlide+xml"/>
  <Override PartName="/ppt/slides/slide7.xml" ContentType="application/vnd.openxmlformats-officedocument.presentationml.slide+xml"/>
  <Override PartName="/ppt/slides/slide68.xml" ContentType="application/vnd.openxmlformats-officedocument.presentationml.slide+xml"/>
  <Override PartName="/ppt/slideLayouts/slideLayout9.xml" ContentType="application/vnd.openxmlformats-officedocument.presentationml.slideLayout+xml"/>
  <Override PartName="/ppt/tags/tag10.xml" ContentType="application/vnd.openxmlformats-officedocument.presentationml.tags+xml"/>
  <Override PartName="/ppt/tags/tag21.xml" ContentType="application/vnd.openxmlformats-officedocument.presentationml.tags+xml"/>
  <Override PartName="/ppt/slideLayouts/slideLayout78.xml" ContentType="application/vnd.openxmlformats-officedocument.presentationml.slideLayout+xml"/>
  <Override PartName="/ppt/slideMasters/slideMaster2.xml" ContentType="application/vnd.openxmlformats-officedocument.presentationml.slideMaster+xml"/>
  <Override PartName="/ppt/slides/slide57.xml" ContentType="application/vnd.openxmlformats-officedocument.presentationml.slide+xml"/>
  <Override PartName="/ppt/tags/tag7.xml" ContentType="application/vnd.openxmlformats-officedocument.presentationml.tags+xml"/>
  <Override PartName="/ppt/theme/theme4.xml" ContentType="application/vnd.openxmlformats-officedocument.theme+xml"/>
  <Override PartName="/ppt/slideLayouts/slideLayout67.xml" ContentType="application/vnd.openxmlformats-officedocument.presentationml.slideLayout+xml"/>
  <Override PartName="/ppt/notesSlides/notesSlide1.xml" ContentType="application/vnd.openxmlformats-officedocument.presentationml.notesSlide+xml"/>
  <Override PartName="/ppt/slides/slide46.xml" ContentType="application/vnd.openxmlformats-officedocument.presentationml.slide+xml"/>
  <Override PartName="/ppt/slideLayouts/slideLayout45.xml" ContentType="application/vnd.openxmlformats-officedocument.presentationml.slideLayout+xml"/>
  <Override PartName="/ppt/slideLayouts/slideLayout56.xml" ContentType="application/vnd.openxmlformats-officedocument.presentationml.slideLayout+xml"/>
  <Override PartName="/ppt/slides/slide24.xml" ContentType="application/vnd.openxmlformats-officedocument.presentationml.slide+xml"/>
  <Override PartName="/ppt/slides/slide35.xml" ContentType="application/vnd.openxmlformats-officedocument.presentationml.slide+xml"/>
  <Override PartName="/ppt/slides/slide53.xml" ContentType="application/vnd.openxmlformats-officedocument.presentationml.slide+xml"/>
  <Override PartName="/ppt/slides/slide71.xml" ContentType="application/vnd.openxmlformats-officedocument.presentationml.slide+xml"/>
  <Override PartName="/ppt/slideLayouts/slideLayout16.xml" ContentType="application/vnd.openxmlformats-officedocument.presentationml.slideLayout+xml"/>
  <Override PartName="/ppt/slideLayouts/slideLayout34.xml" ContentType="application/vnd.openxmlformats-officedocument.presentationml.slideLayout+xml"/>
  <Override PartName="/ppt/tags/tag3.xml" ContentType="application/vnd.openxmlformats-officedocument.presentationml.tags+xml"/>
  <Override PartName="/ppt/slideLayouts/slideLayout63.xml" ContentType="application/vnd.openxmlformats-officedocument.presentationml.slideLayout+xml"/>
  <Override PartName="/ppt/tags/tag59.xml" ContentType="application/vnd.openxmlformats-officedocument.presentationml.tags+xml"/>
  <Override PartName="/ppt/tags/tag77.xml" ContentType="application/vnd.openxmlformats-officedocument.presentationml.tags+xml"/>
  <Override PartName="/ppt/slideLayouts/slideLayout81.xml" ContentType="application/vnd.openxmlformats-officedocument.presentationml.slideLayout+xml"/>
  <Override PartName="/ppt/tags/tag88.xml" ContentType="application/vnd.openxmlformats-officedocument.presentationml.tags+xml"/>
  <Default Extension="jpeg" ContentType="image/jpeg"/>
  <Override PartName="/ppt/diagrams/quickStyle1.xml" ContentType="application/vnd.openxmlformats-officedocument.drawingml.diagramStyle+xml"/>
  <Override PartName="/ppt/notesSlides/notesSlide37.xml" ContentType="application/vnd.openxmlformats-officedocument.presentationml.notesSlide+xml"/>
  <Override PartName="/ppt/slides/slide13.xml" ContentType="application/vnd.openxmlformats-officedocument.presentationml.slide+xml"/>
  <Override PartName="/ppt/slides/slide31.xml" ContentType="application/vnd.openxmlformats-officedocument.presentationml.slide+xml"/>
  <Override PartName="/ppt/slides/slide42.xml" ContentType="application/vnd.openxmlformats-officedocument.presentationml.slide+xml"/>
  <Override PartName="/ppt/slides/slide60.xml" ContentType="application/vnd.openxmlformats-officedocument.presentationml.slide+xml"/>
  <Override PartName="/ppt/slideLayouts/slideLayout1.xml" ContentType="application/vnd.openxmlformats-officedocument.presentationml.slideLayout+xml"/>
  <Override PartName="/ppt/slideLayouts/slideLayout23.xml" ContentType="application/vnd.openxmlformats-officedocument.presentationml.slideLayout+xml"/>
  <Override PartName="/ppt/slideLayouts/slideLayout41.xml" ContentType="application/vnd.openxmlformats-officedocument.presentationml.slideLayout+xml"/>
  <Override PartName="/ppt/slideLayouts/slideLayout52.xml" ContentType="application/vnd.openxmlformats-officedocument.presentationml.slideLayout+xml"/>
  <Override PartName="/ppt/tags/tag19.xml" ContentType="application/vnd.openxmlformats-officedocument.presentationml.tags+xml"/>
  <Override PartName="/ppt/tags/tag37.xml" ContentType="application/vnd.openxmlformats-officedocument.presentationml.tags+xml"/>
  <Override PartName="/ppt/tags/tag48.xml" ContentType="application/vnd.openxmlformats-officedocument.presentationml.tags+xml"/>
  <Override PartName="/ppt/slideLayouts/slideLayout70.xml" ContentType="application/vnd.openxmlformats-officedocument.presentationml.slideLayout+xml"/>
  <Override PartName="/ppt/tags/tag66.xml" ContentType="application/vnd.openxmlformats-officedocument.presentationml.tags+xml"/>
  <Override PartName="/ppt/tags/tag84.xml" ContentType="application/vnd.openxmlformats-officedocument.presentationml.tags+xml"/>
  <Override PartName="/ppt/notesSlides/notesSlide15.xml" ContentType="application/vnd.openxmlformats-officedocument.presentationml.notesSlide+xml"/>
  <Override PartName="/ppt/notesSlides/notesSlide26.xml" ContentType="application/vnd.openxmlformats-officedocument.presentationml.notesSlide+xml"/>
  <Override PartName="/ppt/slides/slide20.xml" ContentType="application/vnd.openxmlformats-officedocument.presentationml.slide+xml"/>
  <Override PartName="/ppt/slideLayouts/slideLayout12.xml" ContentType="application/vnd.openxmlformats-officedocument.presentationml.slideLayout+xml"/>
  <Override PartName="/ppt/slideLayouts/slideLayout30.xml" ContentType="application/vnd.openxmlformats-officedocument.presentationml.slideLayout+xml"/>
  <Override PartName="/ppt/tags/tag26.xml" ContentType="application/vnd.openxmlformats-officedocument.presentationml.tags+xml"/>
  <Override PartName="/ppt/tags/tag55.xml" ContentType="application/vnd.openxmlformats-officedocument.presentationml.tags+xml"/>
  <Override PartName="/ppt/tags/tag73.xml" ContentType="application/vnd.openxmlformats-officedocument.presentationml.tags+xml"/>
  <Override PartName="/ppt/notesSlides/notesSlide22.xml" ContentType="application/vnd.openxmlformats-officedocument.presentationml.notesSlide+xml"/>
  <Override PartName="/ppt/notesSlides/notesSlide33.xml" ContentType="application/vnd.openxmlformats-officedocument.presentationml.notesSlide+xml"/>
  <Override PartName="/ppt/tags/tag15.xml" ContentType="application/vnd.openxmlformats-officedocument.presentationml.tags+xml"/>
  <Override PartName="/ppt/tags/tag33.xml" ContentType="application/vnd.openxmlformats-officedocument.presentationml.tags+xml"/>
  <Override PartName="/ppt/tags/tag44.xml" ContentType="application/vnd.openxmlformats-officedocument.presentationml.tags+xml"/>
  <Override PartName="/ppt/tags/tag62.xml" ContentType="application/vnd.openxmlformats-officedocument.presentationml.tags+xml"/>
  <Override PartName="/ppt/tags/tag80.xml" ContentType="application/vnd.openxmlformats-officedocument.presentationml.tags+xml"/>
  <Override PartName="/ppt/tags/tag91.xml" ContentType="application/vnd.openxmlformats-officedocument.presentationml.tags+xml"/>
  <Override PartName="/ppt/notesSlides/notesSlide11.xml" ContentType="application/vnd.openxmlformats-officedocument.presentationml.notesSlide+xml"/>
  <Override PartName="/ppt/notesSlides/notesSlide40.xml" ContentType="application/vnd.openxmlformats-officedocument.presentationml.notesSlide+xml"/>
  <Override PartName="/ppt/tags/tag22.xml" ContentType="application/vnd.openxmlformats-officedocument.presentationml.tags+xml"/>
  <Override PartName="/ppt/tags/tag40.xml" ContentType="application/vnd.openxmlformats-officedocument.presentationml.tags+xml"/>
  <Override PartName="/ppt/tags/tag51.xml" ContentType="application/vnd.openxmlformats-officedocument.presentationml.tags+xml"/>
  <Override PartName="/ppt/notesSlides/notesSlide6.xml" ContentType="application/vnd.openxmlformats-officedocument.presentationml.notesSlide+xml"/>
  <Override PartName="/ppt/slides/slide8.xml" ContentType="application/vnd.openxmlformats-officedocument.presentationml.slide+xml"/>
  <Override PartName="/ppt/slides/slide69.xml" ContentType="application/vnd.openxmlformats-officedocument.presentationml.slide+xml"/>
  <Override PartName="/ppt/tags/tag11.xml" ContentType="application/vnd.openxmlformats-officedocument.presentationml.tags+xml"/>
  <Override PartName="/ppt/slideLayouts/slideLayout68.xml" ContentType="application/vnd.openxmlformats-officedocument.presentationml.slideLayout+xml"/>
  <Override PartName="/ppt/slideLayouts/slideLayout79.xml" ContentType="application/vnd.openxmlformats-officedocument.presentationml.slideLayout+xml"/>
  <Override PartName="/ppt/charts/chart2.xml" ContentType="application/vnd.openxmlformats-officedocument.drawingml.chart+xml"/>
  <Override PartName="/ppt/diagrams/data1.xml" ContentType="application/vnd.openxmlformats-officedocument.drawingml.diagramData+xml"/>
  <Override PartName="/ppt/slides/slide29.xml" ContentType="application/vnd.openxmlformats-officedocument.presentationml.slide+xml"/>
  <Override PartName="/ppt/slides/slide76.xml" ContentType="application/vnd.openxmlformats-officedocument.presentationml.slide+xml"/>
  <Override PartName="/ppt/slideLayouts/slideLayout39.xml" ContentType="application/vnd.openxmlformats-officedocument.presentationml.slideLayout+xml"/>
  <Override PartName="/ppt/diagrams/drawing2.xml" ContentType="application/vnd.ms-office.drawingml.diagramDrawing+xml"/>
  <Override PartName="/ppt/slides/slide4.xml" ContentType="application/vnd.openxmlformats-officedocument.presentationml.slide+xml"/>
  <Override PartName="/ppt/slides/slide18.xml" ContentType="application/vnd.openxmlformats-officedocument.presentationml.slide+xml"/>
  <Override PartName="/ppt/slides/slide54.xml" ContentType="application/vnd.openxmlformats-officedocument.presentationml.slide+xml"/>
  <Override PartName="/ppt/slides/slide65.xml" ContentType="application/vnd.openxmlformats-officedocument.presentationml.slide+xml"/>
  <Override PartName="/ppt/slideLayouts/slideLayout6.xml" ContentType="application/vnd.openxmlformats-officedocument.presentationml.slideLayout+xml"/>
  <Override PartName="/ppt/slideLayouts/slideLayout17.xml" ContentType="application/vnd.openxmlformats-officedocument.presentationml.slideLayout+xml"/>
  <Override PartName="/ppt/slideLayouts/slideLayout28.xml" ContentType="application/vnd.openxmlformats-officedocument.presentationml.slideLayout+xml"/>
  <Override PartName="/ppt/tags/tag4.xml" ContentType="application/vnd.openxmlformats-officedocument.presentationml.tags+xml"/>
  <Override PartName="/ppt/slideLayouts/slideLayout64.xml" ContentType="application/vnd.openxmlformats-officedocument.presentationml.slideLayout+xml"/>
  <Override PartName="/ppt/slideLayouts/slideLayout75.xml" ContentType="application/vnd.openxmlformats-officedocument.presentationml.slideLayout+xml"/>
  <Override PartName="/ppt/drawings/drawing2.xml" ContentType="application/vnd.openxmlformats-officedocument.drawingml.chartshapes+xml"/>
  <Override PartName="/ppt/tags/tag89.xml" ContentType="application/vnd.openxmlformats-officedocument.presentationml.tags+xml"/>
  <Override PartName="/ppt/diagrams/quickStyle2.xml" ContentType="application/vnd.openxmlformats-officedocument.drawingml.diagramStyle+xml"/>
  <Override PartName="/ppt/slides/slide43.xml" ContentType="application/vnd.openxmlformats-officedocument.presentationml.slide+xml"/>
  <Override PartName="/ppt/theme/theme1.xml" ContentType="application/vnd.openxmlformats-officedocument.theme+xml"/>
  <Override PartName="/ppt/slideLayouts/slideLayout53.xml" ContentType="application/vnd.openxmlformats-officedocument.presentationml.slideLayout+xml"/>
  <Override PartName="/ppt/tags/tag78.xml" ContentType="application/vnd.openxmlformats-officedocument.presentationml.tags+xml"/>
  <Override PartName="/ppt/slides/slide32.xml" ContentType="application/vnd.openxmlformats-officedocument.presentationml.slide+xml"/>
  <Override PartName="/ppt/slideLayouts/slideLayout42.xml" ContentType="application/vnd.openxmlformats-officedocument.presentationml.slideLayout+xml"/>
  <Override PartName="/ppt/tags/tag56.xml" ContentType="application/vnd.openxmlformats-officedocument.presentationml.tags+xml"/>
  <Override PartName="/ppt/tags/tag67.xml" ContentType="application/vnd.openxmlformats-officedocument.presentationml.tags+xml"/>
  <Override PartName="/ppt/notesSlides/notesSlide34.xml" ContentType="application/vnd.openxmlformats-officedocument.presentationml.notesSlide+xml"/>
  <Override PartName="/ppt/slides/slide10.xml" ContentType="application/vnd.openxmlformats-officedocument.presentationml.slide+xml"/>
  <Override PartName="/ppt/slides/slide21.xml" ContentType="application/vnd.openxmlformats-officedocument.presentationml.slide+xml"/>
  <Override PartName="/ppt/slideLayouts/slideLayout20.xml" ContentType="application/vnd.openxmlformats-officedocument.presentationml.slideLayout+xml"/>
  <Override PartName="/ppt/slideLayouts/slideLayout31.xml" ContentType="application/vnd.openxmlformats-officedocument.presentationml.slideLayout+xml"/>
  <Override PartName="/ppt/tags/tag45.xml" ContentType="application/vnd.openxmlformats-officedocument.presentationml.tags+xml"/>
  <Override PartName="/ppt/tags/tag92.xml" ContentType="application/vnd.openxmlformats-officedocument.presentationml.tags+xml"/>
  <Override PartName="/ppt/notesSlides/notesSlide23.xml" ContentType="application/vnd.openxmlformats-officedocument.presentationml.notesSlide+xml"/>
  <Override PartName="/ppt/tags/tag34.xml" ContentType="application/vnd.openxmlformats-officedocument.presentationml.tags+xml"/>
  <Override PartName="/ppt/tags/tag81.xml" ContentType="application/vnd.openxmlformats-officedocument.presentationml.tags+xml"/>
  <Override PartName="/ppt/notesSlides/notesSlide12.xml" ContentType="application/vnd.openxmlformats-officedocument.presentationml.notesSlide+xml"/>
  <Override PartName="/ppt/tags/tag12.xml" ContentType="application/vnd.openxmlformats-officedocument.presentationml.tags+xml"/>
  <Override PartName="/ppt/tags/tag23.xml" ContentType="application/vnd.openxmlformats-officedocument.presentationml.tags+xml"/>
  <Override PartName="/ppt/tags/tag70.xml" ContentType="application/vnd.openxmlformats-officedocument.presentationml.tags+xml"/>
  <Override PartName="/ppt/slideMasters/slideMaster4.xml" ContentType="application/vnd.openxmlformats-officedocument.presentationml.slideMaster+xml"/>
  <Override PartName="/ppt/slides/slide9.xml" ContentType="application/vnd.openxmlformats-officedocument.presentationml.slide+xml"/>
  <Override PartName="/ppt/slides/slide59.xml" ContentType="application/vnd.openxmlformats-officedocument.presentationml.slide+xml"/>
  <Override PartName="/ppt/viewProps.xml" ContentType="application/vnd.openxmlformats-officedocument.presentationml.viewProps+xml"/>
  <Override PartName="/ppt/tags/tag9.xml" ContentType="application/vnd.openxmlformats-officedocument.presentationml.tags+xml"/>
  <Override PartName="/ppt/slideLayouts/slideLayout69.xml" ContentType="application/vnd.openxmlformats-officedocument.presentationml.slideLayout+xml"/>
  <Override PartName="/ppt/theme/theme6.xml" ContentType="application/vnd.openxmlformats-officedocument.theme+xml"/>
  <Override PartName="/ppt/slides/slide48.xml" ContentType="application/vnd.openxmlformats-officedocument.presentationml.slide+xml"/>
  <Default Extension="bin" ContentType="application/vnd.openxmlformats-officedocument.oleObject"/>
  <Override PartName="/ppt/slideLayouts/slideLayout58.xml" ContentType="application/vnd.openxmlformats-officedocument.presentationml.slideLayout+xml"/>
  <Override PartName="/ppt/notesSlides/notesSlide3.xml" ContentType="application/vnd.openxmlformats-officedocument.presentationml.notesSlide+xml"/>
  <Override PartName="/ppt/slides/slide26.xml" ContentType="application/vnd.openxmlformats-officedocument.presentationml.slide+xml"/>
  <Override PartName="/ppt/slides/slide37.xml" ContentType="application/vnd.openxmlformats-officedocument.presentationml.slide+xml"/>
  <Override PartName="/ppt/slides/slide73.xml" ContentType="application/vnd.openxmlformats-officedocument.presentationml.slide+xml"/>
  <Override PartName="/ppt/presProps.xml" ContentType="application/vnd.openxmlformats-officedocument.presentationml.presProps+xml"/>
  <Override PartName="/ppt/slideLayouts/slideLayout36.xml" ContentType="application/vnd.openxmlformats-officedocument.presentationml.slideLayout+xml"/>
  <Override PartName="/ppt/slideLayouts/slideLayout47.xml" ContentType="application/vnd.openxmlformats-officedocument.presentationml.slideLayout+xml"/>
  <Override PartName="/ppt/slideLayouts/slideLayout83.xml" ContentType="application/vnd.openxmlformats-officedocument.presentationml.slideLayout+xml"/>
  <Override PartName="/ppt/notesSlides/notesSlide39.xml" ContentType="application/vnd.openxmlformats-officedocument.presentationml.notesSlide+xml"/>
  <Override PartName="/ppt/slides/slide1.xml" ContentType="application/vnd.openxmlformats-officedocument.presentationml.slide+xml"/>
  <Override PartName="/ppt/slides/slide15.xml" ContentType="application/vnd.openxmlformats-officedocument.presentationml.slide+xml"/>
  <Override PartName="/ppt/slides/slide62.xml" ContentType="application/vnd.openxmlformats-officedocument.presentationml.slide+xml"/>
  <Override PartName="/ppt/slideLayouts/slideLayout3.xml" ContentType="application/vnd.openxmlformats-officedocument.presentationml.slideLayout+xml"/>
  <Override PartName="/ppt/slideLayouts/slideLayout25.xml" ContentType="application/vnd.openxmlformats-officedocument.presentationml.slideLayout+xml"/>
  <Override PartName="/ppt/tags/tag39.xml" ContentType="application/vnd.openxmlformats-officedocument.presentationml.tags+xml"/>
  <Override PartName="/ppt/slideLayouts/slideLayout72.xml" ContentType="application/vnd.openxmlformats-officedocument.presentationml.slideLayout+xml"/>
  <Override PartName="/ppt/tags/tag86.xml" ContentType="application/vnd.openxmlformats-officedocument.presentationml.tags+xml"/>
  <Override PartName="/ppt/notesSlides/notesSlide17.xml" ContentType="application/vnd.openxmlformats-officedocument.presentationml.notesSlide+xml"/>
  <Override PartName="/ppt/notesSlides/notesSlide28.xml" ContentType="application/vnd.openxmlformats-officedocument.presentationml.notesSlide+xml"/>
  <Override PartName="/ppt/slides/slide51.xml" ContentType="application/vnd.openxmlformats-officedocument.presentationml.slide+xml"/>
  <Override PartName="/ppt/slideLayouts/slideLayout14.xml" ContentType="application/vnd.openxmlformats-officedocument.presentationml.slideLayout+xml"/>
  <Override PartName="/ppt/tags/tag1.xml" ContentType="application/vnd.openxmlformats-officedocument.presentationml.tags+xml"/>
  <Override PartName="/ppt/tags/tag28.xml" ContentType="application/vnd.openxmlformats-officedocument.presentationml.tags+xml"/>
  <Override PartName="/ppt/slideLayouts/slideLayout61.xml" ContentType="application/vnd.openxmlformats-officedocument.presentationml.slideLayout+xml"/>
  <Override PartName="/ppt/tags/tag75.xml" ContentType="application/vnd.openxmlformats-officedocument.presentationml.tags+xml"/>
  <Override PartName="/ppt/slides/slide40.xml" ContentType="application/vnd.openxmlformats-officedocument.presentationml.slide+xml"/>
  <Override PartName="/ppt/slideLayouts/slideLayout50.xml" ContentType="application/vnd.openxmlformats-officedocument.presentationml.slideLayout+xml"/>
  <Override PartName="/ppt/tags/tag17.xml" ContentType="application/vnd.openxmlformats-officedocument.presentationml.tags+xml"/>
  <Override PartName="/ppt/tags/tag64.xml" ContentType="application/vnd.openxmlformats-officedocument.presentationml.tags+xml"/>
  <Override PartName="/ppt/notesSlides/notesSlide42.xml" ContentType="application/vnd.openxmlformats-officedocument.presentationml.notesSlide+xml"/>
  <Default Extension="wdp" ContentType="image/vnd.ms-photo"/>
  <Default Extension="vml" ContentType="application/vnd.openxmlformats-officedocument.vmlDrawing"/>
  <Override PartName="/ppt/tags/tag53.xml" ContentType="application/vnd.openxmlformats-officedocument.presentationml.tags+xml"/>
  <Default Extension="gif" ContentType="image/gif"/>
  <Override PartName="/ppt/notesSlides/notesSlide8.xml" ContentType="application/vnd.openxmlformats-officedocument.presentationml.notesSlide+xml"/>
  <Override PartName="/ppt/notesSlides/notesSlide20.xml" ContentType="application/vnd.openxmlformats-officedocument.presentationml.notesSlide+xml"/>
  <Override PartName="/ppt/notesSlides/notesSlide31.xml" ContentType="application/vnd.openxmlformats-officedocument.presentationml.notesSlide+xml"/>
  <Override PartName="/ppt/diagrams/layout2.xml" ContentType="application/vnd.openxmlformats-officedocument.drawingml.diagramLayout+xml"/>
  <Override PartName="/ppt/tags/tag31.xml" ContentType="application/vnd.openxmlformats-officedocument.presentationml.tags+xml"/>
  <Override PartName="/ppt/tags/tag42.xml" ContentType="application/vnd.openxmlformats-officedocument.presentationml.tags+xml"/>
  <Override PartName="/ppt/slides/slide78.xml" ContentType="application/vnd.openxmlformats-officedocument.presentationml.slide+xml"/>
  <Override PartName="/ppt/handoutMasters/handoutMaster1.xml" ContentType="application/vnd.openxmlformats-officedocument.presentationml.handoutMaster+xml"/>
  <Override PartName="/ppt/tags/tag20.xml" ContentType="application/vnd.openxmlformats-officedocument.presentationml.tags+xml"/>
  <Override PartName="/docProps/core.xml" ContentType="application/vnd.openxmlformats-package.core-properties+xml"/>
  <Override PartName="/ppt/slides/slide6.xml" ContentType="application/vnd.openxmlformats-officedocument.presentationml.slide+xml"/>
  <Override PartName="/ppt/slides/slide56.xml" ContentType="application/vnd.openxmlformats-officedocument.presentationml.slide+xml"/>
  <Override PartName="/ppt/slides/slide67.xml" ContentType="application/vnd.openxmlformats-officedocument.presentationml.slide+xml"/>
  <Override PartName="/ppt/slideLayouts/slideLayout8.xml" ContentType="application/vnd.openxmlformats-officedocument.presentationml.slideLayout+xml"/>
  <Override PartName="/ppt/slideLayouts/slideLayout19.xml" ContentType="application/vnd.openxmlformats-officedocument.presentationml.slideLayout+xml"/>
  <Override PartName="/ppt/tags/tag6.xml" ContentType="application/vnd.openxmlformats-officedocument.presentationml.tags+xml"/>
  <Override PartName="/ppt/slideLayouts/slideLayout66.xml" ContentType="application/vnd.openxmlformats-officedocument.presentationml.slideLayout+xml"/>
  <Override PartName="/ppt/slideLayouts/slideLayout77.xml" ContentType="application/vnd.openxmlformats-officedocument.presentationml.slideLayout+xml"/>
  <Override PartName="/ppt/slideMasters/slideMaster1.xml" ContentType="application/vnd.openxmlformats-officedocument.presentationml.slideMaster+xml"/>
  <Override PartName="/ppt/slides/slide45.xml" ContentType="application/vnd.openxmlformats-officedocument.presentationml.slide+xml"/>
  <Override PartName="/ppt/theme/theme3.xml" ContentType="application/vnd.openxmlformats-officedocument.theme+xml"/>
  <Override PartName="/ppt/slideLayouts/slideLayout55.xml" ContentType="application/vnd.openxmlformats-officedocument.presentationml.slideLayout+xml"/>
  <Override PartName="/ppt/slides/slide34.xml" ContentType="application/vnd.openxmlformats-officedocument.presentationml.slide+xml"/>
  <Override PartName="/ppt/slideLayouts/slideLayout44.xml" ContentType="application/vnd.openxmlformats-officedocument.presentationml.slideLayout+xml"/>
  <Override PartName="/ppt/tags/tag58.xml" ContentType="application/vnd.openxmlformats-officedocument.presentationml.tags+xml"/>
  <Override PartName="/ppt/tags/tag69.xml" ContentType="application/vnd.openxmlformats-officedocument.presentationml.tags+xml"/>
  <Override PartName="/ppt/notesSlides/notesSlide36.xml" ContentType="application/vnd.openxmlformats-officedocument.presentationml.notesSlide+xml"/>
  <Default Extension="rels" ContentType="application/vnd.openxmlformats-package.relationships+xml"/>
  <Override PartName="/ppt/slides/slide23.xml" ContentType="application/vnd.openxmlformats-officedocument.presentationml.slide+xml"/>
  <Override PartName="/ppt/slides/slide70.xml" ContentType="application/vnd.openxmlformats-officedocument.presentationml.slide+xml"/>
  <Override PartName="/ppt/slideLayouts/slideLayout22.xml" ContentType="application/vnd.openxmlformats-officedocument.presentationml.slideLayout+xml"/>
  <Override PartName="/ppt/slideLayouts/slideLayout33.xml" ContentType="application/vnd.openxmlformats-officedocument.presentationml.slideLayout+xml"/>
  <Override PartName="/ppt/tags/tag47.xml" ContentType="application/vnd.openxmlformats-officedocument.presentationml.tags+xml"/>
  <Override PartName="/ppt/slideLayouts/slideLayout80.xml" ContentType="application/vnd.openxmlformats-officedocument.presentationml.slideLayout+xml"/>
  <Override PartName="/ppt/notesSlides/notesSlide25.xml" ContentType="application/vnd.openxmlformats-officedocument.presentationml.notesSlide+xml"/>
  <Override PartName="/ppt/slides/slide12.xml" ContentType="application/vnd.openxmlformats-officedocument.presentationml.slide+xml"/>
  <Override PartName="/ppt/slideLayouts/slideLayout11.xml" ContentType="application/vnd.openxmlformats-officedocument.presentationml.slideLayout+xml"/>
  <Override PartName="/ppt/tags/tag36.xml" ContentType="application/vnd.openxmlformats-officedocument.presentationml.tags+xml"/>
  <Override PartName="/ppt/tags/tag83.xml" ContentType="application/vnd.openxmlformats-officedocument.presentationml.tags+xml"/>
  <Override PartName="/ppt/notesSlides/notesSlide14.xml" ContentType="application/vnd.openxmlformats-officedocument.presentationml.notesSlide+xml"/>
  <Override PartName="/ppt/tags/tag14.xml" ContentType="application/vnd.openxmlformats-officedocument.presentationml.tags+xml"/>
  <Override PartName="/ppt/tags/tag25.xml" ContentType="application/vnd.openxmlformats-officedocument.presentationml.tags+xml"/>
  <Override PartName="/ppt/tags/tag61.xml" ContentType="application/vnd.openxmlformats-officedocument.presentationml.tags+xml"/>
  <Override PartName="/ppt/tags/tag72.xml" ContentType="application/vnd.openxmlformats-officedocument.presentationml.tags+xml"/>
  <Override PartName="/ppt/slideMasters/slideMaster6.xml" ContentType="application/vnd.openxmlformats-officedocument.presentationml.slideMaster+xml"/>
  <Override PartName="/ppt/tags/tag50.xml" ContentType="application/vnd.openxmlformats-officedocument.presentationml.tags+xml"/>
  <Override PartName="/ppt/theme/theme8.xml" ContentType="application/vnd.openxmlformats-officedocument.theme+xml"/>
  <Override PartName="/ppt/charts/chart1.xml" ContentType="application/vnd.openxmlformats-officedocument.drawingml.chart+xml"/>
  <Override PartName="/ppt/notesSlides/notesSlide5.xml" ContentType="application/vnd.openxmlformats-officedocument.presentationml.notesSlide+xml"/>
  <Override PartName="/ppt/slides/slide28.xml" ContentType="application/vnd.openxmlformats-officedocument.presentationml.slide+xml"/>
  <Override PartName="/ppt/slides/slide39.xml" ContentType="application/vnd.openxmlformats-officedocument.presentationml.slide+xml"/>
  <Override PartName="/ppt/slides/slide75.xml" ContentType="application/vnd.openxmlformats-officedocument.presentationml.slide+xml"/>
  <Override PartName="/ppt/slideLayouts/slideLayout38.xml" ContentType="application/vnd.openxmlformats-officedocument.presentationml.slideLayout+xml"/>
  <Override PartName="/ppt/slideLayouts/slideLayout49.xml" ContentType="application/vnd.openxmlformats-officedocument.presentationml.slideLayout+xml"/>
  <Override PartName="/ppt/diagrams/colors2.xml" ContentType="application/vnd.openxmlformats-officedocument.drawingml.diagramColors+xml"/>
  <Override PartName="/ppt/slides/slide3.xml" ContentType="application/vnd.openxmlformats-officedocument.presentationml.slide+xml"/>
  <Override PartName="/ppt/slides/slide17.xml" ContentType="application/vnd.openxmlformats-officedocument.presentationml.slide+xml"/>
  <Override PartName="/ppt/slides/slide64.xml" ContentType="application/vnd.openxmlformats-officedocument.presentationml.slide+xml"/>
  <Override PartName="/ppt/slideLayouts/slideLayout5.xml" ContentType="application/vnd.openxmlformats-officedocument.presentationml.slideLayout+xml"/>
  <Override PartName="/ppt/slideLayouts/slideLayout27.xml" ContentType="application/vnd.openxmlformats-officedocument.presentationml.slideLayout+xml"/>
  <Override PartName="/ppt/slideLayouts/slideLayout74.xml" ContentType="application/vnd.openxmlformats-officedocument.presentationml.slideLayout+xml"/>
  <Override PartName="/ppt/drawings/drawing1.xml" ContentType="application/vnd.openxmlformats-officedocument.drawingml.chartshapes+xml"/>
  <Override PartName="/ppt/notesSlides/notesSlide19.xml" ContentType="application/vnd.openxmlformats-officedocument.presentationml.notesSlide+xml"/>
  <Override PartName="/ppt/diagrams/drawing1.xml" ContentType="application/vnd.ms-office.drawingml.diagramDrawing+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79" r:id="rId2"/>
    <p:sldMasterId id="2147484129" r:id="rId3"/>
    <p:sldMasterId id="2147484140" r:id="rId4"/>
    <p:sldMasterId id="2147484151" r:id="rId5"/>
    <p:sldMasterId id="2147484162" r:id="rId6"/>
  </p:sldMasterIdLst>
  <p:notesMasterIdLst>
    <p:notesMasterId r:id="rId87"/>
  </p:notesMasterIdLst>
  <p:handoutMasterIdLst>
    <p:handoutMasterId r:id="rId88"/>
  </p:handoutMasterIdLst>
  <p:sldIdLst>
    <p:sldId id="577" r:id="rId7"/>
    <p:sldId id="578" r:id="rId8"/>
    <p:sldId id="539" r:id="rId9"/>
    <p:sldId id="427" r:id="rId10"/>
    <p:sldId id="443" r:id="rId11"/>
    <p:sldId id="575" r:id="rId12"/>
    <p:sldId id="662" r:id="rId13"/>
    <p:sldId id="580" r:id="rId14"/>
    <p:sldId id="630" r:id="rId15"/>
    <p:sldId id="631" r:id="rId16"/>
    <p:sldId id="647" r:id="rId17"/>
    <p:sldId id="496" r:id="rId18"/>
    <p:sldId id="649" r:id="rId19"/>
    <p:sldId id="650" r:id="rId20"/>
    <p:sldId id="651" r:id="rId21"/>
    <p:sldId id="652" r:id="rId22"/>
    <p:sldId id="653" r:id="rId23"/>
    <p:sldId id="654" r:id="rId24"/>
    <p:sldId id="655" r:id="rId25"/>
    <p:sldId id="656" r:id="rId26"/>
    <p:sldId id="661" r:id="rId27"/>
    <p:sldId id="581" r:id="rId28"/>
    <p:sldId id="607" r:id="rId29"/>
    <p:sldId id="663" r:id="rId30"/>
    <p:sldId id="690" r:id="rId31"/>
    <p:sldId id="610" r:id="rId32"/>
    <p:sldId id="664" r:id="rId33"/>
    <p:sldId id="665" r:id="rId34"/>
    <p:sldId id="585" r:id="rId35"/>
    <p:sldId id="586" r:id="rId36"/>
    <p:sldId id="589" r:id="rId37"/>
    <p:sldId id="590" r:id="rId38"/>
    <p:sldId id="591" r:id="rId39"/>
    <p:sldId id="592" r:id="rId40"/>
    <p:sldId id="667" r:id="rId41"/>
    <p:sldId id="670" r:id="rId42"/>
    <p:sldId id="600" r:id="rId43"/>
    <p:sldId id="671" r:id="rId44"/>
    <p:sldId id="672" r:id="rId45"/>
    <p:sldId id="673" r:id="rId46"/>
    <p:sldId id="674" r:id="rId47"/>
    <p:sldId id="675" r:id="rId48"/>
    <p:sldId id="676" r:id="rId49"/>
    <p:sldId id="677" r:id="rId50"/>
    <p:sldId id="678" r:id="rId51"/>
    <p:sldId id="679" r:id="rId52"/>
    <p:sldId id="680" r:id="rId53"/>
    <p:sldId id="681" r:id="rId54"/>
    <p:sldId id="682" r:id="rId55"/>
    <p:sldId id="683" r:id="rId56"/>
    <p:sldId id="684" r:id="rId57"/>
    <p:sldId id="685" r:id="rId58"/>
    <p:sldId id="601" r:id="rId59"/>
    <p:sldId id="603" r:id="rId60"/>
    <p:sldId id="604" r:id="rId61"/>
    <p:sldId id="605" r:id="rId62"/>
    <p:sldId id="606" r:id="rId63"/>
    <p:sldId id="538" r:id="rId64"/>
    <p:sldId id="706" r:id="rId65"/>
    <p:sldId id="556" r:id="rId66"/>
    <p:sldId id="691" r:id="rId67"/>
    <p:sldId id="692" r:id="rId68"/>
    <p:sldId id="693" r:id="rId69"/>
    <p:sldId id="694" r:id="rId70"/>
    <p:sldId id="695" r:id="rId71"/>
    <p:sldId id="696" r:id="rId72"/>
    <p:sldId id="697" r:id="rId73"/>
    <p:sldId id="698" r:id="rId74"/>
    <p:sldId id="699" r:id="rId75"/>
    <p:sldId id="700" r:id="rId76"/>
    <p:sldId id="701" r:id="rId77"/>
    <p:sldId id="702" r:id="rId78"/>
    <p:sldId id="703" r:id="rId79"/>
    <p:sldId id="587" r:id="rId80"/>
    <p:sldId id="668" r:id="rId81"/>
    <p:sldId id="669" r:id="rId82"/>
    <p:sldId id="704" r:id="rId83"/>
    <p:sldId id="687" r:id="rId84"/>
    <p:sldId id="688" r:id="rId85"/>
    <p:sldId id="689" r:id="rId86"/>
  </p:sldIdLst>
  <p:sldSz cx="9144000" cy="5143500" type="screen16x9"/>
  <p:notesSz cx="7010400" cy="9296400"/>
  <p:defaultTextStyle>
    <a:defPPr>
      <a:defRPr lang="th-TH"/>
    </a:defPPr>
    <a:lvl1pPr marL="0" algn="l" defTabSz="914400" rtl="0" eaLnBrk="1" latinLnBrk="0" hangingPunct="1">
      <a:defRPr sz="2800" kern="1200">
        <a:solidFill>
          <a:schemeClr val="tx1"/>
        </a:solidFill>
        <a:latin typeface="+mn-lt"/>
        <a:ea typeface="+mn-ea"/>
        <a:cs typeface="+mn-cs"/>
      </a:defRPr>
    </a:lvl1pPr>
    <a:lvl2pPr marL="457200" algn="l" defTabSz="914400" rtl="0" eaLnBrk="1" latinLnBrk="0" hangingPunct="1">
      <a:defRPr sz="2800" kern="1200">
        <a:solidFill>
          <a:schemeClr val="tx1"/>
        </a:solidFill>
        <a:latin typeface="+mn-lt"/>
        <a:ea typeface="+mn-ea"/>
        <a:cs typeface="+mn-cs"/>
      </a:defRPr>
    </a:lvl2pPr>
    <a:lvl3pPr marL="914400" algn="l" defTabSz="914400" rtl="0" eaLnBrk="1" latinLnBrk="0" hangingPunct="1">
      <a:defRPr sz="2800" kern="1200">
        <a:solidFill>
          <a:schemeClr val="tx1"/>
        </a:solidFill>
        <a:latin typeface="+mn-lt"/>
        <a:ea typeface="+mn-ea"/>
        <a:cs typeface="+mn-cs"/>
      </a:defRPr>
    </a:lvl3pPr>
    <a:lvl4pPr marL="1371600" algn="l" defTabSz="914400" rtl="0" eaLnBrk="1" latinLnBrk="0" hangingPunct="1">
      <a:defRPr sz="2800" kern="1200">
        <a:solidFill>
          <a:schemeClr val="tx1"/>
        </a:solidFill>
        <a:latin typeface="+mn-lt"/>
        <a:ea typeface="+mn-ea"/>
        <a:cs typeface="+mn-cs"/>
      </a:defRPr>
    </a:lvl4pPr>
    <a:lvl5pPr marL="1828800" algn="l" defTabSz="914400" rtl="0" eaLnBrk="1" latinLnBrk="0" hangingPunct="1">
      <a:defRPr sz="2800" kern="1200">
        <a:solidFill>
          <a:schemeClr val="tx1"/>
        </a:solidFill>
        <a:latin typeface="+mn-lt"/>
        <a:ea typeface="+mn-ea"/>
        <a:cs typeface="+mn-cs"/>
      </a:defRPr>
    </a:lvl5pPr>
    <a:lvl6pPr marL="2286000" algn="l" defTabSz="914400" rtl="0" eaLnBrk="1" latinLnBrk="0" hangingPunct="1">
      <a:defRPr sz="2800" kern="1200">
        <a:solidFill>
          <a:schemeClr val="tx1"/>
        </a:solidFill>
        <a:latin typeface="+mn-lt"/>
        <a:ea typeface="+mn-ea"/>
        <a:cs typeface="+mn-cs"/>
      </a:defRPr>
    </a:lvl6pPr>
    <a:lvl7pPr marL="2743200" algn="l" defTabSz="914400" rtl="0" eaLnBrk="1" latinLnBrk="0" hangingPunct="1">
      <a:defRPr sz="2800" kern="1200">
        <a:solidFill>
          <a:schemeClr val="tx1"/>
        </a:solidFill>
        <a:latin typeface="+mn-lt"/>
        <a:ea typeface="+mn-ea"/>
        <a:cs typeface="+mn-cs"/>
      </a:defRPr>
    </a:lvl7pPr>
    <a:lvl8pPr marL="3200400" algn="l" defTabSz="914400" rtl="0" eaLnBrk="1" latinLnBrk="0" hangingPunct="1">
      <a:defRPr sz="2800" kern="1200">
        <a:solidFill>
          <a:schemeClr val="tx1"/>
        </a:solidFill>
        <a:latin typeface="+mn-lt"/>
        <a:ea typeface="+mn-ea"/>
        <a:cs typeface="+mn-cs"/>
      </a:defRPr>
    </a:lvl8pPr>
    <a:lvl9pPr marL="3657600" algn="l" defTabSz="914400" rtl="0" eaLnBrk="1" latinLnBrk="0" hangingPunct="1">
      <a:defRPr sz="2800" kern="1200">
        <a:solidFill>
          <a:schemeClr val="tx1"/>
        </a:solidFill>
        <a:latin typeface="+mn-lt"/>
        <a:ea typeface="+mn-ea"/>
        <a:cs typeface="+mn-cs"/>
      </a:defRPr>
    </a:lvl9pPr>
  </p:defaultTextStyle>
  <p:extLst>
    <p:ext uri="{EFAFB233-063F-42B5-8137-9DF3F51BA10A}">
      <p15:sldGuideLst xmlns:p15="http://schemas.microsoft.com/office/powerpoint/2012/main" xmlns="">
        <p15:guide id="1" orient="horz" pos="162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xmlns="">
          <a:srgbClr val="FF0000"/>
        </p14:laserClr>
      </p:ext>
      <p:ext uri="{2FDB2607-1784-4EEB-B798-7EB5836EED8A}">
        <p14:showMediaCtrls xmlns:p14="http://schemas.microsoft.com/office/powerpoint/2010/main" xmlns="" val="1"/>
      </p:ext>
    </p:extLst>
  </p:showPr>
  <p:clrMru>
    <a:srgbClr val="FF6600"/>
    <a:srgbClr val="BD03BD"/>
    <a:srgbClr val="CCECFF"/>
    <a:srgbClr val="66CCFF"/>
    <a:srgbClr val="D9FBFA"/>
    <a:srgbClr val="FFFF99"/>
    <a:srgbClr val="FFFF66"/>
    <a:srgbClr val="003300"/>
  </p:clrMru>
  <p:extLst>
    <p:ext uri="{E76CE94A-603C-4142-B9EB-6D1370010A27}">
      <p14:discardImageEditData xmlns:p14="http://schemas.microsoft.com/office/powerpoint/2010/main" xmlns="" val="0"/>
    </p:ext>
    <p:ext uri="{D31A062A-798A-4329-ABDD-BBA856620510}">
      <p14:defaultImageDpi xmlns:p14="http://schemas.microsoft.com/office/powerpoint/2010/main" xmlns="" val="220"/>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showOutlineIcons="0" horzBarState="maximized">
    <p:restoredLeft sz="18088" autoAdjust="0"/>
    <p:restoredTop sz="77796" autoAdjust="0"/>
  </p:normalViewPr>
  <p:slideViewPr>
    <p:cSldViewPr showGuides="1">
      <p:cViewPr>
        <p:scale>
          <a:sx n="88" d="100"/>
          <a:sy n="88" d="100"/>
        </p:scale>
        <p:origin x="-564" y="-378"/>
      </p:cViewPr>
      <p:guideLst>
        <p:guide orient="horz" pos="1620"/>
        <p:guide pos="2880"/>
      </p:guideLst>
    </p:cSldViewPr>
  </p:slideViewPr>
  <p:notesTextViewPr>
    <p:cViewPr>
      <p:scale>
        <a:sx n="1" d="1"/>
        <a:sy n="1" d="1"/>
      </p:scale>
      <p:origin x="0" y="0"/>
    </p:cViewPr>
  </p:notesTextViewPr>
  <p:sorterViewPr>
    <p:cViewPr>
      <p:scale>
        <a:sx n="43" d="100"/>
        <a:sy n="43" d="100"/>
      </p:scale>
      <p:origin x="0" y="972"/>
    </p:cViewPr>
  </p:sorterViewPr>
  <p:notesViewPr>
    <p:cSldViewPr>
      <p:cViewPr varScale="1">
        <p:scale>
          <a:sx n="34" d="100"/>
          <a:sy n="34" d="100"/>
        </p:scale>
        <p:origin x="-2232" y="-96"/>
      </p:cViewPr>
      <p:guideLst>
        <p:guide orient="horz" pos="2928"/>
        <p:guide pos="2208"/>
      </p:guideLst>
    </p:cSldViewPr>
  </p:notesViewPr>
  <p:gridSpacing cx="73736200" cy="73736200"/>
</p:viewPr>
</file>

<file path=ppt/_rels/presentation.xml.rels><?xml version="1.0" encoding="UTF-8" standalone="yes"?>
<Relationships xmlns="http://schemas.openxmlformats.org/package/2006/relationships"><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9" Type="http://schemas.openxmlformats.org/officeDocument/2006/relationships/slide" Target="slides/slide33.xml"/><Relationship Id="rId21" Type="http://schemas.openxmlformats.org/officeDocument/2006/relationships/slide" Target="slides/slide15.xml"/><Relationship Id="rId34" Type="http://schemas.openxmlformats.org/officeDocument/2006/relationships/slide" Target="slides/slide28.xml"/><Relationship Id="rId42" Type="http://schemas.openxmlformats.org/officeDocument/2006/relationships/slide" Target="slides/slide36.xml"/><Relationship Id="rId47" Type="http://schemas.openxmlformats.org/officeDocument/2006/relationships/slide" Target="slides/slide41.xml"/><Relationship Id="rId50" Type="http://schemas.openxmlformats.org/officeDocument/2006/relationships/slide" Target="slides/slide44.xml"/><Relationship Id="rId55" Type="http://schemas.openxmlformats.org/officeDocument/2006/relationships/slide" Target="slides/slide49.xml"/><Relationship Id="rId63" Type="http://schemas.openxmlformats.org/officeDocument/2006/relationships/slide" Target="slides/slide57.xml"/><Relationship Id="rId68" Type="http://schemas.openxmlformats.org/officeDocument/2006/relationships/slide" Target="slides/slide62.xml"/><Relationship Id="rId76" Type="http://schemas.openxmlformats.org/officeDocument/2006/relationships/slide" Target="slides/slide70.xml"/><Relationship Id="rId84" Type="http://schemas.openxmlformats.org/officeDocument/2006/relationships/slide" Target="slides/slide78.xml"/><Relationship Id="rId89" Type="http://schemas.openxmlformats.org/officeDocument/2006/relationships/presProps" Target="presProps.xml"/><Relationship Id="rId7" Type="http://schemas.openxmlformats.org/officeDocument/2006/relationships/slide" Target="slides/slide1.xml"/><Relationship Id="rId71" Type="http://schemas.openxmlformats.org/officeDocument/2006/relationships/slide" Target="slides/slide65.xml"/><Relationship Id="rId92" Type="http://schemas.openxmlformats.org/officeDocument/2006/relationships/tableStyles" Target="tableStyles.xml"/><Relationship Id="rId2" Type="http://schemas.openxmlformats.org/officeDocument/2006/relationships/slideMaster" Target="slideMasters/slideMaster2.xml"/><Relationship Id="rId16" Type="http://schemas.openxmlformats.org/officeDocument/2006/relationships/slide" Target="slides/slide10.xml"/><Relationship Id="rId29" Type="http://schemas.openxmlformats.org/officeDocument/2006/relationships/slide" Target="slides/slide23.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slide" Target="slides/slide26.xml"/><Relationship Id="rId37" Type="http://schemas.openxmlformats.org/officeDocument/2006/relationships/slide" Target="slides/slide31.xml"/><Relationship Id="rId40" Type="http://schemas.openxmlformats.org/officeDocument/2006/relationships/slide" Target="slides/slide34.xml"/><Relationship Id="rId45" Type="http://schemas.openxmlformats.org/officeDocument/2006/relationships/slide" Target="slides/slide39.xml"/><Relationship Id="rId53" Type="http://schemas.openxmlformats.org/officeDocument/2006/relationships/slide" Target="slides/slide47.xml"/><Relationship Id="rId58" Type="http://schemas.openxmlformats.org/officeDocument/2006/relationships/slide" Target="slides/slide52.xml"/><Relationship Id="rId66" Type="http://schemas.openxmlformats.org/officeDocument/2006/relationships/slide" Target="slides/slide60.xml"/><Relationship Id="rId74" Type="http://schemas.openxmlformats.org/officeDocument/2006/relationships/slide" Target="slides/slide68.xml"/><Relationship Id="rId79" Type="http://schemas.openxmlformats.org/officeDocument/2006/relationships/slide" Target="slides/slide73.xml"/><Relationship Id="rId87" Type="http://schemas.openxmlformats.org/officeDocument/2006/relationships/notesMaster" Target="notesMasters/notesMaster1.xml"/><Relationship Id="rId5" Type="http://schemas.openxmlformats.org/officeDocument/2006/relationships/slideMaster" Target="slideMasters/slideMaster5.xml"/><Relationship Id="rId61" Type="http://schemas.openxmlformats.org/officeDocument/2006/relationships/slide" Target="slides/slide55.xml"/><Relationship Id="rId82" Type="http://schemas.openxmlformats.org/officeDocument/2006/relationships/slide" Target="slides/slide76.xml"/><Relationship Id="rId90" Type="http://schemas.openxmlformats.org/officeDocument/2006/relationships/viewProps" Target="viewProps.xml"/><Relationship Id="rId19" Type="http://schemas.openxmlformats.org/officeDocument/2006/relationships/slide" Target="slides/slide1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slide" Target="slides/slide29.xml"/><Relationship Id="rId43" Type="http://schemas.openxmlformats.org/officeDocument/2006/relationships/slide" Target="slides/slide37.xml"/><Relationship Id="rId48" Type="http://schemas.openxmlformats.org/officeDocument/2006/relationships/slide" Target="slides/slide42.xml"/><Relationship Id="rId56" Type="http://schemas.openxmlformats.org/officeDocument/2006/relationships/slide" Target="slides/slide50.xml"/><Relationship Id="rId64" Type="http://schemas.openxmlformats.org/officeDocument/2006/relationships/slide" Target="slides/slide58.xml"/><Relationship Id="rId69" Type="http://schemas.openxmlformats.org/officeDocument/2006/relationships/slide" Target="slides/slide63.xml"/><Relationship Id="rId77" Type="http://schemas.openxmlformats.org/officeDocument/2006/relationships/slide" Target="slides/slide71.xml"/><Relationship Id="rId8" Type="http://schemas.openxmlformats.org/officeDocument/2006/relationships/slide" Target="slides/slide2.xml"/><Relationship Id="rId51" Type="http://schemas.openxmlformats.org/officeDocument/2006/relationships/slide" Target="slides/slide45.xml"/><Relationship Id="rId72" Type="http://schemas.openxmlformats.org/officeDocument/2006/relationships/slide" Target="slides/slide66.xml"/><Relationship Id="rId80" Type="http://schemas.openxmlformats.org/officeDocument/2006/relationships/slide" Target="slides/slide74.xml"/><Relationship Id="rId85" Type="http://schemas.openxmlformats.org/officeDocument/2006/relationships/slide" Target="slides/slide79.xml"/><Relationship Id="rId3" Type="http://schemas.openxmlformats.org/officeDocument/2006/relationships/slideMaster" Target="slideMasters/slideMaster3.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slide" Target="slides/slide27.xml"/><Relationship Id="rId38" Type="http://schemas.openxmlformats.org/officeDocument/2006/relationships/slide" Target="slides/slide32.xml"/><Relationship Id="rId46" Type="http://schemas.openxmlformats.org/officeDocument/2006/relationships/slide" Target="slides/slide40.xml"/><Relationship Id="rId59" Type="http://schemas.openxmlformats.org/officeDocument/2006/relationships/slide" Target="slides/slide53.xml"/><Relationship Id="rId67" Type="http://schemas.openxmlformats.org/officeDocument/2006/relationships/slide" Target="slides/slide61.xml"/><Relationship Id="rId20" Type="http://schemas.openxmlformats.org/officeDocument/2006/relationships/slide" Target="slides/slide14.xml"/><Relationship Id="rId41" Type="http://schemas.openxmlformats.org/officeDocument/2006/relationships/slide" Target="slides/slide35.xml"/><Relationship Id="rId54" Type="http://schemas.openxmlformats.org/officeDocument/2006/relationships/slide" Target="slides/slide48.xml"/><Relationship Id="rId62" Type="http://schemas.openxmlformats.org/officeDocument/2006/relationships/slide" Target="slides/slide56.xml"/><Relationship Id="rId70" Type="http://schemas.openxmlformats.org/officeDocument/2006/relationships/slide" Target="slides/slide64.xml"/><Relationship Id="rId75" Type="http://schemas.openxmlformats.org/officeDocument/2006/relationships/slide" Target="slides/slide69.xml"/><Relationship Id="rId83" Type="http://schemas.openxmlformats.org/officeDocument/2006/relationships/slide" Target="slides/slide77.xml"/><Relationship Id="rId88" Type="http://schemas.openxmlformats.org/officeDocument/2006/relationships/handoutMaster" Target="handoutMasters/handoutMaster1.xml"/><Relationship Id="rId91"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Master" Target="slideMasters/slideMaster6.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slide" Target="slides/slide30.xml"/><Relationship Id="rId49" Type="http://schemas.openxmlformats.org/officeDocument/2006/relationships/slide" Target="slides/slide43.xml"/><Relationship Id="rId57" Type="http://schemas.openxmlformats.org/officeDocument/2006/relationships/slide" Target="slides/slide51.xml"/><Relationship Id="rId10" Type="http://schemas.openxmlformats.org/officeDocument/2006/relationships/slide" Target="slides/slide4.xml"/><Relationship Id="rId31" Type="http://schemas.openxmlformats.org/officeDocument/2006/relationships/slide" Target="slides/slide25.xml"/><Relationship Id="rId44" Type="http://schemas.openxmlformats.org/officeDocument/2006/relationships/slide" Target="slides/slide38.xml"/><Relationship Id="rId52" Type="http://schemas.openxmlformats.org/officeDocument/2006/relationships/slide" Target="slides/slide46.xml"/><Relationship Id="rId60" Type="http://schemas.openxmlformats.org/officeDocument/2006/relationships/slide" Target="slides/slide54.xml"/><Relationship Id="rId65" Type="http://schemas.openxmlformats.org/officeDocument/2006/relationships/slide" Target="slides/slide59.xml"/><Relationship Id="rId73" Type="http://schemas.openxmlformats.org/officeDocument/2006/relationships/slide" Target="slides/slide67.xml"/><Relationship Id="rId78" Type="http://schemas.openxmlformats.org/officeDocument/2006/relationships/slide" Target="slides/slide72.xml"/><Relationship Id="rId81" Type="http://schemas.openxmlformats.org/officeDocument/2006/relationships/slide" Target="slides/slide75.xml"/><Relationship Id="rId86" Type="http://schemas.openxmlformats.org/officeDocument/2006/relationships/slide" Target="slides/slide80.xml"/><Relationship Id="rId4" Type="http://schemas.openxmlformats.org/officeDocument/2006/relationships/slideMaster" Target="slideMasters/slideMaster4.xml"/><Relationship Id="rId9" Type="http://schemas.openxmlformats.org/officeDocument/2006/relationships/slide" Target="slides/slide3.xml"/></Relationships>
</file>

<file path=ppt/charts/_rels/chart1.xml.rels><?xml version="1.0" encoding="UTF-8" standalone="yes"?>
<Relationships xmlns="http://schemas.openxmlformats.org/package/2006/relationships"><Relationship Id="rId2" Type="http://schemas.openxmlformats.org/officeDocument/2006/relationships/chartUserShapes" Target="../drawings/drawing1.xml"/><Relationship Id="rId1" Type="http://schemas.openxmlformats.org/officeDocument/2006/relationships/package" Target="../embeddings/________Microsoft_Office_Excel1.xlsx"/></Relationships>
</file>

<file path=ppt/charts/_rels/chart2.xml.rels><?xml version="1.0" encoding="UTF-8" standalone="yes"?>
<Relationships xmlns="http://schemas.openxmlformats.org/package/2006/relationships"><Relationship Id="rId2" Type="http://schemas.openxmlformats.org/officeDocument/2006/relationships/chartUserShapes" Target="../drawings/drawing2.xml"/><Relationship Id="rId1" Type="http://schemas.openxmlformats.org/officeDocument/2006/relationships/package" Target="../embeddings/________Microsoft_Office_Excel2.xlsx"/></Relationships>
</file>

<file path=ppt/charts/_rels/chart3.xml.rels><?xml version="1.0" encoding="UTF-8" standalone="yes"?>
<Relationships xmlns="http://schemas.openxmlformats.org/package/2006/relationships"><Relationship Id="rId2" Type="http://schemas.openxmlformats.org/officeDocument/2006/relationships/chartUserShapes" Target="../drawings/drawing3.xml"/><Relationship Id="rId1" Type="http://schemas.openxmlformats.org/officeDocument/2006/relationships/package" Target="../embeddings/________Microsoft_Office_Excel3.xlsx"/></Relationships>
</file>

<file path=ppt/charts/chart1.xml><?xml version="1.0" encoding="utf-8"?>
<c:chartSpace xmlns:c="http://schemas.openxmlformats.org/drawingml/2006/chart" xmlns:a="http://schemas.openxmlformats.org/drawingml/2006/main" xmlns:r="http://schemas.openxmlformats.org/officeDocument/2006/relationships">
  <c:lang val="th-TH"/>
  <c:chart>
    <c:autoTitleDeleted val="1"/>
    <c:plotArea>
      <c:layout>
        <c:manualLayout>
          <c:layoutTarget val="inner"/>
          <c:xMode val="edge"/>
          <c:yMode val="edge"/>
          <c:x val="0.12729380269639995"/>
          <c:y val="9.3611653975973041E-2"/>
          <c:w val="0.84313627127254254"/>
          <c:h val="0.75205890930300534"/>
        </c:manualLayout>
      </c:layout>
      <c:lineChart>
        <c:grouping val="standard"/>
        <c:ser>
          <c:idx val="0"/>
          <c:order val="0"/>
          <c:tx>
            <c:strRef>
              <c:f>Sheet1!$A$2</c:f>
              <c:strCache>
                <c:ptCount val="1"/>
                <c:pt idx="0">
                  <c:v>Assumption 1</c:v>
                </c:pt>
              </c:strCache>
            </c:strRef>
          </c:tx>
          <c:spPr>
            <a:effectLst>
              <a:outerShdw blurRad="50800" dist="38100" algn="l" rotWithShape="0">
                <a:prstClr val="black">
                  <a:alpha val="40000"/>
                </a:prstClr>
              </a:outerShdw>
            </a:effectLst>
          </c:spPr>
          <c:marker>
            <c:symbol val="none"/>
          </c:marker>
          <c:cat>
            <c:strRef>
              <c:f>Sheet1!$B$1:$BR$1</c:f>
              <c:strCache>
                <c:ptCount val="69"/>
                <c:pt idx="0">
                  <c:v>2505</c:v>
                </c:pt>
                <c:pt idx="1">
                  <c:v>2506</c:v>
                </c:pt>
                <c:pt idx="2">
                  <c:v>2507</c:v>
                </c:pt>
                <c:pt idx="3">
                  <c:v>2508</c:v>
                </c:pt>
                <c:pt idx="4">
                  <c:v>2509</c:v>
                </c:pt>
                <c:pt idx="5">
                  <c:v>2510</c:v>
                </c:pt>
                <c:pt idx="6">
                  <c:v>2511</c:v>
                </c:pt>
                <c:pt idx="7">
                  <c:v>2512</c:v>
                </c:pt>
                <c:pt idx="8">
                  <c:v>2513</c:v>
                </c:pt>
                <c:pt idx="9">
                  <c:v>2514</c:v>
                </c:pt>
                <c:pt idx="10">
                  <c:v>2515</c:v>
                </c:pt>
                <c:pt idx="11">
                  <c:v>2516</c:v>
                </c:pt>
                <c:pt idx="12">
                  <c:v>2517</c:v>
                </c:pt>
                <c:pt idx="13">
                  <c:v>2518</c:v>
                </c:pt>
                <c:pt idx="14">
                  <c:v>2519</c:v>
                </c:pt>
                <c:pt idx="15">
                  <c:v>2520</c:v>
                </c:pt>
                <c:pt idx="16">
                  <c:v>2521</c:v>
                </c:pt>
                <c:pt idx="17">
                  <c:v>2522</c:v>
                </c:pt>
                <c:pt idx="18">
                  <c:v>2523</c:v>
                </c:pt>
                <c:pt idx="19">
                  <c:v>2524</c:v>
                </c:pt>
                <c:pt idx="20">
                  <c:v>2525</c:v>
                </c:pt>
                <c:pt idx="21">
                  <c:v>2526</c:v>
                </c:pt>
                <c:pt idx="22">
                  <c:v>2527</c:v>
                </c:pt>
                <c:pt idx="23">
                  <c:v>2528</c:v>
                </c:pt>
                <c:pt idx="24">
                  <c:v>2529</c:v>
                </c:pt>
                <c:pt idx="25">
                  <c:v>2530</c:v>
                </c:pt>
                <c:pt idx="26">
                  <c:v>2531</c:v>
                </c:pt>
                <c:pt idx="27">
                  <c:v>2532</c:v>
                </c:pt>
                <c:pt idx="28">
                  <c:v>2533</c:v>
                </c:pt>
                <c:pt idx="29">
                  <c:v>2534</c:v>
                </c:pt>
                <c:pt idx="30">
                  <c:v>2535</c:v>
                </c:pt>
                <c:pt idx="31">
                  <c:v>2536</c:v>
                </c:pt>
                <c:pt idx="32">
                  <c:v>2537</c:v>
                </c:pt>
                <c:pt idx="33">
                  <c:v>2538</c:v>
                </c:pt>
                <c:pt idx="34">
                  <c:v>2539</c:v>
                </c:pt>
                <c:pt idx="35">
                  <c:v>2540</c:v>
                </c:pt>
                <c:pt idx="36">
                  <c:v>2541</c:v>
                </c:pt>
                <c:pt idx="37">
                  <c:v>2542</c:v>
                </c:pt>
                <c:pt idx="38">
                  <c:v>2543</c:v>
                </c:pt>
                <c:pt idx="39">
                  <c:v>2544</c:v>
                </c:pt>
                <c:pt idx="40">
                  <c:v>2545</c:v>
                </c:pt>
                <c:pt idx="41">
                  <c:v>2546</c:v>
                </c:pt>
                <c:pt idx="42">
                  <c:v>2547</c:v>
                </c:pt>
                <c:pt idx="43">
                  <c:v>2548</c:v>
                </c:pt>
                <c:pt idx="44">
                  <c:v>2549</c:v>
                </c:pt>
                <c:pt idx="45">
                  <c:v>2550</c:v>
                </c:pt>
                <c:pt idx="46">
                  <c:v>2551</c:v>
                </c:pt>
                <c:pt idx="47">
                  <c:v>2552</c:v>
                </c:pt>
                <c:pt idx="48">
                  <c:v>2553</c:v>
                </c:pt>
                <c:pt idx="49">
                  <c:v>2554</c:v>
                </c:pt>
                <c:pt idx="50">
                  <c:v>2555</c:v>
                </c:pt>
                <c:pt idx="51">
                  <c:v>2556</c:v>
                </c:pt>
                <c:pt idx="52">
                  <c:v>2557</c:v>
                </c:pt>
                <c:pt idx="53">
                  <c:v>2558</c:v>
                </c:pt>
                <c:pt idx="54">
                  <c:v>2559</c:v>
                </c:pt>
                <c:pt idx="55">
                  <c:v>2560</c:v>
                </c:pt>
                <c:pt idx="56">
                  <c:v>2561</c:v>
                </c:pt>
                <c:pt idx="57">
                  <c:v>2562</c:v>
                </c:pt>
                <c:pt idx="58">
                  <c:v>2563</c:v>
                </c:pt>
                <c:pt idx="59">
                  <c:v>2564</c:v>
                </c:pt>
                <c:pt idx="60">
                  <c:v>2565</c:v>
                </c:pt>
                <c:pt idx="61">
                  <c:v>2566</c:v>
                </c:pt>
                <c:pt idx="62">
                  <c:v>2567</c:v>
                </c:pt>
                <c:pt idx="63">
                  <c:v>2568</c:v>
                </c:pt>
                <c:pt idx="64">
                  <c:v>2569</c:v>
                </c:pt>
                <c:pt idx="65">
                  <c:v>2570</c:v>
                </c:pt>
                <c:pt idx="66">
                  <c:v>2571</c:v>
                </c:pt>
                <c:pt idx="67">
                  <c:v>2572</c:v>
                </c:pt>
                <c:pt idx="68">
                  <c:v>2573</c:v>
                </c:pt>
              </c:strCache>
            </c:strRef>
          </c:cat>
          <c:val>
            <c:numRef>
              <c:f>Sheet1!$B$2:$BR$2</c:f>
              <c:numCache>
                <c:formatCode>General</c:formatCode>
                <c:ptCount val="69"/>
                <c:pt idx="0">
                  <c:v>110</c:v>
                </c:pt>
                <c:pt idx="1">
                  <c:v>120</c:v>
                </c:pt>
                <c:pt idx="2">
                  <c:v>130</c:v>
                </c:pt>
                <c:pt idx="3">
                  <c:v>140</c:v>
                </c:pt>
                <c:pt idx="4">
                  <c:v>160</c:v>
                </c:pt>
                <c:pt idx="5">
                  <c:v>170</c:v>
                </c:pt>
                <c:pt idx="6">
                  <c:v>180</c:v>
                </c:pt>
                <c:pt idx="7">
                  <c:v>190</c:v>
                </c:pt>
                <c:pt idx="8">
                  <c:v>210</c:v>
                </c:pt>
                <c:pt idx="9">
                  <c:v>210</c:v>
                </c:pt>
                <c:pt idx="10">
                  <c:v>220</c:v>
                </c:pt>
                <c:pt idx="11">
                  <c:v>260</c:v>
                </c:pt>
                <c:pt idx="12">
                  <c:v>330</c:v>
                </c:pt>
                <c:pt idx="13">
                  <c:v>380</c:v>
                </c:pt>
                <c:pt idx="14">
                  <c:v>420</c:v>
                </c:pt>
                <c:pt idx="15">
                  <c:v>450</c:v>
                </c:pt>
                <c:pt idx="16">
                  <c:v>530</c:v>
                </c:pt>
                <c:pt idx="17">
                  <c:v>610</c:v>
                </c:pt>
                <c:pt idx="18">
                  <c:v>710</c:v>
                </c:pt>
                <c:pt idx="19">
                  <c:v>760</c:v>
                </c:pt>
                <c:pt idx="20">
                  <c:v>760</c:v>
                </c:pt>
                <c:pt idx="21">
                  <c:v>760</c:v>
                </c:pt>
                <c:pt idx="22">
                  <c:v>790</c:v>
                </c:pt>
                <c:pt idx="23">
                  <c:v>790</c:v>
                </c:pt>
                <c:pt idx="24">
                  <c:v>830</c:v>
                </c:pt>
                <c:pt idx="25">
                  <c:v>950</c:v>
                </c:pt>
                <c:pt idx="26">
                  <c:v>1160</c:v>
                </c:pt>
                <c:pt idx="27">
                  <c:v>1320</c:v>
                </c:pt>
                <c:pt idx="28">
                  <c:v>1490</c:v>
                </c:pt>
                <c:pt idx="29">
                  <c:v>1660</c:v>
                </c:pt>
                <c:pt idx="30">
                  <c:v>1890</c:v>
                </c:pt>
                <c:pt idx="31">
                  <c:v>2130</c:v>
                </c:pt>
                <c:pt idx="32">
                  <c:v>2400</c:v>
                </c:pt>
                <c:pt idx="33">
                  <c:v>2750</c:v>
                </c:pt>
                <c:pt idx="34">
                  <c:v>2980</c:v>
                </c:pt>
                <c:pt idx="35">
                  <c:v>2740</c:v>
                </c:pt>
                <c:pt idx="36">
                  <c:v>2070</c:v>
                </c:pt>
                <c:pt idx="37">
                  <c:v>1960</c:v>
                </c:pt>
                <c:pt idx="38">
                  <c:v>1960</c:v>
                </c:pt>
                <c:pt idx="39">
                  <c:v>1900</c:v>
                </c:pt>
                <c:pt idx="40">
                  <c:v>1900</c:v>
                </c:pt>
                <c:pt idx="41">
                  <c:v>2060</c:v>
                </c:pt>
                <c:pt idx="42">
                  <c:v>2370</c:v>
                </c:pt>
                <c:pt idx="43">
                  <c:v>2600</c:v>
                </c:pt>
                <c:pt idx="44">
                  <c:v>2890</c:v>
                </c:pt>
                <c:pt idx="45">
                  <c:v>3280</c:v>
                </c:pt>
                <c:pt idx="46">
                  <c:v>3750</c:v>
                </c:pt>
                <c:pt idx="47">
                  <c:v>3860</c:v>
                </c:pt>
                <c:pt idx="48">
                  <c:v>4320</c:v>
                </c:pt>
                <c:pt idx="49">
                  <c:v>4620</c:v>
                </c:pt>
                <c:pt idx="50">
                  <c:v>5210</c:v>
                </c:pt>
                <c:pt idx="51">
                  <c:v>5360</c:v>
                </c:pt>
                <c:pt idx="52">
                  <c:v>5410</c:v>
                </c:pt>
                <c:pt idx="53">
                  <c:v>5802.8569112412315</c:v>
                </c:pt>
                <c:pt idx="54">
                  <c:v>5837.7036119864015</c:v>
                </c:pt>
                <c:pt idx="55">
                  <c:v>6193.0772845258734</c:v>
                </c:pt>
                <c:pt idx="56">
                  <c:v>6572.1890128651521</c:v>
                </c:pt>
                <c:pt idx="57">
                  <c:v>6976.4611743014802</c:v>
                </c:pt>
                <c:pt idx="58">
                  <c:v>7407.9839457785101</c:v>
                </c:pt>
                <c:pt idx="59">
                  <c:v>7868.5095799438404</c:v>
                </c:pt>
                <c:pt idx="60">
                  <c:v>8360.2626238782068</c:v>
                </c:pt>
                <c:pt idx="61">
                  <c:v>8885.5076000932459</c:v>
                </c:pt>
                <c:pt idx="62">
                  <c:v>9446.6699821080601</c:v>
                </c:pt>
                <c:pt idx="63">
                  <c:v>10046.753736199715</c:v>
                </c:pt>
                <c:pt idx="64">
                  <c:v>10688.547196774411</c:v>
                </c:pt>
                <c:pt idx="65">
                  <c:v>11375.338705988263</c:v>
                </c:pt>
                <c:pt idx="66">
                  <c:v>12110.283816562993</c:v>
                </c:pt>
                <c:pt idx="67">
                  <c:v>12897.406969192209</c:v>
                </c:pt>
                <c:pt idx="68">
                  <c:v>13740.498269314126</c:v>
                </c:pt>
              </c:numCache>
            </c:numRef>
          </c:val>
        </c:ser>
        <c:ser>
          <c:idx val="1"/>
          <c:order val="1"/>
          <c:tx>
            <c:strRef>
              <c:f>Sheet1!$A$3</c:f>
              <c:strCache>
                <c:ptCount val="1"/>
                <c:pt idx="0">
                  <c:v>Assumption 2</c:v>
                </c:pt>
              </c:strCache>
            </c:strRef>
          </c:tx>
          <c:spPr>
            <a:ln w="19050">
              <a:solidFill>
                <a:schemeClr val="accent2">
                  <a:lumMod val="60000"/>
                  <a:lumOff val="40000"/>
                </a:schemeClr>
              </a:solidFill>
              <a:prstDash val="dash"/>
            </a:ln>
          </c:spPr>
          <c:marker>
            <c:symbol val="none"/>
          </c:marker>
          <c:cat>
            <c:strRef>
              <c:f>Sheet1!$B$1:$BR$1</c:f>
              <c:strCache>
                <c:ptCount val="69"/>
                <c:pt idx="0">
                  <c:v>2505</c:v>
                </c:pt>
                <c:pt idx="1">
                  <c:v>2506</c:v>
                </c:pt>
                <c:pt idx="2">
                  <c:v>2507</c:v>
                </c:pt>
                <c:pt idx="3">
                  <c:v>2508</c:v>
                </c:pt>
                <c:pt idx="4">
                  <c:v>2509</c:v>
                </c:pt>
                <c:pt idx="5">
                  <c:v>2510</c:v>
                </c:pt>
                <c:pt idx="6">
                  <c:v>2511</c:v>
                </c:pt>
                <c:pt idx="7">
                  <c:v>2512</c:v>
                </c:pt>
                <c:pt idx="8">
                  <c:v>2513</c:v>
                </c:pt>
                <c:pt idx="9">
                  <c:v>2514</c:v>
                </c:pt>
                <c:pt idx="10">
                  <c:v>2515</c:v>
                </c:pt>
                <c:pt idx="11">
                  <c:v>2516</c:v>
                </c:pt>
                <c:pt idx="12">
                  <c:v>2517</c:v>
                </c:pt>
                <c:pt idx="13">
                  <c:v>2518</c:v>
                </c:pt>
                <c:pt idx="14">
                  <c:v>2519</c:v>
                </c:pt>
                <c:pt idx="15">
                  <c:v>2520</c:v>
                </c:pt>
                <c:pt idx="16">
                  <c:v>2521</c:v>
                </c:pt>
                <c:pt idx="17">
                  <c:v>2522</c:v>
                </c:pt>
                <c:pt idx="18">
                  <c:v>2523</c:v>
                </c:pt>
                <c:pt idx="19">
                  <c:v>2524</c:v>
                </c:pt>
                <c:pt idx="20">
                  <c:v>2525</c:v>
                </c:pt>
                <c:pt idx="21">
                  <c:v>2526</c:v>
                </c:pt>
                <c:pt idx="22">
                  <c:v>2527</c:v>
                </c:pt>
                <c:pt idx="23">
                  <c:v>2528</c:v>
                </c:pt>
                <c:pt idx="24">
                  <c:v>2529</c:v>
                </c:pt>
                <c:pt idx="25">
                  <c:v>2530</c:v>
                </c:pt>
                <c:pt idx="26">
                  <c:v>2531</c:v>
                </c:pt>
                <c:pt idx="27">
                  <c:v>2532</c:v>
                </c:pt>
                <c:pt idx="28">
                  <c:v>2533</c:v>
                </c:pt>
                <c:pt idx="29">
                  <c:v>2534</c:v>
                </c:pt>
                <c:pt idx="30">
                  <c:v>2535</c:v>
                </c:pt>
                <c:pt idx="31">
                  <c:v>2536</c:v>
                </c:pt>
                <c:pt idx="32">
                  <c:v>2537</c:v>
                </c:pt>
                <c:pt idx="33">
                  <c:v>2538</c:v>
                </c:pt>
                <c:pt idx="34">
                  <c:v>2539</c:v>
                </c:pt>
                <c:pt idx="35">
                  <c:v>2540</c:v>
                </c:pt>
                <c:pt idx="36">
                  <c:v>2541</c:v>
                </c:pt>
                <c:pt idx="37">
                  <c:v>2542</c:v>
                </c:pt>
                <c:pt idx="38">
                  <c:v>2543</c:v>
                </c:pt>
                <c:pt idx="39">
                  <c:v>2544</c:v>
                </c:pt>
                <c:pt idx="40">
                  <c:v>2545</c:v>
                </c:pt>
                <c:pt idx="41">
                  <c:v>2546</c:v>
                </c:pt>
                <c:pt idx="42">
                  <c:v>2547</c:v>
                </c:pt>
                <c:pt idx="43">
                  <c:v>2548</c:v>
                </c:pt>
                <c:pt idx="44">
                  <c:v>2549</c:v>
                </c:pt>
                <c:pt idx="45">
                  <c:v>2550</c:v>
                </c:pt>
                <c:pt idx="46">
                  <c:v>2551</c:v>
                </c:pt>
                <c:pt idx="47">
                  <c:v>2552</c:v>
                </c:pt>
                <c:pt idx="48">
                  <c:v>2553</c:v>
                </c:pt>
                <c:pt idx="49">
                  <c:v>2554</c:v>
                </c:pt>
                <c:pt idx="50">
                  <c:v>2555</c:v>
                </c:pt>
                <c:pt idx="51">
                  <c:v>2556</c:v>
                </c:pt>
                <c:pt idx="52">
                  <c:v>2557</c:v>
                </c:pt>
                <c:pt idx="53">
                  <c:v>2558</c:v>
                </c:pt>
                <c:pt idx="54">
                  <c:v>2559</c:v>
                </c:pt>
                <c:pt idx="55">
                  <c:v>2560</c:v>
                </c:pt>
                <c:pt idx="56">
                  <c:v>2561</c:v>
                </c:pt>
                <c:pt idx="57">
                  <c:v>2562</c:v>
                </c:pt>
                <c:pt idx="58">
                  <c:v>2563</c:v>
                </c:pt>
                <c:pt idx="59">
                  <c:v>2564</c:v>
                </c:pt>
                <c:pt idx="60">
                  <c:v>2565</c:v>
                </c:pt>
                <c:pt idx="61">
                  <c:v>2566</c:v>
                </c:pt>
                <c:pt idx="62">
                  <c:v>2567</c:v>
                </c:pt>
                <c:pt idx="63">
                  <c:v>2568</c:v>
                </c:pt>
                <c:pt idx="64">
                  <c:v>2569</c:v>
                </c:pt>
                <c:pt idx="65">
                  <c:v>2570</c:v>
                </c:pt>
                <c:pt idx="66">
                  <c:v>2571</c:v>
                </c:pt>
                <c:pt idx="67">
                  <c:v>2572</c:v>
                </c:pt>
                <c:pt idx="68">
                  <c:v>2573</c:v>
                </c:pt>
              </c:strCache>
            </c:strRef>
          </c:cat>
          <c:val>
            <c:numRef>
              <c:f>Sheet1!$B$3:$BR$3</c:f>
              <c:numCache>
                <c:formatCode>General</c:formatCode>
                <c:ptCount val="69"/>
                <c:pt idx="0">
                  <c:v>110</c:v>
                </c:pt>
                <c:pt idx="1">
                  <c:v>120</c:v>
                </c:pt>
                <c:pt idx="2">
                  <c:v>130</c:v>
                </c:pt>
                <c:pt idx="3">
                  <c:v>140</c:v>
                </c:pt>
                <c:pt idx="4">
                  <c:v>160</c:v>
                </c:pt>
                <c:pt idx="5">
                  <c:v>170</c:v>
                </c:pt>
                <c:pt idx="6">
                  <c:v>180</c:v>
                </c:pt>
                <c:pt idx="7">
                  <c:v>190</c:v>
                </c:pt>
                <c:pt idx="8">
                  <c:v>210</c:v>
                </c:pt>
                <c:pt idx="9">
                  <c:v>210</c:v>
                </c:pt>
                <c:pt idx="10">
                  <c:v>220</c:v>
                </c:pt>
                <c:pt idx="11">
                  <c:v>260</c:v>
                </c:pt>
                <c:pt idx="12">
                  <c:v>330</c:v>
                </c:pt>
                <c:pt idx="13">
                  <c:v>380</c:v>
                </c:pt>
                <c:pt idx="14">
                  <c:v>420</c:v>
                </c:pt>
                <c:pt idx="15">
                  <c:v>450</c:v>
                </c:pt>
                <c:pt idx="16">
                  <c:v>530</c:v>
                </c:pt>
                <c:pt idx="17">
                  <c:v>610</c:v>
                </c:pt>
                <c:pt idx="18">
                  <c:v>710</c:v>
                </c:pt>
                <c:pt idx="19">
                  <c:v>760</c:v>
                </c:pt>
                <c:pt idx="20">
                  <c:v>760</c:v>
                </c:pt>
                <c:pt idx="21">
                  <c:v>760</c:v>
                </c:pt>
                <c:pt idx="22">
                  <c:v>790</c:v>
                </c:pt>
                <c:pt idx="23">
                  <c:v>790</c:v>
                </c:pt>
                <c:pt idx="24">
                  <c:v>830</c:v>
                </c:pt>
                <c:pt idx="25">
                  <c:v>950</c:v>
                </c:pt>
                <c:pt idx="26">
                  <c:v>1160</c:v>
                </c:pt>
                <c:pt idx="27">
                  <c:v>1320</c:v>
                </c:pt>
                <c:pt idx="28">
                  <c:v>1490</c:v>
                </c:pt>
                <c:pt idx="29">
                  <c:v>1660</c:v>
                </c:pt>
                <c:pt idx="30">
                  <c:v>1890</c:v>
                </c:pt>
                <c:pt idx="31">
                  <c:v>2130</c:v>
                </c:pt>
                <c:pt idx="32">
                  <c:v>2400</c:v>
                </c:pt>
                <c:pt idx="33">
                  <c:v>2750</c:v>
                </c:pt>
                <c:pt idx="34">
                  <c:v>2980</c:v>
                </c:pt>
                <c:pt idx="35">
                  <c:v>2740</c:v>
                </c:pt>
                <c:pt idx="36">
                  <c:v>2070</c:v>
                </c:pt>
                <c:pt idx="37">
                  <c:v>1960</c:v>
                </c:pt>
                <c:pt idx="38">
                  <c:v>1960</c:v>
                </c:pt>
                <c:pt idx="39">
                  <c:v>1900</c:v>
                </c:pt>
                <c:pt idx="40">
                  <c:v>1900</c:v>
                </c:pt>
                <c:pt idx="41">
                  <c:v>2060</c:v>
                </c:pt>
                <c:pt idx="42">
                  <c:v>2370</c:v>
                </c:pt>
                <c:pt idx="43">
                  <c:v>2600</c:v>
                </c:pt>
                <c:pt idx="44">
                  <c:v>2890</c:v>
                </c:pt>
                <c:pt idx="45">
                  <c:v>3280</c:v>
                </c:pt>
                <c:pt idx="46">
                  <c:v>3750</c:v>
                </c:pt>
                <c:pt idx="47">
                  <c:v>3860</c:v>
                </c:pt>
                <c:pt idx="48">
                  <c:v>4320</c:v>
                </c:pt>
                <c:pt idx="49">
                  <c:v>4620</c:v>
                </c:pt>
                <c:pt idx="50">
                  <c:v>5210</c:v>
                </c:pt>
                <c:pt idx="51">
                  <c:v>5360</c:v>
                </c:pt>
                <c:pt idx="52">
                  <c:v>5410</c:v>
                </c:pt>
                <c:pt idx="53">
                  <c:v>5802.8569112412315</c:v>
                </c:pt>
                <c:pt idx="54">
                  <c:v>5865.1364297119135</c:v>
                </c:pt>
                <c:pt idx="55">
                  <c:v>6251.4196594123323</c:v>
                </c:pt>
                <c:pt idx="56">
                  <c:v>6665.2781351038684</c:v>
                </c:pt>
                <c:pt idx="57">
                  <c:v>7108.5249261644003</c:v>
                </c:pt>
                <c:pt idx="58">
                  <c:v>7583.6873246445994</c:v>
                </c:pt>
                <c:pt idx="59">
                  <c:v>8092.9888380687662</c:v>
                </c:pt>
                <c:pt idx="60">
                  <c:v>8639.1787723926136</c:v>
                </c:pt>
                <c:pt idx="61">
                  <c:v>9225.0952858923738</c:v>
                </c:pt>
                <c:pt idx="62">
                  <c:v>9853.7930932787476</c:v>
                </c:pt>
                <c:pt idx="63">
                  <c:v>10528.985547506632</c:v>
                </c:pt>
                <c:pt idx="64">
                  <c:v>11254.22332809621</c:v>
                </c:pt>
                <c:pt idx="65">
                  <c:v>12033.646896664603</c:v>
                </c:pt>
                <c:pt idx="66">
                  <c:v>12871.327053347301</c:v>
                </c:pt>
                <c:pt idx="67">
                  <c:v>13772.332064473449</c:v>
                </c:pt>
                <c:pt idx="68">
                  <c:v>14741.566655897888</c:v>
                </c:pt>
              </c:numCache>
            </c:numRef>
          </c:val>
        </c:ser>
        <c:ser>
          <c:idx val="2"/>
          <c:order val="2"/>
          <c:tx>
            <c:strRef>
              <c:f>Sheet1!$A$4</c:f>
              <c:strCache>
                <c:ptCount val="1"/>
              </c:strCache>
            </c:strRef>
          </c:tx>
          <c:spPr>
            <a:ln w="19050">
              <a:solidFill>
                <a:schemeClr val="accent3">
                  <a:lumMod val="60000"/>
                  <a:lumOff val="40000"/>
                </a:schemeClr>
              </a:solidFill>
              <a:prstDash val="dash"/>
            </a:ln>
          </c:spPr>
          <c:marker>
            <c:symbol val="none"/>
          </c:marker>
          <c:cat>
            <c:strRef>
              <c:f>Sheet1!$B$1:$BR$1</c:f>
              <c:strCache>
                <c:ptCount val="69"/>
                <c:pt idx="0">
                  <c:v>2505</c:v>
                </c:pt>
                <c:pt idx="1">
                  <c:v>2506</c:v>
                </c:pt>
                <c:pt idx="2">
                  <c:v>2507</c:v>
                </c:pt>
                <c:pt idx="3">
                  <c:v>2508</c:v>
                </c:pt>
                <c:pt idx="4">
                  <c:v>2509</c:v>
                </c:pt>
                <c:pt idx="5">
                  <c:v>2510</c:v>
                </c:pt>
                <c:pt idx="6">
                  <c:v>2511</c:v>
                </c:pt>
                <c:pt idx="7">
                  <c:v>2512</c:v>
                </c:pt>
                <c:pt idx="8">
                  <c:v>2513</c:v>
                </c:pt>
                <c:pt idx="9">
                  <c:v>2514</c:v>
                </c:pt>
                <c:pt idx="10">
                  <c:v>2515</c:v>
                </c:pt>
                <c:pt idx="11">
                  <c:v>2516</c:v>
                </c:pt>
                <c:pt idx="12">
                  <c:v>2517</c:v>
                </c:pt>
                <c:pt idx="13">
                  <c:v>2518</c:v>
                </c:pt>
                <c:pt idx="14">
                  <c:v>2519</c:v>
                </c:pt>
                <c:pt idx="15">
                  <c:v>2520</c:v>
                </c:pt>
                <c:pt idx="16">
                  <c:v>2521</c:v>
                </c:pt>
                <c:pt idx="17">
                  <c:v>2522</c:v>
                </c:pt>
                <c:pt idx="18">
                  <c:v>2523</c:v>
                </c:pt>
                <c:pt idx="19">
                  <c:v>2524</c:v>
                </c:pt>
                <c:pt idx="20">
                  <c:v>2525</c:v>
                </c:pt>
                <c:pt idx="21">
                  <c:v>2526</c:v>
                </c:pt>
                <c:pt idx="22">
                  <c:v>2527</c:v>
                </c:pt>
                <c:pt idx="23">
                  <c:v>2528</c:v>
                </c:pt>
                <c:pt idx="24">
                  <c:v>2529</c:v>
                </c:pt>
                <c:pt idx="25">
                  <c:v>2530</c:v>
                </c:pt>
                <c:pt idx="26">
                  <c:v>2531</c:v>
                </c:pt>
                <c:pt idx="27">
                  <c:v>2532</c:v>
                </c:pt>
                <c:pt idx="28">
                  <c:v>2533</c:v>
                </c:pt>
                <c:pt idx="29">
                  <c:v>2534</c:v>
                </c:pt>
                <c:pt idx="30">
                  <c:v>2535</c:v>
                </c:pt>
                <c:pt idx="31">
                  <c:v>2536</c:v>
                </c:pt>
                <c:pt idx="32">
                  <c:v>2537</c:v>
                </c:pt>
                <c:pt idx="33">
                  <c:v>2538</c:v>
                </c:pt>
                <c:pt idx="34">
                  <c:v>2539</c:v>
                </c:pt>
                <c:pt idx="35">
                  <c:v>2540</c:v>
                </c:pt>
                <c:pt idx="36">
                  <c:v>2541</c:v>
                </c:pt>
                <c:pt idx="37">
                  <c:v>2542</c:v>
                </c:pt>
                <c:pt idx="38">
                  <c:v>2543</c:v>
                </c:pt>
                <c:pt idx="39">
                  <c:v>2544</c:v>
                </c:pt>
                <c:pt idx="40">
                  <c:v>2545</c:v>
                </c:pt>
                <c:pt idx="41">
                  <c:v>2546</c:v>
                </c:pt>
                <c:pt idx="42">
                  <c:v>2547</c:v>
                </c:pt>
                <c:pt idx="43">
                  <c:v>2548</c:v>
                </c:pt>
                <c:pt idx="44">
                  <c:v>2549</c:v>
                </c:pt>
                <c:pt idx="45">
                  <c:v>2550</c:v>
                </c:pt>
                <c:pt idx="46">
                  <c:v>2551</c:v>
                </c:pt>
                <c:pt idx="47">
                  <c:v>2552</c:v>
                </c:pt>
                <c:pt idx="48">
                  <c:v>2553</c:v>
                </c:pt>
                <c:pt idx="49">
                  <c:v>2554</c:v>
                </c:pt>
                <c:pt idx="50">
                  <c:v>2555</c:v>
                </c:pt>
                <c:pt idx="51">
                  <c:v>2556</c:v>
                </c:pt>
                <c:pt idx="52">
                  <c:v>2557</c:v>
                </c:pt>
                <c:pt idx="53">
                  <c:v>2558</c:v>
                </c:pt>
                <c:pt idx="54">
                  <c:v>2559</c:v>
                </c:pt>
                <c:pt idx="55">
                  <c:v>2560</c:v>
                </c:pt>
                <c:pt idx="56">
                  <c:v>2561</c:v>
                </c:pt>
                <c:pt idx="57">
                  <c:v>2562</c:v>
                </c:pt>
                <c:pt idx="58">
                  <c:v>2563</c:v>
                </c:pt>
                <c:pt idx="59">
                  <c:v>2564</c:v>
                </c:pt>
                <c:pt idx="60">
                  <c:v>2565</c:v>
                </c:pt>
                <c:pt idx="61">
                  <c:v>2566</c:v>
                </c:pt>
                <c:pt idx="62">
                  <c:v>2567</c:v>
                </c:pt>
                <c:pt idx="63">
                  <c:v>2568</c:v>
                </c:pt>
                <c:pt idx="64">
                  <c:v>2569</c:v>
                </c:pt>
                <c:pt idx="65">
                  <c:v>2570</c:v>
                </c:pt>
                <c:pt idx="66">
                  <c:v>2571</c:v>
                </c:pt>
                <c:pt idx="67">
                  <c:v>2572</c:v>
                </c:pt>
                <c:pt idx="68">
                  <c:v>2573</c:v>
                </c:pt>
              </c:strCache>
            </c:strRef>
          </c:cat>
          <c:val>
            <c:numRef>
              <c:f>Sheet1!$B$4:$BR$4</c:f>
              <c:numCache>
                <c:formatCode>General</c:formatCode>
                <c:ptCount val="69"/>
                <c:pt idx="0">
                  <c:v>110</c:v>
                </c:pt>
                <c:pt idx="1">
                  <c:v>120</c:v>
                </c:pt>
                <c:pt idx="2">
                  <c:v>130</c:v>
                </c:pt>
                <c:pt idx="3">
                  <c:v>140</c:v>
                </c:pt>
                <c:pt idx="4">
                  <c:v>160</c:v>
                </c:pt>
                <c:pt idx="5">
                  <c:v>170</c:v>
                </c:pt>
                <c:pt idx="6">
                  <c:v>180</c:v>
                </c:pt>
                <c:pt idx="7">
                  <c:v>190</c:v>
                </c:pt>
                <c:pt idx="8">
                  <c:v>210</c:v>
                </c:pt>
                <c:pt idx="9">
                  <c:v>210</c:v>
                </c:pt>
                <c:pt idx="10">
                  <c:v>220</c:v>
                </c:pt>
                <c:pt idx="11">
                  <c:v>260</c:v>
                </c:pt>
                <c:pt idx="12">
                  <c:v>330</c:v>
                </c:pt>
                <c:pt idx="13">
                  <c:v>380</c:v>
                </c:pt>
                <c:pt idx="14">
                  <c:v>420</c:v>
                </c:pt>
                <c:pt idx="15">
                  <c:v>450</c:v>
                </c:pt>
                <c:pt idx="16">
                  <c:v>530</c:v>
                </c:pt>
                <c:pt idx="17">
                  <c:v>610</c:v>
                </c:pt>
                <c:pt idx="18">
                  <c:v>710</c:v>
                </c:pt>
                <c:pt idx="19">
                  <c:v>760</c:v>
                </c:pt>
                <c:pt idx="20">
                  <c:v>760</c:v>
                </c:pt>
                <c:pt idx="21">
                  <c:v>760</c:v>
                </c:pt>
                <c:pt idx="22">
                  <c:v>790</c:v>
                </c:pt>
                <c:pt idx="23">
                  <c:v>790</c:v>
                </c:pt>
                <c:pt idx="24">
                  <c:v>830</c:v>
                </c:pt>
                <c:pt idx="25">
                  <c:v>950</c:v>
                </c:pt>
                <c:pt idx="26">
                  <c:v>1160</c:v>
                </c:pt>
                <c:pt idx="27">
                  <c:v>1320</c:v>
                </c:pt>
                <c:pt idx="28">
                  <c:v>1490</c:v>
                </c:pt>
                <c:pt idx="29">
                  <c:v>1660</c:v>
                </c:pt>
                <c:pt idx="30">
                  <c:v>1890</c:v>
                </c:pt>
                <c:pt idx="31">
                  <c:v>2130</c:v>
                </c:pt>
                <c:pt idx="32">
                  <c:v>2400</c:v>
                </c:pt>
                <c:pt idx="33">
                  <c:v>2750</c:v>
                </c:pt>
                <c:pt idx="34">
                  <c:v>2980</c:v>
                </c:pt>
                <c:pt idx="35">
                  <c:v>2740</c:v>
                </c:pt>
                <c:pt idx="36">
                  <c:v>2070</c:v>
                </c:pt>
                <c:pt idx="37">
                  <c:v>1960</c:v>
                </c:pt>
                <c:pt idx="38">
                  <c:v>1960</c:v>
                </c:pt>
                <c:pt idx="39">
                  <c:v>1900</c:v>
                </c:pt>
                <c:pt idx="40">
                  <c:v>1900</c:v>
                </c:pt>
                <c:pt idx="41">
                  <c:v>2060</c:v>
                </c:pt>
                <c:pt idx="42">
                  <c:v>2370</c:v>
                </c:pt>
                <c:pt idx="43">
                  <c:v>2600</c:v>
                </c:pt>
                <c:pt idx="44">
                  <c:v>2890</c:v>
                </c:pt>
                <c:pt idx="45">
                  <c:v>3280</c:v>
                </c:pt>
                <c:pt idx="46">
                  <c:v>3750</c:v>
                </c:pt>
                <c:pt idx="47">
                  <c:v>3860</c:v>
                </c:pt>
                <c:pt idx="48">
                  <c:v>4320</c:v>
                </c:pt>
                <c:pt idx="49">
                  <c:v>4620</c:v>
                </c:pt>
                <c:pt idx="50">
                  <c:v>5210</c:v>
                </c:pt>
                <c:pt idx="51">
                  <c:v>5360</c:v>
                </c:pt>
                <c:pt idx="52">
                  <c:v>5410</c:v>
                </c:pt>
                <c:pt idx="53">
                  <c:v>5802.8569112412315</c:v>
                </c:pt>
                <c:pt idx="54">
                  <c:v>6099.7677060229435</c:v>
                </c:pt>
                <c:pt idx="55">
                  <c:v>6568.4043803675568</c:v>
                </c:pt>
                <c:pt idx="56">
                  <c:v>7075.3113357289694</c:v>
                </c:pt>
                <c:pt idx="57">
                  <c:v>7623.4721669053934</c:v>
                </c:pt>
                <c:pt idx="58">
                  <c:v>8216.7447773913627</c:v>
                </c:pt>
                <c:pt idx="59">
                  <c:v>8858.7892584769816</c:v>
                </c:pt>
                <c:pt idx="60">
                  <c:v>9553.9714752848467</c:v>
                </c:pt>
                <c:pt idx="61">
                  <c:v>10306.907778856084</c:v>
                </c:pt>
                <c:pt idx="62">
                  <c:v>11122.617917853049</c:v>
                </c:pt>
                <c:pt idx="63">
                  <c:v>12007.045590589987</c:v>
                </c:pt>
                <c:pt idx="64">
                  <c:v>12966.155013224889</c:v>
                </c:pt>
                <c:pt idx="65">
                  <c:v>14006.802160376976</c:v>
                </c:pt>
                <c:pt idx="66">
                  <c:v>15135.999564327405</c:v>
                </c:pt>
                <c:pt idx="67">
                  <c:v>16362.185674369803</c:v>
                </c:pt>
                <c:pt idx="68">
                  <c:v>17693.898106582634</c:v>
                </c:pt>
              </c:numCache>
            </c:numRef>
          </c:val>
        </c:ser>
        <c:ser>
          <c:idx val="3"/>
          <c:order val="3"/>
          <c:tx>
            <c:strRef>
              <c:f>Sheet1!$A$5</c:f>
              <c:strCache>
                <c:ptCount val="1"/>
                <c:pt idx="0">
                  <c:v>Category 2</c:v>
                </c:pt>
              </c:strCache>
            </c:strRef>
          </c:tx>
          <c:spPr>
            <a:ln w="19050">
              <a:solidFill>
                <a:schemeClr val="accent4">
                  <a:lumMod val="60000"/>
                  <a:lumOff val="40000"/>
                </a:schemeClr>
              </a:solidFill>
              <a:prstDash val="dash"/>
            </a:ln>
          </c:spPr>
          <c:marker>
            <c:symbol val="none"/>
          </c:marker>
          <c:cat>
            <c:strRef>
              <c:f>Sheet1!$B$1:$BR$1</c:f>
              <c:strCache>
                <c:ptCount val="69"/>
                <c:pt idx="0">
                  <c:v>2505</c:v>
                </c:pt>
                <c:pt idx="1">
                  <c:v>2506</c:v>
                </c:pt>
                <c:pt idx="2">
                  <c:v>2507</c:v>
                </c:pt>
                <c:pt idx="3">
                  <c:v>2508</c:v>
                </c:pt>
                <c:pt idx="4">
                  <c:v>2509</c:v>
                </c:pt>
                <c:pt idx="5">
                  <c:v>2510</c:v>
                </c:pt>
                <c:pt idx="6">
                  <c:v>2511</c:v>
                </c:pt>
                <c:pt idx="7">
                  <c:v>2512</c:v>
                </c:pt>
                <c:pt idx="8">
                  <c:v>2513</c:v>
                </c:pt>
                <c:pt idx="9">
                  <c:v>2514</c:v>
                </c:pt>
                <c:pt idx="10">
                  <c:v>2515</c:v>
                </c:pt>
                <c:pt idx="11">
                  <c:v>2516</c:v>
                </c:pt>
                <c:pt idx="12">
                  <c:v>2517</c:v>
                </c:pt>
                <c:pt idx="13">
                  <c:v>2518</c:v>
                </c:pt>
                <c:pt idx="14">
                  <c:v>2519</c:v>
                </c:pt>
                <c:pt idx="15">
                  <c:v>2520</c:v>
                </c:pt>
                <c:pt idx="16">
                  <c:v>2521</c:v>
                </c:pt>
                <c:pt idx="17">
                  <c:v>2522</c:v>
                </c:pt>
                <c:pt idx="18">
                  <c:v>2523</c:v>
                </c:pt>
                <c:pt idx="19">
                  <c:v>2524</c:v>
                </c:pt>
                <c:pt idx="20">
                  <c:v>2525</c:v>
                </c:pt>
                <c:pt idx="21">
                  <c:v>2526</c:v>
                </c:pt>
                <c:pt idx="22">
                  <c:v>2527</c:v>
                </c:pt>
                <c:pt idx="23">
                  <c:v>2528</c:v>
                </c:pt>
                <c:pt idx="24">
                  <c:v>2529</c:v>
                </c:pt>
                <c:pt idx="25">
                  <c:v>2530</c:v>
                </c:pt>
                <c:pt idx="26">
                  <c:v>2531</c:v>
                </c:pt>
                <c:pt idx="27">
                  <c:v>2532</c:v>
                </c:pt>
                <c:pt idx="28">
                  <c:v>2533</c:v>
                </c:pt>
                <c:pt idx="29">
                  <c:v>2534</c:v>
                </c:pt>
                <c:pt idx="30">
                  <c:v>2535</c:v>
                </c:pt>
                <c:pt idx="31">
                  <c:v>2536</c:v>
                </c:pt>
                <c:pt idx="32">
                  <c:v>2537</c:v>
                </c:pt>
                <c:pt idx="33">
                  <c:v>2538</c:v>
                </c:pt>
                <c:pt idx="34">
                  <c:v>2539</c:v>
                </c:pt>
                <c:pt idx="35">
                  <c:v>2540</c:v>
                </c:pt>
                <c:pt idx="36">
                  <c:v>2541</c:v>
                </c:pt>
                <c:pt idx="37">
                  <c:v>2542</c:v>
                </c:pt>
                <c:pt idx="38">
                  <c:v>2543</c:v>
                </c:pt>
                <c:pt idx="39">
                  <c:v>2544</c:v>
                </c:pt>
                <c:pt idx="40">
                  <c:v>2545</c:v>
                </c:pt>
                <c:pt idx="41">
                  <c:v>2546</c:v>
                </c:pt>
                <c:pt idx="42">
                  <c:v>2547</c:v>
                </c:pt>
                <c:pt idx="43">
                  <c:v>2548</c:v>
                </c:pt>
                <c:pt idx="44">
                  <c:v>2549</c:v>
                </c:pt>
                <c:pt idx="45">
                  <c:v>2550</c:v>
                </c:pt>
                <c:pt idx="46">
                  <c:v>2551</c:v>
                </c:pt>
                <c:pt idx="47">
                  <c:v>2552</c:v>
                </c:pt>
                <c:pt idx="48">
                  <c:v>2553</c:v>
                </c:pt>
                <c:pt idx="49">
                  <c:v>2554</c:v>
                </c:pt>
                <c:pt idx="50">
                  <c:v>2555</c:v>
                </c:pt>
                <c:pt idx="51">
                  <c:v>2556</c:v>
                </c:pt>
                <c:pt idx="52">
                  <c:v>2557</c:v>
                </c:pt>
                <c:pt idx="53">
                  <c:v>2558</c:v>
                </c:pt>
                <c:pt idx="54">
                  <c:v>2559</c:v>
                </c:pt>
                <c:pt idx="55">
                  <c:v>2560</c:v>
                </c:pt>
                <c:pt idx="56">
                  <c:v>2561</c:v>
                </c:pt>
                <c:pt idx="57">
                  <c:v>2562</c:v>
                </c:pt>
                <c:pt idx="58">
                  <c:v>2563</c:v>
                </c:pt>
                <c:pt idx="59">
                  <c:v>2564</c:v>
                </c:pt>
                <c:pt idx="60">
                  <c:v>2565</c:v>
                </c:pt>
                <c:pt idx="61">
                  <c:v>2566</c:v>
                </c:pt>
                <c:pt idx="62">
                  <c:v>2567</c:v>
                </c:pt>
                <c:pt idx="63">
                  <c:v>2568</c:v>
                </c:pt>
                <c:pt idx="64">
                  <c:v>2569</c:v>
                </c:pt>
                <c:pt idx="65">
                  <c:v>2570</c:v>
                </c:pt>
                <c:pt idx="66">
                  <c:v>2571</c:v>
                </c:pt>
                <c:pt idx="67">
                  <c:v>2572</c:v>
                </c:pt>
                <c:pt idx="68">
                  <c:v>2573</c:v>
                </c:pt>
              </c:strCache>
            </c:strRef>
          </c:cat>
          <c:val>
            <c:numRef>
              <c:f>Sheet1!$B$5:$BR$5</c:f>
              <c:numCache>
                <c:formatCode>General</c:formatCode>
                <c:ptCount val="69"/>
                <c:pt idx="0">
                  <c:v>1045</c:v>
                </c:pt>
                <c:pt idx="1">
                  <c:v>1045</c:v>
                </c:pt>
                <c:pt idx="2">
                  <c:v>1045</c:v>
                </c:pt>
                <c:pt idx="3">
                  <c:v>1045</c:v>
                </c:pt>
                <c:pt idx="4">
                  <c:v>1045</c:v>
                </c:pt>
                <c:pt idx="5">
                  <c:v>1045</c:v>
                </c:pt>
                <c:pt idx="6">
                  <c:v>1045</c:v>
                </c:pt>
                <c:pt idx="7">
                  <c:v>1045</c:v>
                </c:pt>
                <c:pt idx="8">
                  <c:v>1045</c:v>
                </c:pt>
                <c:pt idx="9">
                  <c:v>1045</c:v>
                </c:pt>
                <c:pt idx="10">
                  <c:v>1045</c:v>
                </c:pt>
                <c:pt idx="11">
                  <c:v>1045</c:v>
                </c:pt>
                <c:pt idx="12">
                  <c:v>1045</c:v>
                </c:pt>
                <c:pt idx="13">
                  <c:v>1045</c:v>
                </c:pt>
                <c:pt idx="14">
                  <c:v>1045</c:v>
                </c:pt>
                <c:pt idx="15">
                  <c:v>1045</c:v>
                </c:pt>
                <c:pt idx="16">
                  <c:v>1045</c:v>
                </c:pt>
                <c:pt idx="17">
                  <c:v>1045</c:v>
                </c:pt>
                <c:pt idx="18">
                  <c:v>1045</c:v>
                </c:pt>
                <c:pt idx="19">
                  <c:v>1045</c:v>
                </c:pt>
                <c:pt idx="20">
                  <c:v>1045</c:v>
                </c:pt>
                <c:pt idx="21">
                  <c:v>1045</c:v>
                </c:pt>
                <c:pt idx="22">
                  <c:v>1045</c:v>
                </c:pt>
                <c:pt idx="23">
                  <c:v>1045</c:v>
                </c:pt>
                <c:pt idx="24">
                  <c:v>1045</c:v>
                </c:pt>
                <c:pt idx="25">
                  <c:v>1045</c:v>
                </c:pt>
                <c:pt idx="26">
                  <c:v>1045</c:v>
                </c:pt>
                <c:pt idx="27">
                  <c:v>1045</c:v>
                </c:pt>
                <c:pt idx="28">
                  <c:v>1045</c:v>
                </c:pt>
                <c:pt idx="29">
                  <c:v>1045</c:v>
                </c:pt>
                <c:pt idx="30">
                  <c:v>1045</c:v>
                </c:pt>
                <c:pt idx="31">
                  <c:v>1045</c:v>
                </c:pt>
                <c:pt idx="32">
                  <c:v>1045</c:v>
                </c:pt>
                <c:pt idx="33">
                  <c:v>1045</c:v>
                </c:pt>
                <c:pt idx="34">
                  <c:v>1045</c:v>
                </c:pt>
                <c:pt idx="35">
                  <c:v>1045</c:v>
                </c:pt>
                <c:pt idx="36">
                  <c:v>1045</c:v>
                </c:pt>
                <c:pt idx="37">
                  <c:v>1045</c:v>
                </c:pt>
                <c:pt idx="38">
                  <c:v>1045</c:v>
                </c:pt>
                <c:pt idx="39">
                  <c:v>1045</c:v>
                </c:pt>
                <c:pt idx="40">
                  <c:v>1045</c:v>
                </c:pt>
                <c:pt idx="41">
                  <c:v>1045</c:v>
                </c:pt>
                <c:pt idx="42">
                  <c:v>1045</c:v>
                </c:pt>
                <c:pt idx="43">
                  <c:v>1045</c:v>
                </c:pt>
                <c:pt idx="44">
                  <c:v>1045</c:v>
                </c:pt>
                <c:pt idx="45">
                  <c:v>1045</c:v>
                </c:pt>
                <c:pt idx="46">
                  <c:v>1045</c:v>
                </c:pt>
                <c:pt idx="47">
                  <c:v>1045</c:v>
                </c:pt>
                <c:pt idx="48">
                  <c:v>1045</c:v>
                </c:pt>
                <c:pt idx="49">
                  <c:v>1045</c:v>
                </c:pt>
                <c:pt idx="50">
                  <c:v>1045</c:v>
                </c:pt>
                <c:pt idx="51">
                  <c:v>1045</c:v>
                </c:pt>
                <c:pt idx="52">
                  <c:v>1045</c:v>
                </c:pt>
                <c:pt idx="53">
                  <c:v>1045</c:v>
                </c:pt>
                <c:pt idx="54">
                  <c:v>1045</c:v>
                </c:pt>
                <c:pt idx="55">
                  <c:v>1045</c:v>
                </c:pt>
                <c:pt idx="56">
                  <c:v>1045</c:v>
                </c:pt>
                <c:pt idx="57">
                  <c:v>1045</c:v>
                </c:pt>
                <c:pt idx="58">
                  <c:v>1045</c:v>
                </c:pt>
                <c:pt idx="59">
                  <c:v>1045</c:v>
                </c:pt>
                <c:pt idx="60">
                  <c:v>1045</c:v>
                </c:pt>
                <c:pt idx="61">
                  <c:v>1045</c:v>
                </c:pt>
                <c:pt idx="62">
                  <c:v>1045</c:v>
                </c:pt>
                <c:pt idx="63">
                  <c:v>1045</c:v>
                </c:pt>
                <c:pt idx="64">
                  <c:v>1045</c:v>
                </c:pt>
                <c:pt idx="65">
                  <c:v>1045</c:v>
                </c:pt>
                <c:pt idx="66">
                  <c:v>1045</c:v>
                </c:pt>
                <c:pt idx="67">
                  <c:v>1045</c:v>
                </c:pt>
                <c:pt idx="68">
                  <c:v>1045</c:v>
                </c:pt>
              </c:numCache>
            </c:numRef>
          </c:val>
        </c:ser>
        <c:ser>
          <c:idx val="4"/>
          <c:order val="4"/>
          <c:tx>
            <c:strRef>
              <c:f>Sheet1!$A$6</c:f>
              <c:strCache>
                <c:ptCount val="1"/>
                <c:pt idx="0">
                  <c:v>Category 3</c:v>
                </c:pt>
              </c:strCache>
            </c:strRef>
          </c:tx>
          <c:spPr>
            <a:ln w="12700"/>
          </c:spPr>
          <c:marker>
            <c:symbol val="none"/>
          </c:marker>
          <c:cat>
            <c:strRef>
              <c:f>Sheet1!$B$1:$BR$1</c:f>
              <c:strCache>
                <c:ptCount val="69"/>
                <c:pt idx="0">
                  <c:v>2505</c:v>
                </c:pt>
                <c:pt idx="1">
                  <c:v>2506</c:v>
                </c:pt>
                <c:pt idx="2">
                  <c:v>2507</c:v>
                </c:pt>
                <c:pt idx="3">
                  <c:v>2508</c:v>
                </c:pt>
                <c:pt idx="4">
                  <c:v>2509</c:v>
                </c:pt>
                <c:pt idx="5">
                  <c:v>2510</c:v>
                </c:pt>
                <c:pt idx="6">
                  <c:v>2511</c:v>
                </c:pt>
                <c:pt idx="7">
                  <c:v>2512</c:v>
                </c:pt>
                <c:pt idx="8">
                  <c:v>2513</c:v>
                </c:pt>
                <c:pt idx="9">
                  <c:v>2514</c:v>
                </c:pt>
                <c:pt idx="10">
                  <c:v>2515</c:v>
                </c:pt>
                <c:pt idx="11">
                  <c:v>2516</c:v>
                </c:pt>
                <c:pt idx="12">
                  <c:v>2517</c:v>
                </c:pt>
                <c:pt idx="13">
                  <c:v>2518</c:v>
                </c:pt>
                <c:pt idx="14">
                  <c:v>2519</c:v>
                </c:pt>
                <c:pt idx="15">
                  <c:v>2520</c:v>
                </c:pt>
                <c:pt idx="16">
                  <c:v>2521</c:v>
                </c:pt>
                <c:pt idx="17">
                  <c:v>2522</c:v>
                </c:pt>
                <c:pt idx="18">
                  <c:v>2523</c:v>
                </c:pt>
                <c:pt idx="19">
                  <c:v>2524</c:v>
                </c:pt>
                <c:pt idx="20">
                  <c:v>2525</c:v>
                </c:pt>
                <c:pt idx="21">
                  <c:v>2526</c:v>
                </c:pt>
                <c:pt idx="22">
                  <c:v>2527</c:v>
                </c:pt>
                <c:pt idx="23">
                  <c:v>2528</c:v>
                </c:pt>
                <c:pt idx="24">
                  <c:v>2529</c:v>
                </c:pt>
                <c:pt idx="25">
                  <c:v>2530</c:v>
                </c:pt>
                <c:pt idx="26">
                  <c:v>2531</c:v>
                </c:pt>
                <c:pt idx="27">
                  <c:v>2532</c:v>
                </c:pt>
                <c:pt idx="28">
                  <c:v>2533</c:v>
                </c:pt>
                <c:pt idx="29">
                  <c:v>2534</c:v>
                </c:pt>
                <c:pt idx="30">
                  <c:v>2535</c:v>
                </c:pt>
                <c:pt idx="31">
                  <c:v>2536</c:v>
                </c:pt>
                <c:pt idx="32">
                  <c:v>2537</c:v>
                </c:pt>
                <c:pt idx="33">
                  <c:v>2538</c:v>
                </c:pt>
                <c:pt idx="34">
                  <c:v>2539</c:v>
                </c:pt>
                <c:pt idx="35">
                  <c:v>2540</c:v>
                </c:pt>
                <c:pt idx="36">
                  <c:v>2541</c:v>
                </c:pt>
                <c:pt idx="37">
                  <c:v>2542</c:v>
                </c:pt>
                <c:pt idx="38">
                  <c:v>2543</c:v>
                </c:pt>
                <c:pt idx="39">
                  <c:v>2544</c:v>
                </c:pt>
                <c:pt idx="40">
                  <c:v>2545</c:v>
                </c:pt>
                <c:pt idx="41">
                  <c:v>2546</c:v>
                </c:pt>
                <c:pt idx="42">
                  <c:v>2547</c:v>
                </c:pt>
                <c:pt idx="43">
                  <c:v>2548</c:v>
                </c:pt>
                <c:pt idx="44">
                  <c:v>2549</c:v>
                </c:pt>
                <c:pt idx="45">
                  <c:v>2550</c:v>
                </c:pt>
                <c:pt idx="46">
                  <c:v>2551</c:v>
                </c:pt>
                <c:pt idx="47">
                  <c:v>2552</c:v>
                </c:pt>
                <c:pt idx="48">
                  <c:v>2553</c:v>
                </c:pt>
                <c:pt idx="49">
                  <c:v>2554</c:v>
                </c:pt>
                <c:pt idx="50">
                  <c:v>2555</c:v>
                </c:pt>
                <c:pt idx="51">
                  <c:v>2556</c:v>
                </c:pt>
                <c:pt idx="52">
                  <c:v>2557</c:v>
                </c:pt>
                <c:pt idx="53">
                  <c:v>2558</c:v>
                </c:pt>
                <c:pt idx="54">
                  <c:v>2559</c:v>
                </c:pt>
                <c:pt idx="55">
                  <c:v>2560</c:v>
                </c:pt>
                <c:pt idx="56">
                  <c:v>2561</c:v>
                </c:pt>
                <c:pt idx="57">
                  <c:v>2562</c:v>
                </c:pt>
                <c:pt idx="58">
                  <c:v>2563</c:v>
                </c:pt>
                <c:pt idx="59">
                  <c:v>2564</c:v>
                </c:pt>
                <c:pt idx="60">
                  <c:v>2565</c:v>
                </c:pt>
                <c:pt idx="61">
                  <c:v>2566</c:v>
                </c:pt>
                <c:pt idx="62">
                  <c:v>2567</c:v>
                </c:pt>
                <c:pt idx="63">
                  <c:v>2568</c:v>
                </c:pt>
                <c:pt idx="64">
                  <c:v>2569</c:v>
                </c:pt>
                <c:pt idx="65">
                  <c:v>2570</c:v>
                </c:pt>
                <c:pt idx="66">
                  <c:v>2571</c:v>
                </c:pt>
                <c:pt idx="67">
                  <c:v>2572</c:v>
                </c:pt>
                <c:pt idx="68">
                  <c:v>2573</c:v>
                </c:pt>
              </c:strCache>
            </c:strRef>
          </c:cat>
          <c:val>
            <c:numRef>
              <c:f>Sheet1!$B$6:$BR$6</c:f>
              <c:numCache>
                <c:formatCode>General</c:formatCode>
                <c:ptCount val="69"/>
                <c:pt idx="0">
                  <c:v>4125</c:v>
                </c:pt>
                <c:pt idx="1">
                  <c:v>4125</c:v>
                </c:pt>
                <c:pt idx="2">
                  <c:v>4125</c:v>
                </c:pt>
                <c:pt idx="3">
                  <c:v>4125</c:v>
                </c:pt>
                <c:pt idx="4">
                  <c:v>4125</c:v>
                </c:pt>
                <c:pt idx="5">
                  <c:v>4125</c:v>
                </c:pt>
                <c:pt idx="6">
                  <c:v>4125</c:v>
                </c:pt>
                <c:pt idx="7">
                  <c:v>4125</c:v>
                </c:pt>
                <c:pt idx="8">
                  <c:v>4125</c:v>
                </c:pt>
                <c:pt idx="9">
                  <c:v>4125</c:v>
                </c:pt>
                <c:pt idx="10">
                  <c:v>4125</c:v>
                </c:pt>
                <c:pt idx="11">
                  <c:v>4125</c:v>
                </c:pt>
                <c:pt idx="12">
                  <c:v>4125</c:v>
                </c:pt>
                <c:pt idx="13">
                  <c:v>4125</c:v>
                </c:pt>
                <c:pt idx="14">
                  <c:v>4125</c:v>
                </c:pt>
                <c:pt idx="15">
                  <c:v>4125</c:v>
                </c:pt>
                <c:pt idx="16">
                  <c:v>4125</c:v>
                </c:pt>
                <c:pt idx="17">
                  <c:v>4125</c:v>
                </c:pt>
                <c:pt idx="18">
                  <c:v>4125</c:v>
                </c:pt>
                <c:pt idx="19">
                  <c:v>4125</c:v>
                </c:pt>
                <c:pt idx="20">
                  <c:v>4125</c:v>
                </c:pt>
                <c:pt idx="21">
                  <c:v>4125</c:v>
                </c:pt>
                <c:pt idx="22">
                  <c:v>4125</c:v>
                </c:pt>
                <c:pt idx="23">
                  <c:v>4125</c:v>
                </c:pt>
                <c:pt idx="24">
                  <c:v>4125</c:v>
                </c:pt>
                <c:pt idx="25">
                  <c:v>4125</c:v>
                </c:pt>
                <c:pt idx="26">
                  <c:v>4125</c:v>
                </c:pt>
                <c:pt idx="27">
                  <c:v>4125</c:v>
                </c:pt>
                <c:pt idx="28">
                  <c:v>4125</c:v>
                </c:pt>
                <c:pt idx="29">
                  <c:v>4125</c:v>
                </c:pt>
                <c:pt idx="30">
                  <c:v>4125</c:v>
                </c:pt>
                <c:pt idx="31">
                  <c:v>4125</c:v>
                </c:pt>
                <c:pt idx="32">
                  <c:v>4125</c:v>
                </c:pt>
                <c:pt idx="33">
                  <c:v>4125</c:v>
                </c:pt>
                <c:pt idx="34">
                  <c:v>4125</c:v>
                </c:pt>
                <c:pt idx="35">
                  <c:v>4125</c:v>
                </c:pt>
                <c:pt idx="36">
                  <c:v>4125</c:v>
                </c:pt>
                <c:pt idx="37">
                  <c:v>4125</c:v>
                </c:pt>
                <c:pt idx="38">
                  <c:v>4125</c:v>
                </c:pt>
                <c:pt idx="39">
                  <c:v>4125</c:v>
                </c:pt>
                <c:pt idx="40">
                  <c:v>4125</c:v>
                </c:pt>
                <c:pt idx="41">
                  <c:v>4125</c:v>
                </c:pt>
                <c:pt idx="42">
                  <c:v>4125</c:v>
                </c:pt>
                <c:pt idx="43">
                  <c:v>4125</c:v>
                </c:pt>
                <c:pt idx="44">
                  <c:v>4125</c:v>
                </c:pt>
                <c:pt idx="45">
                  <c:v>4125</c:v>
                </c:pt>
                <c:pt idx="46">
                  <c:v>4125</c:v>
                </c:pt>
                <c:pt idx="47">
                  <c:v>4125</c:v>
                </c:pt>
                <c:pt idx="48">
                  <c:v>4125</c:v>
                </c:pt>
                <c:pt idx="49">
                  <c:v>4125</c:v>
                </c:pt>
                <c:pt idx="50">
                  <c:v>4125</c:v>
                </c:pt>
                <c:pt idx="51">
                  <c:v>4125</c:v>
                </c:pt>
                <c:pt idx="52">
                  <c:v>4125</c:v>
                </c:pt>
                <c:pt idx="53">
                  <c:v>4125</c:v>
                </c:pt>
                <c:pt idx="54">
                  <c:v>4125</c:v>
                </c:pt>
                <c:pt idx="55">
                  <c:v>4125</c:v>
                </c:pt>
                <c:pt idx="56">
                  <c:v>4125</c:v>
                </c:pt>
                <c:pt idx="57">
                  <c:v>4125</c:v>
                </c:pt>
                <c:pt idx="58">
                  <c:v>4125</c:v>
                </c:pt>
                <c:pt idx="59">
                  <c:v>4125</c:v>
                </c:pt>
                <c:pt idx="60">
                  <c:v>4125</c:v>
                </c:pt>
                <c:pt idx="61">
                  <c:v>4125</c:v>
                </c:pt>
                <c:pt idx="62">
                  <c:v>4125</c:v>
                </c:pt>
                <c:pt idx="63">
                  <c:v>4125</c:v>
                </c:pt>
                <c:pt idx="64">
                  <c:v>4125</c:v>
                </c:pt>
                <c:pt idx="65">
                  <c:v>4125</c:v>
                </c:pt>
                <c:pt idx="66">
                  <c:v>4125</c:v>
                </c:pt>
                <c:pt idx="67">
                  <c:v>4125</c:v>
                </c:pt>
                <c:pt idx="68">
                  <c:v>4125</c:v>
                </c:pt>
              </c:numCache>
            </c:numRef>
          </c:val>
        </c:ser>
        <c:ser>
          <c:idx val="5"/>
          <c:order val="5"/>
          <c:tx>
            <c:strRef>
              <c:f>Sheet1!$A$7</c:f>
              <c:strCache>
                <c:ptCount val="1"/>
                <c:pt idx="0">
                  <c:v>Category 4</c:v>
                </c:pt>
              </c:strCache>
            </c:strRef>
          </c:tx>
          <c:marker>
            <c:symbol val="none"/>
          </c:marker>
          <c:cat>
            <c:strRef>
              <c:f>Sheet1!$B$1:$BR$1</c:f>
              <c:strCache>
                <c:ptCount val="69"/>
                <c:pt idx="0">
                  <c:v>2505</c:v>
                </c:pt>
                <c:pt idx="1">
                  <c:v>2506</c:v>
                </c:pt>
                <c:pt idx="2">
                  <c:v>2507</c:v>
                </c:pt>
                <c:pt idx="3">
                  <c:v>2508</c:v>
                </c:pt>
                <c:pt idx="4">
                  <c:v>2509</c:v>
                </c:pt>
                <c:pt idx="5">
                  <c:v>2510</c:v>
                </c:pt>
                <c:pt idx="6">
                  <c:v>2511</c:v>
                </c:pt>
                <c:pt idx="7">
                  <c:v>2512</c:v>
                </c:pt>
                <c:pt idx="8">
                  <c:v>2513</c:v>
                </c:pt>
                <c:pt idx="9">
                  <c:v>2514</c:v>
                </c:pt>
                <c:pt idx="10">
                  <c:v>2515</c:v>
                </c:pt>
                <c:pt idx="11">
                  <c:v>2516</c:v>
                </c:pt>
                <c:pt idx="12">
                  <c:v>2517</c:v>
                </c:pt>
                <c:pt idx="13">
                  <c:v>2518</c:v>
                </c:pt>
                <c:pt idx="14">
                  <c:v>2519</c:v>
                </c:pt>
                <c:pt idx="15">
                  <c:v>2520</c:v>
                </c:pt>
                <c:pt idx="16">
                  <c:v>2521</c:v>
                </c:pt>
                <c:pt idx="17">
                  <c:v>2522</c:v>
                </c:pt>
                <c:pt idx="18">
                  <c:v>2523</c:v>
                </c:pt>
                <c:pt idx="19">
                  <c:v>2524</c:v>
                </c:pt>
                <c:pt idx="20">
                  <c:v>2525</c:v>
                </c:pt>
                <c:pt idx="21">
                  <c:v>2526</c:v>
                </c:pt>
                <c:pt idx="22">
                  <c:v>2527</c:v>
                </c:pt>
                <c:pt idx="23">
                  <c:v>2528</c:v>
                </c:pt>
                <c:pt idx="24">
                  <c:v>2529</c:v>
                </c:pt>
                <c:pt idx="25">
                  <c:v>2530</c:v>
                </c:pt>
                <c:pt idx="26">
                  <c:v>2531</c:v>
                </c:pt>
                <c:pt idx="27">
                  <c:v>2532</c:v>
                </c:pt>
                <c:pt idx="28">
                  <c:v>2533</c:v>
                </c:pt>
                <c:pt idx="29">
                  <c:v>2534</c:v>
                </c:pt>
                <c:pt idx="30">
                  <c:v>2535</c:v>
                </c:pt>
                <c:pt idx="31">
                  <c:v>2536</c:v>
                </c:pt>
                <c:pt idx="32">
                  <c:v>2537</c:v>
                </c:pt>
                <c:pt idx="33">
                  <c:v>2538</c:v>
                </c:pt>
                <c:pt idx="34">
                  <c:v>2539</c:v>
                </c:pt>
                <c:pt idx="35">
                  <c:v>2540</c:v>
                </c:pt>
                <c:pt idx="36">
                  <c:v>2541</c:v>
                </c:pt>
                <c:pt idx="37">
                  <c:v>2542</c:v>
                </c:pt>
                <c:pt idx="38">
                  <c:v>2543</c:v>
                </c:pt>
                <c:pt idx="39">
                  <c:v>2544</c:v>
                </c:pt>
                <c:pt idx="40">
                  <c:v>2545</c:v>
                </c:pt>
                <c:pt idx="41">
                  <c:v>2546</c:v>
                </c:pt>
                <c:pt idx="42">
                  <c:v>2547</c:v>
                </c:pt>
                <c:pt idx="43">
                  <c:v>2548</c:v>
                </c:pt>
                <c:pt idx="44">
                  <c:v>2549</c:v>
                </c:pt>
                <c:pt idx="45">
                  <c:v>2550</c:v>
                </c:pt>
                <c:pt idx="46">
                  <c:v>2551</c:v>
                </c:pt>
                <c:pt idx="47">
                  <c:v>2552</c:v>
                </c:pt>
                <c:pt idx="48">
                  <c:v>2553</c:v>
                </c:pt>
                <c:pt idx="49">
                  <c:v>2554</c:v>
                </c:pt>
                <c:pt idx="50">
                  <c:v>2555</c:v>
                </c:pt>
                <c:pt idx="51">
                  <c:v>2556</c:v>
                </c:pt>
                <c:pt idx="52">
                  <c:v>2557</c:v>
                </c:pt>
                <c:pt idx="53">
                  <c:v>2558</c:v>
                </c:pt>
                <c:pt idx="54">
                  <c:v>2559</c:v>
                </c:pt>
                <c:pt idx="55">
                  <c:v>2560</c:v>
                </c:pt>
                <c:pt idx="56">
                  <c:v>2561</c:v>
                </c:pt>
                <c:pt idx="57">
                  <c:v>2562</c:v>
                </c:pt>
                <c:pt idx="58">
                  <c:v>2563</c:v>
                </c:pt>
                <c:pt idx="59">
                  <c:v>2564</c:v>
                </c:pt>
                <c:pt idx="60">
                  <c:v>2565</c:v>
                </c:pt>
                <c:pt idx="61">
                  <c:v>2566</c:v>
                </c:pt>
                <c:pt idx="62">
                  <c:v>2567</c:v>
                </c:pt>
                <c:pt idx="63">
                  <c:v>2568</c:v>
                </c:pt>
                <c:pt idx="64">
                  <c:v>2569</c:v>
                </c:pt>
                <c:pt idx="65">
                  <c:v>2570</c:v>
                </c:pt>
                <c:pt idx="66">
                  <c:v>2571</c:v>
                </c:pt>
                <c:pt idx="67">
                  <c:v>2572</c:v>
                </c:pt>
                <c:pt idx="68">
                  <c:v>2573</c:v>
                </c:pt>
              </c:strCache>
            </c:strRef>
          </c:cat>
          <c:val>
            <c:numRef>
              <c:f>Sheet1!$B$7:$BR$7</c:f>
              <c:numCache>
                <c:formatCode>General</c:formatCode>
                <c:ptCount val="69"/>
                <c:pt idx="0">
                  <c:v>12735</c:v>
                </c:pt>
                <c:pt idx="1">
                  <c:v>12735</c:v>
                </c:pt>
                <c:pt idx="2">
                  <c:v>12735</c:v>
                </c:pt>
                <c:pt idx="3">
                  <c:v>12735</c:v>
                </c:pt>
                <c:pt idx="4">
                  <c:v>12735</c:v>
                </c:pt>
                <c:pt idx="5">
                  <c:v>12735</c:v>
                </c:pt>
                <c:pt idx="6">
                  <c:v>12735</c:v>
                </c:pt>
                <c:pt idx="7">
                  <c:v>12735</c:v>
                </c:pt>
                <c:pt idx="8">
                  <c:v>12735</c:v>
                </c:pt>
                <c:pt idx="9">
                  <c:v>12735</c:v>
                </c:pt>
                <c:pt idx="10">
                  <c:v>12735</c:v>
                </c:pt>
                <c:pt idx="11">
                  <c:v>12735</c:v>
                </c:pt>
                <c:pt idx="12">
                  <c:v>12735</c:v>
                </c:pt>
                <c:pt idx="13">
                  <c:v>12735</c:v>
                </c:pt>
                <c:pt idx="14">
                  <c:v>12735</c:v>
                </c:pt>
                <c:pt idx="15">
                  <c:v>12735</c:v>
                </c:pt>
                <c:pt idx="16">
                  <c:v>12735</c:v>
                </c:pt>
                <c:pt idx="17">
                  <c:v>12735</c:v>
                </c:pt>
                <c:pt idx="18">
                  <c:v>12735</c:v>
                </c:pt>
                <c:pt idx="19">
                  <c:v>12735</c:v>
                </c:pt>
                <c:pt idx="20">
                  <c:v>12735</c:v>
                </c:pt>
                <c:pt idx="21">
                  <c:v>12735</c:v>
                </c:pt>
                <c:pt idx="22">
                  <c:v>12735</c:v>
                </c:pt>
                <c:pt idx="23">
                  <c:v>12735</c:v>
                </c:pt>
                <c:pt idx="24">
                  <c:v>12735</c:v>
                </c:pt>
                <c:pt idx="25">
                  <c:v>12735</c:v>
                </c:pt>
                <c:pt idx="26">
                  <c:v>12735</c:v>
                </c:pt>
                <c:pt idx="27">
                  <c:v>12735</c:v>
                </c:pt>
                <c:pt idx="28">
                  <c:v>12735</c:v>
                </c:pt>
                <c:pt idx="29">
                  <c:v>12735</c:v>
                </c:pt>
                <c:pt idx="30">
                  <c:v>12735</c:v>
                </c:pt>
                <c:pt idx="31">
                  <c:v>12735</c:v>
                </c:pt>
                <c:pt idx="32">
                  <c:v>12735</c:v>
                </c:pt>
                <c:pt idx="33">
                  <c:v>12735</c:v>
                </c:pt>
                <c:pt idx="34">
                  <c:v>12735</c:v>
                </c:pt>
                <c:pt idx="35">
                  <c:v>12735</c:v>
                </c:pt>
                <c:pt idx="36">
                  <c:v>12735</c:v>
                </c:pt>
                <c:pt idx="37">
                  <c:v>12735</c:v>
                </c:pt>
                <c:pt idx="38">
                  <c:v>12735</c:v>
                </c:pt>
                <c:pt idx="39">
                  <c:v>12735</c:v>
                </c:pt>
                <c:pt idx="40">
                  <c:v>12735</c:v>
                </c:pt>
                <c:pt idx="41">
                  <c:v>12735</c:v>
                </c:pt>
                <c:pt idx="42">
                  <c:v>12735</c:v>
                </c:pt>
                <c:pt idx="43">
                  <c:v>12735</c:v>
                </c:pt>
                <c:pt idx="44">
                  <c:v>12735</c:v>
                </c:pt>
                <c:pt idx="45">
                  <c:v>12735</c:v>
                </c:pt>
                <c:pt idx="46">
                  <c:v>12735</c:v>
                </c:pt>
                <c:pt idx="47">
                  <c:v>12735</c:v>
                </c:pt>
                <c:pt idx="48">
                  <c:v>12735</c:v>
                </c:pt>
                <c:pt idx="49">
                  <c:v>12735</c:v>
                </c:pt>
                <c:pt idx="50">
                  <c:v>12735</c:v>
                </c:pt>
                <c:pt idx="51">
                  <c:v>12735</c:v>
                </c:pt>
                <c:pt idx="52">
                  <c:v>12735</c:v>
                </c:pt>
                <c:pt idx="53">
                  <c:v>12735</c:v>
                </c:pt>
                <c:pt idx="54">
                  <c:v>12735</c:v>
                </c:pt>
                <c:pt idx="55">
                  <c:v>12735</c:v>
                </c:pt>
                <c:pt idx="56">
                  <c:v>12735</c:v>
                </c:pt>
                <c:pt idx="57">
                  <c:v>12735</c:v>
                </c:pt>
                <c:pt idx="58">
                  <c:v>12735</c:v>
                </c:pt>
                <c:pt idx="59">
                  <c:v>12735</c:v>
                </c:pt>
                <c:pt idx="60">
                  <c:v>12735</c:v>
                </c:pt>
                <c:pt idx="61">
                  <c:v>12735</c:v>
                </c:pt>
                <c:pt idx="62">
                  <c:v>12735</c:v>
                </c:pt>
                <c:pt idx="63">
                  <c:v>12735</c:v>
                </c:pt>
                <c:pt idx="64">
                  <c:v>12735</c:v>
                </c:pt>
                <c:pt idx="65">
                  <c:v>12735</c:v>
                </c:pt>
                <c:pt idx="66">
                  <c:v>12735</c:v>
                </c:pt>
                <c:pt idx="67">
                  <c:v>12735</c:v>
                </c:pt>
                <c:pt idx="68">
                  <c:v>12735</c:v>
                </c:pt>
              </c:numCache>
            </c:numRef>
          </c:val>
        </c:ser>
        <c:dLbls/>
        <c:marker val="1"/>
        <c:axId val="86021632"/>
        <c:axId val="86023552"/>
      </c:lineChart>
      <c:catAx>
        <c:axId val="86021632"/>
        <c:scaling>
          <c:orientation val="minMax"/>
        </c:scaling>
        <c:axPos val="b"/>
        <c:title>
          <c:tx>
            <c:rich>
              <a:bodyPr/>
              <a:lstStyle/>
              <a:p>
                <a:pPr>
                  <a:defRPr lang="en-US"/>
                </a:pPr>
                <a:r>
                  <a:rPr lang="en-US"/>
                  <a:t>USD</a:t>
                </a:r>
              </a:p>
            </c:rich>
          </c:tx>
          <c:layout>
            <c:manualLayout>
              <c:xMode val="edge"/>
              <c:yMode val="edge"/>
              <c:x val="3.2258064516129309E-2"/>
              <c:y val="1.4194804039325609E-2"/>
            </c:manualLayout>
          </c:layout>
        </c:title>
        <c:numFmt formatCode="General" sourceLinked="0"/>
        <c:tickLblPos val="nextTo"/>
        <c:txPr>
          <a:bodyPr rot="-5400000" vert="horz"/>
          <a:lstStyle/>
          <a:p>
            <a:pPr>
              <a:defRPr lang="en-US" sz="1400">
                <a:latin typeface="TH SarabunPSK" pitchFamily="34" charset="-34"/>
                <a:cs typeface="TH SarabunPSK" pitchFamily="34" charset="-34"/>
              </a:defRPr>
            </a:pPr>
            <a:endParaRPr lang="th-TH"/>
          </a:p>
        </c:txPr>
        <c:crossAx val="86023552"/>
        <c:crosses val="autoZero"/>
        <c:auto val="1"/>
        <c:lblAlgn val="ctr"/>
        <c:lblOffset val="100"/>
        <c:tickLblSkip val="4"/>
      </c:catAx>
      <c:valAx>
        <c:axId val="86023552"/>
        <c:scaling>
          <c:orientation val="minMax"/>
        </c:scaling>
        <c:axPos val="l"/>
        <c:majorGridlines>
          <c:spPr>
            <a:ln>
              <a:solidFill>
                <a:schemeClr val="bg1">
                  <a:lumMod val="85000"/>
                </a:schemeClr>
              </a:solidFill>
            </a:ln>
          </c:spPr>
        </c:majorGridlines>
        <c:numFmt formatCode="#,##0" sourceLinked="0"/>
        <c:tickLblPos val="nextTo"/>
        <c:txPr>
          <a:bodyPr/>
          <a:lstStyle/>
          <a:p>
            <a:pPr>
              <a:defRPr lang="en-US" sz="1400">
                <a:latin typeface="TH SarabunPSK" pitchFamily="34" charset="-34"/>
                <a:cs typeface="TH SarabunPSK" pitchFamily="34" charset="-34"/>
              </a:defRPr>
            </a:pPr>
            <a:endParaRPr lang="th-TH"/>
          </a:p>
        </c:txPr>
        <c:crossAx val="86021632"/>
        <c:crosses val="autoZero"/>
        <c:crossBetween val="between"/>
      </c:valAx>
      <c:spPr>
        <a:effectLst>
          <a:outerShdw blurRad="50800" dist="50800" dir="5400000" algn="ctr" rotWithShape="0">
            <a:schemeClr val="tx2">
              <a:lumMod val="20000"/>
              <a:lumOff val="80000"/>
            </a:schemeClr>
          </a:outerShdw>
        </a:effectLst>
      </c:spPr>
    </c:plotArea>
    <c:plotVisOnly val="1"/>
    <c:dispBlanksAs val="gap"/>
  </c:chart>
  <c:txPr>
    <a:bodyPr/>
    <a:lstStyle/>
    <a:p>
      <a:pPr>
        <a:defRPr sz="1050">
          <a:latin typeface="Century Gothic" pitchFamily="34" charset="0"/>
          <a:cs typeface="TH SarabunPSK" pitchFamily="34" charset="-34"/>
        </a:defRPr>
      </a:pPr>
      <a:endParaRPr lang="th-TH"/>
    </a:p>
  </c:txPr>
  <c:externalData r:id="rId1"/>
  <c:userShapes r:id="rId2"/>
</c:chartSpace>
</file>

<file path=ppt/charts/chart2.xml><?xml version="1.0" encoding="utf-8"?>
<c:chartSpace xmlns:c="http://schemas.openxmlformats.org/drawingml/2006/chart" xmlns:a="http://schemas.openxmlformats.org/drawingml/2006/main" xmlns:r="http://schemas.openxmlformats.org/officeDocument/2006/relationships">
  <c:lang val="th-TH"/>
  <c:chart>
    <c:plotArea>
      <c:layout>
        <c:manualLayout>
          <c:layoutTarget val="inner"/>
          <c:xMode val="edge"/>
          <c:yMode val="edge"/>
          <c:x val="6.1597322519720034E-2"/>
          <c:y val="9.0886490875464243E-2"/>
          <c:w val="0.90548335538475466"/>
          <c:h val="0.57341601661524078"/>
        </c:manualLayout>
      </c:layout>
      <c:lineChart>
        <c:grouping val="standard"/>
        <c:ser>
          <c:idx val="0"/>
          <c:order val="0"/>
          <c:tx>
            <c:strRef>
              <c:f>Sheet1!$B$1</c:f>
              <c:strCache>
                <c:ptCount val="1"/>
                <c:pt idx="0">
                  <c:v>การลงทุนเอกชน ต่อ GDP</c:v>
                </c:pt>
              </c:strCache>
            </c:strRef>
          </c:tx>
          <c:marker>
            <c:symbol val="circle"/>
            <c:size val="4"/>
          </c:marker>
          <c:dLbls>
            <c:dLbl>
              <c:idx val="14"/>
              <c:layout>
                <c:manualLayout>
                  <c:x val="-4.8100716082051485E-2"/>
                  <c:y val="-5.0497901354934378E-2"/>
                </c:manualLayout>
              </c:layout>
              <c:showVal val="1"/>
              <c:extLst>
                <c:ext xmlns:c15="http://schemas.microsoft.com/office/drawing/2012/chart" uri="{CE6537A1-D6FC-4f65-9D91-7224C49458BB}">
                  <c15:layout/>
                </c:ext>
              </c:extLst>
            </c:dLbl>
            <c:delete val="1"/>
            <c:extLst>
              <c:ext xmlns:c15="http://schemas.microsoft.com/office/drawing/2012/chart" uri="{CE6537A1-D6FC-4f65-9D91-7224C49458BB}">
                <c15:showLeaderLines val="0"/>
              </c:ext>
            </c:extLst>
          </c:dLbls>
          <c:cat>
            <c:numRef>
              <c:f>Sheet1!$A$2:$A$16</c:f>
              <c:numCache>
                <c:formatCode>General</c:formatCode>
                <c:ptCount val="15"/>
                <c:pt idx="0">
                  <c:v>2550</c:v>
                </c:pt>
                <c:pt idx="1">
                  <c:v>2551</c:v>
                </c:pt>
                <c:pt idx="2">
                  <c:v>2552</c:v>
                </c:pt>
                <c:pt idx="3">
                  <c:v>2553</c:v>
                </c:pt>
                <c:pt idx="4">
                  <c:v>2554</c:v>
                </c:pt>
                <c:pt idx="5">
                  <c:v>2555</c:v>
                </c:pt>
                <c:pt idx="6">
                  <c:v>2556</c:v>
                </c:pt>
                <c:pt idx="7">
                  <c:v>2557</c:v>
                </c:pt>
                <c:pt idx="8">
                  <c:v>2558</c:v>
                </c:pt>
                <c:pt idx="9">
                  <c:v>2559</c:v>
                </c:pt>
                <c:pt idx="10">
                  <c:v>2560</c:v>
                </c:pt>
                <c:pt idx="11">
                  <c:v>2561</c:v>
                </c:pt>
                <c:pt idx="12">
                  <c:v>2562</c:v>
                </c:pt>
                <c:pt idx="13">
                  <c:v>2563</c:v>
                </c:pt>
                <c:pt idx="14">
                  <c:v>2564</c:v>
                </c:pt>
              </c:numCache>
            </c:numRef>
          </c:cat>
          <c:val>
            <c:numRef>
              <c:f>Sheet1!$B$2:$B$16</c:f>
              <c:numCache>
                <c:formatCode>0.0</c:formatCode>
                <c:ptCount val="15"/>
                <c:pt idx="0">
                  <c:v>18.558803707278745</c:v>
                </c:pt>
                <c:pt idx="1">
                  <c:v>19.864185718000314</c:v>
                </c:pt>
                <c:pt idx="2">
                  <c:v>16.390836725358671</c:v>
                </c:pt>
                <c:pt idx="3">
                  <c:v>17.886318246626974</c:v>
                </c:pt>
                <c:pt idx="4">
                  <c:v>20.148896264186892</c:v>
                </c:pt>
                <c:pt idx="5">
                  <c:v>21.028153272741829</c:v>
                </c:pt>
                <c:pt idx="6">
                  <c:v>19.763218357684153</c:v>
                </c:pt>
                <c:pt idx="7">
                  <c:v>19.416225345951233</c:v>
                </c:pt>
                <c:pt idx="8">
                  <c:v>19.198278453341743</c:v>
                </c:pt>
                <c:pt idx="9">
                  <c:v>19.642683047169069</c:v>
                </c:pt>
                <c:pt idx="10">
                  <c:v>20.097374784372093</c:v>
                </c:pt>
                <c:pt idx="11">
                  <c:v>20.562591793269586</c:v>
                </c:pt>
                <c:pt idx="12">
                  <c:v>21.03857771441011</c:v>
                </c:pt>
                <c:pt idx="13">
                  <c:v>21.525581828169557</c:v>
                </c:pt>
                <c:pt idx="14">
                  <c:v>22.023859185303127</c:v>
                </c:pt>
              </c:numCache>
            </c:numRef>
          </c:val>
        </c:ser>
        <c:ser>
          <c:idx val="1"/>
          <c:order val="1"/>
          <c:tx>
            <c:strRef>
              <c:f>Sheet1!$C$1</c:f>
              <c:strCache>
                <c:ptCount val="1"/>
                <c:pt idx="0">
                  <c:v>การลงทุนภาครัฐ ต่อ GDP</c:v>
                </c:pt>
              </c:strCache>
            </c:strRef>
          </c:tx>
          <c:marker>
            <c:symbol val="square"/>
            <c:size val="4"/>
          </c:marker>
          <c:dLbls>
            <c:dLbl>
              <c:idx val="14"/>
              <c:layout>
                <c:manualLayout>
                  <c:x val="-4.5428454077493081E-2"/>
                  <c:y val="-7.5746852032401404E-2"/>
                </c:manualLayout>
              </c:layout>
              <c:showVal val="1"/>
              <c:extLst>
                <c:ext xmlns:c15="http://schemas.microsoft.com/office/drawing/2012/chart" uri="{CE6537A1-D6FC-4f65-9D91-7224C49458BB}">
                  <c15:layout/>
                </c:ext>
              </c:extLst>
            </c:dLbl>
            <c:delete val="1"/>
            <c:extLst>
              <c:ext xmlns:c15="http://schemas.microsoft.com/office/drawing/2012/chart" uri="{CE6537A1-D6FC-4f65-9D91-7224C49458BB}">
                <c15:showLeaderLines val="0"/>
              </c:ext>
            </c:extLst>
          </c:dLbls>
          <c:cat>
            <c:numRef>
              <c:f>Sheet1!$A$2:$A$16</c:f>
              <c:numCache>
                <c:formatCode>General</c:formatCode>
                <c:ptCount val="15"/>
                <c:pt idx="0">
                  <c:v>2550</c:v>
                </c:pt>
                <c:pt idx="1">
                  <c:v>2551</c:v>
                </c:pt>
                <c:pt idx="2">
                  <c:v>2552</c:v>
                </c:pt>
                <c:pt idx="3">
                  <c:v>2553</c:v>
                </c:pt>
                <c:pt idx="4">
                  <c:v>2554</c:v>
                </c:pt>
                <c:pt idx="5">
                  <c:v>2555</c:v>
                </c:pt>
                <c:pt idx="6">
                  <c:v>2556</c:v>
                </c:pt>
                <c:pt idx="7">
                  <c:v>2557</c:v>
                </c:pt>
                <c:pt idx="8">
                  <c:v>2558</c:v>
                </c:pt>
                <c:pt idx="9">
                  <c:v>2559</c:v>
                </c:pt>
                <c:pt idx="10">
                  <c:v>2560</c:v>
                </c:pt>
                <c:pt idx="11">
                  <c:v>2561</c:v>
                </c:pt>
                <c:pt idx="12">
                  <c:v>2562</c:v>
                </c:pt>
                <c:pt idx="13">
                  <c:v>2563</c:v>
                </c:pt>
                <c:pt idx="14">
                  <c:v>2564</c:v>
                </c:pt>
              </c:numCache>
            </c:numRef>
          </c:cat>
          <c:val>
            <c:numRef>
              <c:f>Sheet1!$C$2:$C$16</c:f>
              <c:numCache>
                <c:formatCode>0.0</c:formatCode>
                <c:ptCount val="15"/>
                <c:pt idx="0">
                  <c:v>6.8974308603708447</c:v>
                </c:pt>
                <c:pt idx="1">
                  <c:v>6.5835219614189064</c:v>
                </c:pt>
                <c:pt idx="2">
                  <c:v>6.72925132918777</c:v>
                </c:pt>
                <c:pt idx="3">
                  <c:v>6.1191483153469015</c:v>
                </c:pt>
                <c:pt idx="4">
                  <c:v>5.7021534916421812</c:v>
                </c:pt>
                <c:pt idx="5">
                  <c:v>5.8511867914412186</c:v>
                </c:pt>
                <c:pt idx="6">
                  <c:v>5.5782175079577616</c:v>
                </c:pt>
                <c:pt idx="7">
                  <c:v>5.2186920874699902</c:v>
                </c:pt>
                <c:pt idx="8">
                  <c:v>6.1788906804305492</c:v>
                </c:pt>
                <c:pt idx="9">
                  <c:v>6.4649504341541864</c:v>
                </c:pt>
                <c:pt idx="10">
                  <c:v>6.7642536949946654</c:v>
                </c:pt>
                <c:pt idx="11">
                  <c:v>7.0774135882814448</c:v>
                </c:pt>
                <c:pt idx="12">
                  <c:v>7.4050716247759549</c:v>
                </c:pt>
                <c:pt idx="13">
                  <c:v>7.7478990148118827</c:v>
                </c:pt>
                <c:pt idx="14">
                  <c:v>8.1065980432753886</c:v>
                </c:pt>
              </c:numCache>
            </c:numRef>
          </c:val>
        </c:ser>
        <c:dLbls/>
        <c:marker val="1"/>
        <c:axId val="86673280"/>
        <c:axId val="86674816"/>
      </c:lineChart>
      <c:catAx>
        <c:axId val="86673280"/>
        <c:scaling>
          <c:orientation val="minMax"/>
        </c:scaling>
        <c:axPos val="b"/>
        <c:numFmt formatCode="General" sourceLinked="1"/>
        <c:tickLblPos val="nextTo"/>
        <c:txPr>
          <a:bodyPr rot="-5400000" vert="horz"/>
          <a:lstStyle/>
          <a:p>
            <a:pPr>
              <a:defRPr lang="en-US" sz="1100">
                <a:latin typeface="TH SarabunPSK" pitchFamily="34" charset="-34"/>
                <a:cs typeface="TH SarabunPSK" pitchFamily="34" charset="-34"/>
              </a:defRPr>
            </a:pPr>
            <a:endParaRPr lang="th-TH"/>
          </a:p>
        </c:txPr>
        <c:crossAx val="86674816"/>
        <c:crosses val="autoZero"/>
        <c:auto val="1"/>
        <c:lblAlgn val="ctr"/>
        <c:lblOffset val="100"/>
      </c:catAx>
      <c:valAx>
        <c:axId val="86674816"/>
        <c:scaling>
          <c:orientation val="minMax"/>
        </c:scaling>
        <c:axPos val="l"/>
        <c:title>
          <c:tx>
            <c:rich>
              <a:bodyPr rot="0" vert="horz"/>
              <a:lstStyle/>
              <a:p>
                <a:pPr>
                  <a:defRPr lang="en-US">
                    <a:latin typeface="TH SarabunPSK" pitchFamily="34" charset="-34"/>
                    <a:cs typeface="TH SarabunPSK" pitchFamily="34" charset="-34"/>
                  </a:defRPr>
                </a:pPr>
                <a:r>
                  <a:rPr lang="th-TH" dirty="0" smtClean="0">
                    <a:latin typeface="TH SarabunPSK" pitchFamily="34" charset="-34"/>
                    <a:cs typeface="TH SarabunPSK" pitchFamily="34" charset="-34"/>
                  </a:rPr>
                  <a:t>ร้อยละ</a:t>
                </a:r>
                <a:endParaRPr lang="en-US" dirty="0">
                  <a:latin typeface="TH SarabunPSK" pitchFamily="34" charset="-34"/>
                  <a:cs typeface="TH SarabunPSK" pitchFamily="34" charset="-34"/>
                </a:endParaRPr>
              </a:p>
            </c:rich>
          </c:tx>
          <c:layout>
            <c:manualLayout>
              <c:xMode val="edge"/>
              <c:yMode val="edge"/>
              <c:x val="3.2067144054701006E-2"/>
              <c:y val="4.9615988696453724E-3"/>
            </c:manualLayout>
          </c:layout>
        </c:title>
        <c:numFmt formatCode="0" sourceLinked="0"/>
        <c:tickLblPos val="nextTo"/>
        <c:txPr>
          <a:bodyPr/>
          <a:lstStyle/>
          <a:p>
            <a:pPr>
              <a:defRPr lang="en-US" sz="1100">
                <a:latin typeface="TH SarabunPSK" pitchFamily="34" charset="-34"/>
                <a:cs typeface="TH SarabunPSK" pitchFamily="34" charset="-34"/>
              </a:defRPr>
            </a:pPr>
            <a:endParaRPr lang="th-TH"/>
          </a:p>
        </c:txPr>
        <c:crossAx val="86673280"/>
        <c:crosses val="autoZero"/>
        <c:crossBetween val="between"/>
      </c:valAx>
    </c:plotArea>
    <c:legend>
      <c:legendPos val="r"/>
      <c:layout>
        <c:manualLayout>
          <c:xMode val="edge"/>
          <c:yMode val="edge"/>
          <c:x val="0"/>
          <c:y val="0.86049573802464285"/>
          <c:w val="0.87185348949374264"/>
          <c:h val="0.10898829070241721"/>
        </c:manualLayout>
      </c:layout>
      <c:txPr>
        <a:bodyPr/>
        <a:lstStyle/>
        <a:p>
          <a:pPr>
            <a:defRPr lang="en-US" sz="1200">
              <a:latin typeface="TH SarabunPSK" pitchFamily="34" charset="-34"/>
              <a:cs typeface="TH SarabunPSK" pitchFamily="34" charset="-34"/>
            </a:defRPr>
          </a:pPr>
          <a:endParaRPr lang="th-TH"/>
        </a:p>
      </c:txPr>
    </c:legend>
    <c:plotVisOnly val="1"/>
    <c:dispBlanksAs val="gap"/>
  </c:chart>
  <c:txPr>
    <a:bodyPr/>
    <a:lstStyle/>
    <a:p>
      <a:pPr>
        <a:defRPr sz="1000"/>
      </a:pPr>
      <a:endParaRPr lang="th-TH"/>
    </a:p>
  </c:txPr>
  <c:externalData r:id="rId1"/>
  <c:userShapes r:id="rId2"/>
</c:chartSpace>
</file>

<file path=ppt/charts/chart3.xml><?xml version="1.0" encoding="utf-8"?>
<c:chartSpace xmlns:c="http://schemas.openxmlformats.org/drawingml/2006/chart" xmlns:a="http://schemas.openxmlformats.org/drawingml/2006/main" xmlns:r="http://schemas.openxmlformats.org/officeDocument/2006/relationships">
  <c:lang val="th-TH"/>
  <c:style val="26"/>
  <c:chart>
    <c:autoTitleDeleted val="1"/>
    <c:plotArea>
      <c:layout/>
      <c:pieChart>
        <c:varyColors val="1"/>
        <c:ser>
          <c:idx val="0"/>
          <c:order val="0"/>
          <c:dLbls>
            <c:dLbl>
              <c:idx val="0"/>
              <c:layout>
                <c:manualLayout>
                  <c:x val="2.2514893419917602E-2"/>
                  <c:y val="3.3584499854184831E-2"/>
                </c:manualLayout>
              </c:layout>
              <c:tx>
                <c:rich>
                  <a:bodyPr/>
                  <a:lstStyle/>
                  <a:p>
                    <a:pPr>
                      <a:defRPr lang="en-US"/>
                    </a:pPr>
                    <a:r>
                      <a:rPr lang="th-TH" dirty="0" smtClean="0"/>
                      <a:t>สาธารณูปโภค/สาธารณูปการ</a:t>
                    </a:r>
                    <a:endParaRPr lang="th-TH" dirty="0"/>
                  </a:p>
                </c:rich>
              </c:tx>
              <c:spPr/>
              <c:showCatName val="1"/>
              <c:showPercent val="1"/>
              <c:extLst>
                <c:ext xmlns:c15="http://schemas.microsoft.com/office/drawing/2012/chart" uri="{CE6537A1-D6FC-4f65-9D91-7224C49458BB}">
                  <c15:layout/>
                </c:ext>
              </c:extLst>
            </c:dLbl>
            <c:dLbl>
              <c:idx val="1"/>
              <c:layout>
                <c:manualLayout>
                  <c:x val="8.9284741800552014E-2"/>
                  <c:y val="-6.6944808982210557E-2"/>
                </c:manualLayout>
              </c:layout>
              <c:tx>
                <c:rich>
                  <a:bodyPr/>
                  <a:lstStyle/>
                  <a:p>
                    <a:pPr>
                      <a:defRPr lang="en-US"/>
                    </a:pPr>
                    <a:r>
                      <a:rPr lang="th-TH"/>
                      <a:t>คมนาคม
</a:t>
                    </a:r>
                  </a:p>
                </c:rich>
              </c:tx>
              <c:spPr/>
              <c:showCatName val="1"/>
              <c:showPercent val="1"/>
              <c:extLst>
                <c:ext xmlns:c15="http://schemas.microsoft.com/office/drawing/2012/chart" uri="{CE6537A1-D6FC-4f65-9D91-7224C49458BB}">
                  <c15:layout/>
                </c:ext>
              </c:extLst>
            </c:dLbl>
            <c:dLbl>
              <c:idx val="2"/>
              <c:layout>
                <c:manualLayout>
                  <c:x val="-2.018657042869644E-2"/>
                  <c:y val="-5.3520705745115187E-2"/>
                </c:manualLayout>
              </c:layout>
              <c:tx>
                <c:rich>
                  <a:bodyPr/>
                  <a:lstStyle/>
                  <a:p>
                    <a:pPr>
                      <a:defRPr lang="en-US"/>
                    </a:pPr>
                    <a:r>
                      <a:rPr lang="th-TH" dirty="0" smtClean="0"/>
                      <a:t>ศุลกากรและ</a:t>
                    </a:r>
                    <a:br>
                      <a:rPr lang="th-TH" dirty="0" smtClean="0"/>
                    </a:br>
                    <a:r>
                      <a:rPr lang="th-TH" dirty="0" smtClean="0"/>
                      <a:t>ด่านชายแดน</a:t>
                    </a:r>
                    <a:endParaRPr lang="th-TH" dirty="0"/>
                  </a:p>
                </c:rich>
              </c:tx>
              <c:spPr/>
              <c:showCatName val="1"/>
              <c:showPercent val="1"/>
              <c:extLst>
                <c:ext xmlns:c15="http://schemas.microsoft.com/office/drawing/2012/chart" uri="{CE6537A1-D6FC-4f65-9D91-7224C49458BB}">
                  <c15:layout/>
                </c:ext>
              </c:extLst>
            </c:dLbl>
            <c:spPr>
              <a:noFill/>
              <a:ln>
                <a:noFill/>
              </a:ln>
              <a:effectLst/>
            </c:spPr>
            <c:txPr>
              <a:bodyPr/>
              <a:lstStyle/>
              <a:p>
                <a:pPr>
                  <a:defRPr lang="en-US"/>
                </a:pPr>
                <a:endParaRPr lang="th-TH"/>
              </a:p>
            </c:txPr>
            <c:showCatName val="1"/>
            <c:showPercent val="1"/>
            <c:showLeaderLines val="1"/>
            <c:extLst>
              <c:ext xmlns:c15="http://schemas.microsoft.com/office/drawing/2012/chart" uri="{CE6537A1-D6FC-4f65-9D91-7224C49458BB}"/>
            </c:extLst>
          </c:dLbls>
          <c:cat>
            <c:strRef>
              <c:f>Sheet1!$B$1:$D$1</c:f>
              <c:strCache>
                <c:ptCount val="3"/>
                <c:pt idx="0">
                  <c:v>Public Utilities</c:v>
                </c:pt>
                <c:pt idx="1">
                  <c:v>Transport</c:v>
                </c:pt>
                <c:pt idx="2">
                  <c:v>Infratructure &amp; Customer Checkpoint</c:v>
                </c:pt>
              </c:strCache>
            </c:strRef>
          </c:cat>
          <c:val>
            <c:numRef>
              <c:f>Sheet1!$B$2:$D$2</c:f>
              <c:numCache>
                <c:formatCode>0.00</c:formatCode>
                <c:ptCount val="3"/>
                <c:pt idx="0">
                  <c:v>887.88</c:v>
                </c:pt>
                <c:pt idx="1">
                  <c:v>500</c:v>
                </c:pt>
                <c:pt idx="2">
                  <c:v>1255</c:v>
                </c:pt>
              </c:numCache>
            </c:numRef>
          </c:val>
        </c:ser>
        <c:dLbls>
          <c:showCatName val="1"/>
          <c:showPercent val="1"/>
        </c:dLbls>
        <c:firstSliceAng val="0"/>
      </c:pieChart>
    </c:plotArea>
    <c:plotVisOnly val="1"/>
    <c:dispBlanksAs val="zero"/>
  </c:chart>
  <c:txPr>
    <a:bodyPr/>
    <a:lstStyle/>
    <a:p>
      <a:pPr>
        <a:defRPr lang="th-TH" sz="1600" b="1" kern="1200">
          <a:solidFill>
            <a:schemeClr val="tx1"/>
          </a:solidFill>
          <a:latin typeface="TH SarabunPSK" pitchFamily="34" charset="-34"/>
          <a:ea typeface="+mn-ea"/>
          <a:cs typeface="TH SarabunPSK" pitchFamily="34" charset="-34"/>
        </a:defRPr>
      </a:pPr>
      <a:endParaRPr lang="th-TH"/>
    </a:p>
  </c:txPr>
  <c:externalData r:id="rId1"/>
  <c:userShapes r:id="rId2"/>
</c:chartSpace>
</file>

<file path=ppt/diagrams/colors1.xml><?xml version="1.0" encoding="utf-8"?>
<dgm:colorsDef xmlns:dgm="http://schemas.openxmlformats.org/drawingml/2006/diagram" xmlns:a="http://schemas.openxmlformats.org/drawingml/2006/main" uniqueId="urn:microsoft.com/office/officeart/2005/8/colors/colorful1#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1#2">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630962E0-7B68-450F-99BB-E22230CB98CC}" type="doc">
      <dgm:prSet loTypeId="urn:microsoft.com/office/officeart/2005/8/layout/cycle3" loCatId="cycle" qsTypeId="urn:microsoft.com/office/officeart/2005/8/quickstyle/simple1#4" qsCatId="simple" csTypeId="urn:microsoft.com/office/officeart/2005/8/colors/colorful1#1" csCatId="colorful" phldr="1"/>
      <dgm:spPr/>
      <dgm:t>
        <a:bodyPr/>
        <a:lstStyle/>
        <a:p>
          <a:endParaRPr lang="en-US"/>
        </a:p>
      </dgm:t>
    </dgm:pt>
    <dgm:pt modelId="{7F707673-9EEE-42BF-9EF8-4FE063F0F7E6}">
      <dgm:prSet phldrT="[Text]" custT="1"/>
      <dgm:spPr>
        <a:solidFill>
          <a:srgbClr val="FFFF00"/>
        </a:solidFill>
        <a:ln w="28575">
          <a:solidFill>
            <a:srgbClr val="680000"/>
          </a:solidFill>
        </a:ln>
      </dgm:spPr>
      <dgm:t>
        <a:bodyPr/>
        <a:lstStyle/>
        <a:p>
          <a:r>
            <a:rPr lang="th-TH" sz="2000" b="1" dirty="0" smtClean="0">
              <a:solidFill>
                <a:srgbClr val="680000"/>
              </a:solidFill>
              <a:latin typeface="Browallia New" panose="020B0604020202020204" pitchFamily="34" charset="-34"/>
              <a:cs typeface="Browallia New" panose="020B0604020202020204" pitchFamily="34" charset="-34"/>
            </a:rPr>
            <a:t>การให้</a:t>
          </a:r>
          <a:br>
            <a:rPr lang="th-TH" sz="2000" b="1" dirty="0" smtClean="0">
              <a:solidFill>
                <a:srgbClr val="680000"/>
              </a:solidFill>
              <a:latin typeface="Browallia New" panose="020B0604020202020204" pitchFamily="34" charset="-34"/>
              <a:cs typeface="Browallia New" panose="020B0604020202020204" pitchFamily="34" charset="-34"/>
            </a:rPr>
          </a:br>
          <a:r>
            <a:rPr lang="th-TH" sz="2000" b="1" dirty="0" smtClean="0">
              <a:solidFill>
                <a:srgbClr val="680000"/>
              </a:solidFill>
              <a:latin typeface="Browallia New" panose="020B0604020202020204" pitchFamily="34" charset="-34"/>
              <a:cs typeface="Browallia New" panose="020B0604020202020204" pitchFamily="34" charset="-34"/>
            </a:rPr>
            <a:t>สิทธิประโยชน์</a:t>
          </a:r>
          <a:endParaRPr lang="en-US" sz="2000" b="1" dirty="0">
            <a:solidFill>
              <a:srgbClr val="680000"/>
            </a:solidFill>
            <a:latin typeface="Browallia New" panose="020B0604020202020204" pitchFamily="34" charset="-34"/>
            <a:cs typeface="Browallia New" panose="020B0604020202020204" pitchFamily="34" charset="-34"/>
          </a:endParaRPr>
        </a:p>
      </dgm:t>
    </dgm:pt>
    <dgm:pt modelId="{F072427B-AD40-4470-94AD-99D3EAF9C45E}" type="parTrans" cxnId="{12698F6E-378C-46AF-99D8-926B9F5EB01C}">
      <dgm:prSet/>
      <dgm:spPr/>
      <dgm:t>
        <a:bodyPr/>
        <a:lstStyle/>
        <a:p>
          <a:endParaRPr lang="en-US" sz="3200" b="1">
            <a:latin typeface="Browallia New" panose="020B0604020202020204" pitchFamily="34" charset="-34"/>
            <a:cs typeface="Browallia New" panose="020B0604020202020204" pitchFamily="34" charset="-34"/>
          </a:endParaRPr>
        </a:p>
      </dgm:t>
    </dgm:pt>
    <dgm:pt modelId="{3F983349-11B4-4B2D-B121-45EDC0ACF400}" type="sibTrans" cxnId="{12698F6E-378C-46AF-99D8-926B9F5EB01C}">
      <dgm:prSet/>
      <dgm:spPr>
        <a:ln w="19050">
          <a:solidFill>
            <a:srgbClr val="680000"/>
          </a:solidFill>
        </a:ln>
      </dgm:spPr>
      <dgm:t>
        <a:bodyPr/>
        <a:lstStyle/>
        <a:p>
          <a:endParaRPr lang="en-US" sz="3200" b="1">
            <a:latin typeface="Browallia New" panose="020B0604020202020204" pitchFamily="34" charset="-34"/>
            <a:cs typeface="Browallia New" panose="020B0604020202020204" pitchFamily="34" charset="-34"/>
          </a:endParaRPr>
        </a:p>
      </dgm:t>
    </dgm:pt>
    <dgm:pt modelId="{32925640-2F94-4D25-8129-A12E98306DD4}">
      <dgm:prSet phldrT="[Text]" custT="1"/>
      <dgm:spPr>
        <a:ln w="28575">
          <a:solidFill>
            <a:srgbClr val="FFC000"/>
          </a:solidFill>
        </a:ln>
      </dgm:spPr>
      <dgm:t>
        <a:bodyPr/>
        <a:lstStyle/>
        <a:p>
          <a:r>
            <a:rPr lang="th-TH" sz="2000" b="1" dirty="0" smtClean="0">
              <a:latin typeface="Browallia New" panose="020B0604020202020204" pitchFamily="34" charset="-34"/>
              <a:cs typeface="Browallia New" panose="020B0604020202020204" pitchFamily="34" charset="-34"/>
            </a:rPr>
            <a:t>การพัฒนาคนและเทคโนโลยี</a:t>
          </a:r>
        </a:p>
      </dgm:t>
    </dgm:pt>
    <dgm:pt modelId="{8137ECCE-560F-408E-A494-0E549BD35CA3}" type="parTrans" cxnId="{18563C67-26AC-4283-97B2-050ED0E92ED3}">
      <dgm:prSet/>
      <dgm:spPr/>
      <dgm:t>
        <a:bodyPr/>
        <a:lstStyle/>
        <a:p>
          <a:endParaRPr lang="en-US" sz="3200" b="1">
            <a:latin typeface="Browallia New" panose="020B0604020202020204" pitchFamily="34" charset="-34"/>
            <a:cs typeface="Browallia New" panose="020B0604020202020204" pitchFamily="34" charset="-34"/>
          </a:endParaRPr>
        </a:p>
      </dgm:t>
    </dgm:pt>
    <dgm:pt modelId="{4F2E8750-12F6-4BF9-9AFF-46716B1863A8}" type="sibTrans" cxnId="{18563C67-26AC-4283-97B2-050ED0E92ED3}">
      <dgm:prSet/>
      <dgm:spPr/>
      <dgm:t>
        <a:bodyPr/>
        <a:lstStyle/>
        <a:p>
          <a:endParaRPr lang="en-US" sz="3200" b="1">
            <a:latin typeface="Browallia New" panose="020B0604020202020204" pitchFamily="34" charset="-34"/>
            <a:cs typeface="Browallia New" panose="020B0604020202020204" pitchFamily="34" charset="-34"/>
          </a:endParaRPr>
        </a:p>
      </dgm:t>
    </dgm:pt>
    <dgm:pt modelId="{487978FC-B7D4-45AF-854B-0DAFE6C86472}">
      <dgm:prSet phldrT="[Text]" custT="1"/>
      <dgm:spPr>
        <a:ln w="28575">
          <a:solidFill>
            <a:srgbClr val="680000"/>
          </a:solidFill>
        </a:ln>
      </dgm:spPr>
      <dgm:t>
        <a:bodyPr/>
        <a:lstStyle/>
        <a:p>
          <a:r>
            <a:rPr lang="th-TH" sz="1800" b="1" dirty="0" smtClean="0">
              <a:solidFill>
                <a:srgbClr val="800000"/>
              </a:solidFill>
              <a:latin typeface="Browallia New" panose="020B0604020202020204" pitchFamily="34" charset="-34"/>
              <a:cs typeface="Browallia New" panose="020B0604020202020204" pitchFamily="34" charset="-34"/>
            </a:rPr>
            <a:t>การพัฒนาโครงสร้างพื้นฐาน</a:t>
          </a:r>
          <a:endParaRPr lang="en-US" sz="1800" b="1" dirty="0">
            <a:solidFill>
              <a:srgbClr val="800000"/>
            </a:solidFill>
            <a:latin typeface="Browallia New" panose="020B0604020202020204" pitchFamily="34" charset="-34"/>
            <a:cs typeface="Browallia New" panose="020B0604020202020204" pitchFamily="34" charset="-34"/>
          </a:endParaRPr>
        </a:p>
      </dgm:t>
    </dgm:pt>
    <dgm:pt modelId="{2EE92D4F-06CB-4F2A-9E71-6F88FAE54F0C}" type="parTrans" cxnId="{95BEF0DE-E07D-493D-9650-0505150DB64C}">
      <dgm:prSet/>
      <dgm:spPr/>
      <dgm:t>
        <a:bodyPr/>
        <a:lstStyle/>
        <a:p>
          <a:endParaRPr lang="en-US" sz="3200" b="1">
            <a:latin typeface="Browallia New" panose="020B0604020202020204" pitchFamily="34" charset="-34"/>
            <a:cs typeface="Browallia New" panose="020B0604020202020204" pitchFamily="34" charset="-34"/>
          </a:endParaRPr>
        </a:p>
      </dgm:t>
    </dgm:pt>
    <dgm:pt modelId="{CCE1FB94-D2F3-45B8-9ABD-96CB91DF8C09}" type="sibTrans" cxnId="{95BEF0DE-E07D-493D-9650-0505150DB64C}">
      <dgm:prSet/>
      <dgm:spPr/>
      <dgm:t>
        <a:bodyPr/>
        <a:lstStyle/>
        <a:p>
          <a:endParaRPr lang="en-US" sz="3200" b="1">
            <a:latin typeface="Browallia New" panose="020B0604020202020204" pitchFamily="34" charset="-34"/>
            <a:cs typeface="Browallia New" panose="020B0604020202020204" pitchFamily="34" charset="-34"/>
          </a:endParaRPr>
        </a:p>
      </dgm:t>
    </dgm:pt>
    <dgm:pt modelId="{13CDAF54-3D22-4E33-976A-4AEE5966623B}">
      <dgm:prSet phldrT="[Text]" custT="1"/>
      <dgm:spPr>
        <a:solidFill>
          <a:srgbClr val="AC7F00"/>
        </a:solidFill>
        <a:ln w="28575">
          <a:solidFill>
            <a:srgbClr val="680000"/>
          </a:solidFill>
        </a:ln>
      </dgm:spPr>
      <dgm:t>
        <a:bodyPr/>
        <a:lstStyle/>
        <a:p>
          <a:r>
            <a:rPr lang="th-TH" sz="1800" b="1" dirty="0" smtClean="0">
              <a:latin typeface="Browallia New" panose="020B0604020202020204" pitchFamily="34" charset="-34"/>
              <a:cs typeface="Browallia New" panose="020B0604020202020204" pitchFamily="34" charset="-34"/>
            </a:rPr>
            <a:t>การแก้ไขกฎระเบียบ</a:t>
          </a:r>
          <a:br>
            <a:rPr lang="th-TH" sz="1800" b="1" dirty="0" smtClean="0">
              <a:latin typeface="Browallia New" panose="020B0604020202020204" pitchFamily="34" charset="-34"/>
              <a:cs typeface="Browallia New" panose="020B0604020202020204" pitchFamily="34" charset="-34"/>
            </a:rPr>
          </a:br>
          <a:r>
            <a:rPr lang="th-TH" sz="1800" b="1" dirty="0" smtClean="0">
              <a:latin typeface="Browallia New" panose="020B0604020202020204" pitchFamily="34" charset="-34"/>
              <a:cs typeface="Browallia New" panose="020B0604020202020204" pitchFamily="34" charset="-34"/>
            </a:rPr>
            <a:t>ที่เป็นอุปสรรค</a:t>
          </a:r>
          <a:endParaRPr lang="en-US" sz="1800" b="1" dirty="0">
            <a:latin typeface="Browallia New" panose="020B0604020202020204" pitchFamily="34" charset="-34"/>
            <a:cs typeface="Browallia New" panose="020B0604020202020204" pitchFamily="34" charset="-34"/>
          </a:endParaRPr>
        </a:p>
      </dgm:t>
    </dgm:pt>
    <dgm:pt modelId="{841A50AA-7935-4EE6-BBBC-7CA5F71D1CD4}" type="parTrans" cxnId="{72BC067D-C0B2-4E61-8793-B03FBA97900A}">
      <dgm:prSet/>
      <dgm:spPr/>
      <dgm:t>
        <a:bodyPr/>
        <a:lstStyle/>
        <a:p>
          <a:endParaRPr lang="en-US" sz="3200" b="1">
            <a:latin typeface="Browallia New" panose="020B0604020202020204" pitchFamily="34" charset="-34"/>
            <a:cs typeface="Browallia New" panose="020B0604020202020204" pitchFamily="34" charset="-34"/>
          </a:endParaRPr>
        </a:p>
      </dgm:t>
    </dgm:pt>
    <dgm:pt modelId="{B5BB2661-66B8-40EC-B135-35DEB2F11219}" type="sibTrans" cxnId="{72BC067D-C0B2-4E61-8793-B03FBA97900A}">
      <dgm:prSet/>
      <dgm:spPr/>
      <dgm:t>
        <a:bodyPr/>
        <a:lstStyle/>
        <a:p>
          <a:endParaRPr lang="en-US" sz="3200" b="1">
            <a:latin typeface="Browallia New" panose="020B0604020202020204" pitchFamily="34" charset="-34"/>
            <a:cs typeface="Browallia New" panose="020B0604020202020204" pitchFamily="34" charset="-34"/>
          </a:endParaRPr>
        </a:p>
      </dgm:t>
    </dgm:pt>
    <dgm:pt modelId="{D345348D-7686-42F7-B807-1E33A9C09628}">
      <dgm:prSet phldrT="[Text]" custT="1"/>
      <dgm:spPr>
        <a:ln w="28575">
          <a:solidFill>
            <a:srgbClr val="FFC000"/>
          </a:solidFill>
        </a:ln>
      </dgm:spPr>
      <dgm:t>
        <a:bodyPr/>
        <a:lstStyle/>
        <a:p>
          <a:r>
            <a:rPr lang="th-TH" sz="2000" b="1" dirty="0" smtClean="0">
              <a:latin typeface="Browallia New" panose="020B0604020202020204" pitchFamily="34" charset="-34"/>
              <a:cs typeface="Browallia New" panose="020B0604020202020204" pitchFamily="34" charset="-34"/>
            </a:rPr>
            <a:t>การ</a:t>
          </a:r>
          <a:r>
            <a:rPr lang="th-TH" sz="1800" b="1" dirty="0" smtClean="0">
              <a:latin typeface="Browallia New" panose="020B0604020202020204" pitchFamily="34" charset="-34"/>
              <a:cs typeface="Browallia New" panose="020B0604020202020204" pitchFamily="34" charset="-34"/>
            </a:rPr>
            <a:t>สนับสนุน</a:t>
          </a:r>
          <a:br>
            <a:rPr lang="th-TH" sz="1800" b="1" dirty="0" smtClean="0">
              <a:latin typeface="Browallia New" panose="020B0604020202020204" pitchFamily="34" charset="-34"/>
              <a:cs typeface="Browallia New" panose="020B0604020202020204" pitchFamily="34" charset="-34"/>
            </a:rPr>
          </a:br>
          <a:r>
            <a:rPr lang="th-TH" sz="1800" b="1" dirty="0" smtClean="0">
              <a:latin typeface="Browallia New" panose="020B0604020202020204" pitchFamily="34" charset="-34"/>
              <a:cs typeface="Browallia New" panose="020B0604020202020204" pitchFamily="34" charset="-34"/>
            </a:rPr>
            <a:t>เงินทุน</a:t>
          </a:r>
          <a:endParaRPr lang="en-US" sz="1800" b="1" dirty="0">
            <a:latin typeface="Browallia New" panose="020B0604020202020204" pitchFamily="34" charset="-34"/>
            <a:cs typeface="Browallia New" panose="020B0604020202020204" pitchFamily="34" charset="-34"/>
          </a:endParaRPr>
        </a:p>
      </dgm:t>
    </dgm:pt>
    <dgm:pt modelId="{D9257805-BAA0-4C36-AEC1-BC387B1A17A9}" type="parTrans" cxnId="{F652480A-A17E-4550-9D17-79FDCD3216D5}">
      <dgm:prSet/>
      <dgm:spPr/>
      <dgm:t>
        <a:bodyPr/>
        <a:lstStyle/>
        <a:p>
          <a:endParaRPr lang="en-US" sz="3200" b="1">
            <a:latin typeface="Browallia New" panose="020B0604020202020204" pitchFamily="34" charset="-34"/>
            <a:cs typeface="Browallia New" panose="020B0604020202020204" pitchFamily="34" charset="-34"/>
          </a:endParaRPr>
        </a:p>
      </dgm:t>
    </dgm:pt>
    <dgm:pt modelId="{56A08D58-5408-48EF-8159-17974DE2ADE3}" type="sibTrans" cxnId="{F652480A-A17E-4550-9D17-79FDCD3216D5}">
      <dgm:prSet/>
      <dgm:spPr/>
      <dgm:t>
        <a:bodyPr/>
        <a:lstStyle/>
        <a:p>
          <a:endParaRPr lang="en-US" sz="3200" b="1">
            <a:latin typeface="Browallia New" panose="020B0604020202020204" pitchFamily="34" charset="-34"/>
            <a:cs typeface="Browallia New" panose="020B0604020202020204" pitchFamily="34" charset="-34"/>
          </a:endParaRPr>
        </a:p>
      </dgm:t>
    </dgm:pt>
    <dgm:pt modelId="{5D6FB55A-D9BE-420A-95D7-7AAB26E1FBB5}" type="pres">
      <dgm:prSet presAssocID="{630962E0-7B68-450F-99BB-E22230CB98CC}" presName="Name0" presStyleCnt="0">
        <dgm:presLayoutVars>
          <dgm:dir/>
          <dgm:resizeHandles val="exact"/>
        </dgm:presLayoutVars>
      </dgm:prSet>
      <dgm:spPr/>
      <dgm:t>
        <a:bodyPr/>
        <a:lstStyle/>
        <a:p>
          <a:endParaRPr lang="en-AU"/>
        </a:p>
      </dgm:t>
    </dgm:pt>
    <dgm:pt modelId="{68950C3F-92C0-46D7-9ED7-8276E4945AF0}" type="pres">
      <dgm:prSet presAssocID="{630962E0-7B68-450F-99BB-E22230CB98CC}" presName="cycle" presStyleCnt="0"/>
      <dgm:spPr/>
      <dgm:t>
        <a:bodyPr/>
        <a:lstStyle/>
        <a:p>
          <a:endParaRPr lang="en-US"/>
        </a:p>
      </dgm:t>
    </dgm:pt>
    <dgm:pt modelId="{4355379A-1E9A-4052-957B-6553244FCE3D}" type="pres">
      <dgm:prSet presAssocID="{7F707673-9EEE-42BF-9EF8-4FE063F0F7E6}" presName="nodeFirstNode" presStyleLbl="node1" presStyleIdx="0" presStyleCnt="5" custScaleX="118563">
        <dgm:presLayoutVars>
          <dgm:bulletEnabled val="1"/>
        </dgm:presLayoutVars>
      </dgm:prSet>
      <dgm:spPr/>
      <dgm:t>
        <a:bodyPr/>
        <a:lstStyle/>
        <a:p>
          <a:endParaRPr lang="en-US"/>
        </a:p>
      </dgm:t>
    </dgm:pt>
    <dgm:pt modelId="{ACBA406C-FB93-4F0F-86D3-B084CFCBA3E4}" type="pres">
      <dgm:prSet presAssocID="{3F983349-11B4-4B2D-B121-45EDC0ACF400}" presName="sibTransFirstNode" presStyleLbl="bgShp" presStyleIdx="0" presStyleCnt="1"/>
      <dgm:spPr/>
      <dgm:t>
        <a:bodyPr/>
        <a:lstStyle/>
        <a:p>
          <a:endParaRPr lang="en-AU"/>
        </a:p>
      </dgm:t>
    </dgm:pt>
    <dgm:pt modelId="{6F3BCA2B-1728-4F66-9540-47670D50526D}" type="pres">
      <dgm:prSet presAssocID="{32925640-2F94-4D25-8129-A12E98306DD4}" presName="nodeFollowingNodes" presStyleLbl="node1" presStyleIdx="1" presStyleCnt="5" custScaleX="116660" custRadScaleRad="133962" custRadScaleInc="7383">
        <dgm:presLayoutVars>
          <dgm:bulletEnabled val="1"/>
        </dgm:presLayoutVars>
      </dgm:prSet>
      <dgm:spPr/>
      <dgm:t>
        <a:bodyPr/>
        <a:lstStyle/>
        <a:p>
          <a:endParaRPr lang="en-US"/>
        </a:p>
      </dgm:t>
    </dgm:pt>
    <dgm:pt modelId="{DDB02302-33AB-47E6-B327-B4FC02D2A8E5}" type="pres">
      <dgm:prSet presAssocID="{487978FC-B7D4-45AF-854B-0DAFE6C86472}" presName="nodeFollowingNodes" presStyleLbl="node1" presStyleIdx="2" presStyleCnt="5" custScaleX="113131" custRadScaleRad="110804" custRadScaleInc="-11809">
        <dgm:presLayoutVars>
          <dgm:bulletEnabled val="1"/>
        </dgm:presLayoutVars>
      </dgm:prSet>
      <dgm:spPr/>
      <dgm:t>
        <a:bodyPr/>
        <a:lstStyle/>
        <a:p>
          <a:endParaRPr lang="en-US"/>
        </a:p>
      </dgm:t>
    </dgm:pt>
    <dgm:pt modelId="{18AE7EDB-27CB-43D5-8F37-523E5A6A890C}" type="pres">
      <dgm:prSet presAssocID="{13CDAF54-3D22-4E33-976A-4AEE5966623B}" presName="nodeFollowingNodes" presStyleLbl="node1" presStyleIdx="3" presStyleCnt="5" custScaleX="113161" custRadScaleRad="110804" custRadScaleInc="11809">
        <dgm:presLayoutVars>
          <dgm:bulletEnabled val="1"/>
        </dgm:presLayoutVars>
      </dgm:prSet>
      <dgm:spPr/>
      <dgm:t>
        <a:bodyPr/>
        <a:lstStyle/>
        <a:p>
          <a:endParaRPr lang="en-US"/>
        </a:p>
      </dgm:t>
    </dgm:pt>
    <dgm:pt modelId="{D4A5D147-550E-47FB-A9E3-82E0CB1B60A6}" type="pres">
      <dgm:prSet presAssocID="{D345348D-7686-42F7-B807-1E33A9C09628}" presName="nodeFollowingNodes" presStyleLbl="node1" presStyleIdx="4" presStyleCnt="5" custScaleX="109244" custRadScaleRad="129324" custRadScaleInc="-7947">
        <dgm:presLayoutVars>
          <dgm:bulletEnabled val="1"/>
        </dgm:presLayoutVars>
      </dgm:prSet>
      <dgm:spPr/>
      <dgm:t>
        <a:bodyPr/>
        <a:lstStyle/>
        <a:p>
          <a:endParaRPr lang="en-AU"/>
        </a:p>
      </dgm:t>
    </dgm:pt>
  </dgm:ptLst>
  <dgm:cxnLst>
    <dgm:cxn modelId="{38A88BD9-26D2-40D8-943D-56308F22B614}" type="presOf" srcId="{32925640-2F94-4D25-8129-A12E98306DD4}" destId="{6F3BCA2B-1728-4F66-9540-47670D50526D}" srcOrd="0" destOrd="0" presId="urn:microsoft.com/office/officeart/2005/8/layout/cycle3"/>
    <dgm:cxn modelId="{23D1970D-22F4-45E5-B3C2-FCFA1507EC75}" type="presOf" srcId="{13CDAF54-3D22-4E33-976A-4AEE5966623B}" destId="{18AE7EDB-27CB-43D5-8F37-523E5A6A890C}" srcOrd="0" destOrd="0" presId="urn:microsoft.com/office/officeart/2005/8/layout/cycle3"/>
    <dgm:cxn modelId="{18563C67-26AC-4283-97B2-050ED0E92ED3}" srcId="{630962E0-7B68-450F-99BB-E22230CB98CC}" destId="{32925640-2F94-4D25-8129-A12E98306DD4}" srcOrd="1" destOrd="0" parTransId="{8137ECCE-560F-408E-A494-0E549BD35CA3}" sibTransId="{4F2E8750-12F6-4BF9-9AFF-46716B1863A8}"/>
    <dgm:cxn modelId="{95BEF0DE-E07D-493D-9650-0505150DB64C}" srcId="{630962E0-7B68-450F-99BB-E22230CB98CC}" destId="{487978FC-B7D4-45AF-854B-0DAFE6C86472}" srcOrd="2" destOrd="0" parTransId="{2EE92D4F-06CB-4F2A-9E71-6F88FAE54F0C}" sibTransId="{CCE1FB94-D2F3-45B8-9ABD-96CB91DF8C09}"/>
    <dgm:cxn modelId="{C3DF2816-BC5B-46FC-941E-924D5973CA30}" type="presOf" srcId="{7F707673-9EEE-42BF-9EF8-4FE063F0F7E6}" destId="{4355379A-1E9A-4052-957B-6553244FCE3D}" srcOrd="0" destOrd="0" presId="urn:microsoft.com/office/officeart/2005/8/layout/cycle3"/>
    <dgm:cxn modelId="{2B269411-DCC8-481C-A14D-6528212758E0}" type="presOf" srcId="{3F983349-11B4-4B2D-B121-45EDC0ACF400}" destId="{ACBA406C-FB93-4F0F-86D3-B084CFCBA3E4}" srcOrd="0" destOrd="0" presId="urn:microsoft.com/office/officeart/2005/8/layout/cycle3"/>
    <dgm:cxn modelId="{72BC067D-C0B2-4E61-8793-B03FBA97900A}" srcId="{630962E0-7B68-450F-99BB-E22230CB98CC}" destId="{13CDAF54-3D22-4E33-976A-4AEE5966623B}" srcOrd="3" destOrd="0" parTransId="{841A50AA-7935-4EE6-BBBC-7CA5F71D1CD4}" sibTransId="{B5BB2661-66B8-40EC-B135-35DEB2F11219}"/>
    <dgm:cxn modelId="{12698F6E-378C-46AF-99D8-926B9F5EB01C}" srcId="{630962E0-7B68-450F-99BB-E22230CB98CC}" destId="{7F707673-9EEE-42BF-9EF8-4FE063F0F7E6}" srcOrd="0" destOrd="0" parTransId="{F072427B-AD40-4470-94AD-99D3EAF9C45E}" sibTransId="{3F983349-11B4-4B2D-B121-45EDC0ACF400}"/>
    <dgm:cxn modelId="{F2F5E108-8D35-4A06-BBD7-254DCDE84E3C}" type="presOf" srcId="{630962E0-7B68-450F-99BB-E22230CB98CC}" destId="{5D6FB55A-D9BE-420A-95D7-7AAB26E1FBB5}" srcOrd="0" destOrd="0" presId="urn:microsoft.com/office/officeart/2005/8/layout/cycle3"/>
    <dgm:cxn modelId="{EB0B3102-07EF-4DB8-A1D6-5EC5AEEC1C18}" type="presOf" srcId="{D345348D-7686-42F7-B807-1E33A9C09628}" destId="{D4A5D147-550E-47FB-A9E3-82E0CB1B60A6}" srcOrd="0" destOrd="0" presId="urn:microsoft.com/office/officeart/2005/8/layout/cycle3"/>
    <dgm:cxn modelId="{F652480A-A17E-4550-9D17-79FDCD3216D5}" srcId="{630962E0-7B68-450F-99BB-E22230CB98CC}" destId="{D345348D-7686-42F7-B807-1E33A9C09628}" srcOrd="4" destOrd="0" parTransId="{D9257805-BAA0-4C36-AEC1-BC387B1A17A9}" sibTransId="{56A08D58-5408-48EF-8159-17974DE2ADE3}"/>
    <dgm:cxn modelId="{B72E18B8-EC29-4D2D-848C-0292A291C25F}" type="presOf" srcId="{487978FC-B7D4-45AF-854B-0DAFE6C86472}" destId="{DDB02302-33AB-47E6-B327-B4FC02D2A8E5}" srcOrd="0" destOrd="0" presId="urn:microsoft.com/office/officeart/2005/8/layout/cycle3"/>
    <dgm:cxn modelId="{2AAF62EE-8324-4F1F-8590-371E0B80F0D8}" type="presParOf" srcId="{5D6FB55A-D9BE-420A-95D7-7AAB26E1FBB5}" destId="{68950C3F-92C0-46D7-9ED7-8276E4945AF0}" srcOrd="0" destOrd="0" presId="urn:microsoft.com/office/officeart/2005/8/layout/cycle3"/>
    <dgm:cxn modelId="{9C50E660-4FC3-4C38-BE32-AC0FB242F009}" type="presParOf" srcId="{68950C3F-92C0-46D7-9ED7-8276E4945AF0}" destId="{4355379A-1E9A-4052-957B-6553244FCE3D}" srcOrd="0" destOrd="0" presId="urn:microsoft.com/office/officeart/2005/8/layout/cycle3"/>
    <dgm:cxn modelId="{F828C1FE-5AE5-471F-96C8-0CDB48D40129}" type="presParOf" srcId="{68950C3F-92C0-46D7-9ED7-8276E4945AF0}" destId="{ACBA406C-FB93-4F0F-86D3-B084CFCBA3E4}" srcOrd="1" destOrd="0" presId="urn:microsoft.com/office/officeart/2005/8/layout/cycle3"/>
    <dgm:cxn modelId="{23D82FF4-61C1-4A5E-9999-E6FB393C0847}" type="presParOf" srcId="{68950C3F-92C0-46D7-9ED7-8276E4945AF0}" destId="{6F3BCA2B-1728-4F66-9540-47670D50526D}" srcOrd="2" destOrd="0" presId="urn:microsoft.com/office/officeart/2005/8/layout/cycle3"/>
    <dgm:cxn modelId="{3596F480-73E4-428C-81CC-06B62496C711}" type="presParOf" srcId="{68950C3F-92C0-46D7-9ED7-8276E4945AF0}" destId="{DDB02302-33AB-47E6-B327-B4FC02D2A8E5}" srcOrd="3" destOrd="0" presId="urn:microsoft.com/office/officeart/2005/8/layout/cycle3"/>
    <dgm:cxn modelId="{4EDC4270-EE29-4F88-BE9C-6375E657C5B1}" type="presParOf" srcId="{68950C3F-92C0-46D7-9ED7-8276E4945AF0}" destId="{18AE7EDB-27CB-43D5-8F37-523E5A6A890C}" srcOrd="4" destOrd="0" presId="urn:microsoft.com/office/officeart/2005/8/layout/cycle3"/>
    <dgm:cxn modelId="{BCDCF5EF-93B7-40FA-B568-7D721C686209}" type="presParOf" srcId="{68950C3F-92C0-46D7-9ED7-8276E4945AF0}" destId="{D4A5D147-550E-47FB-A9E3-82E0CB1B60A6}" srcOrd="5" destOrd="0" presId="urn:microsoft.com/office/officeart/2005/8/layout/cycle3"/>
  </dgm:cxnLst>
  <dgm:bg/>
  <dgm:whole/>
  <dgm:extLst>
    <a:ext uri="http://schemas.microsoft.com/office/drawing/2008/diagram">
      <dsp:dataModelExt xmlns:dsp="http://schemas.microsoft.com/office/drawing/2008/diagram" xmlns="" relId="rId7" minVer="http://schemas.openxmlformats.org/drawingml/2006/diagram"/>
    </a:ext>
    <a:ext uri="{C62137D5-CB1D-491B-B009-E17868A290BF}">
      <dgm14:recolorImg xmlns:dgm14="http://schemas.microsoft.com/office/drawing/2010/diagram" xmlns="" val="1"/>
    </a:ext>
  </dgm:extLst>
</dgm:dataModel>
</file>

<file path=ppt/diagrams/data2.xml><?xml version="1.0" encoding="utf-8"?>
<dgm:dataModel xmlns:dgm="http://schemas.openxmlformats.org/drawingml/2006/diagram" xmlns:a="http://schemas.openxmlformats.org/drawingml/2006/main">
  <dgm:ptLst>
    <dgm:pt modelId="{568CB4FF-D58F-4CFD-892E-38EFA0CB1165}" type="doc">
      <dgm:prSet loTypeId="urn:microsoft.com/office/officeart/2005/8/layout/venn1" loCatId="relationship" qsTypeId="urn:microsoft.com/office/officeart/2005/8/quickstyle/3d4" qsCatId="3D" csTypeId="urn:microsoft.com/office/officeart/2005/8/colors/colorful1#2" csCatId="colorful" phldr="1"/>
      <dgm:spPr/>
    </dgm:pt>
    <dgm:pt modelId="{31C6A89C-A2B9-4E24-8B8B-B8F5199E9980}">
      <dgm:prSet custT="1"/>
      <dgm:spPr>
        <a:solidFill>
          <a:schemeClr val="accent4">
            <a:lumMod val="40000"/>
            <a:lumOff val="60000"/>
          </a:schemeClr>
        </a:solidFill>
      </dgm:spPr>
      <dgm:t>
        <a:bodyPr/>
        <a:lstStyle/>
        <a:p>
          <a:endParaRPr lang="th-TH" sz="2800" dirty="0" smtClean="0">
            <a:solidFill>
              <a:schemeClr val="bg1"/>
            </a:solidFill>
          </a:endParaRPr>
        </a:p>
      </dgm:t>
    </dgm:pt>
    <dgm:pt modelId="{92F80A9D-2E90-4F3C-93C7-7B2EE1135701}" type="parTrans" cxnId="{E5CFEE57-5564-4D2B-AC3B-44F0517E5814}">
      <dgm:prSet/>
      <dgm:spPr/>
      <dgm:t>
        <a:bodyPr/>
        <a:lstStyle/>
        <a:p>
          <a:endParaRPr lang="en-US"/>
        </a:p>
      </dgm:t>
    </dgm:pt>
    <dgm:pt modelId="{3B08D6FC-05EA-44CC-B62E-AD3DD7C3348E}" type="sibTrans" cxnId="{E5CFEE57-5564-4D2B-AC3B-44F0517E5814}">
      <dgm:prSet/>
      <dgm:spPr/>
      <dgm:t>
        <a:bodyPr/>
        <a:lstStyle/>
        <a:p>
          <a:endParaRPr lang="en-US"/>
        </a:p>
      </dgm:t>
    </dgm:pt>
    <dgm:pt modelId="{CEC457DD-28B7-4634-AE74-F30EF37FDF27}">
      <dgm:prSet phldrT="[Text]"/>
      <dgm:spPr>
        <a:solidFill>
          <a:srgbClr val="FF9900"/>
        </a:solidFill>
      </dgm:spPr>
      <dgm:t>
        <a:bodyPr/>
        <a:lstStyle/>
        <a:p>
          <a:endParaRPr lang="en-US" dirty="0"/>
        </a:p>
      </dgm:t>
    </dgm:pt>
    <dgm:pt modelId="{E6B1890F-B9D2-48EC-A743-6F0F1DF709E4}" type="sibTrans" cxnId="{62E466BF-E958-4E6B-86E3-EBCEE1065E26}">
      <dgm:prSet/>
      <dgm:spPr/>
      <dgm:t>
        <a:bodyPr/>
        <a:lstStyle/>
        <a:p>
          <a:endParaRPr lang="en-US"/>
        </a:p>
      </dgm:t>
    </dgm:pt>
    <dgm:pt modelId="{ED743FB7-85E3-48B2-83AE-CBAADD7A1FF2}" type="parTrans" cxnId="{62E466BF-E958-4E6B-86E3-EBCEE1065E26}">
      <dgm:prSet/>
      <dgm:spPr/>
      <dgm:t>
        <a:bodyPr/>
        <a:lstStyle/>
        <a:p>
          <a:endParaRPr lang="en-US"/>
        </a:p>
      </dgm:t>
    </dgm:pt>
    <dgm:pt modelId="{D31F083C-3D3C-47F7-A412-15D64D7529CB}">
      <dgm:prSet phldrT="[Text]"/>
      <dgm:spPr>
        <a:solidFill>
          <a:srgbClr val="3399FF"/>
        </a:solidFill>
      </dgm:spPr>
      <dgm:t>
        <a:bodyPr/>
        <a:lstStyle/>
        <a:p>
          <a:endParaRPr lang="en-US" dirty="0"/>
        </a:p>
      </dgm:t>
    </dgm:pt>
    <dgm:pt modelId="{B05C1131-6ECA-4224-9DC3-8993C3D95621}" type="sibTrans" cxnId="{282186F6-D798-4B5D-ACE5-468FBACC7144}">
      <dgm:prSet/>
      <dgm:spPr/>
      <dgm:t>
        <a:bodyPr/>
        <a:lstStyle/>
        <a:p>
          <a:endParaRPr lang="en-US"/>
        </a:p>
      </dgm:t>
    </dgm:pt>
    <dgm:pt modelId="{37891CD1-EC78-4EB6-B464-66CD8E6B4962}" type="parTrans" cxnId="{282186F6-D798-4B5D-ACE5-468FBACC7144}">
      <dgm:prSet/>
      <dgm:spPr/>
      <dgm:t>
        <a:bodyPr/>
        <a:lstStyle/>
        <a:p>
          <a:endParaRPr lang="en-US"/>
        </a:p>
      </dgm:t>
    </dgm:pt>
    <dgm:pt modelId="{1C6BFE8D-A421-47E9-AFFD-22BF4108AD9C}">
      <dgm:prSet phldrT="[Text]"/>
      <dgm:spPr>
        <a:solidFill>
          <a:schemeClr val="accent2">
            <a:lumMod val="60000"/>
            <a:lumOff val="40000"/>
          </a:schemeClr>
        </a:solidFill>
      </dgm:spPr>
      <dgm:t>
        <a:bodyPr/>
        <a:lstStyle/>
        <a:p>
          <a:endParaRPr lang="en-US" dirty="0">
            <a:solidFill>
              <a:schemeClr val="bg1"/>
            </a:solidFill>
          </a:endParaRPr>
        </a:p>
      </dgm:t>
    </dgm:pt>
    <dgm:pt modelId="{597FCC34-478F-4FE8-8ACB-302F9BCD0219}" type="sibTrans" cxnId="{02E496D5-3590-4D4C-8451-3AA468C0015D}">
      <dgm:prSet/>
      <dgm:spPr/>
      <dgm:t>
        <a:bodyPr/>
        <a:lstStyle/>
        <a:p>
          <a:endParaRPr lang="en-US"/>
        </a:p>
      </dgm:t>
    </dgm:pt>
    <dgm:pt modelId="{83AB4D83-48D4-4863-AC3E-D4A4B2DA5222}" type="parTrans" cxnId="{02E496D5-3590-4D4C-8451-3AA468C0015D}">
      <dgm:prSet/>
      <dgm:spPr/>
      <dgm:t>
        <a:bodyPr/>
        <a:lstStyle/>
        <a:p>
          <a:endParaRPr lang="en-US"/>
        </a:p>
      </dgm:t>
    </dgm:pt>
    <dgm:pt modelId="{43D9DE9E-29A2-4F82-A71E-3F92163D2E40}" type="pres">
      <dgm:prSet presAssocID="{568CB4FF-D58F-4CFD-892E-38EFA0CB1165}" presName="compositeShape" presStyleCnt="0">
        <dgm:presLayoutVars>
          <dgm:chMax val="7"/>
          <dgm:dir/>
          <dgm:resizeHandles val="exact"/>
        </dgm:presLayoutVars>
      </dgm:prSet>
      <dgm:spPr/>
    </dgm:pt>
    <dgm:pt modelId="{D0DDF003-BFDA-477D-84FD-380D6AE781B7}" type="pres">
      <dgm:prSet presAssocID="{31C6A89C-A2B9-4E24-8B8B-B8F5199E9980}" presName="circ1" presStyleLbl="vennNode1" presStyleIdx="0" presStyleCnt="4" custScaleX="114010" custLinFactNeighborX="2332" custLinFactNeighborY="-12058"/>
      <dgm:spPr/>
      <dgm:t>
        <a:bodyPr/>
        <a:lstStyle/>
        <a:p>
          <a:endParaRPr lang="en-US"/>
        </a:p>
      </dgm:t>
    </dgm:pt>
    <dgm:pt modelId="{4AD6A5AC-083C-4F18-9EDC-4CBC2FF1633D}" type="pres">
      <dgm:prSet presAssocID="{31C6A89C-A2B9-4E24-8B8B-B8F5199E9980}" presName="circ1Tx" presStyleLbl="revTx" presStyleIdx="0" presStyleCnt="0">
        <dgm:presLayoutVars>
          <dgm:chMax val="0"/>
          <dgm:chPref val="0"/>
          <dgm:bulletEnabled val="1"/>
        </dgm:presLayoutVars>
      </dgm:prSet>
      <dgm:spPr/>
      <dgm:t>
        <a:bodyPr/>
        <a:lstStyle/>
        <a:p>
          <a:endParaRPr lang="en-US"/>
        </a:p>
      </dgm:t>
    </dgm:pt>
    <dgm:pt modelId="{89CC9EB9-DDE7-42F1-A434-0924ED35305F}" type="pres">
      <dgm:prSet presAssocID="{CEC457DD-28B7-4634-AE74-F30EF37FDF27}" presName="circ2" presStyleLbl="vennNode1" presStyleIdx="1" presStyleCnt="4" custScaleX="109556" custLinFactNeighborX="11966" custLinFactNeighborY="45908"/>
      <dgm:spPr/>
      <dgm:t>
        <a:bodyPr/>
        <a:lstStyle/>
        <a:p>
          <a:endParaRPr lang="en-US"/>
        </a:p>
      </dgm:t>
    </dgm:pt>
    <dgm:pt modelId="{23E4F347-FFCD-470D-AE0F-847FFCEC3718}" type="pres">
      <dgm:prSet presAssocID="{CEC457DD-28B7-4634-AE74-F30EF37FDF27}" presName="circ2Tx" presStyleLbl="revTx" presStyleIdx="0" presStyleCnt="0">
        <dgm:presLayoutVars>
          <dgm:chMax val="0"/>
          <dgm:chPref val="0"/>
          <dgm:bulletEnabled val="1"/>
        </dgm:presLayoutVars>
      </dgm:prSet>
      <dgm:spPr/>
      <dgm:t>
        <a:bodyPr/>
        <a:lstStyle/>
        <a:p>
          <a:endParaRPr lang="en-US"/>
        </a:p>
      </dgm:t>
    </dgm:pt>
    <dgm:pt modelId="{B474A207-DD1D-4822-B702-2387DE717E77}" type="pres">
      <dgm:prSet presAssocID="{1C6BFE8D-A421-47E9-AFFD-22BF4108AD9C}" presName="circ3" presStyleLbl="vennNode1" presStyleIdx="2" presStyleCnt="4" custScaleX="109272" custLinFactNeighborX="1301" custLinFactNeighborY="-32079"/>
      <dgm:spPr/>
      <dgm:t>
        <a:bodyPr/>
        <a:lstStyle/>
        <a:p>
          <a:endParaRPr lang="en-US"/>
        </a:p>
      </dgm:t>
    </dgm:pt>
    <dgm:pt modelId="{DBF176E1-ABAD-4E0D-BD7E-DD969D0894CA}" type="pres">
      <dgm:prSet presAssocID="{1C6BFE8D-A421-47E9-AFFD-22BF4108AD9C}" presName="circ3Tx" presStyleLbl="revTx" presStyleIdx="0" presStyleCnt="0">
        <dgm:presLayoutVars>
          <dgm:chMax val="0"/>
          <dgm:chPref val="0"/>
          <dgm:bulletEnabled val="1"/>
        </dgm:presLayoutVars>
      </dgm:prSet>
      <dgm:spPr/>
      <dgm:t>
        <a:bodyPr/>
        <a:lstStyle/>
        <a:p>
          <a:endParaRPr lang="en-US"/>
        </a:p>
      </dgm:t>
    </dgm:pt>
    <dgm:pt modelId="{69213982-A5F5-4B6B-956C-19E8423B703E}" type="pres">
      <dgm:prSet presAssocID="{D31F083C-3D3C-47F7-A412-15D64D7529CB}" presName="circ4" presStyleLbl="vennNode1" presStyleIdx="3" presStyleCnt="4" custScaleX="112183" custLinFactNeighborY="51022"/>
      <dgm:spPr/>
      <dgm:t>
        <a:bodyPr/>
        <a:lstStyle/>
        <a:p>
          <a:endParaRPr lang="en-US"/>
        </a:p>
      </dgm:t>
    </dgm:pt>
    <dgm:pt modelId="{56AA43C8-AB2B-426F-A4EF-EFF4257BF084}" type="pres">
      <dgm:prSet presAssocID="{D31F083C-3D3C-47F7-A412-15D64D7529CB}" presName="circ4Tx" presStyleLbl="revTx" presStyleIdx="0" presStyleCnt="0">
        <dgm:presLayoutVars>
          <dgm:chMax val="0"/>
          <dgm:chPref val="0"/>
          <dgm:bulletEnabled val="1"/>
        </dgm:presLayoutVars>
      </dgm:prSet>
      <dgm:spPr/>
      <dgm:t>
        <a:bodyPr/>
        <a:lstStyle/>
        <a:p>
          <a:endParaRPr lang="en-US"/>
        </a:p>
      </dgm:t>
    </dgm:pt>
  </dgm:ptLst>
  <dgm:cxnLst>
    <dgm:cxn modelId="{1DD62F5E-7FA9-436E-8533-99D2ED45BDB7}" type="presOf" srcId="{568CB4FF-D58F-4CFD-892E-38EFA0CB1165}" destId="{43D9DE9E-29A2-4F82-A71E-3F92163D2E40}" srcOrd="0" destOrd="0" presId="urn:microsoft.com/office/officeart/2005/8/layout/venn1"/>
    <dgm:cxn modelId="{282186F6-D798-4B5D-ACE5-468FBACC7144}" srcId="{568CB4FF-D58F-4CFD-892E-38EFA0CB1165}" destId="{D31F083C-3D3C-47F7-A412-15D64D7529CB}" srcOrd="3" destOrd="0" parTransId="{37891CD1-EC78-4EB6-B464-66CD8E6B4962}" sibTransId="{B05C1131-6ECA-4224-9DC3-8993C3D95621}"/>
    <dgm:cxn modelId="{EDA6023E-BFEF-470E-A735-3B48EA951112}" type="presOf" srcId="{31C6A89C-A2B9-4E24-8B8B-B8F5199E9980}" destId="{D0DDF003-BFDA-477D-84FD-380D6AE781B7}" srcOrd="0" destOrd="0" presId="urn:microsoft.com/office/officeart/2005/8/layout/venn1"/>
    <dgm:cxn modelId="{8261F5B0-2DE6-411E-8AD1-7FBFF6147F48}" type="presOf" srcId="{31C6A89C-A2B9-4E24-8B8B-B8F5199E9980}" destId="{4AD6A5AC-083C-4F18-9EDC-4CBC2FF1633D}" srcOrd="1" destOrd="0" presId="urn:microsoft.com/office/officeart/2005/8/layout/venn1"/>
    <dgm:cxn modelId="{524EC095-2AEA-45B2-B67D-0CD0DD824768}" type="presOf" srcId="{D31F083C-3D3C-47F7-A412-15D64D7529CB}" destId="{56AA43C8-AB2B-426F-A4EF-EFF4257BF084}" srcOrd="1" destOrd="0" presId="urn:microsoft.com/office/officeart/2005/8/layout/venn1"/>
    <dgm:cxn modelId="{02E496D5-3590-4D4C-8451-3AA468C0015D}" srcId="{568CB4FF-D58F-4CFD-892E-38EFA0CB1165}" destId="{1C6BFE8D-A421-47E9-AFFD-22BF4108AD9C}" srcOrd="2" destOrd="0" parTransId="{83AB4D83-48D4-4863-AC3E-D4A4B2DA5222}" sibTransId="{597FCC34-478F-4FE8-8ACB-302F9BCD0219}"/>
    <dgm:cxn modelId="{AAC6B233-D595-498F-98BD-768172C091E8}" type="presOf" srcId="{1C6BFE8D-A421-47E9-AFFD-22BF4108AD9C}" destId="{DBF176E1-ABAD-4E0D-BD7E-DD969D0894CA}" srcOrd="1" destOrd="0" presId="urn:microsoft.com/office/officeart/2005/8/layout/venn1"/>
    <dgm:cxn modelId="{864D9EF2-5F2D-4B1C-9231-82626774AB65}" type="presOf" srcId="{CEC457DD-28B7-4634-AE74-F30EF37FDF27}" destId="{23E4F347-FFCD-470D-AE0F-847FFCEC3718}" srcOrd="1" destOrd="0" presId="urn:microsoft.com/office/officeart/2005/8/layout/venn1"/>
    <dgm:cxn modelId="{D88E36C2-7EED-486B-89CF-D82CF6758A84}" type="presOf" srcId="{D31F083C-3D3C-47F7-A412-15D64D7529CB}" destId="{69213982-A5F5-4B6B-956C-19E8423B703E}" srcOrd="0" destOrd="0" presId="urn:microsoft.com/office/officeart/2005/8/layout/venn1"/>
    <dgm:cxn modelId="{E5CFEE57-5564-4D2B-AC3B-44F0517E5814}" srcId="{568CB4FF-D58F-4CFD-892E-38EFA0CB1165}" destId="{31C6A89C-A2B9-4E24-8B8B-B8F5199E9980}" srcOrd="0" destOrd="0" parTransId="{92F80A9D-2E90-4F3C-93C7-7B2EE1135701}" sibTransId="{3B08D6FC-05EA-44CC-B62E-AD3DD7C3348E}"/>
    <dgm:cxn modelId="{0D95E54E-0C06-458C-AEC8-1CE9DC5ACA87}" type="presOf" srcId="{CEC457DD-28B7-4634-AE74-F30EF37FDF27}" destId="{89CC9EB9-DDE7-42F1-A434-0924ED35305F}" srcOrd="0" destOrd="0" presId="urn:microsoft.com/office/officeart/2005/8/layout/venn1"/>
    <dgm:cxn modelId="{62E466BF-E958-4E6B-86E3-EBCEE1065E26}" srcId="{568CB4FF-D58F-4CFD-892E-38EFA0CB1165}" destId="{CEC457DD-28B7-4634-AE74-F30EF37FDF27}" srcOrd="1" destOrd="0" parTransId="{ED743FB7-85E3-48B2-83AE-CBAADD7A1FF2}" sibTransId="{E6B1890F-B9D2-48EC-A743-6F0F1DF709E4}"/>
    <dgm:cxn modelId="{77644757-5EB5-461F-9009-855F9F806B8C}" type="presOf" srcId="{1C6BFE8D-A421-47E9-AFFD-22BF4108AD9C}" destId="{B474A207-DD1D-4822-B702-2387DE717E77}" srcOrd="0" destOrd="0" presId="urn:microsoft.com/office/officeart/2005/8/layout/venn1"/>
    <dgm:cxn modelId="{0707882D-ACBA-4904-BAB1-9B6FB6D0AC58}" type="presParOf" srcId="{43D9DE9E-29A2-4F82-A71E-3F92163D2E40}" destId="{D0DDF003-BFDA-477D-84FD-380D6AE781B7}" srcOrd="0" destOrd="0" presId="urn:microsoft.com/office/officeart/2005/8/layout/venn1"/>
    <dgm:cxn modelId="{00481BEE-17A2-430B-98B6-08355576B010}" type="presParOf" srcId="{43D9DE9E-29A2-4F82-A71E-3F92163D2E40}" destId="{4AD6A5AC-083C-4F18-9EDC-4CBC2FF1633D}" srcOrd="1" destOrd="0" presId="urn:microsoft.com/office/officeart/2005/8/layout/venn1"/>
    <dgm:cxn modelId="{02B0AD25-D7CB-45B9-B0DE-A8DD82BABC90}" type="presParOf" srcId="{43D9DE9E-29A2-4F82-A71E-3F92163D2E40}" destId="{89CC9EB9-DDE7-42F1-A434-0924ED35305F}" srcOrd="2" destOrd="0" presId="urn:microsoft.com/office/officeart/2005/8/layout/venn1"/>
    <dgm:cxn modelId="{32D19D92-B253-496E-9C82-492EC5E092AA}" type="presParOf" srcId="{43D9DE9E-29A2-4F82-A71E-3F92163D2E40}" destId="{23E4F347-FFCD-470D-AE0F-847FFCEC3718}" srcOrd="3" destOrd="0" presId="urn:microsoft.com/office/officeart/2005/8/layout/venn1"/>
    <dgm:cxn modelId="{35155F27-5EB0-4968-8567-CFDF74BD5AF9}" type="presParOf" srcId="{43D9DE9E-29A2-4F82-A71E-3F92163D2E40}" destId="{B474A207-DD1D-4822-B702-2387DE717E77}" srcOrd="4" destOrd="0" presId="urn:microsoft.com/office/officeart/2005/8/layout/venn1"/>
    <dgm:cxn modelId="{1AD18D7C-EA30-4418-899B-73A8EDC33971}" type="presParOf" srcId="{43D9DE9E-29A2-4F82-A71E-3F92163D2E40}" destId="{DBF176E1-ABAD-4E0D-BD7E-DD969D0894CA}" srcOrd="5" destOrd="0" presId="urn:microsoft.com/office/officeart/2005/8/layout/venn1"/>
    <dgm:cxn modelId="{9CE28137-D977-4BE6-B917-9DC20A1FD31C}" type="presParOf" srcId="{43D9DE9E-29A2-4F82-A71E-3F92163D2E40}" destId="{69213982-A5F5-4B6B-956C-19E8423B703E}" srcOrd="6" destOrd="0" presId="urn:microsoft.com/office/officeart/2005/8/layout/venn1"/>
    <dgm:cxn modelId="{D86E10B5-926D-4D8F-B144-180600017F88}" type="presParOf" srcId="{43D9DE9E-29A2-4F82-A71E-3F92163D2E40}" destId="{56AA43C8-AB2B-426F-A4EF-EFF4257BF084}" srcOrd="7" destOrd="0" presId="urn:microsoft.com/office/officeart/2005/8/layout/venn1"/>
  </dgm:cxnLst>
  <dgm:bg>
    <a:solidFill>
      <a:schemeClr val="bg1"/>
    </a:solidFill>
  </dgm:bg>
  <dgm:whole/>
  <dgm:extLst>
    <a:ext uri="http://schemas.microsoft.com/office/drawing/2008/diagram">
      <dsp:dataModelExt xmlns:dsp="http://schemas.microsoft.com/office/drawing/2008/diagram" xmlns="" relId="rId8"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CBA406C-FB93-4F0F-86D3-B084CFCBA3E4}">
      <dsp:nvSpPr>
        <dsp:cNvPr id="0" name=""/>
        <dsp:cNvSpPr/>
      </dsp:nvSpPr>
      <dsp:spPr>
        <a:xfrm>
          <a:off x="2545093" y="-120706"/>
          <a:ext cx="3234406" cy="3234406"/>
        </a:xfrm>
        <a:prstGeom prst="circularArrow">
          <a:avLst>
            <a:gd name="adj1" fmla="val 5544"/>
            <a:gd name="adj2" fmla="val 330680"/>
            <a:gd name="adj3" fmla="val 13313851"/>
            <a:gd name="adj4" fmla="val 17674063"/>
            <a:gd name="adj5" fmla="val 5757"/>
          </a:avLst>
        </a:prstGeom>
        <a:solidFill>
          <a:schemeClr val="accent2">
            <a:tint val="40000"/>
            <a:hueOff val="0"/>
            <a:satOff val="0"/>
            <a:lumOff val="0"/>
            <a:alphaOff val="0"/>
          </a:schemeClr>
        </a:solidFill>
        <a:ln w="19050">
          <a:solidFill>
            <a:srgbClr val="680000"/>
          </a:solidFill>
        </a:ln>
        <a:effectLst/>
      </dsp:spPr>
      <dsp:style>
        <a:lnRef idx="0">
          <a:scrgbClr r="0" g="0" b="0"/>
        </a:lnRef>
        <a:fillRef idx="1">
          <a:scrgbClr r="0" g="0" b="0"/>
        </a:fillRef>
        <a:effectRef idx="0">
          <a:scrgbClr r="0" g="0" b="0"/>
        </a:effectRef>
        <a:fontRef idx="minor"/>
      </dsp:style>
    </dsp:sp>
    <dsp:sp modelId="{4355379A-1E9A-4052-957B-6553244FCE3D}">
      <dsp:nvSpPr>
        <dsp:cNvPr id="0" name=""/>
        <dsp:cNvSpPr/>
      </dsp:nvSpPr>
      <dsp:spPr>
        <a:xfrm>
          <a:off x="3259832" y="923"/>
          <a:ext cx="1804929" cy="761168"/>
        </a:xfrm>
        <a:prstGeom prst="roundRect">
          <a:avLst/>
        </a:prstGeom>
        <a:solidFill>
          <a:srgbClr val="FFFF00"/>
        </a:solidFill>
        <a:ln w="28575" cap="flat" cmpd="sng" algn="ctr">
          <a:solidFill>
            <a:srgbClr val="680000"/>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ctr" defTabSz="889000">
            <a:lnSpc>
              <a:spcPct val="90000"/>
            </a:lnSpc>
            <a:spcBef>
              <a:spcPct val="0"/>
            </a:spcBef>
            <a:spcAft>
              <a:spcPct val="35000"/>
            </a:spcAft>
          </a:pPr>
          <a:r>
            <a:rPr lang="th-TH" sz="2000" b="1" kern="1200" dirty="0" smtClean="0">
              <a:solidFill>
                <a:srgbClr val="680000"/>
              </a:solidFill>
              <a:latin typeface="Browallia New" panose="020B0604020202020204" pitchFamily="34" charset="-34"/>
              <a:cs typeface="Browallia New" panose="020B0604020202020204" pitchFamily="34" charset="-34"/>
            </a:rPr>
            <a:t>การให้</a:t>
          </a:r>
          <a:br>
            <a:rPr lang="th-TH" sz="2000" b="1" kern="1200" dirty="0" smtClean="0">
              <a:solidFill>
                <a:srgbClr val="680000"/>
              </a:solidFill>
              <a:latin typeface="Browallia New" panose="020B0604020202020204" pitchFamily="34" charset="-34"/>
              <a:cs typeface="Browallia New" panose="020B0604020202020204" pitchFamily="34" charset="-34"/>
            </a:rPr>
          </a:br>
          <a:r>
            <a:rPr lang="th-TH" sz="2000" b="1" kern="1200" dirty="0" smtClean="0">
              <a:solidFill>
                <a:srgbClr val="680000"/>
              </a:solidFill>
              <a:latin typeface="Browallia New" panose="020B0604020202020204" pitchFamily="34" charset="-34"/>
              <a:cs typeface="Browallia New" panose="020B0604020202020204" pitchFamily="34" charset="-34"/>
            </a:rPr>
            <a:t>สิทธิประโยชน์</a:t>
          </a:r>
          <a:endParaRPr lang="en-US" sz="2000" b="1" kern="1200" dirty="0">
            <a:solidFill>
              <a:srgbClr val="680000"/>
            </a:solidFill>
            <a:latin typeface="Browallia New" panose="020B0604020202020204" pitchFamily="34" charset="-34"/>
            <a:cs typeface="Browallia New" panose="020B0604020202020204" pitchFamily="34" charset="-34"/>
          </a:endParaRPr>
        </a:p>
      </dsp:txBody>
      <dsp:txXfrm>
        <a:off x="3296989" y="38080"/>
        <a:ext cx="1730615" cy="686854"/>
      </dsp:txXfrm>
    </dsp:sp>
    <dsp:sp modelId="{6F3BCA2B-1728-4F66-9540-47670D50526D}">
      <dsp:nvSpPr>
        <dsp:cNvPr id="0" name=""/>
        <dsp:cNvSpPr/>
      </dsp:nvSpPr>
      <dsp:spPr>
        <a:xfrm>
          <a:off x="5070443" y="946661"/>
          <a:ext cx="1775959" cy="761168"/>
        </a:xfrm>
        <a:prstGeom prst="roundRect">
          <a:avLst/>
        </a:prstGeom>
        <a:solidFill>
          <a:schemeClr val="accent3">
            <a:hueOff val="0"/>
            <a:satOff val="0"/>
            <a:lumOff val="0"/>
            <a:alphaOff val="0"/>
          </a:schemeClr>
        </a:solidFill>
        <a:ln w="28575" cap="flat" cmpd="sng" algn="ctr">
          <a:solidFill>
            <a:srgbClr val="FFC000"/>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ctr" defTabSz="889000">
            <a:lnSpc>
              <a:spcPct val="90000"/>
            </a:lnSpc>
            <a:spcBef>
              <a:spcPct val="0"/>
            </a:spcBef>
            <a:spcAft>
              <a:spcPct val="35000"/>
            </a:spcAft>
          </a:pPr>
          <a:r>
            <a:rPr lang="th-TH" sz="2000" b="1" kern="1200" dirty="0" smtClean="0">
              <a:latin typeface="Browallia New" panose="020B0604020202020204" pitchFamily="34" charset="-34"/>
              <a:cs typeface="Browallia New" panose="020B0604020202020204" pitchFamily="34" charset="-34"/>
            </a:rPr>
            <a:t>การพัฒนาคนและเทคโนโลยี</a:t>
          </a:r>
        </a:p>
      </dsp:txBody>
      <dsp:txXfrm>
        <a:off x="5107600" y="983818"/>
        <a:ext cx="1701645" cy="686854"/>
      </dsp:txXfrm>
    </dsp:sp>
    <dsp:sp modelId="{DDB02302-33AB-47E6-B327-B4FC02D2A8E5}">
      <dsp:nvSpPr>
        <dsp:cNvPr id="0" name=""/>
        <dsp:cNvSpPr/>
      </dsp:nvSpPr>
      <dsp:spPr>
        <a:xfrm>
          <a:off x="4345138" y="2496370"/>
          <a:ext cx="1722236" cy="761168"/>
        </a:xfrm>
        <a:prstGeom prst="roundRect">
          <a:avLst/>
        </a:prstGeom>
        <a:solidFill>
          <a:schemeClr val="accent4">
            <a:hueOff val="0"/>
            <a:satOff val="0"/>
            <a:lumOff val="0"/>
            <a:alphaOff val="0"/>
          </a:schemeClr>
        </a:solidFill>
        <a:ln w="28575" cap="flat" cmpd="sng" algn="ctr">
          <a:solidFill>
            <a:srgbClr val="680000"/>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a:lnSpc>
              <a:spcPct val="90000"/>
            </a:lnSpc>
            <a:spcBef>
              <a:spcPct val="0"/>
            </a:spcBef>
            <a:spcAft>
              <a:spcPct val="35000"/>
            </a:spcAft>
          </a:pPr>
          <a:r>
            <a:rPr lang="th-TH" sz="1800" b="1" kern="1200" dirty="0" smtClean="0">
              <a:solidFill>
                <a:srgbClr val="800000"/>
              </a:solidFill>
              <a:latin typeface="Browallia New" panose="020B0604020202020204" pitchFamily="34" charset="-34"/>
              <a:cs typeface="Browallia New" panose="020B0604020202020204" pitchFamily="34" charset="-34"/>
            </a:rPr>
            <a:t>การพัฒนาโครงสร้างพื้นฐาน</a:t>
          </a:r>
          <a:endParaRPr lang="en-US" sz="1800" b="1" kern="1200" dirty="0">
            <a:solidFill>
              <a:srgbClr val="800000"/>
            </a:solidFill>
            <a:latin typeface="Browallia New" panose="020B0604020202020204" pitchFamily="34" charset="-34"/>
            <a:cs typeface="Browallia New" panose="020B0604020202020204" pitchFamily="34" charset="-34"/>
          </a:endParaRPr>
        </a:p>
      </dsp:txBody>
      <dsp:txXfrm>
        <a:off x="4382295" y="2533527"/>
        <a:ext cx="1647922" cy="686854"/>
      </dsp:txXfrm>
    </dsp:sp>
    <dsp:sp modelId="{18AE7EDB-27CB-43D5-8F37-523E5A6A890C}">
      <dsp:nvSpPr>
        <dsp:cNvPr id="0" name=""/>
        <dsp:cNvSpPr/>
      </dsp:nvSpPr>
      <dsp:spPr>
        <a:xfrm>
          <a:off x="2256991" y="2496370"/>
          <a:ext cx="1722692" cy="761168"/>
        </a:xfrm>
        <a:prstGeom prst="roundRect">
          <a:avLst/>
        </a:prstGeom>
        <a:solidFill>
          <a:srgbClr val="AC7F00"/>
        </a:solidFill>
        <a:ln w="28575" cap="flat" cmpd="sng" algn="ctr">
          <a:solidFill>
            <a:srgbClr val="680000"/>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a:lnSpc>
              <a:spcPct val="90000"/>
            </a:lnSpc>
            <a:spcBef>
              <a:spcPct val="0"/>
            </a:spcBef>
            <a:spcAft>
              <a:spcPct val="35000"/>
            </a:spcAft>
          </a:pPr>
          <a:r>
            <a:rPr lang="th-TH" sz="1800" b="1" kern="1200" dirty="0" smtClean="0">
              <a:latin typeface="Browallia New" panose="020B0604020202020204" pitchFamily="34" charset="-34"/>
              <a:cs typeface="Browallia New" panose="020B0604020202020204" pitchFamily="34" charset="-34"/>
            </a:rPr>
            <a:t>การแก้ไขกฎระเบียบ</a:t>
          </a:r>
          <a:br>
            <a:rPr lang="th-TH" sz="1800" b="1" kern="1200" dirty="0" smtClean="0">
              <a:latin typeface="Browallia New" panose="020B0604020202020204" pitchFamily="34" charset="-34"/>
              <a:cs typeface="Browallia New" panose="020B0604020202020204" pitchFamily="34" charset="-34"/>
            </a:rPr>
          </a:br>
          <a:r>
            <a:rPr lang="th-TH" sz="1800" b="1" kern="1200" dirty="0" smtClean="0">
              <a:latin typeface="Browallia New" panose="020B0604020202020204" pitchFamily="34" charset="-34"/>
              <a:cs typeface="Browallia New" panose="020B0604020202020204" pitchFamily="34" charset="-34"/>
            </a:rPr>
            <a:t>ที่เป็นอุปสรรค</a:t>
          </a:r>
          <a:endParaRPr lang="en-US" sz="1800" b="1" kern="1200" dirty="0">
            <a:latin typeface="Browallia New" panose="020B0604020202020204" pitchFamily="34" charset="-34"/>
            <a:cs typeface="Browallia New" panose="020B0604020202020204" pitchFamily="34" charset="-34"/>
          </a:endParaRPr>
        </a:p>
      </dsp:txBody>
      <dsp:txXfrm>
        <a:off x="2294148" y="2533527"/>
        <a:ext cx="1648378" cy="686854"/>
      </dsp:txXfrm>
    </dsp:sp>
    <dsp:sp modelId="{D4A5D147-550E-47FB-A9E3-82E0CB1B60A6}">
      <dsp:nvSpPr>
        <dsp:cNvPr id="0" name=""/>
        <dsp:cNvSpPr/>
      </dsp:nvSpPr>
      <dsp:spPr>
        <a:xfrm>
          <a:off x="1594383" y="971919"/>
          <a:ext cx="1663062" cy="761168"/>
        </a:xfrm>
        <a:prstGeom prst="roundRect">
          <a:avLst/>
        </a:prstGeom>
        <a:solidFill>
          <a:schemeClr val="accent6">
            <a:hueOff val="0"/>
            <a:satOff val="0"/>
            <a:lumOff val="0"/>
            <a:alphaOff val="0"/>
          </a:schemeClr>
        </a:solidFill>
        <a:ln w="28575" cap="flat" cmpd="sng" algn="ctr">
          <a:solidFill>
            <a:srgbClr val="FFC000"/>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ctr" defTabSz="889000">
            <a:lnSpc>
              <a:spcPct val="90000"/>
            </a:lnSpc>
            <a:spcBef>
              <a:spcPct val="0"/>
            </a:spcBef>
            <a:spcAft>
              <a:spcPct val="35000"/>
            </a:spcAft>
          </a:pPr>
          <a:r>
            <a:rPr lang="th-TH" sz="2000" b="1" kern="1200" dirty="0" smtClean="0">
              <a:latin typeface="Browallia New" panose="020B0604020202020204" pitchFamily="34" charset="-34"/>
              <a:cs typeface="Browallia New" panose="020B0604020202020204" pitchFamily="34" charset="-34"/>
            </a:rPr>
            <a:t>การ</a:t>
          </a:r>
          <a:r>
            <a:rPr lang="th-TH" sz="1800" b="1" kern="1200" dirty="0" smtClean="0">
              <a:latin typeface="Browallia New" panose="020B0604020202020204" pitchFamily="34" charset="-34"/>
              <a:cs typeface="Browallia New" panose="020B0604020202020204" pitchFamily="34" charset="-34"/>
            </a:rPr>
            <a:t>สนับสนุน</a:t>
          </a:r>
          <a:br>
            <a:rPr lang="th-TH" sz="1800" b="1" kern="1200" dirty="0" smtClean="0">
              <a:latin typeface="Browallia New" panose="020B0604020202020204" pitchFamily="34" charset="-34"/>
              <a:cs typeface="Browallia New" panose="020B0604020202020204" pitchFamily="34" charset="-34"/>
            </a:rPr>
          </a:br>
          <a:r>
            <a:rPr lang="th-TH" sz="1800" b="1" kern="1200" dirty="0" smtClean="0">
              <a:latin typeface="Browallia New" panose="020B0604020202020204" pitchFamily="34" charset="-34"/>
              <a:cs typeface="Browallia New" panose="020B0604020202020204" pitchFamily="34" charset="-34"/>
            </a:rPr>
            <a:t>เงินทุน</a:t>
          </a:r>
          <a:endParaRPr lang="en-US" sz="1800" b="1" kern="1200" dirty="0">
            <a:latin typeface="Browallia New" panose="020B0604020202020204" pitchFamily="34" charset="-34"/>
            <a:cs typeface="Browallia New" panose="020B0604020202020204" pitchFamily="34" charset="-34"/>
          </a:endParaRPr>
        </a:p>
      </dsp:txBody>
      <dsp:txXfrm>
        <a:off x="1631540" y="1009076"/>
        <a:ext cx="1588748" cy="686854"/>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0DDF003-BFDA-477D-84FD-380D6AE781B7}">
      <dsp:nvSpPr>
        <dsp:cNvPr id="0" name=""/>
        <dsp:cNvSpPr/>
      </dsp:nvSpPr>
      <dsp:spPr>
        <a:xfrm>
          <a:off x="696745" y="0"/>
          <a:ext cx="1281970" cy="1124436"/>
        </a:xfrm>
        <a:prstGeom prst="ellipse">
          <a:avLst/>
        </a:prstGeom>
        <a:solidFill>
          <a:schemeClr val="accent4">
            <a:lumMod val="40000"/>
            <a:lumOff val="6000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tx1"/>
        </a:fontRef>
      </dsp:style>
      <dsp:txBody>
        <a:bodyPr spcFirstLastPara="0" vert="horz" wrap="square" lIns="0" tIns="0" rIns="0" bIns="0" numCol="1" spcCol="1270" anchor="ctr" anchorCtr="0">
          <a:noAutofit/>
        </a:bodyPr>
        <a:lstStyle/>
        <a:p>
          <a:pPr lvl="0" algn="ctr" defTabSz="1244600">
            <a:lnSpc>
              <a:spcPct val="90000"/>
            </a:lnSpc>
            <a:spcBef>
              <a:spcPct val="0"/>
            </a:spcBef>
            <a:spcAft>
              <a:spcPct val="35000"/>
            </a:spcAft>
          </a:pPr>
          <a:endParaRPr lang="th-TH" sz="2800" kern="1200" dirty="0" smtClean="0">
            <a:solidFill>
              <a:schemeClr val="bg1"/>
            </a:solidFill>
          </a:endParaRPr>
        </a:p>
      </dsp:txBody>
      <dsp:txXfrm>
        <a:off x="844665" y="151366"/>
        <a:ext cx="986130" cy="356792"/>
      </dsp:txXfrm>
    </dsp:sp>
    <dsp:sp modelId="{89CC9EB9-DDE7-42F1-A434-0924ED35305F}">
      <dsp:nvSpPr>
        <dsp:cNvPr id="0" name=""/>
        <dsp:cNvSpPr/>
      </dsp:nvSpPr>
      <dsp:spPr>
        <a:xfrm>
          <a:off x="1327461" y="1035177"/>
          <a:ext cx="1231887" cy="1124436"/>
        </a:xfrm>
        <a:prstGeom prst="ellipse">
          <a:avLst/>
        </a:prstGeom>
        <a:solidFill>
          <a:srgbClr val="FF9900"/>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tx1"/>
        </a:fontRef>
      </dsp:style>
      <dsp:txBody>
        <a:bodyPr spcFirstLastPara="0" vert="horz" wrap="square" lIns="0" tIns="0" rIns="0" bIns="0" numCol="1" spcCol="1270" anchor="ctr" anchorCtr="0">
          <a:noAutofit/>
        </a:bodyPr>
        <a:lstStyle/>
        <a:p>
          <a:pPr lvl="0" algn="ctr" defTabSz="2889250">
            <a:lnSpc>
              <a:spcPct val="90000"/>
            </a:lnSpc>
            <a:spcBef>
              <a:spcPct val="0"/>
            </a:spcBef>
            <a:spcAft>
              <a:spcPct val="35000"/>
            </a:spcAft>
          </a:pPr>
          <a:endParaRPr lang="en-US" sz="6500" kern="1200" dirty="0"/>
        </a:p>
      </dsp:txBody>
      <dsp:txXfrm>
        <a:off x="1990786" y="1164919"/>
        <a:ext cx="473802" cy="864951"/>
      </dsp:txXfrm>
    </dsp:sp>
    <dsp:sp modelId="{B474A207-DD1D-4822-B702-2387DE717E77}">
      <dsp:nvSpPr>
        <dsp:cNvPr id="0" name=""/>
        <dsp:cNvSpPr/>
      </dsp:nvSpPr>
      <dsp:spPr>
        <a:xfrm>
          <a:off x="711790" y="655609"/>
          <a:ext cx="1228694" cy="1124436"/>
        </a:xfrm>
        <a:prstGeom prst="ellipse">
          <a:avLst/>
        </a:prstGeom>
        <a:solidFill>
          <a:schemeClr val="accent2">
            <a:lumMod val="60000"/>
            <a:lumOff val="40000"/>
          </a:schemeClr>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tx1"/>
        </a:fontRef>
      </dsp:style>
      <dsp:txBody>
        <a:bodyPr spcFirstLastPara="0" vert="horz" wrap="square" lIns="0" tIns="0" rIns="0" bIns="0" numCol="1" spcCol="1270" anchor="ctr" anchorCtr="0">
          <a:noAutofit/>
        </a:bodyPr>
        <a:lstStyle/>
        <a:p>
          <a:pPr lvl="0" algn="ctr" defTabSz="1200150">
            <a:lnSpc>
              <a:spcPct val="90000"/>
            </a:lnSpc>
            <a:spcBef>
              <a:spcPct val="0"/>
            </a:spcBef>
            <a:spcAft>
              <a:spcPct val="35000"/>
            </a:spcAft>
          </a:pPr>
          <a:endParaRPr lang="en-US" sz="2700" kern="1200" dirty="0">
            <a:solidFill>
              <a:schemeClr val="bg1"/>
            </a:solidFill>
          </a:endParaRPr>
        </a:p>
      </dsp:txBody>
      <dsp:txXfrm>
        <a:off x="853562" y="1271887"/>
        <a:ext cx="945149" cy="356792"/>
      </dsp:txXfrm>
    </dsp:sp>
    <dsp:sp modelId="{69213982-A5F5-4B6B-956C-19E8423B703E}">
      <dsp:nvSpPr>
        <dsp:cNvPr id="0" name=""/>
        <dsp:cNvSpPr/>
      </dsp:nvSpPr>
      <dsp:spPr>
        <a:xfrm>
          <a:off x="183448" y="1037941"/>
          <a:ext cx="1261426" cy="1124436"/>
        </a:xfrm>
        <a:prstGeom prst="ellipse">
          <a:avLst/>
        </a:prstGeom>
        <a:solidFill>
          <a:srgbClr val="3399FF"/>
        </a:solidFill>
        <a:ln>
          <a:noFill/>
        </a:ln>
        <a:effectLst/>
        <a:scene3d>
          <a:camera prst="orthographicFront"/>
          <a:lightRig rig="chilly" dir="t"/>
        </a:scene3d>
        <a:sp3d prstMaterial="translucentPowder">
          <a:bevelT w="127000" h="25400" prst="softRound"/>
        </a:sp3d>
      </dsp:spPr>
      <dsp:style>
        <a:lnRef idx="0">
          <a:scrgbClr r="0" g="0" b="0"/>
        </a:lnRef>
        <a:fillRef idx="1">
          <a:scrgbClr r="0" g="0" b="0"/>
        </a:fillRef>
        <a:effectRef idx="0">
          <a:scrgbClr r="0" g="0" b="0"/>
        </a:effectRef>
        <a:fontRef idx="minor">
          <a:schemeClr val="tx1"/>
        </a:fontRef>
      </dsp:style>
      <dsp:txBody>
        <a:bodyPr spcFirstLastPara="0" vert="horz" wrap="square" lIns="0" tIns="0" rIns="0" bIns="0" numCol="1" spcCol="1270" anchor="ctr" anchorCtr="0">
          <a:noAutofit/>
        </a:bodyPr>
        <a:lstStyle/>
        <a:p>
          <a:pPr lvl="0" algn="ctr" defTabSz="2889250">
            <a:lnSpc>
              <a:spcPct val="90000"/>
            </a:lnSpc>
            <a:spcBef>
              <a:spcPct val="0"/>
            </a:spcBef>
            <a:spcAft>
              <a:spcPct val="35000"/>
            </a:spcAft>
          </a:pPr>
          <a:endParaRPr lang="en-US" sz="6500" kern="1200" dirty="0"/>
        </a:p>
      </dsp:txBody>
      <dsp:txXfrm>
        <a:off x="280481" y="1167684"/>
        <a:ext cx="485164" cy="864951"/>
      </dsp:txXfrm>
    </dsp:sp>
  </dsp:spTree>
</dsp:drawing>
</file>

<file path=ppt/diagrams/layout1.xml><?xml version="1.0" encoding="utf-8"?>
<dgm:layoutDef xmlns:dgm="http://schemas.openxmlformats.org/drawingml/2006/diagram" xmlns:a="http://schemas.openxmlformats.org/drawingml/2006/main" uniqueId="urn:microsoft.com/office/officeart/2005/8/layout/cycle3">
  <dgm:title val=""/>
  <dgm:desc val=""/>
  <dgm:catLst>
    <dgm:cat type="cycle" pri="5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Name0">
    <dgm:varLst>
      <dgm:dir/>
      <dgm:resizeHandles val="exact"/>
    </dgm:varLst>
    <dgm:choose name="Name1">
      <dgm:if name="Name2" axis="ch" ptType="node" func="cnt" op="equ" val="2">
        <dgm:alg type="composite">
          <dgm:param type="ar" val="0.9"/>
        </dgm:alg>
        <dgm:shape xmlns:r="http://schemas.openxmlformats.org/officeDocument/2006/relationships" r:blip="">
          <dgm:adjLst/>
        </dgm:shape>
        <dgm:presOf/>
        <dgm:constrLst>
          <dgm:constr type="primFontSz" for="ch" ptType="node" op="equ" val="65"/>
          <dgm:constr type="ctrX" for="ch" forName="node1" refType="w" fact="0.5"/>
          <dgm:constr type="t" for="ch" forName="node1"/>
          <dgm:constr type="w" for="ch" forName="node1" refType="w" fact="0.8"/>
          <dgm:constr type="h" for="ch" forName="node1" refType="w" refFor="ch" refForName="node1" fact="0.5"/>
          <dgm:constr type="ctrX" for="ch" forName="sibTrans" refType="w" fact="0.5"/>
          <dgm:constr type="t" for="ch" forName="sibTrans"/>
          <dgm:constr type="w" for="ch" forName="sibTrans" refType="w" fact="0.8"/>
          <dgm:constr type="h" for="ch" forName="sibTrans" refType="w" refFor="ch" refForName="node1" fact="0.5"/>
          <dgm:constr type="userA" for="ch" forName="sibTrans" refType="w" fact="1.07"/>
          <dgm:constr type="ctrX" for="ch" forName="node2" refType="w" fact="0.5"/>
          <dgm:constr type="b" for="ch" forName="node2" refType="h"/>
          <dgm:constr type="w" for="ch" forName="node2" refType="w" fact="0.8"/>
          <dgm:constr type="h" for="ch" forName="node2" refType="w" refFor="ch" refForName="node1" fact="0.5"/>
          <dgm:constr type="l" for="ch" forName="sp1"/>
          <dgm:constr type="t" for="ch" forName="sp1" refType="h" fact="0.5"/>
          <dgm:constr type="w" for="ch" forName="sp1" val="1"/>
          <dgm:constr type="h" for="ch" forName="sp1" val="1"/>
          <dgm:constr type="r" for="ch" forName="sp2" refType="w"/>
          <dgm:constr type="t" for="ch" forName="sp2" refType="h" fact="0.5"/>
          <dgm:constr type="w" for="ch" forName="sp2" val="1"/>
          <dgm:constr type="h" for="ch" forName="sp2" val="1"/>
        </dgm:constrLst>
        <dgm:ruleLst/>
      </dgm:if>
      <dgm:else name="Name3">
        <dgm:alg type="composite"/>
        <dgm:shape xmlns:r="http://schemas.openxmlformats.org/officeDocument/2006/relationships" r:blip="">
          <dgm:adjLst/>
        </dgm:shape>
        <dgm:presOf/>
        <dgm:constrLst>
          <dgm:constr type="primFontSz" for="ch" ptType="node" op="equ" val="65"/>
        </dgm:constrLst>
        <dgm:ruleLst/>
      </dgm:else>
    </dgm:choose>
    <dgm:choose name="Name4">
      <dgm:if name="Name5" axis="ch" ptType="node" func="cnt" op="equ" val="2">
        <dgm:layoutNode name="node1">
          <dgm:varLst>
            <dgm:bulletEnabled val="1"/>
          </dgm:varLst>
          <dgm:alg type="tx"/>
          <dgm:shape xmlns:r="http://schemas.openxmlformats.org/officeDocument/2006/relationships" type="roundRect" r:blip="">
            <dgm:adjLst/>
          </dgm:shape>
          <dgm:presOf axis="ch desOrSelf" ptType="node node" st="1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sibTrans" styleLbl="bgShp">
          <dgm:choose name="Name6">
            <dgm:if name="Name7" func="var" arg="dir" op="equ" val="norm">
              <dgm:alg type="conn">
                <dgm:param type="connRout" val="longCurve"/>
                <dgm:param type="begPts" val="midR"/>
                <dgm:param type="endPts" val="midL"/>
                <dgm:param type="dstNode" val="node1"/>
              </dgm:alg>
              <dgm:shape xmlns:r="http://schemas.openxmlformats.org/officeDocument/2006/relationships" type="conn" r:blip="" zOrderOff="-2">
                <dgm:adjLst/>
              </dgm:shape>
              <dgm:presOf axis="ch" ptType="sibTrans"/>
              <dgm:constrLst>
                <dgm:constr type="userA"/>
                <dgm:constr type="diam" refType="userA" fact="-1"/>
                <dgm:constr type="wArH" refType="userA" fact="0.05"/>
                <dgm:constr type="hArH" refType="userA" fact="0.1"/>
                <dgm:constr type="stemThick" refType="userA" fact="0.06"/>
                <dgm:constr type="begPad" refType="connDist" fact="-0.2"/>
                <dgm:constr type="endPad" refType="connDist" fact="0.05"/>
              </dgm:constrLst>
            </dgm:if>
            <dgm:else name="Name8">
              <dgm:alg type="conn">
                <dgm:param type="connRout" val="longCurve"/>
                <dgm:param type="begPts" val="midL"/>
                <dgm:param type="endPts" val="midR"/>
                <dgm:param type="dstNode" val="node1"/>
              </dgm:alg>
              <dgm:shape xmlns:r="http://schemas.openxmlformats.org/officeDocument/2006/relationships" type="conn" r:blip="" zOrderOff="-2">
                <dgm:adjLst/>
              </dgm:shape>
              <dgm:presOf axis="ch" ptType="sibTrans"/>
              <dgm:constrLst>
                <dgm:constr type="userA"/>
                <dgm:constr type="diam" refType="userA"/>
                <dgm:constr type="wArH" refType="userA" fact="0.05"/>
                <dgm:constr type="hArH" refType="userA" fact="0.1"/>
                <dgm:constr type="stemThick" refType="userA" fact="0.06"/>
                <dgm:constr type="begPad" refType="connDist" fact="-0.2"/>
                <dgm:constr type="endPad" refType="connDist" fact="0.05"/>
              </dgm:constrLst>
            </dgm:else>
          </dgm:choose>
          <dgm:ruleLst/>
        </dgm:layoutNode>
        <dgm:layoutNode name="node2">
          <dgm:varLst>
            <dgm:bulletEnabled val="1"/>
          </dgm:varLst>
          <dgm:alg type="tx"/>
          <dgm:shape xmlns:r="http://schemas.openxmlformats.org/officeDocument/2006/relationships" type="roundRect" r:blip="">
            <dgm:adjLst/>
          </dgm:shape>
          <dgm:presOf axis="ch desOrSelf" ptType="node node" st="2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sp1">
          <dgm:alg type="sp"/>
          <dgm:shape xmlns:r="http://schemas.openxmlformats.org/officeDocument/2006/relationships" r:blip="">
            <dgm:adjLst/>
          </dgm:shape>
          <dgm:presOf/>
          <dgm:constrLst/>
          <dgm:ruleLst/>
        </dgm:layoutNode>
        <dgm:layoutNode name="sp2">
          <dgm:alg type="sp"/>
          <dgm:shape xmlns:r="http://schemas.openxmlformats.org/officeDocument/2006/relationships" r:blip="">
            <dgm:adjLst/>
          </dgm:shape>
          <dgm:presOf/>
          <dgm:constrLst/>
          <dgm:ruleLst/>
        </dgm:layoutNode>
      </dgm:if>
      <dgm:else name="Name9">
        <dgm:layoutNode name="cycle">
          <dgm:choose name="Name10">
            <dgm:if name="Name11" func="var" arg="dir" op="equ" val="norm">
              <dgm:alg type="cycle">
                <dgm:param type="stAng" val="0"/>
                <dgm:param type="spanAng" val="360"/>
              </dgm:alg>
              <dgm:shape xmlns:r="http://schemas.openxmlformats.org/officeDocument/2006/relationships" r:blip="">
                <dgm:adjLst/>
              </dgm:shape>
              <dgm:presOf/>
              <dgm:constrLst>
                <dgm:constr type="diam" refType="w"/>
                <dgm:constr type="w" for="ch" ptType="node" refType="w"/>
                <dgm:constr type="sibSp" val="15"/>
                <dgm:constr type="userA" for="ch" ptType="sibTrans" refType="diam" op="equ" fact="-1"/>
                <dgm:constr type="wArH" for="ch" ptType="sibTrans" refType="diam" op="equ" fact="0.05"/>
                <dgm:constr type="hArH" for="ch" ptType="sibTrans" refType="diam" op="equ" fact="0.1"/>
                <dgm:constr type="stemThick" for="ch" ptType="sibTrans" refType="diam" op="equ" fact="0.065"/>
                <dgm:constr type="primFontSz" for="ch" ptType="node" op="equ"/>
              </dgm:constrLst>
            </dgm:if>
            <dgm:else name="Name12">
              <dgm:alg type="cycle">
                <dgm:param type="stAng" val="0"/>
                <dgm:param type="spanAng" val="-360"/>
              </dgm:alg>
              <dgm:shape xmlns:r="http://schemas.openxmlformats.org/officeDocument/2006/relationships" r:blip="">
                <dgm:adjLst/>
              </dgm:shape>
              <dgm:presOf/>
              <dgm:constrLst>
                <dgm:constr type="diam" refType="w"/>
                <dgm:constr type="w" for="ch" ptType="node" refType="w"/>
                <dgm:constr type="sibSp" val="15"/>
                <dgm:constr type="userA" for="ch" ptType="sibTrans" refType="diam" op="equ"/>
                <dgm:constr type="wArH" for="ch" ptType="sibTrans" refType="diam" op="equ" fact="0.05"/>
                <dgm:constr type="hArH" for="ch" ptType="sibTrans" refType="diam" op="equ" fact="0.1"/>
                <dgm:constr type="stemThick" for="ch" ptType="sibTrans" refType="diam" op="equ" fact="0.065"/>
                <dgm:constr type="primFontSz" for="ch" ptType="node" op="equ"/>
              </dgm:constrLst>
            </dgm:else>
          </dgm:choose>
          <dgm:ruleLst/>
          <dgm:forEach name="nodesFirstNodeForEach" axis="ch" ptType="node" cnt="1">
            <dgm:layoutNode name="nodeFirstNode">
              <dgm:varLst>
                <dgm:bulletEnabled val="1"/>
              </dgm:varLst>
              <dgm:alg type="tx"/>
              <dgm:shape xmlns:r="http://schemas.openxmlformats.org/officeDocument/2006/relationships" type="roundRect" r:blip="">
                <dgm:adjLst/>
              </dgm:shape>
              <dgm:presOf axis="desOrSelf" ptType="node"/>
              <dgm:constrLst>
                <dgm:constr type="h" refType="w" fact="0.5"/>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forEach name="sibTransForEach" axis="followSib" ptType="sibTrans" cnt="1">
              <dgm:layoutNode name="sibTransFirstNode" styleLbl="bgShp">
                <dgm:choose name="Name13">
                  <dgm:if name="Name14" func="var" arg="dir" op="equ" val="norm">
                    <dgm:alg type="conn">
                      <dgm:param type="connRout" val="longCurve"/>
                      <dgm:param type="begPts" val="midR"/>
                      <dgm:param type="endPts" val="midL"/>
                      <dgm:param type="dstNode" val="nodeFirstNode"/>
                    </dgm:alg>
                  </dgm:if>
                  <dgm:else name="Name15">
                    <dgm:alg type="conn">
                      <dgm:param type="connRout" val="longCurve"/>
                      <dgm:param type="begPts" val="midL"/>
                      <dgm:param type="endPts" val="midR"/>
                      <dgm:param type="dstNode" val="nodeFirstNode"/>
                    </dgm:alg>
                  </dgm:else>
                </dgm:choose>
                <dgm:shape xmlns:r="http://schemas.openxmlformats.org/officeDocument/2006/relationships" type="conn" r:blip="" zOrderOff="-2">
                  <dgm:adjLst/>
                </dgm:shape>
                <dgm:presOf axis="self"/>
                <dgm:choose name="Name16">
                  <dgm:if name="Name17" axis="par ch" ptType="doc node" func="cnt" op="equ" val="3">
                    <dgm:constrLst>
                      <dgm:constr type="userA"/>
                      <dgm:constr type="diam" refType="userA" fact="1.01"/>
                      <dgm:constr type="begPad" refType="connDist" fact="-0.2"/>
                      <dgm:constr type="endPad" refType="connDist" fact="0.05"/>
                    </dgm:constrLst>
                  </dgm:if>
                  <dgm:if name="Name18" axis="par ch" ptType="doc node" func="cnt" op="equ" val="4">
                    <dgm:constrLst>
                      <dgm:constr type="userA"/>
                      <dgm:constr type="diam" refType="userA" fact="1.26"/>
                      <dgm:constr type="begPad" refType="connDist" fact="-0.2"/>
                      <dgm:constr type="endPad" refType="connDist" fact="0.05"/>
                    </dgm:constrLst>
                  </dgm:if>
                  <dgm:if name="Name19" axis="par ch" ptType="doc node" func="cnt" op="equ" val="5">
                    <dgm:constrLst>
                      <dgm:constr type="userA"/>
                      <dgm:constr type="diam" refType="userA" fact="1.04"/>
                      <dgm:constr type="begPad" refType="connDist" fact="-0.2"/>
                      <dgm:constr type="endPad" refType="connDist" fact="0.05"/>
                    </dgm:constrLst>
                  </dgm:if>
                  <dgm:if name="Name20" axis="par ch" ptType="doc node" func="cnt" op="equ" val="6">
                    <dgm:constrLst>
                      <dgm:constr type="userA"/>
                      <dgm:constr type="diam" refType="userA" fact="1.1"/>
                      <dgm:constr type="begPad" refType="connDist" fact="-0.2"/>
                      <dgm:constr type="endPad" refType="connDist" fact="0.05"/>
                    </dgm:constrLst>
                  </dgm:if>
                  <dgm:else name="Name21">
                    <dgm:constrLst>
                      <dgm:constr type="userA"/>
                      <dgm:constr type="diam" refType="userA" fact="1.04"/>
                      <dgm:constr type="begPad" refType="connDist" fact="-0.2"/>
                      <dgm:constr type="endPad" refType="connDist" fact="0.05"/>
                    </dgm:constrLst>
                  </dgm:else>
                </dgm:choose>
                <dgm:ruleLst/>
              </dgm:layoutNode>
            </dgm:forEach>
          </dgm:forEach>
          <dgm:forEach name="followingNodesForEach" axis="ch" ptType="node" st="2">
            <dgm:layoutNode name="nodeFollowingNodes">
              <dgm:varLst>
                <dgm:bulletEnabled val="1"/>
              </dgm:varLst>
              <dgm:alg type="tx"/>
              <dgm:shape xmlns:r="http://schemas.openxmlformats.org/officeDocument/2006/relationships" type="roundRect" r:blip="">
                <dgm:adjLst/>
              </dgm:shape>
              <dgm:presOf axis="desOrSelf" ptType="node"/>
              <dgm:constrLst>
                <dgm:constr type="h" refType="w" fact="0.5"/>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forEach>
        </dgm:layoutNode>
      </dgm:else>
    </dgm:choose>
  </dgm:layoutNode>
</dgm:layoutDef>
</file>

<file path=ppt/diagrams/layout2.xml><?xml version="1.0" encoding="utf-8"?>
<dgm:layoutDef xmlns:dgm="http://schemas.openxmlformats.org/drawingml/2006/diagram" xmlns:a="http://schemas.openxmlformats.org/drawingml/2006/main" uniqueId="urn:microsoft.com/office/officeart/2005/8/layout/venn1">
  <dgm:title val=""/>
  <dgm:desc val=""/>
  <dgm:catLst>
    <dgm:cat type="relationship" pri="28000"/>
    <dgm:cat type="convert" pri="19000"/>
  </dgm:catLst>
  <dgm:sampData useDef="1">
    <dgm:dataModel>
      <dgm:ptLst/>
      <dgm:bg/>
      <dgm:whole/>
    </dgm:dataModel>
  </dgm:sampData>
  <dgm:styleData useDef="1">
    <dgm:dataModel>
      <dgm:ptLst/>
      <dgm:bg/>
      <dgm:whole/>
    </dgm:dataModel>
  </dgm:styleData>
  <dgm:clrData>
    <dgm:dataModel>
      <dgm:ptLst>
        <dgm:pt modelId="0" type="doc"/>
        <dgm:pt modelId="1"/>
        <dgm:pt modelId="2"/>
        <dgm:pt modelId="3"/>
        <dgm:pt modelId="4"/>
      </dgm:ptLst>
      <dgm:cxnLst>
        <dgm:cxn modelId="7" srcId="0" destId="1" srcOrd="0" destOrd="0"/>
        <dgm:cxn modelId="8" srcId="0" destId="2" srcOrd="1" destOrd="0"/>
        <dgm:cxn modelId="9" srcId="0" destId="3" srcOrd="2" destOrd="0"/>
        <dgm:cxn modelId="10" srcId="0" destId="4" srcOrd="3" destOrd="0"/>
      </dgm:cxnLst>
      <dgm:bg/>
      <dgm:whole/>
    </dgm:dataModel>
  </dgm:clrData>
  <dgm:layoutNode name="compositeShape">
    <dgm:varLst>
      <dgm:chMax val="7"/>
      <dgm:dir/>
      <dgm:resizeHandles val="exact"/>
    </dgm:varLst>
    <dgm:choose name="Name0">
      <dgm:if name="Name1" axis="ch" ptType="node" func="cnt" op="equ" val="1">
        <dgm:alg type="composite">
          <dgm:param type="ar" val="1"/>
        </dgm:alg>
      </dgm:if>
      <dgm:if name="Name2" axis="ch" ptType="node" func="cnt" op="equ" val="2">
        <dgm:alg type="composite">
          <dgm:param type="ar" val="1.792"/>
        </dgm:alg>
      </dgm:if>
      <dgm:if name="Name3" axis="ch" ptType="node" func="cnt" op="equ" val="3">
        <dgm:alg type="composite">
          <dgm:param type="ar" val="1"/>
        </dgm:alg>
      </dgm:if>
      <dgm:if name="Name4" axis="ch" ptType="node" func="cnt" op="equ" val="4">
        <dgm:alg type="composite">
          <dgm:param type="ar" val="1"/>
        </dgm:alg>
      </dgm:if>
      <dgm:if name="Name5" axis="ch" ptType="node" func="cnt" op="equ" val="5">
        <dgm:alg type="composite">
          <dgm:param type="ar" val="1.4"/>
        </dgm:alg>
      </dgm:if>
      <dgm:if name="Name6" axis="ch" ptType="node" func="cnt" op="equ" val="6">
        <dgm:alg type="composite">
          <dgm:param type="ar" val="1.285"/>
        </dgm:alg>
      </dgm:if>
      <dgm:if name="Name7" axis="ch" ptType="node" func="cnt" op="equ" val="7">
        <dgm:alg type="composite">
          <dgm:param type="ar" val="1.359"/>
        </dgm:alg>
      </dgm:if>
      <dgm:else name="Name8">
        <dgm:alg type="composite">
          <dgm:param type="ar" val="1.359"/>
        </dgm:alg>
      </dgm:else>
    </dgm:choose>
    <dgm:shape xmlns:r="http://schemas.openxmlformats.org/officeDocument/2006/relationships" r:blip="">
      <dgm:adjLst/>
    </dgm:shape>
    <dgm:presOf/>
    <dgm:choose name="Name9">
      <dgm:if name="Name10" axis="ch" ptType="node" func="cnt" op="equ" val="1">
        <dgm:constrLst>
          <dgm:constr type="ctrX" for="ch" forName="circ1TxSh" refType="w" fact="0.5"/>
          <dgm:constr type="ctrY" for="ch" forName="circ1TxSh" refType="h" fact="0.5"/>
          <dgm:constr type="w" for="ch" forName="circ1TxSh" refType="w"/>
          <dgm:constr type="h" for="ch" forName="circ1TxSh" refType="h"/>
          <dgm:constr type="primFontSz" for="ch" ptType="node" op="equ"/>
        </dgm:constrLst>
      </dgm:if>
      <dgm:if name="Name11" axis="ch" ptType="node" func="cnt" op="equ" val="2">
        <dgm:constrLst>
          <dgm:constr type="ctrX" for="ch" forName="circ1" refType="w" fact="0.3"/>
          <dgm:constr type="ctrY" for="ch" forName="circ1" refType="h" fact="0.5"/>
          <dgm:constr type="w" for="ch" forName="circ1" refType="w" fact="0.555"/>
          <dgm:constr type="h" for="ch" forName="circ1" refType="h" fact="0.99456"/>
          <dgm:constr type="l" for="ch" forName="circ1Tx" refType="w" fact="0.1"/>
          <dgm:constr type="t" for="ch" forName="circ1Tx" refType="h" fact="0.12"/>
          <dgm:constr type="w" for="ch" forName="circ1Tx" refType="w" fact="0.32"/>
          <dgm:constr type="h" for="ch" forName="circ1Tx" refType="h" fact="0.76"/>
          <dgm:constr type="ctrX" for="ch" forName="circ2" refType="w" fact="0.7"/>
          <dgm:constr type="ctrY" for="ch" forName="circ2" refType="h" fact="0.5"/>
          <dgm:constr type="w" for="ch" forName="circ2" refType="w" fact="0.555"/>
          <dgm:constr type="h" for="ch" forName="circ2" refType="h" fact="0.99456"/>
          <dgm:constr type="l" for="ch" forName="circ2Tx" refType="w" fact="0.58"/>
          <dgm:constr type="t" for="ch" forName="circ2Tx" refType="h" fact="0.12"/>
          <dgm:constr type="w" for="ch" forName="circ2Tx" refType="w" fact="0.32"/>
          <dgm:constr type="h" for="ch" forName="circ2Tx" refType="h" fact="0.76"/>
          <dgm:constr type="primFontSz" for="ch" ptType="node" op="equ"/>
        </dgm:constrLst>
      </dgm:if>
      <dgm:if name="Name12" axis="ch" ptType="node" func="cnt" op="equ" val="3">
        <dgm:constrLst>
          <dgm:constr type="ctrX" for="ch" forName="circ1" refType="w" fact="0.5"/>
          <dgm:constr type="ctrY" for="ch" forName="circ1" refType="w" fact="0.25"/>
          <dgm:constr type="w" for="ch" forName="circ1" refType="w" fact="0.6"/>
          <dgm:constr type="h" for="ch" forName="circ1" refType="h" fact="0.6"/>
          <dgm:constr type="l" for="ch" forName="circ1Tx" refType="w" fact="0.28"/>
          <dgm:constr type="t" for="ch" forName="circ1Tx" refType="h" fact="0.055"/>
          <dgm:constr type="w" for="ch" forName="circ1Tx" refType="w" fact="0.44"/>
          <dgm:constr type="h" for="ch" forName="circ1Tx" refType="h" fact="0.27"/>
          <dgm:constr type="ctrX" for="ch" forName="circ2" refType="w" fact="0.7165"/>
          <dgm:constr type="ctrY" for="ch" forName="circ2" refType="w" fact="0.625"/>
          <dgm:constr type="w" for="ch" forName="circ2" refType="w" fact="0.6"/>
          <dgm:constr type="h" for="ch" forName="circ2" refType="h" fact="0.6"/>
          <dgm:constr type="l" for="ch" forName="circ2Tx" refType="w" fact="0.6"/>
          <dgm:constr type="t" for="ch" forName="circ2Tx" refType="h" fact="0.48"/>
          <dgm:constr type="w" for="ch" forName="circ2Tx" refType="w" fact="0.36"/>
          <dgm:constr type="h" for="ch" forName="circ2Tx" refType="h" fact="0.33"/>
          <dgm:constr type="ctrX" for="ch" forName="circ3" refType="w" fact="0.2835"/>
          <dgm:constr type="ctrY" for="ch" forName="circ3" refType="w" fact="0.625"/>
          <dgm:constr type="w" for="ch" forName="circ3" refType="w" fact="0.6"/>
          <dgm:constr type="h" for="ch" forName="circ3" refType="h" fact="0.6"/>
          <dgm:constr type="l" for="ch" forName="circ3Tx" refType="w" fact="0.04"/>
          <dgm:constr type="t" for="ch" forName="circ3Tx" refType="h" fact="0.48"/>
          <dgm:constr type="w" for="ch" forName="circ3Tx" refType="w" fact="0.36"/>
          <dgm:constr type="h" for="ch" forName="circ3Tx" refType="h" fact="0.33"/>
          <dgm:constr type="primFontSz" for="ch" ptType="node" op="equ"/>
        </dgm:constrLst>
      </dgm:if>
      <dgm:if name="Name13" axis="ch" ptType="node" func="cnt" op="equ" val="4">
        <dgm:constrLst>
          <dgm:constr type="ctrX" for="ch" forName="circ1" refType="w" fact="0.5"/>
          <dgm:constr type="ctrY" for="ch" forName="circ1" refType="w" fact="0.27"/>
          <dgm:constr type="w" for="ch" forName="circ1" refType="w" fact="0.52"/>
          <dgm:constr type="h" for="ch" forName="circ1" refType="h" fact="0.52"/>
          <dgm:constr type="l" for="ch" forName="circ1Tx" refType="w" fact="0.3"/>
          <dgm:constr type="t" for="ch" forName="circ1Tx" refType="h" fact="0.08"/>
          <dgm:constr type="w" for="ch" forName="circ1Tx" refType="w" fact="0.4"/>
          <dgm:constr type="h" for="ch" forName="circ1Tx" refType="h" fact="0.165"/>
          <dgm:constr type="ctrX" for="ch" forName="circ2" refType="w" fact="0.73"/>
          <dgm:constr type="ctrY" for="ch" forName="circ2" refType="w" fact="0.5"/>
          <dgm:constr type="w" for="ch" forName="circ2" refType="w" fact="0.52"/>
          <dgm:constr type="h" for="ch" forName="circ2" refType="h" fact="0.52"/>
          <dgm:constr type="r" for="ch" forName="circ2Tx" refType="w" fact="0.95"/>
          <dgm:constr type="t" for="ch" forName="circ2Tx" refType="h" fact="0.3"/>
          <dgm:constr type="w" for="ch" forName="circ2Tx" refType="w" fact="0.2"/>
          <dgm:constr type="h" for="ch" forName="circ2Tx" refType="h" fact="0.4"/>
          <dgm:constr type="ctrX" for="ch" forName="circ3" refType="w" fact="0.5"/>
          <dgm:constr type="ctrY" for="ch" forName="circ3" refType="w" fact="0.73"/>
          <dgm:constr type="w" for="ch" forName="circ3" refType="w" fact="0.52"/>
          <dgm:constr type="h" for="ch" forName="circ3" refType="h" fact="0.52"/>
          <dgm:constr type="l" for="ch" forName="circ3Tx" refType="w" fact="0.3"/>
          <dgm:constr type="b" for="ch" forName="circ3Tx" refType="h" fact="0.92"/>
          <dgm:constr type="w" for="ch" forName="circ3Tx" refType="w" fact="0.4"/>
          <dgm:constr type="h" for="ch" forName="circ3Tx" refType="h" fact="0.165"/>
          <dgm:constr type="ctrX" for="ch" forName="circ4" refType="w" fact="0.27"/>
          <dgm:constr type="ctrY" for="ch" forName="circ4" refType="h" fact="0.5"/>
          <dgm:constr type="w" for="ch" forName="circ4" refType="w" fact="0.52"/>
          <dgm:constr type="h" for="ch" forName="circ4" refType="h" fact="0.52"/>
          <dgm:constr type="l" for="ch" forName="circ4Tx" refType="w" fact="0.05"/>
          <dgm:constr type="t" for="ch" forName="circ4Tx" refType="h" fact="0.3"/>
          <dgm:constr type="w" for="ch" forName="circ4Tx" refType="w" fact="0.2"/>
          <dgm:constr type="h" for="ch" forName="circ4Tx" refType="h" fact="0.4"/>
          <dgm:constr type="primFontSz" for="ch" ptType="node" op="equ"/>
        </dgm:constrLst>
      </dgm:if>
      <dgm:if name="Name14" axis="ch" ptType="node" func="cnt" op="equ" val="5">
        <dgm:constrLst>
          <dgm:constr type="ctrX" for="ch" forName="circ1" refType="w" fact="0.5"/>
          <dgm:constr type="ctrY" for="ch" forName="circ1" refType="h" fact="0.46"/>
          <dgm:constr type="w" for="ch" forName="circ1" refType="w" fact="0.25"/>
          <dgm:constr type="h" for="ch" forName="circ1" refType="h" fact="0.35"/>
          <dgm:constr type="l" for="ch" forName="circ1Tx" refType="w" fact="0.355"/>
          <dgm:constr type="t" for="ch" forName="circ1Tx"/>
          <dgm:constr type="w" for="ch" forName="circ1Tx" refType="w" fact="0.29"/>
          <dgm:constr type="h" for="ch" forName="circ1Tx" refType="h" fact="0.235"/>
          <dgm:constr type="ctrX" for="ch" forName="circ2" refType="w" fact="0.5951"/>
          <dgm:constr type="ctrY" for="ch" forName="circ2" refType="h" fact="0.5567"/>
          <dgm:constr type="w" for="ch" forName="circ2" refType="w" fact="0.25"/>
          <dgm:constr type="h" for="ch" forName="circ2" refType="h" fact="0.35"/>
          <dgm:constr type="l" for="ch" forName="circ2Tx" refType="w" fact="0.74"/>
          <dgm:constr type="t" for="ch" forName="circ2Tx" refType="h" fact="0.31"/>
          <dgm:constr type="w" for="ch" forName="circ2Tx" refType="w" fact="0.26"/>
          <dgm:constr type="h" for="ch" forName="circ2Tx" refType="h" fact="0.255"/>
          <dgm:constr type="ctrX" for="ch" forName="circ3" refType="w" fact="0.5588"/>
          <dgm:constr type="ctrY" for="ch" forName="circ3" refType="h" fact="0.7133"/>
          <dgm:constr type="w" for="ch" forName="circ3" refType="w" fact="0.25"/>
          <dgm:constr type="h" for="ch" forName="circ3" refType="h" fact="0.35"/>
          <dgm:constr type="l" for="ch" forName="circ3Tx" refType="w" fact="0.7"/>
          <dgm:constr type="t" for="ch" forName="circ3Tx" refType="h" fact="0.745"/>
          <dgm:constr type="w" for="ch" forName="circ3Tx" refType="w" fact="0.26"/>
          <dgm:constr type="h" for="ch" forName="circ3Tx" refType="h" fact="0.255"/>
          <dgm:constr type="ctrX" for="ch" forName="circ4" refType="w" fact="0.4412"/>
          <dgm:constr type="ctrY" for="ch" forName="circ4" refType="h" fact="0.7133"/>
          <dgm:constr type="w" for="ch" forName="circ4" refType="w" fact="0.25"/>
          <dgm:constr type="h" for="ch" forName="circ4" refType="h" fact="0.35"/>
          <dgm:constr type="l" for="ch" forName="circ4Tx" refType="w" fact="0.04"/>
          <dgm:constr type="t" for="ch" forName="circ4Tx" refType="h" fact="0.745"/>
          <dgm:constr type="w" for="ch" forName="circ4Tx" refType="w" fact="0.26"/>
          <dgm:constr type="h" for="ch" forName="circ4Tx" refType="h" fact="0.255"/>
          <dgm:constr type="ctrX" for="ch" forName="circ5" refType="w" fact="0.4049"/>
          <dgm:constr type="ctrY" for="ch" forName="circ5" refType="h" fact="0.5567"/>
          <dgm:constr type="w" for="ch" forName="circ5" refType="w" fact="0.25"/>
          <dgm:constr type="h" for="ch" forName="circ5" refType="h" fact="0.35"/>
          <dgm:constr type="l" for="ch" forName="circ5Tx"/>
          <dgm:constr type="t" for="ch" forName="circ5Tx" refType="h" fact="0.31"/>
          <dgm:constr type="w" for="ch" forName="circ5Tx" refType="w" fact="0.26"/>
          <dgm:constr type="h" for="ch" forName="circ5Tx" refType="h" fact="0.255"/>
          <dgm:constr type="primFontSz" for="ch" ptType="node" op="equ"/>
        </dgm:constrLst>
      </dgm:if>
      <dgm:if name="Name15" axis="ch" ptType="node" func="cnt" op="equ" val="6">
        <dgm:constrLst>
          <dgm:constr type="ctrX" for="ch" forName="circ1" refType="w" fact="0.5"/>
          <dgm:constr type="ctrY" for="ch" forName="circ1" refType="h" fact="0.3844"/>
          <dgm:constr type="w" for="ch" forName="circ1" refType="w" fact="0.24"/>
          <dgm:constr type="h" for="ch" forName="circ1" refType="h" fact="0.3084"/>
          <dgm:constr type="l" for="ch" forName="circ1Tx" refType="w" fact="0.35"/>
          <dgm:constr type="t" for="ch" forName="circ1Tx"/>
          <dgm:constr type="w" for="ch" forName="circ1Tx" refType="w" fact="0.3"/>
          <dgm:constr type="h" for="ch" forName="circ1Tx" refType="h" fact="0.21"/>
          <dgm:constr type="ctrX" for="ch" forName="circ2" refType="w" fact="0.5779"/>
          <dgm:constr type="ctrY" for="ch" forName="circ2" refType="h" fact="0.4422"/>
          <dgm:constr type="w" for="ch" forName="circ2" refType="w" fact="0.24"/>
          <dgm:constr type="h" for="ch" forName="circ2" refType="h" fact="0.3084"/>
          <dgm:constr type="l" for="ch" forName="circ2Tx" refType="w" fact="0.7157"/>
          <dgm:constr type="t" for="ch" forName="circ2Tx" refType="h" fact="0.2"/>
          <dgm:constr type="w" for="ch" forName="circ2Tx" refType="w" fact="0.2843"/>
          <dgm:constr type="h" for="ch" forName="circ2Tx" refType="h" fact="0.23"/>
          <dgm:constr type="ctrX" for="ch" forName="circ3" refType="w" fact="0.5779"/>
          <dgm:constr type="ctrY" for="ch" forName="circ3" refType="h" fact="0.5578"/>
          <dgm:constr type="w" for="ch" forName="circ3" refType="w" fact="0.24"/>
          <dgm:constr type="h" for="ch" forName="circ3" refType="h" fact="0.3084"/>
          <dgm:constr type="l" for="ch" forName="circ3Tx" refType="w" fact="0.7157"/>
          <dgm:constr type="t" for="ch" forName="circ3Tx" refType="h" fact="0.543"/>
          <dgm:constr type="w" for="ch" forName="circ3Tx" refType="w" fact="0.2843"/>
          <dgm:constr type="h" for="ch" forName="circ3Tx" refType="h" fact="0.257"/>
          <dgm:constr type="ctrX" for="ch" forName="circ4" refType="w" fact="0.5"/>
          <dgm:constr type="ctrY" for="ch" forName="circ4" refType="h" fact="0.6157"/>
          <dgm:constr type="w" for="ch" forName="circ4" refType="w" fact="0.24"/>
          <dgm:constr type="h" for="ch" forName="circ4" refType="h" fact="0.3084"/>
          <dgm:constr type="l" for="ch" forName="circ4Tx" refType="w" fact="0.35"/>
          <dgm:constr type="t" for="ch" forName="circ4Tx" refType="h" fact="0.79"/>
          <dgm:constr type="w" for="ch" forName="circ4Tx" refType="w" fact="0.3"/>
          <dgm:constr type="h" for="ch" forName="circ4Tx" refType="h" fact="0.21"/>
          <dgm:constr type="ctrX" for="ch" forName="circ5" refType="w" fact="0.4221"/>
          <dgm:constr type="ctrY" for="ch" forName="circ5" refType="h" fact="0.5578"/>
          <dgm:constr type="w" for="ch" forName="circ5" refType="w" fact="0.24"/>
          <dgm:constr type="h" for="ch" forName="circ5" refType="h" fact="0.3084"/>
          <dgm:constr type="l" for="ch" forName="circ5Tx" refType="w" fact="0"/>
          <dgm:constr type="t" for="ch" forName="circ5Tx" refType="h" fact="0.543"/>
          <dgm:constr type="w" for="ch" forName="circ5Tx" refType="w" fact="0.2843"/>
          <dgm:constr type="h" for="ch" forName="circ5Tx" refType="h" fact="0.257"/>
          <dgm:constr type="ctrX" for="ch" forName="circ6" refType="w" fact="0.4221"/>
          <dgm:constr type="ctrY" for="ch" forName="circ6" refType="h" fact="0.4422"/>
          <dgm:constr type="w" for="ch" forName="circ6" refType="w" fact="0.24"/>
          <dgm:constr type="h" for="ch" forName="circ6" refType="h" fact="0.3084"/>
          <dgm:constr type="l" for="ch" forName="circ6Tx" refType="w" fact="0"/>
          <dgm:constr type="t" for="ch" forName="circ6Tx" refType="h" fact="0.2"/>
          <dgm:constr type="w" for="ch" forName="circ6Tx" refType="w" fact="0.2843"/>
          <dgm:constr type="h" for="ch" forName="circ6Tx" refType="h" fact="0.257"/>
          <dgm:constr type="primFontSz" for="ch" ptType="node" op="equ"/>
        </dgm:constrLst>
      </dgm:if>
      <dgm:else name="Name16">
        <dgm:constrLst>
          <dgm:constr type="ctrX" for="ch" forName="circ1" refType="w" fact="0.5"/>
          <dgm:constr type="ctrY" for="ch" forName="circ1" refType="h" fact="0.4177"/>
          <dgm:constr type="w" for="ch" forName="circ1" refType="w" fact="0.24"/>
          <dgm:constr type="h" for="ch" forName="circ1" refType="h" fact="0.3262"/>
          <dgm:constr type="l" for="ch" forName="circ1Tx" refType="w" fact="0.3625"/>
          <dgm:constr type="t" for="ch" forName="circ1Tx"/>
          <dgm:constr type="w" for="ch" forName="circ1Tx" refType="w" fact="0.275"/>
          <dgm:constr type="h" for="ch" forName="circ1Tx" refType="h" fact="0.2"/>
          <dgm:constr type="ctrX" for="ch" forName="circ2" refType="w" fact="0.5704"/>
          <dgm:constr type="ctrY" for="ch" forName="circ2" refType="h" fact="0.4637"/>
          <dgm:constr type="w" for="ch" forName="circ2" refType="w" fact="0.24"/>
          <dgm:constr type="h" for="ch" forName="circ2" refType="h" fact="0.3262"/>
          <dgm:constr type="l" for="ch" forName="circ2Tx" refType="w" fact="0.72"/>
          <dgm:constr type="t" for="ch" forName="circ2Tx" refType="h" fact="0.19"/>
          <dgm:constr type="w" for="ch" forName="circ2Tx" refType="w" fact="0.26"/>
          <dgm:constr type="h" for="ch" forName="circ2Tx" refType="h" fact="0.22"/>
          <dgm:constr type="ctrX" for="ch" forName="circ3" refType="w" fact="0.5877"/>
          <dgm:constr type="ctrY" for="ch" forName="circ3" refType="h" fact="0.5672"/>
          <dgm:constr type="w" for="ch" forName="circ3" refType="w" fact="0.24"/>
          <dgm:constr type="h" for="ch" forName="circ3" refType="h" fact="0.3262"/>
          <dgm:constr type="l" for="ch" forName="circ3Tx" refType="w" fact="0.745"/>
          <dgm:constr type="t" for="ch" forName="circ3Tx" refType="h" fact="0.47"/>
          <dgm:constr type="w" for="ch" forName="circ3Tx" refType="w" fact="0.255"/>
          <dgm:constr type="h" for="ch" forName="circ3Tx" refType="h" fact="0.235"/>
          <dgm:constr type="ctrX" for="ch" forName="circ4" refType="w" fact="0.539"/>
          <dgm:constr type="ctrY" for="ch" forName="circ4" refType="h" fact="0.6502"/>
          <dgm:constr type="w" for="ch" forName="circ4" refType="w" fact="0.24"/>
          <dgm:constr type="h" for="ch" forName="circ4" refType="h" fact="0.3262"/>
          <dgm:constr type="l" for="ch" forName="circ4Tx" refType="w" fact="0.635"/>
          <dgm:constr type="t" for="ch" forName="circ4Tx" refType="h" fact="0.785"/>
          <dgm:constr type="w" for="ch" forName="circ4Tx" refType="w" fact="0.275"/>
          <dgm:constr type="h" for="ch" forName="circ4Tx" refType="h" fact="0.215"/>
          <dgm:constr type="ctrX" for="ch" forName="circ5" refType="w" fact="0.461"/>
          <dgm:constr type="ctrY" for="ch" forName="circ5" refType="h" fact="0.6502"/>
          <dgm:constr type="w" for="ch" forName="circ5" refType="w" fact="0.24"/>
          <dgm:constr type="h" for="ch" forName="circ5" refType="h" fact="0.3262"/>
          <dgm:constr type="l" for="ch" forName="circ5Tx" refType="w" fact="0.09"/>
          <dgm:constr type="t" for="ch" forName="circ5Tx" refType="h" fact="0.785"/>
          <dgm:constr type="w" for="ch" forName="circ5Tx" refType="w" fact="0.275"/>
          <dgm:constr type="h" for="ch" forName="circ5Tx" refType="h" fact="0.215"/>
          <dgm:constr type="ctrX" for="ch" forName="circ6" refType="w" fact="0.4123"/>
          <dgm:constr type="ctrY" for="ch" forName="circ6" refType="h" fact="0.5672"/>
          <dgm:constr type="w" for="ch" forName="circ6" refType="w" fact="0.24"/>
          <dgm:constr type="h" for="ch" forName="circ6" refType="h" fact="0.3262"/>
          <dgm:constr type="l" for="ch" forName="circ6Tx"/>
          <dgm:constr type="t" for="ch" forName="circ6Tx" refType="h" fact="0.47"/>
          <dgm:constr type="w" for="ch" forName="circ6Tx" refType="w" fact="0.255"/>
          <dgm:constr type="h" for="ch" forName="circ6Tx" refType="h" fact="0.235"/>
          <dgm:constr type="ctrX" for="ch" forName="circ7" refType="w" fact="0.4296"/>
          <dgm:constr type="ctrY" for="ch" forName="circ7" refType="h" fact="0.4637"/>
          <dgm:constr type="w" for="ch" forName="circ7" refType="w" fact="0.24"/>
          <dgm:constr type="h" for="ch" forName="circ7" refType="h" fact="0.3262"/>
          <dgm:constr type="l" for="ch" forName="circ7Tx" refType="w" fact="0.02"/>
          <dgm:constr type="t" for="ch" forName="circ7Tx" refType="h" fact="0.19"/>
          <dgm:constr type="w" for="ch" forName="circ7Tx" refType="w" fact="0.26"/>
          <dgm:constr type="h" for="ch" forName="circ7Tx" refType="h" fact="0.22"/>
          <dgm:constr type="primFontSz" for="ch" ptType="node" op="equ"/>
        </dgm:constrLst>
      </dgm:else>
    </dgm:choose>
    <dgm:ruleLst/>
    <dgm:forEach name="Name17" axis="ch" ptType="node" cnt="1">
      <dgm:choose name="Name18">
        <dgm:if name="Name19" axis="root ch" ptType="all node" func="cnt" op="equ" val="1">
          <dgm:layoutNode name="circ1TxSh" styleLbl="vennNode1">
            <dgm:alg type="tx">
              <dgm:param type="txAnchorHorzCh" val="ctr"/>
              <dgm:param type="txAnchorVertCh" val="mid"/>
            </dgm:alg>
            <dgm:shape xmlns:r="http://schemas.openxmlformats.org/officeDocument/2006/relationships" type="ellipse" r:blip="">
              <dgm:adjLst/>
            </dgm:shape>
            <dgm:choose name="Name20">
              <dgm:if name="Name21" func="var" arg="dir" op="equ" val="norm">
                <dgm:choose name="Name22">
                  <dgm:if name="Name23" axis="root ch" ptType="all node" func="cnt" op="lte" val="4">
                    <dgm:presOf axis="desOrSelf" ptType="node"/>
                  </dgm:if>
                  <dgm:else name="Name24">
                    <dgm:presOf/>
                  </dgm:else>
                </dgm:choose>
              </dgm:if>
              <dgm:else name="Name25">
                <dgm:choose name="Name26">
                  <dgm:if name="Name27" axis="root ch" ptType="all node" func="cnt" op="equ" val="2">
                    <dgm:presOf axis="root ch desOrSelf" ptType="all node node" st="1 2 1" cnt="1 1 0"/>
                  </dgm:if>
                  <dgm:else name="Name28">
                    <dgm:presOf axis="desOrSelf" ptType="node"/>
                  </dgm:else>
                </dgm:choose>
              </dgm:else>
            </dgm:choose>
            <dgm:constrLst>
              <dgm:constr type="tMarg"/>
              <dgm:constr type="bMarg"/>
              <dgm:constr type="lMarg"/>
              <dgm:constr type="rMarg"/>
              <dgm:constr type="primFontSz" val="65"/>
            </dgm:constrLst>
            <dgm:ruleLst>
              <dgm:rule type="primFontSz" val="5" fact="NaN" max="NaN"/>
            </dgm:ruleLst>
          </dgm:layoutNode>
        </dgm:if>
        <dgm:else name="Name29">
          <dgm:layoutNode name="circ1" styleLbl="vennNode1">
            <dgm:alg type="sp"/>
            <dgm:shape xmlns:r="http://schemas.openxmlformats.org/officeDocument/2006/relationships" type="ellipse" r:blip="">
              <dgm:adjLst/>
            </dgm:shape>
            <dgm:choose name="Name30">
              <dgm:if name="Name31" func="var" arg="dir" op="equ" val="norm">
                <dgm:choose name="Name32">
                  <dgm:if name="Name33" axis="root ch" ptType="all node" func="cnt" op="lte" val="4">
                    <dgm:presOf axis="desOrSelf" ptType="node"/>
                  </dgm:if>
                  <dgm:else name="Name34">
                    <dgm:presOf/>
                  </dgm:else>
                </dgm:choose>
              </dgm:if>
              <dgm:else name="Name35">
                <dgm:choose name="Name36">
                  <dgm:if name="Name37" axis="root ch" ptType="all node" func="cnt" op="equ" val="2">
                    <dgm:presOf axis="root ch desOrSelf" ptType="all node node" st="1 2 1" cnt="1 1 0"/>
                  </dgm:if>
                  <dgm:else name="Name38">
                    <dgm:choose name="Name39">
                      <dgm:if name="Name40" axis="root ch" ptType="all node" func="cnt" op="lte" val="4">
                        <dgm:presOf axis="desOrSelf" ptType="node"/>
                      </dgm:if>
                      <dgm:else name="Name41">
                        <dgm:presOf/>
                      </dgm:else>
                    </dgm:choose>
                  </dgm:else>
                </dgm:choose>
              </dgm:else>
            </dgm:choose>
            <dgm:constrLst/>
            <dgm:ruleLst/>
          </dgm:layoutNode>
          <dgm:layoutNode name="circ1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42">
              <dgm:if name="Name43" func="var" arg="dir" op="equ" val="norm">
                <dgm:presOf axis="desOrSelf" ptType="node"/>
              </dgm:if>
              <dgm:else name="Name44">
                <dgm:choose name="Name45">
                  <dgm:if name="Name46" axis="root ch" ptType="all node" func="cnt" op="equ" val="2">
                    <dgm:presOf axis="root ch desOrSelf" ptType="all node node" st="1 2 1" cnt="1 1 0"/>
                  </dgm:if>
                  <dgm:else name="Name47">
                    <dgm:presOf axis="desOrSelf" ptType="node"/>
                  </dgm:else>
                </dgm:choose>
              </dgm:else>
            </dgm:choose>
            <dgm:constrLst>
              <dgm:constr type="tMarg"/>
              <dgm:constr type="bMarg"/>
              <dgm:constr type="lMarg"/>
              <dgm:constr type="rMarg"/>
              <dgm:constr type="primFontSz" val="65"/>
            </dgm:constrLst>
            <dgm:ruleLst>
              <dgm:rule type="primFontSz" val="5" fact="NaN" max="NaN"/>
            </dgm:ruleLst>
          </dgm:layoutNode>
        </dgm:else>
      </dgm:choose>
    </dgm:forEach>
    <dgm:forEach name="Name48" axis="ch" ptType="node" st="2" cnt="1">
      <dgm:layoutNode name="circ2" styleLbl="vennNode1">
        <dgm:alg type="sp"/>
        <dgm:shape xmlns:r="http://schemas.openxmlformats.org/officeDocument/2006/relationships" type="ellipse" r:blip="">
          <dgm:adjLst/>
        </dgm:shape>
        <dgm:choose name="Name49">
          <dgm:if name="Name50" func="var" arg="dir" op="equ" val="norm">
            <dgm:choose name="Name51">
              <dgm:if name="Name52" axis="root ch" ptType="all node" func="cnt" op="lte" val="4">
                <dgm:presOf axis="desOrSelf" ptType="node"/>
              </dgm:if>
              <dgm:else name="Name53">
                <dgm:presOf/>
              </dgm:else>
            </dgm:choose>
          </dgm:if>
          <dgm:else name="Name54">
            <dgm:choose name="Name55">
              <dgm:if name="Name56" axis="root ch" ptType="all node" func="cnt" op="equ" val="2">
                <dgm:presOf axis="root ch desOrSelf" ptType="all node node" st="1 1 1" cnt="1 1 0"/>
              </dgm:if>
              <dgm:if name="Name57" axis="root ch" ptType="all node" func="cnt" op="equ" val="3">
                <dgm:presOf axis="root ch desOrSelf" ptType="all node node" st="1 3 1" cnt="1 1 0"/>
              </dgm:if>
              <dgm:if name="Name58" axis="root ch" ptType="all node" func="cnt" op="equ" val="4">
                <dgm:presOf axis="root ch desOrSelf" ptType="all node node" st="1 4 1" cnt="1 1 0"/>
              </dgm:if>
              <dgm:else name="Name59">
                <dgm:presOf/>
              </dgm:else>
            </dgm:choose>
          </dgm:else>
        </dgm:choose>
        <dgm:constrLst/>
        <dgm:ruleLst/>
      </dgm:layoutNode>
      <dgm:layoutNode name="circ2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60">
          <dgm:if name="Name61" func="var" arg="dir" op="equ" val="norm">
            <dgm:presOf axis="desOrSelf" ptType="node"/>
          </dgm:if>
          <dgm:else name="Name62">
            <dgm:choose name="Name63">
              <dgm:if name="Name64" axis="root ch" ptType="all node" func="cnt" op="equ" val="2">
                <dgm:presOf axis="root ch desOrSelf" ptType="all node node" st="1 1 1" cnt="1 1 0"/>
              </dgm:if>
              <dgm:if name="Name65" axis="root ch" ptType="all node" func="cnt" op="equ" val="3">
                <dgm:presOf axis="root ch desOrSelf" ptType="all node node" st="1 3 1" cnt="1 1 0"/>
              </dgm:if>
              <dgm:if name="Name66" axis="root ch" ptType="all node" func="cnt" op="equ" val="4">
                <dgm:presOf axis="root ch desOrSelf" ptType="all node node" st="1 4 1" cnt="1 1 0"/>
              </dgm:if>
              <dgm:if name="Name67" axis="root ch" ptType="all node" func="cnt" op="equ" val="5">
                <dgm:presOf axis="root ch desOrSelf" ptType="all node node" st="1 5 1" cnt="1 1 0"/>
              </dgm:if>
              <dgm:if name="Name68" axis="root ch" ptType="all node" func="cnt" op="equ" val="6">
                <dgm:presOf axis="root ch desOrSelf" ptType="all node node" st="1 6 1" cnt="1 1 0"/>
              </dgm:if>
              <dgm:else name="Name69">
                <dgm:presOf axis="root ch desOrSelf" ptType="all node node" st="1 7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70" axis="ch" ptType="node" st="3" cnt="1">
      <dgm:layoutNode name="circ3" styleLbl="vennNode1">
        <dgm:alg type="sp"/>
        <dgm:shape xmlns:r="http://schemas.openxmlformats.org/officeDocument/2006/relationships" type="ellipse" r:blip="">
          <dgm:adjLst/>
        </dgm:shape>
        <dgm:choose name="Name71">
          <dgm:if name="Name72" func="var" arg="dir" op="equ" val="norm">
            <dgm:choose name="Name73">
              <dgm:if name="Name74" axis="root ch" ptType="all node" func="cnt" op="lte" val="4">
                <dgm:presOf axis="desOrSelf" ptType="node"/>
              </dgm:if>
              <dgm:else name="Name75">
                <dgm:presOf/>
              </dgm:else>
            </dgm:choose>
          </dgm:if>
          <dgm:else name="Name76">
            <dgm:choose name="Name77">
              <dgm:if name="Name78" axis="root ch" ptType="all node" func="cnt" op="equ" val="3">
                <dgm:presOf axis="root ch desOrSelf" ptType="all node node" st="1 2 1" cnt="1 1 0"/>
              </dgm:if>
              <dgm:if name="Name79" axis="root ch" ptType="all node" func="cnt" op="equ" val="4">
                <dgm:presOf axis="root ch desOrSelf" ptType="all node node" st="1 3 1" cnt="1 1 0"/>
              </dgm:if>
              <dgm:else name="Name80">
                <dgm:presOf/>
              </dgm:else>
            </dgm:choose>
          </dgm:else>
        </dgm:choose>
        <dgm:constrLst/>
        <dgm:ruleLst/>
      </dgm:layoutNode>
      <dgm:layoutNode name="circ3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81">
          <dgm:if name="Name82" func="var" arg="dir" op="equ" val="norm">
            <dgm:presOf axis="desOrSelf" ptType="node"/>
          </dgm:if>
          <dgm:else name="Name83">
            <dgm:choose name="Name84">
              <dgm:if name="Name85" axis="root ch" ptType="all node" func="cnt" op="equ" val="3">
                <dgm:presOf axis="root ch desOrSelf" ptType="all node node" st="1 2 1" cnt="1 1 0"/>
              </dgm:if>
              <dgm:if name="Name86" axis="root ch" ptType="all node" func="cnt" op="equ" val="4">
                <dgm:presOf axis="root ch desOrSelf" ptType="all node node" st="1 3 1" cnt="1 1 0"/>
              </dgm:if>
              <dgm:if name="Name87" axis="root ch" ptType="all node" func="cnt" op="equ" val="5">
                <dgm:presOf axis="root ch desOrSelf" ptType="all node node" st="1 4 1" cnt="1 1 0"/>
              </dgm:if>
              <dgm:if name="Name88" axis="root ch" ptType="all node" func="cnt" op="equ" val="6">
                <dgm:presOf axis="root ch desOrSelf" ptType="all node node" st="1 5 1" cnt="1 1 0"/>
              </dgm:if>
              <dgm:else name="Name89">
                <dgm:presOf axis="root ch desOrSelf" ptType="all node node" st="1 6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90" axis="ch" ptType="node" st="4" cnt="1">
      <dgm:layoutNode name="circ4" styleLbl="vennNode1">
        <dgm:alg type="sp"/>
        <dgm:shape xmlns:r="http://schemas.openxmlformats.org/officeDocument/2006/relationships" type="ellipse" r:blip="">
          <dgm:adjLst/>
        </dgm:shape>
        <dgm:choose name="Name91">
          <dgm:if name="Name92" func="var" arg="dir" op="equ" val="norm">
            <dgm:choose name="Name93">
              <dgm:if name="Name94" axis="root ch" ptType="all node" func="cnt" op="lte" val="4">
                <dgm:presOf axis="desOrSelf" ptType="node"/>
              </dgm:if>
              <dgm:else name="Name95">
                <dgm:presOf/>
              </dgm:else>
            </dgm:choose>
          </dgm:if>
          <dgm:else name="Name96">
            <dgm:choose name="Name97">
              <dgm:if name="Name98" axis="root ch" ptType="all node" func="cnt" op="equ" val="4">
                <dgm:presOf axis="root ch desOrSelf" ptType="all node node" st="1 2 1" cnt="1 1 0"/>
              </dgm:if>
              <dgm:else name="Name99">
                <dgm:presOf/>
              </dgm:else>
            </dgm:choose>
          </dgm:else>
        </dgm:choose>
        <dgm:constrLst/>
        <dgm:ruleLst/>
      </dgm:layoutNode>
      <dgm:layoutNode name="circ4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00">
          <dgm:if name="Name101" func="var" arg="dir" op="equ" val="norm">
            <dgm:presOf axis="desOrSelf" ptType="node"/>
          </dgm:if>
          <dgm:else name="Name102">
            <dgm:choose name="Name103">
              <dgm:if name="Name104" axis="root ch" ptType="all node" func="cnt" op="equ" val="4">
                <dgm:presOf axis="root ch desOrSelf" ptType="all node node" st="1 2 1" cnt="1 1 0"/>
              </dgm:if>
              <dgm:if name="Name105" axis="root ch" ptType="all node" func="cnt" op="equ" val="5">
                <dgm:presOf axis="root ch desOrSelf" ptType="all node node" st="1 3 1" cnt="1 1 0"/>
              </dgm:if>
              <dgm:if name="Name106" axis="root ch" ptType="all node" func="cnt" op="equ" val="6">
                <dgm:presOf axis="root ch desOrSelf" ptType="all node node" st="1 4 1" cnt="1 1 0"/>
              </dgm:if>
              <dgm:else name="Name107">
                <dgm:presOf axis="root ch desOrSelf" ptType="all node node" st="1 5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08" axis="ch" ptType="node" st="5" cnt="1">
      <dgm:layoutNode name="circ5" styleLbl="vennNode1">
        <dgm:alg type="sp"/>
        <dgm:shape xmlns:r="http://schemas.openxmlformats.org/officeDocument/2006/relationships" type="ellipse" r:blip="">
          <dgm:adjLst/>
        </dgm:shape>
        <dgm:presOf/>
        <dgm:constrLst/>
        <dgm:ruleLst/>
      </dgm:layoutNode>
      <dgm:layoutNode name="circ5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09">
          <dgm:if name="Name110" func="var" arg="dir" op="equ" val="norm">
            <dgm:presOf axis="desOrSelf" ptType="node"/>
          </dgm:if>
          <dgm:else name="Name111">
            <dgm:choose name="Name112">
              <dgm:if name="Name113" axis="root ch" ptType="all node" func="cnt" op="equ" val="5">
                <dgm:presOf axis="root ch desOrSelf" ptType="all node node" st="1 2 1" cnt="1 1 0"/>
              </dgm:if>
              <dgm:if name="Name114" axis="root ch" ptType="all node" func="cnt" op="equ" val="6">
                <dgm:presOf axis="root ch desOrSelf" ptType="all node node" st="1 3 1" cnt="1 1 0"/>
              </dgm:if>
              <dgm:else name="Name115">
                <dgm:presOf axis="root ch desOrSelf" ptType="all node node" st="1 4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16" axis="ch" ptType="node" st="6" cnt="1">
      <dgm:layoutNode name="circ6" styleLbl="vennNode1">
        <dgm:alg type="sp"/>
        <dgm:shape xmlns:r="http://schemas.openxmlformats.org/officeDocument/2006/relationships" type="ellipse" r:blip="">
          <dgm:adjLst/>
        </dgm:shape>
        <dgm:presOf/>
        <dgm:constrLst/>
        <dgm:ruleLst/>
      </dgm:layoutNode>
      <dgm:layoutNode name="circ6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17">
          <dgm:if name="Name118" func="var" arg="dir" op="equ" val="norm">
            <dgm:presOf axis="desOrSelf" ptType="node"/>
          </dgm:if>
          <dgm:else name="Name119">
            <dgm:choose name="Name120">
              <dgm:if name="Name121" axis="root ch" ptType="all node" func="cnt" op="equ" val="6">
                <dgm:presOf axis="root ch desOrSelf" ptType="all node node" st="1 2 1" cnt="1 1 0"/>
              </dgm:if>
              <dgm:else name="Name122">
                <dgm:presOf axis="root ch desOrSelf" ptType="all node node" st="1 3 1" cnt="1 1 0"/>
              </dgm:else>
            </dgm:choose>
          </dgm:else>
        </dgm:choose>
        <dgm:constrLst>
          <dgm:constr type="tMarg"/>
          <dgm:constr type="bMarg"/>
          <dgm:constr type="lMarg"/>
          <dgm:constr type="rMarg"/>
          <dgm:constr type="primFontSz" val="65"/>
        </dgm:constrLst>
        <dgm:ruleLst>
          <dgm:rule type="primFontSz" val="5" fact="NaN" max="NaN"/>
        </dgm:ruleLst>
      </dgm:layoutNode>
    </dgm:forEach>
    <dgm:forEach name="Name123" axis="ch" ptType="node" st="7" cnt="1">
      <dgm:layoutNode name="circ7" styleLbl="vennNode1">
        <dgm:alg type="sp"/>
        <dgm:shape xmlns:r="http://schemas.openxmlformats.org/officeDocument/2006/relationships" type="ellipse" r:blip="">
          <dgm:adjLst/>
        </dgm:shape>
        <dgm:presOf/>
        <dgm:constrLst/>
        <dgm:ruleLst/>
      </dgm:layoutNode>
      <dgm:layoutNode name="circ7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choose name="Name124">
          <dgm:if name="Name125" func="var" arg="dir" op="equ" val="norm">
            <dgm:presOf axis="desOrSelf" ptType="node"/>
          </dgm:if>
          <dgm:else name="Name126">
            <dgm:presOf axis="root ch desOrSelf" ptType="all node node" st="1 2 1" cnt="1 1 0"/>
          </dgm:else>
        </dgm:choose>
        <dgm:constrLst>
          <dgm:constr type="tMarg"/>
          <dgm:constr type="bMarg"/>
          <dgm:constr type="lMarg"/>
          <dgm:constr type="rMarg"/>
          <dgm:constr type="primFontSz" val="65"/>
        </dgm:constrLst>
        <dgm:ruleLst>
          <dgm:rule type="primFontSz" val="5" fact="NaN" max="NaN"/>
        </dgm:ruleLst>
      </dgm:layoutNod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4">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3d4">
  <dgm:title val=""/>
  <dgm:desc val=""/>
  <dgm:catLst>
    <dgm:cat type="3D" pri="11400"/>
  </dgm:catLst>
  <dgm:scene3d>
    <a:camera prst="orthographicFront"/>
    <a:lightRig rig="threePt" dir="t"/>
  </dgm:scene3d>
  <dgm:styleLbl name="node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l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venn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tx1"/>
      </a:fontRef>
    </dgm:style>
  </dgm:styleLbl>
  <dgm:styleLbl name="alignNode1">
    <dgm:scene3d>
      <a:camera prst="orthographicFront"/>
      <a:lightRig rig="chilly" dir="t"/>
    </dgm:scene3d>
    <dgm:sp3d prstMaterial="translucentPowder">
      <a:bevelT w="127000" h="25400" prst="softRound"/>
    </dgm:sp3d>
    <dgm:txPr/>
    <dgm:style>
      <a:lnRef idx="1">
        <a:scrgbClr r="0" g="0" b="0"/>
      </a:lnRef>
      <a:fillRef idx="1">
        <a:scrgbClr r="0" g="0" b="0"/>
      </a:fillRef>
      <a:effectRef idx="0">
        <a:scrgbClr r="0" g="0" b="0"/>
      </a:effectRef>
      <a:fontRef idx="minor">
        <a:schemeClr val="lt1"/>
      </a:fontRef>
    </dgm:style>
  </dgm:styleLbl>
  <dgm:styleLbl name="nod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node4">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fgImgPlace1">
    <dgm:scene3d>
      <a:camera prst="orthographicFront"/>
      <a:lightRig rig="chilly" dir="t"/>
    </dgm:scene3d>
    <dgm:sp3d z="12700" extrusionH="12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alignImgPlace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bgImgPlace1">
    <dgm:scene3d>
      <a:camera prst="orthographicFront"/>
      <a:lightRig rig="chilly" dir="t"/>
    </dgm:scene3d>
    <dgm:sp3d z="-257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chilly" dir="t"/>
    </dgm:scene3d>
    <dgm:sp3d z="-70000" extrusionH="1700" prstMaterial="translucentPowder">
      <a:bevelT w="25400" h="6350" prst="softRound"/>
      <a:bevelB w="0" h="0" prst="convex"/>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bgSibTrans2D1">
    <dgm:scene3d>
      <a:camera prst="orthographicFront"/>
      <a:lightRig rig="chilly" dir="t"/>
    </dgm:scene3d>
    <dgm:sp3d z="-25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sibTrans1D1">
    <dgm:scene3d>
      <a:camera prst="orthographicFront"/>
      <a:lightRig rig="chilly"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chilly"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1">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2">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asst3">
    <dgm:scene3d>
      <a:camera prst="orthographicFront"/>
      <a:lightRig rig="chilly" dir="t"/>
    </dgm:scene3d>
    <dgm:sp3d prstMaterial="translucentPowder">
      <a:bevelT w="127000" h="25400" prst="softRound"/>
    </dgm:sp3d>
    <dgm:txPr/>
    <dgm:style>
      <a:lnRef idx="0">
        <a:scrgbClr r="0" g="0" b="0"/>
      </a:lnRef>
      <a:fillRef idx="1">
        <a:scrgbClr r="0" g="0" b="0"/>
      </a:fillRef>
      <a:effectRef idx="0">
        <a:scrgbClr r="0" g="0" b="0"/>
      </a:effectRef>
      <a:fontRef idx="minor">
        <a:schemeClr val="lt1"/>
      </a:fontRef>
    </dgm:style>
  </dgm:styleLbl>
  <dgm:styleLbl name="parChTrans2D1">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2">
    <dgm:scene3d>
      <a:camera prst="orthographicFront"/>
      <a:lightRig rig="chilly" dir="t"/>
    </dgm:scene3d>
    <dgm:sp3d z="1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3">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2D4">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parChTrans1D1">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chilly" dir="t"/>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con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1">
    <dgm:scene3d>
      <a:camera prst="orthographicFront"/>
      <a:lightRig rig="chilly" dir="t"/>
    </dgm:scene3d>
    <dgm:sp3d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trAlignAcc1">
    <dgm:scene3d>
      <a:camera prst="orthographicFront"/>
      <a:lightRig rig="chilly" dir="t"/>
    </dgm:scene3d>
    <dgm:sp3d prstMaterial="dkEdge">
      <a:bevelT w="127000" h="25400"/>
    </dgm:sp3d>
    <dgm:txPr/>
    <dgm:style>
      <a:lnRef idx="1">
        <a:scrgbClr r="0" g="0" b="0"/>
      </a:lnRef>
      <a:fillRef idx="1">
        <a:scrgbClr r="0" g="0" b="0"/>
      </a:fillRef>
      <a:effectRef idx="0">
        <a:scrgbClr r="0" g="0" b="0"/>
      </a:effectRef>
      <a:fontRef idx="minor">
        <a:schemeClr val="lt1"/>
      </a:fontRef>
    </dgm:style>
  </dgm:styleLbl>
  <dgm:styleLbl name="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F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AlignAcc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solidBgAcc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chilly" dir="t"/>
    </dgm:scene3d>
    <dgm:sp3d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AccFollowNode1">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0">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2">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3">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fgAcc4">
    <dgm:scene3d>
      <a:camera prst="orthographicFront"/>
      <a:lightRig rig="chilly" dir="t"/>
    </dgm:scene3d>
    <dgm:sp3d z="12700" extrusionH="1700" prstMaterial="dkEdge">
      <a:bevelT w="25400" h="6350" prst="softRound"/>
      <a:bevelB w="0" h="0" prst="convex"/>
    </dgm:sp3d>
    <dgm:txPr/>
    <dgm:style>
      <a:lnRef idx="1">
        <a:scrgbClr r="0" g="0" b="0"/>
      </a:lnRef>
      <a:fillRef idx="1">
        <a:scrgbClr r="0" g="0" b="0"/>
      </a:fillRef>
      <a:effectRef idx="0">
        <a:scrgbClr r="0" g="0" b="0"/>
      </a:effectRef>
      <a:fontRef idx="minor"/>
    </dgm:style>
  </dgm:styleLbl>
  <dgm:styleLbl name="b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dkBgShp">
    <dgm:scene3d>
      <a:camera prst="orthographicFront"/>
      <a:lightRig rig="chilly" dir="t"/>
    </dgm:scene3d>
    <dgm:sp3d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trBgShp">
    <dgm:scene3d>
      <a:camera prst="orthographicFront"/>
      <a:lightRig rig="chilly"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chilly" dir="t"/>
    </dgm:scene3d>
    <dgm:sp3d z="12700" extrusionH="1700" prstMaterial="translucentPowder">
      <a:bevelT w="25400" h="6350" prst="softRound"/>
      <a:bevelB w="0" h="0" prst="convex"/>
    </dgm:sp3d>
    <dgm:txPr/>
    <dgm:style>
      <a:lnRef idx="0">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2" Type="http://schemas.openxmlformats.org/officeDocument/2006/relationships/image" Target="../media/image175.emf"/><Relationship Id="rId1" Type="http://schemas.openxmlformats.org/officeDocument/2006/relationships/image" Target="../media/image174.emf"/></Relationships>
</file>

<file path=ppt/drawings/drawing1.xml><?xml version="1.0" encoding="utf-8"?>
<c:userShapes xmlns:c="http://schemas.openxmlformats.org/drawingml/2006/chart">
  <cdr:relSizeAnchor xmlns:cdr="http://schemas.openxmlformats.org/drawingml/2006/chartDrawing">
    <cdr:from>
      <cdr:x>0.13387</cdr:x>
      <cdr:y>0.22523</cdr:y>
    </cdr:from>
    <cdr:to>
      <cdr:x>0.50484</cdr:x>
      <cdr:y>0.29303</cdr:y>
    </cdr:to>
    <cdr:sp macro="" textlink="">
      <cdr:nvSpPr>
        <cdr:cNvPr id="5" name="TextBox 4"/>
        <cdr:cNvSpPr txBox="1"/>
      </cdr:nvSpPr>
      <cdr:spPr>
        <a:xfrm xmlns:a="http://schemas.openxmlformats.org/drawingml/2006/main">
          <a:off x="1115616" y="605162"/>
          <a:ext cx="3091554" cy="182170"/>
        </a:xfrm>
        <a:prstGeom xmlns:a="http://schemas.openxmlformats.org/drawingml/2006/main" prst="rect">
          <a:avLst/>
        </a:prstGeom>
      </cdr:spPr>
      <cdr:txBody>
        <a:bodyPr xmlns:a="http://schemas.openxmlformats.org/drawingml/2006/main" wrap="none" rtlCol="0"/>
        <a:lstStyle xmlns:a="http://schemas.openxmlformats.org/drawingml/2006/main"/>
        <a:p xmlns:a="http://schemas.openxmlformats.org/drawingml/2006/main">
          <a:r>
            <a:rPr lang="th-TH" sz="1800" b="1" dirty="0" smtClean="0">
              <a:solidFill>
                <a:schemeClr val="accent4">
                  <a:lumMod val="75000"/>
                </a:schemeClr>
              </a:solidFill>
              <a:latin typeface="TH SarabunPSK" pitchFamily="34" charset="-34"/>
              <a:cs typeface="TH SarabunPSK" pitchFamily="34" charset="-34"/>
            </a:rPr>
            <a:t>ประเทศรายได้สูง</a:t>
          </a:r>
          <a:endParaRPr lang="en-US" sz="1800" b="1" dirty="0">
            <a:solidFill>
              <a:schemeClr val="accent4">
                <a:lumMod val="75000"/>
              </a:schemeClr>
            </a:solidFill>
            <a:latin typeface="TH SarabunPSK" pitchFamily="34" charset="-34"/>
            <a:cs typeface="TH SarabunPSK" pitchFamily="34" charset="-34"/>
          </a:endParaRPr>
        </a:p>
      </cdr:txBody>
    </cdr:sp>
  </cdr:relSizeAnchor>
  <cdr:relSizeAnchor xmlns:cdr="http://schemas.openxmlformats.org/drawingml/2006/chartDrawing">
    <cdr:from>
      <cdr:x>0.14251</cdr:x>
      <cdr:y>0.67886</cdr:y>
    </cdr:from>
    <cdr:to>
      <cdr:x>0.51348</cdr:x>
      <cdr:y>0.74666</cdr:y>
    </cdr:to>
    <cdr:sp macro="" textlink="">
      <cdr:nvSpPr>
        <cdr:cNvPr id="3" name="TextBox 2"/>
        <cdr:cNvSpPr txBox="1"/>
      </cdr:nvSpPr>
      <cdr:spPr>
        <a:xfrm xmlns:a="http://schemas.openxmlformats.org/drawingml/2006/main">
          <a:off x="1187624" y="1824003"/>
          <a:ext cx="3091554" cy="182170"/>
        </a:xfrm>
        <a:prstGeom xmlns:a="http://schemas.openxmlformats.org/drawingml/2006/main" prst="rect">
          <a:avLst/>
        </a:prstGeom>
      </cdr:spPr>
      <cdr:txBody>
        <a:bodyPr xmlns:a="http://schemas.openxmlformats.org/drawingml/2006/main" wrap="none" rtlCol="0"/>
        <a:lstStyle xmlns:a="http://schemas.openxmlformats.org/drawingml/2006/main"/>
        <a:p xmlns:a="http://schemas.openxmlformats.org/drawingml/2006/main">
          <a:r>
            <a:rPr lang="th-TH" sz="1800" b="1" dirty="0" smtClean="0">
              <a:solidFill>
                <a:schemeClr val="accent2">
                  <a:lumMod val="60000"/>
                  <a:lumOff val="40000"/>
                </a:schemeClr>
              </a:solidFill>
              <a:latin typeface="TH SarabunPSK" pitchFamily="34" charset="-34"/>
              <a:cs typeface="TH SarabunPSK" pitchFamily="34" charset="-34"/>
            </a:rPr>
            <a:t>ประเทศรายได้ต่ำ</a:t>
          </a:r>
          <a:endParaRPr lang="en-US" sz="1800" b="1" dirty="0">
            <a:solidFill>
              <a:schemeClr val="accent2">
                <a:lumMod val="60000"/>
                <a:lumOff val="40000"/>
              </a:schemeClr>
            </a:solidFill>
            <a:latin typeface="TH SarabunPSK" pitchFamily="34" charset="-34"/>
            <a:cs typeface="TH SarabunPSK" pitchFamily="34" charset="-34"/>
          </a:endParaRPr>
        </a:p>
      </cdr:txBody>
    </cdr:sp>
  </cdr:relSizeAnchor>
  <cdr:relSizeAnchor xmlns:cdr="http://schemas.openxmlformats.org/drawingml/2006/chartDrawing">
    <cdr:from>
      <cdr:x>0.14251</cdr:x>
      <cdr:y>0.57421</cdr:y>
    </cdr:from>
    <cdr:to>
      <cdr:x>0.51348</cdr:x>
      <cdr:y>0.64201</cdr:y>
    </cdr:to>
    <cdr:sp macro="" textlink="">
      <cdr:nvSpPr>
        <cdr:cNvPr id="6" name="TextBox 5"/>
        <cdr:cNvSpPr txBox="1"/>
      </cdr:nvSpPr>
      <cdr:spPr>
        <a:xfrm xmlns:a="http://schemas.openxmlformats.org/drawingml/2006/main">
          <a:off x="1187624" y="1542824"/>
          <a:ext cx="3091554" cy="182170"/>
        </a:xfrm>
        <a:prstGeom xmlns:a="http://schemas.openxmlformats.org/drawingml/2006/main" prst="rect">
          <a:avLst/>
        </a:prstGeom>
      </cdr:spPr>
      <cdr:txBody>
        <a:bodyPr xmlns:a="http://schemas.openxmlformats.org/drawingml/2006/main" wrap="none" rtlCol="0"/>
        <a:lstStyle xmlns:a="http://schemas.openxmlformats.org/drawingml/2006/main"/>
        <a:p xmlns:a="http://schemas.openxmlformats.org/drawingml/2006/main">
          <a:r>
            <a:rPr lang="th-TH" sz="1800" b="1" dirty="0" smtClean="0">
              <a:solidFill>
                <a:schemeClr val="accent3">
                  <a:lumMod val="75000"/>
                </a:schemeClr>
              </a:solidFill>
              <a:latin typeface="TH SarabunPSK" pitchFamily="34" charset="-34"/>
              <a:cs typeface="TH SarabunPSK" pitchFamily="34" charset="-34"/>
            </a:rPr>
            <a:t>ประเทศรายได้ปานกลางขั้นสูง</a:t>
          </a:r>
          <a:endParaRPr lang="en-US" sz="1800" b="1" dirty="0">
            <a:solidFill>
              <a:schemeClr val="accent3">
                <a:lumMod val="75000"/>
              </a:schemeClr>
            </a:solidFill>
            <a:latin typeface="TH SarabunPSK" pitchFamily="34" charset="-34"/>
            <a:cs typeface="TH SarabunPSK" pitchFamily="34" charset="-34"/>
          </a:endParaRPr>
        </a:p>
      </cdr:txBody>
    </cdr:sp>
  </cdr:relSizeAnchor>
</c:userShapes>
</file>

<file path=ppt/drawings/drawing2.xml><?xml version="1.0" encoding="utf-8"?>
<c:userShapes xmlns:c="http://schemas.openxmlformats.org/drawingml/2006/chart">
  <cdr:relSizeAnchor xmlns:cdr="http://schemas.openxmlformats.org/drawingml/2006/chartDrawing">
    <cdr:from>
      <cdr:x>0.12829</cdr:x>
      <cdr:y>0</cdr:y>
    </cdr:from>
    <cdr:to>
      <cdr:x>0.90102</cdr:x>
      <cdr:y>0.1066</cdr:y>
    </cdr:to>
    <cdr:sp macro="" textlink="">
      <cdr:nvSpPr>
        <cdr:cNvPr id="2" name="Title 1"/>
        <cdr:cNvSpPr txBox="1">
          <a:spLocks xmlns:a="http://schemas.openxmlformats.org/drawingml/2006/main"/>
        </cdr:cNvSpPr>
      </cdr:nvSpPr>
      <cdr:spPr>
        <a:xfrm xmlns:a="http://schemas.openxmlformats.org/drawingml/2006/main">
          <a:off x="414158" y="-3454927"/>
          <a:ext cx="2494542" cy="159164"/>
        </a:xfrm>
        <a:prstGeom xmlns:a="http://schemas.openxmlformats.org/drawingml/2006/main" prst="rect">
          <a:avLst/>
        </a:prstGeom>
        <a:noFill xmlns:a="http://schemas.openxmlformats.org/drawingml/2006/main"/>
      </cdr:spPr>
      <cdr:txBody>
        <a:bodyPr xmlns:a="http://schemas.openxmlformats.org/drawingml/2006/main" vert="horz" lIns="91440" tIns="45720" rIns="91440" bIns="45720" rtlCol="0" anchor="t">
          <a:noAutofit/>
        </a:bodyPr>
        <a:lstStyle xmlns:a="http://schemas.openxmlformats.org/drawingml/2006/main">
          <a:defPPr>
            <a:defRPr lang="th-TH"/>
          </a:defPPr>
          <a:lvl1pPr marL="0" algn="l" defTabSz="914400" rtl="0" eaLnBrk="1" latinLnBrk="0" hangingPunct="1">
            <a:defRPr sz="2800" kern="1200">
              <a:solidFill>
                <a:schemeClr val="tx1"/>
              </a:solidFill>
              <a:latin typeface="+mn-lt"/>
              <a:ea typeface="+mn-ea"/>
              <a:cs typeface="+mn-cs"/>
            </a:defRPr>
          </a:lvl1pPr>
          <a:lvl2pPr marL="457200" algn="l" defTabSz="914400" rtl="0" eaLnBrk="1" latinLnBrk="0" hangingPunct="1">
            <a:defRPr sz="2800" kern="1200">
              <a:solidFill>
                <a:schemeClr val="tx1"/>
              </a:solidFill>
              <a:latin typeface="+mn-lt"/>
              <a:ea typeface="+mn-ea"/>
              <a:cs typeface="+mn-cs"/>
            </a:defRPr>
          </a:lvl2pPr>
          <a:lvl3pPr marL="914400" algn="l" defTabSz="914400" rtl="0" eaLnBrk="1" latinLnBrk="0" hangingPunct="1">
            <a:defRPr sz="2800" kern="1200">
              <a:solidFill>
                <a:schemeClr val="tx1"/>
              </a:solidFill>
              <a:latin typeface="+mn-lt"/>
              <a:ea typeface="+mn-ea"/>
              <a:cs typeface="+mn-cs"/>
            </a:defRPr>
          </a:lvl3pPr>
          <a:lvl4pPr marL="1371600" algn="l" defTabSz="914400" rtl="0" eaLnBrk="1" latinLnBrk="0" hangingPunct="1">
            <a:defRPr sz="2800" kern="1200">
              <a:solidFill>
                <a:schemeClr val="tx1"/>
              </a:solidFill>
              <a:latin typeface="+mn-lt"/>
              <a:ea typeface="+mn-ea"/>
              <a:cs typeface="+mn-cs"/>
            </a:defRPr>
          </a:lvl4pPr>
          <a:lvl5pPr marL="1828800" algn="l" defTabSz="914400" rtl="0" eaLnBrk="1" latinLnBrk="0" hangingPunct="1">
            <a:defRPr sz="2800" kern="1200">
              <a:solidFill>
                <a:schemeClr val="tx1"/>
              </a:solidFill>
              <a:latin typeface="+mn-lt"/>
              <a:ea typeface="+mn-ea"/>
              <a:cs typeface="+mn-cs"/>
            </a:defRPr>
          </a:lvl5pPr>
          <a:lvl6pPr marL="2286000" algn="l" defTabSz="914400" rtl="0" eaLnBrk="1" latinLnBrk="0" hangingPunct="1">
            <a:defRPr sz="2800" kern="1200">
              <a:solidFill>
                <a:schemeClr val="tx1"/>
              </a:solidFill>
              <a:latin typeface="+mn-lt"/>
              <a:ea typeface="+mn-ea"/>
              <a:cs typeface="+mn-cs"/>
            </a:defRPr>
          </a:lvl6pPr>
          <a:lvl7pPr marL="2743200" algn="l" defTabSz="914400" rtl="0" eaLnBrk="1" latinLnBrk="0" hangingPunct="1">
            <a:defRPr sz="2800" kern="1200">
              <a:solidFill>
                <a:schemeClr val="tx1"/>
              </a:solidFill>
              <a:latin typeface="+mn-lt"/>
              <a:ea typeface="+mn-ea"/>
              <a:cs typeface="+mn-cs"/>
            </a:defRPr>
          </a:lvl7pPr>
          <a:lvl8pPr marL="3200400" algn="l" defTabSz="914400" rtl="0" eaLnBrk="1" latinLnBrk="0" hangingPunct="1">
            <a:defRPr sz="2800" kern="1200">
              <a:solidFill>
                <a:schemeClr val="tx1"/>
              </a:solidFill>
              <a:latin typeface="+mn-lt"/>
              <a:ea typeface="+mn-ea"/>
              <a:cs typeface="+mn-cs"/>
            </a:defRPr>
          </a:lvl8pPr>
          <a:lvl9pPr marL="3657600" algn="l" defTabSz="914400" rtl="0" eaLnBrk="1" latinLnBrk="0" hangingPunct="1">
            <a:defRPr sz="2800" kern="1200">
              <a:solidFill>
                <a:schemeClr val="tx1"/>
              </a:solidFill>
              <a:latin typeface="+mn-lt"/>
              <a:ea typeface="+mn-ea"/>
              <a:cs typeface="+mn-cs"/>
            </a:defRPr>
          </a:lvl9pPr>
        </a:lstStyle>
        <a:p xmlns:a="http://schemas.openxmlformats.org/drawingml/2006/main">
          <a:pPr algn="ctr" defTabSz="914287">
            <a:lnSpc>
              <a:spcPts val="1100"/>
            </a:lnSpc>
            <a:defRPr/>
          </a:pPr>
          <a:r>
            <a:rPr lang="th-TH" sz="1200" b="1" spc="50" dirty="0" smtClean="0">
              <a:solidFill>
                <a:srgbClr val="1F497D">
                  <a:lumMod val="75000"/>
                </a:srgbClr>
              </a:solidFill>
              <a:latin typeface="TH SarabunPSK" pitchFamily="34" charset="-34"/>
              <a:cs typeface="TH SarabunPSK" pitchFamily="34" charset="-34"/>
            </a:rPr>
            <a:t>สัดส่วนการลงทุนภาครัฐและภาคเอกชนต่อ </a:t>
          </a:r>
          <a:r>
            <a:rPr lang="en-US" sz="1200" b="1" spc="50" dirty="0" smtClean="0">
              <a:solidFill>
                <a:srgbClr val="1F497D">
                  <a:lumMod val="75000"/>
                </a:srgbClr>
              </a:solidFill>
              <a:latin typeface="TH SarabunPSK" pitchFamily="34" charset="-34"/>
              <a:cs typeface="TH SarabunPSK" pitchFamily="34" charset="-34"/>
            </a:rPr>
            <a:t>GDP</a:t>
          </a:r>
          <a:endParaRPr lang="en-US" sz="1200" dirty="0">
            <a:solidFill>
              <a:srgbClr val="1F497D">
                <a:lumMod val="75000"/>
              </a:srgbClr>
            </a:solidFill>
            <a:latin typeface="TH SarabunPSK" pitchFamily="34" charset="-34"/>
            <a:cs typeface="TH SarabunPSK" pitchFamily="34" charset="-34"/>
          </a:endParaRPr>
        </a:p>
        <a:p xmlns:a="http://schemas.openxmlformats.org/drawingml/2006/main">
          <a:pPr algn="ctr" defTabSz="914287">
            <a:lnSpc>
              <a:spcPts val="1100"/>
            </a:lnSpc>
            <a:defRPr/>
          </a:pPr>
          <a:r>
            <a:rPr lang="en-US" sz="1200" b="1" spc="50" dirty="0">
              <a:solidFill>
                <a:srgbClr val="1F497D">
                  <a:lumMod val="75000"/>
                </a:srgbClr>
              </a:solidFill>
              <a:latin typeface="TH SarabunPSK" pitchFamily="34" charset="-34"/>
              <a:cs typeface="TH SarabunPSK" pitchFamily="34" charset="-34"/>
            </a:rPr>
            <a:t> </a:t>
          </a:r>
        </a:p>
      </cdr:txBody>
    </cdr:sp>
  </cdr:relSizeAnchor>
</c:userShapes>
</file>

<file path=ppt/drawings/drawing3.xml><?xml version="1.0" encoding="utf-8"?>
<c:userShapes xmlns:c="http://schemas.openxmlformats.org/drawingml/2006/chart">
  <cdr:relSizeAnchor xmlns:cdr="http://schemas.openxmlformats.org/drawingml/2006/chartDrawing">
    <cdr:from>
      <cdr:x>0.31714</cdr:x>
      <cdr:y>0.38321</cdr:y>
    </cdr:from>
    <cdr:to>
      <cdr:x>0.4739</cdr:x>
      <cdr:y>0.54328</cdr:y>
    </cdr:to>
    <cdr:sp macro="" textlink="">
      <cdr:nvSpPr>
        <cdr:cNvPr id="2" name="TextBox 1"/>
        <cdr:cNvSpPr txBox="1"/>
      </cdr:nvSpPr>
      <cdr:spPr>
        <a:xfrm xmlns:a="http://schemas.openxmlformats.org/drawingml/2006/main">
          <a:off x="1636374" y="1051228"/>
          <a:ext cx="808855" cy="439095"/>
        </a:xfrm>
        <a:prstGeom xmlns:a="http://schemas.openxmlformats.org/drawingml/2006/main" prst="rect">
          <a:avLst/>
        </a:prstGeom>
        <a:noFill xmlns:a="http://schemas.openxmlformats.org/drawingml/2006/main"/>
        <a:ln xmlns:a="http://schemas.openxmlformats.org/drawingml/2006/main" w="9525">
          <a:noFill/>
        </a:ln>
      </cdr:spPr>
      <cdr:txBody>
        <a:bodyPr xmlns:a="http://schemas.openxmlformats.org/drawingml/2006/main" vertOverflow="clip" vert="horz" wrap="square" lIns="0" tIns="0" rIns="0" bIns="0" rtlCol="0">
          <a:spAutoFit/>
        </a:bodyPr>
        <a:lstStyle xmlns:a="http://schemas.openxmlformats.org/drawingml/2006/main"/>
        <a:p xmlns:a="http://schemas.openxmlformats.org/drawingml/2006/main">
          <a:pPr algn="ctr">
            <a:lnSpc>
              <a:spcPct val="90000"/>
            </a:lnSpc>
            <a:spcBef>
              <a:spcPts val="400"/>
            </a:spcBef>
            <a:buClr>
              <a:srgbClr val="000000"/>
            </a:buClr>
            <a:buSzPct val="100000"/>
          </a:pPr>
          <a:r>
            <a:rPr lang="en-US" sz="1400" b="1" dirty="0" smtClean="0">
              <a:solidFill>
                <a:schemeClr val="bg1"/>
              </a:solidFill>
              <a:cs typeface="Arial Narrow" pitchFamily="34" charset="0"/>
            </a:rPr>
            <a:t>1,255 </a:t>
          </a:r>
          <a:r>
            <a:rPr lang="th-TH" sz="1400" b="1" dirty="0" smtClean="0">
              <a:solidFill>
                <a:schemeClr val="bg1"/>
              </a:solidFill>
              <a:cs typeface="Arial Narrow" pitchFamily="34" charset="0"/>
            </a:rPr>
            <a:t>ลบ.</a:t>
          </a:r>
          <a:endParaRPr lang="en-US" sz="1400" b="1" dirty="0" smtClean="0">
            <a:solidFill>
              <a:schemeClr val="bg1"/>
            </a:solidFill>
            <a:cs typeface="Arial Narrow" pitchFamily="34" charset="0"/>
          </a:endParaRPr>
        </a:p>
        <a:p xmlns:a="http://schemas.openxmlformats.org/drawingml/2006/main">
          <a:pPr algn="ctr">
            <a:lnSpc>
              <a:spcPct val="90000"/>
            </a:lnSpc>
            <a:spcBef>
              <a:spcPts val="400"/>
            </a:spcBef>
            <a:buClr>
              <a:srgbClr val="000000"/>
            </a:buClr>
            <a:buSzPct val="100000"/>
          </a:pPr>
          <a:r>
            <a:rPr lang="en-US" sz="1400" b="1" noProof="0" dirty="0" smtClean="0">
              <a:solidFill>
                <a:schemeClr val="bg1"/>
              </a:solidFill>
              <a:cs typeface="Arial Narrow" pitchFamily="34" charset="0"/>
            </a:rPr>
            <a:t>47 </a:t>
          </a:r>
          <a:r>
            <a:rPr lang="en-US" sz="1400" b="1" dirty="0">
              <a:solidFill>
                <a:schemeClr val="bg1"/>
              </a:solidFill>
              <a:cs typeface="Arial Narrow" pitchFamily="34" charset="0"/>
            </a:rPr>
            <a:t>%</a:t>
          </a:r>
          <a:endParaRPr lang="th-TH" sz="1400" b="1" noProof="0" dirty="0" smtClean="0">
            <a:solidFill>
              <a:schemeClr val="bg1"/>
            </a:solidFill>
            <a:cs typeface="Arial Narrow" pitchFamily="34" charset="0"/>
          </a:endParaRPr>
        </a:p>
      </cdr:txBody>
    </cdr:sp>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8.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3038604" cy="464820"/>
          </a:xfrm>
          <a:prstGeom prst="rect">
            <a:avLst/>
          </a:prstGeom>
        </p:spPr>
        <p:txBody>
          <a:bodyPr vert="horz" lIns="91440" tIns="45720" rIns="91440" bIns="45720" rtlCol="0"/>
          <a:lstStyle>
            <a:lvl1pPr algn="l">
              <a:defRPr sz="1200"/>
            </a:lvl1pPr>
          </a:lstStyle>
          <a:p>
            <a:endParaRPr lang="th-TH"/>
          </a:p>
        </p:txBody>
      </p:sp>
      <p:sp>
        <p:nvSpPr>
          <p:cNvPr id="3" name="Date Placeholder 2"/>
          <p:cNvSpPr>
            <a:spLocks noGrp="1"/>
          </p:cNvSpPr>
          <p:nvPr>
            <p:ph type="dt" sz="quarter" idx="1"/>
          </p:nvPr>
        </p:nvSpPr>
        <p:spPr>
          <a:xfrm>
            <a:off x="3970159" y="1"/>
            <a:ext cx="3038604" cy="464820"/>
          </a:xfrm>
          <a:prstGeom prst="rect">
            <a:avLst/>
          </a:prstGeom>
        </p:spPr>
        <p:txBody>
          <a:bodyPr vert="horz" lIns="91440" tIns="45720" rIns="91440" bIns="45720" rtlCol="0"/>
          <a:lstStyle>
            <a:lvl1pPr algn="r">
              <a:defRPr sz="1200"/>
            </a:lvl1pPr>
          </a:lstStyle>
          <a:p>
            <a:fld id="{A17BB058-EC53-4E4C-94D7-8650558000F7}" type="datetimeFigureOut">
              <a:rPr lang="th-TH" smtClean="0"/>
              <a:pPr/>
              <a:t>20/09/58</a:t>
            </a:fld>
            <a:endParaRPr lang="th-TH"/>
          </a:p>
        </p:txBody>
      </p:sp>
      <p:sp>
        <p:nvSpPr>
          <p:cNvPr id="4" name="Footer Placeholder 3"/>
          <p:cNvSpPr>
            <a:spLocks noGrp="1"/>
          </p:cNvSpPr>
          <p:nvPr>
            <p:ph type="ftr" sz="quarter" idx="2"/>
          </p:nvPr>
        </p:nvSpPr>
        <p:spPr>
          <a:xfrm>
            <a:off x="0" y="8830086"/>
            <a:ext cx="3038604" cy="464820"/>
          </a:xfrm>
          <a:prstGeom prst="rect">
            <a:avLst/>
          </a:prstGeom>
        </p:spPr>
        <p:txBody>
          <a:bodyPr vert="horz" lIns="91440" tIns="45720" rIns="91440" bIns="45720" rtlCol="0" anchor="b"/>
          <a:lstStyle>
            <a:lvl1pPr algn="l">
              <a:defRPr sz="1200"/>
            </a:lvl1pPr>
          </a:lstStyle>
          <a:p>
            <a:endParaRPr lang="th-TH"/>
          </a:p>
        </p:txBody>
      </p:sp>
      <p:sp>
        <p:nvSpPr>
          <p:cNvPr id="5" name="Slide Number Placeholder 4"/>
          <p:cNvSpPr>
            <a:spLocks noGrp="1"/>
          </p:cNvSpPr>
          <p:nvPr>
            <p:ph type="sldNum" sz="quarter" idx="3"/>
          </p:nvPr>
        </p:nvSpPr>
        <p:spPr>
          <a:xfrm>
            <a:off x="3970159" y="8830086"/>
            <a:ext cx="3038604" cy="464820"/>
          </a:xfrm>
          <a:prstGeom prst="rect">
            <a:avLst/>
          </a:prstGeom>
        </p:spPr>
        <p:txBody>
          <a:bodyPr vert="horz" lIns="91440" tIns="45720" rIns="91440" bIns="45720" rtlCol="0" anchor="b"/>
          <a:lstStyle>
            <a:lvl1pPr algn="r">
              <a:defRPr sz="1200"/>
            </a:lvl1pPr>
          </a:lstStyle>
          <a:p>
            <a:fld id="{2BAA1BF5-9419-4E78-9C1B-EB61DCE35705}" type="slidenum">
              <a:rPr lang="th-TH" smtClean="0"/>
              <a:pPr/>
              <a:t>‹#›</a:t>
            </a:fld>
            <a:endParaRPr lang="th-TH"/>
          </a:p>
        </p:txBody>
      </p:sp>
    </p:spTree>
    <p:extLst>
      <p:ext uri="{BB962C8B-B14F-4D97-AF65-F5344CB8AC3E}">
        <p14:creationId xmlns:p14="http://schemas.microsoft.com/office/powerpoint/2010/main" xmlns="" val="393104239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3037840" cy="464820"/>
          </a:xfrm>
          <a:prstGeom prst="rect">
            <a:avLst/>
          </a:prstGeom>
        </p:spPr>
        <p:txBody>
          <a:bodyPr vert="horz" lIns="91440" tIns="45720" rIns="91440" bIns="45720" rtlCol="0"/>
          <a:lstStyle>
            <a:lvl1pPr algn="l">
              <a:defRPr sz="1200"/>
            </a:lvl1pPr>
          </a:lstStyle>
          <a:p>
            <a:endParaRPr lang="th-TH"/>
          </a:p>
        </p:txBody>
      </p:sp>
      <p:sp>
        <p:nvSpPr>
          <p:cNvPr id="3" name="Date Placeholder 2"/>
          <p:cNvSpPr>
            <a:spLocks noGrp="1"/>
          </p:cNvSpPr>
          <p:nvPr>
            <p:ph type="dt" idx="1"/>
          </p:nvPr>
        </p:nvSpPr>
        <p:spPr>
          <a:xfrm>
            <a:off x="3970938" y="1"/>
            <a:ext cx="3037840" cy="464820"/>
          </a:xfrm>
          <a:prstGeom prst="rect">
            <a:avLst/>
          </a:prstGeom>
        </p:spPr>
        <p:txBody>
          <a:bodyPr vert="horz" lIns="91440" tIns="45720" rIns="91440" bIns="45720" rtlCol="0"/>
          <a:lstStyle>
            <a:lvl1pPr algn="r">
              <a:defRPr sz="1200"/>
            </a:lvl1pPr>
          </a:lstStyle>
          <a:p>
            <a:fld id="{6A6D1AA1-12B4-4C8B-AEE2-72E16A7B19F3}" type="datetimeFigureOut">
              <a:rPr lang="th-TH" smtClean="0"/>
              <a:pPr/>
              <a:t>20/09/58</a:t>
            </a:fld>
            <a:endParaRPr lang="th-TH"/>
          </a:p>
        </p:txBody>
      </p:sp>
      <p:sp>
        <p:nvSpPr>
          <p:cNvPr id="4" name="Slide Image Placeholder 3"/>
          <p:cNvSpPr>
            <a:spLocks noGrp="1" noRot="1" noChangeAspect="1"/>
          </p:cNvSpPr>
          <p:nvPr>
            <p:ph type="sldImg" idx="2"/>
          </p:nvPr>
        </p:nvSpPr>
        <p:spPr>
          <a:xfrm>
            <a:off x="407988" y="698500"/>
            <a:ext cx="6194425" cy="3484563"/>
          </a:xfrm>
          <a:prstGeom prst="rect">
            <a:avLst/>
          </a:prstGeom>
          <a:noFill/>
          <a:ln w="12700">
            <a:solidFill>
              <a:prstClr val="black"/>
            </a:solidFill>
          </a:ln>
        </p:spPr>
        <p:txBody>
          <a:bodyPr vert="horz" lIns="91440" tIns="45720" rIns="91440" bIns="45720" rtlCol="0" anchor="ctr"/>
          <a:lstStyle/>
          <a:p>
            <a:endParaRPr lang="th-TH"/>
          </a:p>
        </p:txBody>
      </p:sp>
      <p:sp>
        <p:nvSpPr>
          <p:cNvPr id="5" name="Notes Placeholder 4"/>
          <p:cNvSpPr>
            <a:spLocks noGrp="1"/>
          </p:cNvSpPr>
          <p:nvPr>
            <p:ph type="body" sz="quarter" idx="3"/>
          </p:nvPr>
        </p:nvSpPr>
        <p:spPr>
          <a:xfrm>
            <a:off x="701041" y="4415791"/>
            <a:ext cx="5608320" cy="418338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th-TH"/>
          </a:p>
        </p:txBody>
      </p:sp>
      <p:sp>
        <p:nvSpPr>
          <p:cNvPr id="6" name="Footer Placeholder 5"/>
          <p:cNvSpPr>
            <a:spLocks noGrp="1"/>
          </p:cNvSpPr>
          <p:nvPr>
            <p:ph type="ftr" sz="quarter" idx="4"/>
          </p:nvPr>
        </p:nvSpPr>
        <p:spPr>
          <a:xfrm>
            <a:off x="0" y="8829967"/>
            <a:ext cx="3037840" cy="464820"/>
          </a:xfrm>
          <a:prstGeom prst="rect">
            <a:avLst/>
          </a:prstGeom>
        </p:spPr>
        <p:txBody>
          <a:bodyPr vert="horz" lIns="91440" tIns="45720" rIns="91440" bIns="45720" rtlCol="0" anchor="b"/>
          <a:lstStyle>
            <a:lvl1pPr algn="l">
              <a:defRPr sz="1200"/>
            </a:lvl1pPr>
          </a:lstStyle>
          <a:p>
            <a:endParaRPr lang="th-TH"/>
          </a:p>
        </p:txBody>
      </p:sp>
      <p:sp>
        <p:nvSpPr>
          <p:cNvPr id="7" name="Slide Number Placeholder 6"/>
          <p:cNvSpPr>
            <a:spLocks noGrp="1"/>
          </p:cNvSpPr>
          <p:nvPr>
            <p:ph type="sldNum" sz="quarter" idx="5"/>
          </p:nvPr>
        </p:nvSpPr>
        <p:spPr>
          <a:xfrm>
            <a:off x="3970938" y="8829967"/>
            <a:ext cx="3037840" cy="464820"/>
          </a:xfrm>
          <a:prstGeom prst="rect">
            <a:avLst/>
          </a:prstGeom>
        </p:spPr>
        <p:txBody>
          <a:bodyPr vert="horz" lIns="91440" tIns="45720" rIns="91440" bIns="45720" rtlCol="0" anchor="b"/>
          <a:lstStyle>
            <a:lvl1pPr algn="r">
              <a:defRPr sz="1200"/>
            </a:lvl1pPr>
          </a:lstStyle>
          <a:p>
            <a:fld id="{B998D02D-9EE8-489A-8343-73FCB4ED9402}" type="slidenum">
              <a:rPr lang="th-TH" smtClean="0"/>
              <a:pPr/>
              <a:t>‹#›</a:t>
            </a:fld>
            <a:endParaRPr lang="th-TH"/>
          </a:p>
        </p:txBody>
      </p:sp>
    </p:spTree>
    <p:extLst>
      <p:ext uri="{BB962C8B-B14F-4D97-AF65-F5344CB8AC3E}">
        <p14:creationId xmlns:p14="http://schemas.microsoft.com/office/powerpoint/2010/main" xmlns="" val="104137726"/>
      </p:ext>
    </p:extLst>
  </p:cSld>
  <p:clrMap bg1="lt1" tx1="dk1" bg2="lt2" tx2="dk2" accent1="accent1" accent2="accent2" accent3="accent3" accent4="accent4" accent5="accent5" accent6="accent6" hlink="hlink" folHlink="folHlink"/>
  <p:notesStyle>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7988" y="698500"/>
            <a:ext cx="6194425" cy="3484563"/>
          </a:xfrm>
        </p:spPr>
      </p:sp>
      <p:sp>
        <p:nvSpPr>
          <p:cNvPr id="3" name="Notes Placeholder 2"/>
          <p:cNvSpPr>
            <a:spLocks noGrp="1"/>
          </p:cNvSpPr>
          <p:nvPr>
            <p:ph type="body" idx="1"/>
          </p:nvPr>
        </p:nvSpPr>
        <p:spPr/>
        <p:txBody>
          <a:bodyPr/>
          <a:lstStyle/>
          <a:p>
            <a:endParaRPr lang="th-TH"/>
          </a:p>
        </p:txBody>
      </p:sp>
      <p:sp>
        <p:nvSpPr>
          <p:cNvPr id="4" name="Slide Number Placeholder 3"/>
          <p:cNvSpPr>
            <a:spLocks noGrp="1"/>
          </p:cNvSpPr>
          <p:nvPr>
            <p:ph type="sldNum" sz="quarter" idx="10"/>
          </p:nvPr>
        </p:nvSpPr>
        <p:spPr/>
        <p:txBody>
          <a:bodyPr/>
          <a:lstStyle/>
          <a:p>
            <a:fld id="{AF82E55C-12D7-4F90-86CA-890AFD55E655}" type="slidenum">
              <a:rPr lang="en-US" smtClean="0">
                <a:solidFill>
                  <a:prstClr val="black"/>
                </a:solidFill>
              </a:rPr>
              <a:pPr/>
              <a:t>1</a:t>
            </a:fld>
            <a:endParaRPr lang="en-US" dirty="0">
              <a:solidFill>
                <a:prstClr val="black"/>
              </a:solidFill>
            </a:endParaRPr>
          </a:p>
        </p:txBody>
      </p:sp>
    </p:spTree>
    <p:extLst>
      <p:ext uri="{BB962C8B-B14F-4D97-AF65-F5344CB8AC3E}">
        <p14:creationId xmlns:p14="http://schemas.microsoft.com/office/powerpoint/2010/main" xmlns="" val="131694120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97B8801E-A66C-4BC4-A7E7-2A2F3A464257}" type="slidenum">
              <a:rPr lang="th-TH" smtClean="0"/>
              <a:pPr/>
              <a:t>15</a:t>
            </a:fld>
            <a:endParaRPr lang="th-TH"/>
          </a:p>
        </p:txBody>
      </p:sp>
    </p:spTree>
    <p:extLst>
      <p:ext uri="{BB962C8B-B14F-4D97-AF65-F5344CB8AC3E}">
        <p14:creationId xmlns:p14="http://schemas.microsoft.com/office/powerpoint/2010/main" xmlns="" val="149390830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97B8801E-A66C-4BC4-A7E7-2A2F3A464257}" type="slidenum">
              <a:rPr lang="th-TH" smtClean="0"/>
              <a:pPr/>
              <a:t>16</a:t>
            </a:fld>
            <a:endParaRPr lang="th-TH"/>
          </a:p>
        </p:txBody>
      </p:sp>
    </p:spTree>
    <p:extLst>
      <p:ext uri="{BB962C8B-B14F-4D97-AF65-F5344CB8AC3E}">
        <p14:creationId xmlns:p14="http://schemas.microsoft.com/office/powerpoint/2010/main" xmlns="" val="149390830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97B8801E-A66C-4BC4-A7E7-2A2F3A464257}" type="slidenum">
              <a:rPr lang="th-TH" smtClean="0"/>
              <a:pPr/>
              <a:t>18</a:t>
            </a:fld>
            <a:endParaRPr lang="th-TH"/>
          </a:p>
        </p:txBody>
      </p:sp>
    </p:spTree>
    <p:extLst>
      <p:ext uri="{BB962C8B-B14F-4D97-AF65-F5344CB8AC3E}">
        <p14:creationId xmlns:p14="http://schemas.microsoft.com/office/powerpoint/2010/main" xmlns="" val="80038361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97B8801E-A66C-4BC4-A7E7-2A2F3A464257}" type="slidenum">
              <a:rPr lang="th-TH" smtClean="0"/>
              <a:pPr/>
              <a:t>19</a:t>
            </a:fld>
            <a:endParaRPr lang="th-TH"/>
          </a:p>
        </p:txBody>
      </p:sp>
    </p:spTree>
    <p:extLst>
      <p:ext uri="{BB962C8B-B14F-4D97-AF65-F5344CB8AC3E}">
        <p14:creationId xmlns:p14="http://schemas.microsoft.com/office/powerpoint/2010/main" xmlns="" val="114364043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97B8801E-A66C-4BC4-A7E7-2A2F3A464257}" type="slidenum">
              <a:rPr lang="th-TH" smtClean="0"/>
              <a:pPr/>
              <a:t>20</a:t>
            </a:fld>
            <a:endParaRPr lang="th-TH"/>
          </a:p>
        </p:txBody>
      </p:sp>
    </p:spTree>
    <p:extLst>
      <p:ext uri="{BB962C8B-B14F-4D97-AF65-F5344CB8AC3E}">
        <p14:creationId xmlns:p14="http://schemas.microsoft.com/office/powerpoint/2010/main" xmlns="" val="359582623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7988" y="698500"/>
            <a:ext cx="6194425" cy="3484563"/>
          </a:xfrm>
        </p:spPr>
      </p:sp>
      <p:sp>
        <p:nvSpPr>
          <p:cNvPr id="3" name="Notes Placeholder 2"/>
          <p:cNvSpPr>
            <a:spLocks noGrp="1"/>
          </p:cNvSpPr>
          <p:nvPr>
            <p:ph type="body" idx="1"/>
          </p:nvPr>
        </p:nvSpPr>
        <p:spPr/>
        <p:txBody>
          <a:bodyPr/>
          <a:lstStyle/>
          <a:p>
            <a:r>
              <a:rPr lang="en-US" dirty="0" smtClean="0"/>
              <a:t>[Welcome</a:t>
            </a:r>
            <a:r>
              <a:rPr lang="en-US" baseline="0" dirty="0" smtClean="0"/>
              <a:t> and introduction]</a:t>
            </a:r>
          </a:p>
          <a:p>
            <a:endParaRPr lang="en-US" baseline="0" dirty="0" smtClean="0"/>
          </a:p>
          <a:p>
            <a:r>
              <a:rPr lang="en-US" baseline="0" dirty="0" smtClean="0"/>
              <a:t>During today's presentation, I will provide a brief overview of the Dawei Special Economic Zone and especially its importance as a potential gateway for the entire region.</a:t>
            </a:r>
          </a:p>
          <a:p>
            <a:endParaRPr lang="en-US" baseline="0" dirty="0" smtClean="0"/>
          </a:p>
          <a:p>
            <a:r>
              <a:rPr lang="en-US" baseline="0" dirty="0" smtClean="0"/>
              <a:t>The Thai government plans to reinforce the development of  Dawei SEZ through the development of SEZ in Thailand, especially in border areas, which will complement the development of Dawei SEZ.</a:t>
            </a:r>
          </a:p>
          <a:p>
            <a:endParaRPr lang="en-US" baseline="0" dirty="0" smtClean="0"/>
          </a:p>
          <a:p>
            <a:r>
              <a:rPr lang="en-US" baseline="0" dirty="0" smtClean="0"/>
              <a:t>Over the years, the Thai government </a:t>
            </a:r>
            <a:r>
              <a:rPr lang="en-US" baseline="0" smtClean="0"/>
              <a:t>has fully </a:t>
            </a:r>
            <a:r>
              <a:rPr lang="en-US" baseline="0" dirty="0" smtClean="0"/>
              <a:t>supporting the Dawei project and has continuous cooperation with the Myanmar government for the successful and sustainable development of the Dawei project.</a:t>
            </a:r>
            <a:endParaRPr lang="en-US" dirty="0"/>
          </a:p>
        </p:txBody>
      </p:sp>
      <p:sp>
        <p:nvSpPr>
          <p:cNvPr id="4" name="Slide Number Placeholder 3"/>
          <p:cNvSpPr>
            <a:spLocks noGrp="1"/>
          </p:cNvSpPr>
          <p:nvPr>
            <p:ph type="sldNum" sz="quarter" idx="10"/>
          </p:nvPr>
        </p:nvSpPr>
        <p:spPr/>
        <p:txBody>
          <a:bodyPr/>
          <a:lstStyle/>
          <a:p>
            <a:fld id="{AF82E55C-12D7-4F90-86CA-890AFD55E655}" type="slidenum">
              <a:rPr lang="en-US" smtClean="0">
                <a:solidFill>
                  <a:prstClr val="black"/>
                </a:solidFill>
              </a:rPr>
              <a:pPr/>
              <a:t>22</a:t>
            </a:fld>
            <a:endParaRPr lang="en-US" dirty="0">
              <a:solidFill>
                <a:prstClr val="black"/>
              </a:solidFill>
            </a:endParaRPr>
          </a:p>
        </p:txBody>
      </p:sp>
    </p:spTree>
    <p:extLst>
      <p:ext uri="{BB962C8B-B14F-4D97-AF65-F5344CB8AC3E}">
        <p14:creationId xmlns:p14="http://schemas.microsoft.com/office/powerpoint/2010/main" xmlns="" val="181777024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7988" y="698500"/>
            <a:ext cx="6194425" cy="3484563"/>
          </a:xfrm>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kern="1200" dirty="0" smtClean="0">
                <a:solidFill>
                  <a:schemeClr val="tx1"/>
                </a:solidFill>
                <a:effectLst/>
                <a:latin typeface="+mn-lt"/>
                <a:ea typeface="+mn-ea"/>
                <a:cs typeface="+mn-cs"/>
              </a:rPr>
              <a:t>Thailand’s SEZ development goals are to enhance regional economic integration, lower disparities and strengthen national security as it help</a:t>
            </a:r>
            <a:r>
              <a:rPr lang="en-US" sz="1200" kern="1200" baseline="0" dirty="0" smtClean="0">
                <a:solidFill>
                  <a:schemeClr val="tx1"/>
                </a:solidFill>
                <a:effectLst/>
                <a:latin typeface="+mn-lt"/>
                <a:ea typeface="+mn-ea"/>
                <a:cs typeface="+mn-cs"/>
              </a:rPr>
              <a:t> </a:t>
            </a:r>
            <a:r>
              <a:rPr lang="en-US" sz="1200" kern="1200" dirty="0" smtClean="0">
                <a:solidFill>
                  <a:schemeClr val="tx1"/>
                </a:solidFill>
                <a:effectLst/>
                <a:latin typeface="+mn-lt"/>
                <a:ea typeface="+mn-ea"/>
                <a:cs typeface="+mn-cs"/>
              </a:rPr>
              <a:t>increase employment and people’s well-being, manage migrant workers, promote</a:t>
            </a:r>
            <a:r>
              <a:rPr lang="en-US" sz="1200" kern="1200" baseline="0" dirty="0" smtClean="0">
                <a:solidFill>
                  <a:schemeClr val="tx1"/>
                </a:solidFill>
                <a:effectLst/>
                <a:latin typeface="+mn-lt"/>
                <a:ea typeface="+mn-ea"/>
                <a:cs typeface="+mn-cs"/>
              </a:rPr>
              <a:t> cross border trade and investment,</a:t>
            </a:r>
            <a:r>
              <a:rPr lang="en-US" sz="1200" kern="1200" dirty="0" smtClean="0">
                <a:solidFill>
                  <a:schemeClr val="tx1"/>
                </a:solidFill>
                <a:effectLst/>
                <a:latin typeface="+mn-lt"/>
                <a:ea typeface="+mn-ea"/>
                <a:cs typeface="+mn-cs"/>
              </a:rPr>
              <a:t> and prepare Thailand for the ASEAN Economic Community.</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kern="1200" dirty="0" smtClean="0">
              <a:solidFill>
                <a:schemeClr val="tx1"/>
              </a:solidFill>
              <a:effectLst/>
              <a:latin typeface="+mn-lt"/>
              <a:ea typeface="+mn-ea"/>
              <a:cs typeface="+mn-cs"/>
            </a:endParaRPr>
          </a:p>
          <a:p>
            <a:r>
              <a:rPr lang="en-US" dirty="0" smtClean="0"/>
              <a:t>The Thai SEZs</a:t>
            </a:r>
            <a:r>
              <a:rPr lang="en-US" baseline="0" dirty="0" smtClean="0"/>
              <a:t> will be supported by incentives and privileges, the creation of one-stop-service centers, migrant worker management, and infrastructure development.</a:t>
            </a:r>
          </a:p>
        </p:txBody>
      </p:sp>
      <p:sp>
        <p:nvSpPr>
          <p:cNvPr id="4" name="Slide Number Placeholder 3"/>
          <p:cNvSpPr>
            <a:spLocks noGrp="1"/>
          </p:cNvSpPr>
          <p:nvPr>
            <p:ph type="sldNum" sz="quarter" idx="10"/>
          </p:nvPr>
        </p:nvSpPr>
        <p:spPr/>
        <p:txBody>
          <a:bodyPr/>
          <a:lstStyle/>
          <a:p>
            <a:fld id="{AF82E55C-12D7-4F90-86CA-890AFD55E655}" type="slidenum">
              <a:rPr lang="en-US" smtClean="0"/>
              <a:pPr/>
              <a:t>28</a:t>
            </a:fld>
            <a:endParaRPr lang="en-US" dirty="0"/>
          </a:p>
        </p:txBody>
      </p:sp>
    </p:spTree>
    <p:extLst>
      <p:ext uri="{BB962C8B-B14F-4D97-AF65-F5344CB8AC3E}">
        <p14:creationId xmlns:p14="http://schemas.microsoft.com/office/powerpoint/2010/main" xmlns="" val="279909568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7988" y="698500"/>
            <a:ext cx="6194425" cy="3484563"/>
          </a:xfrm>
        </p:spPr>
      </p:sp>
      <p:sp>
        <p:nvSpPr>
          <p:cNvPr id="3" name="Notes Placeholder 2"/>
          <p:cNvSpPr>
            <a:spLocks noGrp="1"/>
          </p:cNvSpPr>
          <p:nvPr>
            <p:ph type="body" idx="1"/>
          </p:nvPr>
        </p:nvSpPr>
        <p:spPr/>
        <p:txBody>
          <a:bodyPr/>
          <a:lstStyle/>
          <a:p>
            <a:endParaRPr lang="th-TH" dirty="0"/>
          </a:p>
        </p:txBody>
      </p:sp>
      <p:sp>
        <p:nvSpPr>
          <p:cNvPr id="4" name="Slide Number Placeholder 3"/>
          <p:cNvSpPr>
            <a:spLocks noGrp="1"/>
          </p:cNvSpPr>
          <p:nvPr>
            <p:ph type="sldNum" sz="quarter" idx="10"/>
          </p:nvPr>
        </p:nvSpPr>
        <p:spPr/>
        <p:txBody>
          <a:bodyPr/>
          <a:lstStyle/>
          <a:p>
            <a:fld id="{AF82E55C-12D7-4F90-86CA-890AFD55E655}" type="slidenum">
              <a:rPr lang="en-US" smtClean="0"/>
              <a:pPr/>
              <a:t>29</a:t>
            </a:fld>
            <a:endParaRPr lang="en-US" dirty="0"/>
          </a:p>
        </p:txBody>
      </p:sp>
    </p:spTree>
    <p:extLst>
      <p:ext uri="{BB962C8B-B14F-4D97-AF65-F5344CB8AC3E}">
        <p14:creationId xmlns:p14="http://schemas.microsoft.com/office/powerpoint/2010/main" xmlns="" val="300949356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7988" y="698500"/>
            <a:ext cx="6194425" cy="3484563"/>
          </a:xfrm>
        </p:spPr>
      </p:sp>
      <p:sp>
        <p:nvSpPr>
          <p:cNvPr id="3" name="Notes Placeholder 2"/>
          <p:cNvSpPr>
            <a:spLocks noGrp="1"/>
          </p:cNvSpPr>
          <p:nvPr>
            <p:ph type="body" idx="1"/>
          </p:nvPr>
        </p:nvSpPr>
        <p:spPr/>
        <p:txBody>
          <a:bodyPr/>
          <a:lstStyle/>
          <a:p>
            <a:r>
              <a:rPr lang="en-US" dirty="0" smtClean="0"/>
              <a:t>The development of Dawei SEZ will be reinforced by ten Special</a:t>
            </a:r>
            <a:r>
              <a:rPr lang="en-US" baseline="0" dirty="0" smtClean="0"/>
              <a:t> Economic Zones in Thailand.</a:t>
            </a:r>
          </a:p>
          <a:p>
            <a:endParaRPr lang="en-US" baseline="0" dirty="0" smtClean="0"/>
          </a:p>
          <a:p>
            <a:r>
              <a:rPr lang="en-US" baseline="0" dirty="0" smtClean="0"/>
              <a:t>These Thai SEZ are expected to be located along the GMS Economic Corridors and including the Southern Economic Corridor, especially the one at Kanchanaburi</a:t>
            </a:r>
            <a:r>
              <a:rPr lang="en-US" sz="1200" kern="1200" dirty="0" smtClean="0">
                <a:solidFill>
                  <a:schemeClr val="tx1"/>
                </a:solidFill>
                <a:latin typeface="+mn-lt"/>
                <a:ea typeface="+mn-ea"/>
                <a:cs typeface="+mn-cs"/>
              </a:rPr>
              <a:t>, which will act as a springboard for Dawei SEZ to grow even further.</a:t>
            </a:r>
            <a:endParaRPr lang="en-US" baseline="0" dirty="0" smtClean="0"/>
          </a:p>
          <a:p>
            <a:endParaRPr lang="en-US" baseline="0" dirty="0" smtClean="0"/>
          </a:p>
          <a:p>
            <a:r>
              <a:rPr lang="en-US" baseline="0" dirty="0" smtClean="0"/>
              <a:t>These ten Thai SEZs will be developed along two phases.</a:t>
            </a:r>
            <a:endParaRPr lang="en-US" dirty="0" smtClean="0"/>
          </a:p>
        </p:txBody>
      </p:sp>
      <p:sp>
        <p:nvSpPr>
          <p:cNvPr id="4" name="Slide Number Placeholder 3"/>
          <p:cNvSpPr>
            <a:spLocks noGrp="1"/>
          </p:cNvSpPr>
          <p:nvPr>
            <p:ph type="sldNum" sz="quarter" idx="10"/>
          </p:nvPr>
        </p:nvSpPr>
        <p:spPr/>
        <p:txBody>
          <a:bodyPr/>
          <a:lstStyle/>
          <a:p>
            <a:fld id="{AF82E55C-12D7-4F90-86CA-890AFD55E655}" type="slidenum">
              <a:rPr lang="en-US" smtClean="0"/>
              <a:pPr/>
              <a:t>30</a:t>
            </a:fld>
            <a:endParaRPr lang="en-US" dirty="0"/>
          </a:p>
        </p:txBody>
      </p:sp>
    </p:spTree>
    <p:extLst>
      <p:ext uri="{BB962C8B-B14F-4D97-AF65-F5344CB8AC3E}">
        <p14:creationId xmlns:p14="http://schemas.microsoft.com/office/powerpoint/2010/main" xmlns="" val="284911780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7988" y="698500"/>
            <a:ext cx="6194425" cy="3484563"/>
          </a:xfrm>
        </p:spPr>
      </p:sp>
      <p:sp>
        <p:nvSpPr>
          <p:cNvPr id="3" name="Notes Placeholder 2"/>
          <p:cNvSpPr>
            <a:spLocks noGrp="1"/>
          </p:cNvSpPr>
          <p:nvPr>
            <p:ph type="body" idx="1"/>
          </p:nvPr>
        </p:nvSpPr>
        <p:spPr/>
        <p:txBody>
          <a:bodyPr/>
          <a:lstStyle/>
          <a:p>
            <a:endParaRPr lang="th-TH" dirty="0"/>
          </a:p>
        </p:txBody>
      </p:sp>
      <p:sp>
        <p:nvSpPr>
          <p:cNvPr id="4" name="Slide Number Placeholder 3"/>
          <p:cNvSpPr>
            <a:spLocks noGrp="1"/>
          </p:cNvSpPr>
          <p:nvPr>
            <p:ph type="sldNum" sz="quarter" idx="10"/>
          </p:nvPr>
        </p:nvSpPr>
        <p:spPr/>
        <p:txBody>
          <a:bodyPr/>
          <a:lstStyle/>
          <a:p>
            <a:fld id="{AF82E55C-12D7-4F90-86CA-890AFD55E655}" type="slidenum">
              <a:rPr lang="en-US" smtClean="0"/>
              <a:pPr/>
              <a:t>32</a:t>
            </a:fld>
            <a:endParaRPr lang="en-US" dirty="0"/>
          </a:p>
        </p:txBody>
      </p:sp>
    </p:spTree>
    <p:extLst>
      <p:ext uri="{BB962C8B-B14F-4D97-AF65-F5344CB8AC3E}">
        <p14:creationId xmlns:p14="http://schemas.microsoft.com/office/powerpoint/2010/main" xmlns="" val="40581611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7988" y="698500"/>
            <a:ext cx="6194425" cy="3484563"/>
          </a:xfrm>
        </p:spPr>
      </p:sp>
      <p:sp>
        <p:nvSpPr>
          <p:cNvPr id="3" name="Notes Placeholder 2"/>
          <p:cNvSpPr>
            <a:spLocks noGrp="1"/>
          </p:cNvSpPr>
          <p:nvPr>
            <p:ph type="body" idx="1"/>
          </p:nvPr>
        </p:nvSpPr>
        <p:spPr/>
        <p:txBody>
          <a:bodyPr/>
          <a:lstStyle/>
          <a:p>
            <a:r>
              <a:rPr lang="en-US" dirty="0" smtClean="0"/>
              <a:t>[Welcome</a:t>
            </a:r>
            <a:r>
              <a:rPr lang="en-US" baseline="0" dirty="0" smtClean="0"/>
              <a:t> and introduction]</a:t>
            </a:r>
          </a:p>
          <a:p>
            <a:endParaRPr lang="en-US" baseline="0" dirty="0" smtClean="0"/>
          </a:p>
          <a:p>
            <a:r>
              <a:rPr lang="en-US" baseline="0" dirty="0" smtClean="0"/>
              <a:t>During today's presentation, I will provide a brief overview of the Dawei Special Economic Zone and especially its importance as a potential gateway for the entire region.</a:t>
            </a:r>
          </a:p>
          <a:p>
            <a:endParaRPr lang="en-US" baseline="0" dirty="0" smtClean="0"/>
          </a:p>
          <a:p>
            <a:r>
              <a:rPr lang="en-US" baseline="0" dirty="0" smtClean="0"/>
              <a:t>The Thai government plans to reinforce the development of  Dawei SEZ through the development of SEZ in Thailand, especially in border areas, which will complement the development of Dawei SEZ.</a:t>
            </a:r>
          </a:p>
          <a:p>
            <a:endParaRPr lang="en-US" baseline="0" dirty="0" smtClean="0"/>
          </a:p>
          <a:p>
            <a:r>
              <a:rPr lang="en-US" baseline="0" dirty="0" smtClean="0"/>
              <a:t>Over the years, the Thai government </a:t>
            </a:r>
            <a:r>
              <a:rPr lang="en-US" baseline="0" smtClean="0"/>
              <a:t>has fully </a:t>
            </a:r>
            <a:r>
              <a:rPr lang="en-US" baseline="0" dirty="0" smtClean="0"/>
              <a:t>supporting the Dawei project and has continuous cooperation with the Myanmar government for the successful and sustainable development of the Dawei project.</a:t>
            </a:r>
            <a:endParaRPr lang="en-US" dirty="0"/>
          </a:p>
        </p:txBody>
      </p:sp>
      <p:sp>
        <p:nvSpPr>
          <p:cNvPr id="4" name="Slide Number Placeholder 3"/>
          <p:cNvSpPr>
            <a:spLocks noGrp="1"/>
          </p:cNvSpPr>
          <p:nvPr>
            <p:ph type="sldNum" sz="quarter" idx="10"/>
          </p:nvPr>
        </p:nvSpPr>
        <p:spPr/>
        <p:txBody>
          <a:bodyPr/>
          <a:lstStyle/>
          <a:p>
            <a:fld id="{AF82E55C-12D7-4F90-86CA-890AFD55E655}" type="slidenum">
              <a:rPr lang="en-US" smtClean="0">
                <a:solidFill>
                  <a:prstClr val="black"/>
                </a:solidFill>
              </a:rPr>
              <a:pPr/>
              <a:t>2</a:t>
            </a:fld>
            <a:endParaRPr lang="en-US" dirty="0">
              <a:solidFill>
                <a:prstClr val="black"/>
              </a:solidFill>
            </a:endParaRPr>
          </a:p>
        </p:txBody>
      </p:sp>
    </p:spTree>
    <p:extLst>
      <p:ext uri="{BB962C8B-B14F-4D97-AF65-F5344CB8AC3E}">
        <p14:creationId xmlns:p14="http://schemas.microsoft.com/office/powerpoint/2010/main" xmlns="" val="181777024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7988" y="698500"/>
            <a:ext cx="6194425" cy="3484563"/>
          </a:xfrm>
        </p:spPr>
      </p:sp>
      <p:sp>
        <p:nvSpPr>
          <p:cNvPr id="3" name="Notes Placeholder 2"/>
          <p:cNvSpPr>
            <a:spLocks noGrp="1"/>
          </p:cNvSpPr>
          <p:nvPr>
            <p:ph type="body" idx="1"/>
          </p:nvPr>
        </p:nvSpPr>
        <p:spPr/>
        <p:txBody>
          <a:bodyPr>
            <a:normAutofit/>
          </a:bodyPr>
          <a:lstStyle/>
          <a:p>
            <a:endParaRPr lang="th-TH" dirty="0"/>
          </a:p>
        </p:txBody>
      </p:sp>
      <p:sp>
        <p:nvSpPr>
          <p:cNvPr id="4" name="Slide Number Placeholder 3"/>
          <p:cNvSpPr>
            <a:spLocks noGrp="1"/>
          </p:cNvSpPr>
          <p:nvPr>
            <p:ph type="sldNum" sz="quarter" idx="10"/>
          </p:nvPr>
        </p:nvSpPr>
        <p:spPr/>
        <p:txBody>
          <a:bodyPr/>
          <a:lstStyle/>
          <a:p>
            <a:fld id="{AF82E55C-12D7-4F90-86CA-890AFD55E655}" type="slidenum">
              <a:rPr lang="en-US" smtClean="0"/>
              <a:pPr/>
              <a:t>35</a:t>
            </a:fld>
            <a:endParaRPr lang="en-US" dirty="0"/>
          </a:p>
        </p:txBody>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7988" y="698500"/>
            <a:ext cx="6194425" cy="3484563"/>
          </a:xfrm>
        </p:spPr>
      </p:sp>
      <p:sp>
        <p:nvSpPr>
          <p:cNvPr id="3" name="Notes Placeholder 2"/>
          <p:cNvSpPr>
            <a:spLocks noGrp="1"/>
          </p:cNvSpPr>
          <p:nvPr>
            <p:ph type="body" idx="1"/>
          </p:nvPr>
        </p:nvSpPr>
        <p:spPr/>
        <p:txBody>
          <a:bodyPr/>
          <a:lstStyle/>
          <a:p>
            <a:r>
              <a:rPr lang="en-US" sz="1200" kern="1200" dirty="0" smtClean="0">
                <a:solidFill>
                  <a:schemeClr val="tx1"/>
                </a:solidFill>
                <a:latin typeface="+mn-lt"/>
                <a:ea typeface="+mn-ea"/>
                <a:cs typeface="+mn-cs"/>
              </a:rPr>
              <a:t>These ten Thai SEZs will be developed along two phases. </a:t>
            </a:r>
          </a:p>
          <a:p>
            <a:endParaRPr lang="en-US" sz="1200" kern="1200" dirty="0" smtClean="0">
              <a:solidFill>
                <a:schemeClr val="tx1"/>
              </a:solidFill>
              <a:latin typeface="+mn-lt"/>
              <a:ea typeface="+mn-ea"/>
              <a:cs typeface="+mn-cs"/>
            </a:endParaRPr>
          </a:p>
          <a:p>
            <a:r>
              <a:rPr lang="en-US" dirty="0" smtClean="0"/>
              <a:t>The first phase of Thailand’s SEZ development are designated into 5 areas namely, (1) </a:t>
            </a:r>
            <a:r>
              <a:rPr lang="en-US" dirty="0" err="1" smtClean="0"/>
              <a:t>Tak</a:t>
            </a:r>
            <a:r>
              <a:rPr lang="en-US" dirty="0" smtClean="0"/>
              <a:t> (2) </a:t>
            </a:r>
            <a:r>
              <a:rPr lang="en-US" dirty="0" err="1" smtClean="0"/>
              <a:t>Mukdahan</a:t>
            </a:r>
            <a:r>
              <a:rPr lang="en-US" dirty="0" smtClean="0"/>
              <a:t> (3) </a:t>
            </a:r>
            <a:r>
              <a:rPr lang="en-US" dirty="0" err="1" smtClean="0"/>
              <a:t>Songkla</a:t>
            </a:r>
            <a:r>
              <a:rPr lang="en-US" dirty="0" smtClean="0"/>
              <a:t> </a:t>
            </a:r>
            <a:br>
              <a:rPr lang="en-US" dirty="0" smtClean="0"/>
            </a:br>
            <a:r>
              <a:rPr lang="en-US" dirty="0" smtClean="0"/>
              <a:t>(4) </a:t>
            </a:r>
            <a:r>
              <a:rPr lang="en-US" dirty="0" err="1" smtClean="0"/>
              <a:t>Sakaeo</a:t>
            </a:r>
            <a:r>
              <a:rPr lang="en-US" dirty="0" smtClean="0"/>
              <a:t> and (5) </a:t>
            </a:r>
            <a:r>
              <a:rPr lang="en-US" dirty="0" err="1" smtClean="0"/>
              <a:t>Trat</a:t>
            </a:r>
            <a:endParaRPr lang="en-US" dirty="0" smtClean="0"/>
          </a:p>
          <a:p>
            <a:r>
              <a:rPr lang="en-US" dirty="0" smtClean="0"/>
              <a:t> </a:t>
            </a:r>
          </a:p>
          <a:p>
            <a:r>
              <a:rPr lang="en-US" dirty="0" smtClean="0"/>
              <a:t>The second phase of SEZ </a:t>
            </a:r>
            <a:r>
              <a:rPr lang="en-US" smtClean="0"/>
              <a:t>development are </a:t>
            </a:r>
            <a:r>
              <a:rPr lang="en-US" dirty="0" smtClean="0"/>
              <a:t>in (1) </a:t>
            </a:r>
            <a:r>
              <a:rPr lang="en-US" dirty="0" err="1" smtClean="0"/>
              <a:t>Nong</a:t>
            </a:r>
            <a:r>
              <a:rPr lang="en-US" dirty="0" smtClean="0"/>
              <a:t> </a:t>
            </a:r>
            <a:r>
              <a:rPr lang="en-US" dirty="0" err="1" smtClean="0"/>
              <a:t>Khai</a:t>
            </a:r>
            <a:r>
              <a:rPr lang="en-US" dirty="0" smtClean="0"/>
              <a:t> (2) </a:t>
            </a:r>
            <a:r>
              <a:rPr lang="en-US" dirty="0" err="1" smtClean="0"/>
              <a:t>Narathiwat</a:t>
            </a:r>
            <a:r>
              <a:rPr lang="en-US" dirty="0" smtClean="0"/>
              <a:t> (3) Chiang </a:t>
            </a:r>
            <a:r>
              <a:rPr lang="en-US" dirty="0" err="1" smtClean="0"/>
              <a:t>rai</a:t>
            </a:r>
            <a:r>
              <a:rPr lang="en-US" dirty="0" smtClean="0"/>
              <a:t> (4) </a:t>
            </a:r>
            <a:r>
              <a:rPr lang="en-US" dirty="0" err="1" smtClean="0"/>
              <a:t>Nakhon</a:t>
            </a:r>
            <a:r>
              <a:rPr lang="en-US" dirty="0" smtClean="0"/>
              <a:t> </a:t>
            </a:r>
            <a:r>
              <a:rPr lang="en-US" dirty="0" err="1" smtClean="0"/>
              <a:t>Phanom</a:t>
            </a:r>
            <a:r>
              <a:rPr lang="en-US" dirty="0" smtClean="0"/>
              <a:t> and </a:t>
            </a:r>
            <a:br>
              <a:rPr lang="en-US" dirty="0" smtClean="0"/>
            </a:br>
            <a:r>
              <a:rPr lang="en-US" dirty="0" smtClean="0"/>
              <a:t>(5) Kanchanaburi.</a:t>
            </a:r>
          </a:p>
          <a:p>
            <a:endParaRPr lang="en-US" dirty="0" smtClean="0"/>
          </a:p>
          <a:p>
            <a:endParaRPr lang="en-US" dirty="0" smtClean="0"/>
          </a:p>
          <a:p>
            <a:r>
              <a:rPr lang="en-US" dirty="0" smtClean="0"/>
              <a:t>The Thai SEZs will be complementary with the development of Dawei SEZ,</a:t>
            </a:r>
            <a:r>
              <a:rPr lang="en-US" baseline="0" dirty="0" smtClean="0"/>
              <a:t> as they will be focusing on industries and services that would be mutually reinforcing with Dawei SEZ. </a:t>
            </a:r>
            <a:endParaRPr lang="en-US" dirty="0"/>
          </a:p>
        </p:txBody>
      </p:sp>
      <p:sp>
        <p:nvSpPr>
          <p:cNvPr id="4" name="Slide Number Placeholder 3"/>
          <p:cNvSpPr>
            <a:spLocks noGrp="1"/>
          </p:cNvSpPr>
          <p:nvPr>
            <p:ph type="sldNum" sz="quarter" idx="10"/>
          </p:nvPr>
        </p:nvSpPr>
        <p:spPr/>
        <p:txBody>
          <a:bodyPr/>
          <a:lstStyle/>
          <a:p>
            <a:fld id="{AF82E55C-12D7-4F90-86CA-890AFD55E655}" type="slidenum">
              <a:rPr lang="en-US" smtClean="0"/>
              <a:pPr/>
              <a:t>36</a:t>
            </a:fld>
            <a:endParaRPr lang="en-US" dirty="0"/>
          </a:p>
        </p:txBody>
      </p:sp>
    </p:spTree>
    <p:extLst>
      <p:ext uri="{BB962C8B-B14F-4D97-AF65-F5344CB8AC3E}">
        <p14:creationId xmlns:p14="http://schemas.microsoft.com/office/powerpoint/2010/main" xmlns="" val="57101856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7988" y="698500"/>
            <a:ext cx="6194425" cy="3484563"/>
          </a:xfrm>
        </p:spPr>
      </p:sp>
      <p:sp>
        <p:nvSpPr>
          <p:cNvPr id="3" name="Notes Placeholder 2"/>
          <p:cNvSpPr>
            <a:spLocks noGrp="1"/>
          </p:cNvSpPr>
          <p:nvPr>
            <p:ph type="body" idx="1"/>
          </p:nvPr>
        </p:nvSpPr>
        <p:spPr/>
        <p:txBody>
          <a:bodyPr/>
          <a:lstStyle/>
          <a:p>
            <a:r>
              <a:rPr lang="en-US" dirty="0" smtClean="0"/>
              <a:t>[Welcome</a:t>
            </a:r>
            <a:r>
              <a:rPr lang="en-US" baseline="0" dirty="0" smtClean="0"/>
              <a:t> and introduction]</a:t>
            </a:r>
          </a:p>
          <a:p>
            <a:endParaRPr lang="en-US" baseline="0" dirty="0" smtClean="0"/>
          </a:p>
          <a:p>
            <a:r>
              <a:rPr lang="en-US" baseline="0" dirty="0" smtClean="0"/>
              <a:t>During today's presentation, I will provide a brief overview of the Dawei Special Economic Zone and especially its importance as a potential gateway for the entire region.</a:t>
            </a:r>
          </a:p>
          <a:p>
            <a:endParaRPr lang="en-US" baseline="0" dirty="0" smtClean="0"/>
          </a:p>
          <a:p>
            <a:r>
              <a:rPr lang="en-US" baseline="0" dirty="0" smtClean="0"/>
              <a:t>The Thai government plans to reinforce the development of  Dawei SEZ through the development of SEZ in Thailand, especially in border areas, which will complement the development of Dawei SEZ.</a:t>
            </a:r>
          </a:p>
          <a:p>
            <a:endParaRPr lang="en-US" baseline="0" dirty="0" smtClean="0"/>
          </a:p>
          <a:p>
            <a:r>
              <a:rPr lang="en-US" baseline="0" dirty="0" smtClean="0"/>
              <a:t>Over the years, the Thai government </a:t>
            </a:r>
            <a:r>
              <a:rPr lang="en-US" baseline="0" smtClean="0"/>
              <a:t>has fully </a:t>
            </a:r>
            <a:r>
              <a:rPr lang="en-US" baseline="0" dirty="0" smtClean="0"/>
              <a:t>supporting the Dawei project and has continuous cooperation with the Myanmar government for the successful and sustainable development of the Dawei project.</a:t>
            </a:r>
            <a:endParaRPr lang="en-US" dirty="0"/>
          </a:p>
        </p:txBody>
      </p:sp>
      <p:sp>
        <p:nvSpPr>
          <p:cNvPr id="4" name="Slide Number Placeholder 3"/>
          <p:cNvSpPr>
            <a:spLocks noGrp="1"/>
          </p:cNvSpPr>
          <p:nvPr>
            <p:ph type="sldNum" sz="quarter" idx="10"/>
          </p:nvPr>
        </p:nvSpPr>
        <p:spPr/>
        <p:txBody>
          <a:bodyPr/>
          <a:lstStyle/>
          <a:p>
            <a:fld id="{AF82E55C-12D7-4F90-86CA-890AFD55E655}" type="slidenum">
              <a:rPr lang="en-US" smtClean="0">
                <a:solidFill>
                  <a:prstClr val="black"/>
                </a:solidFill>
              </a:rPr>
              <a:pPr/>
              <a:t>37</a:t>
            </a:fld>
            <a:endParaRPr lang="en-US" dirty="0">
              <a:solidFill>
                <a:prstClr val="black"/>
              </a:solidFill>
            </a:endParaRPr>
          </a:p>
        </p:txBody>
      </p:sp>
    </p:spTree>
    <p:extLst>
      <p:ext uri="{BB962C8B-B14F-4D97-AF65-F5344CB8AC3E}">
        <p14:creationId xmlns:p14="http://schemas.microsoft.com/office/powerpoint/2010/main" xmlns="" val="1817770246"/>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normAutofit fontScale="40000" lnSpcReduction="20000"/>
          </a:bodyPr>
          <a:lstStyle/>
          <a:p>
            <a:pPr defTabSz="931774">
              <a:defRPr/>
            </a:pPr>
            <a:endParaRPr lang="th-TH" dirty="0"/>
          </a:p>
        </p:txBody>
      </p:sp>
      <p:sp>
        <p:nvSpPr>
          <p:cNvPr id="4" name="Slide Number Placeholder 3"/>
          <p:cNvSpPr>
            <a:spLocks noGrp="1"/>
          </p:cNvSpPr>
          <p:nvPr>
            <p:ph type="sldNum" sz="quarter" idx="10"/>
          </p:nvPr>
        </p:nvSpPr>
        <p:spPr/>
        <p:txBody>
          <a:bodyPr/>
          <a:lstStyle/>
          <a:p>
            <a:fld id="{F1A21EAD-6079-4E99-9252-93E0ABD83626}" type="slidenum">
              <a:rPr lang="th-TH" smtClean="0"/>
              <a:pPr/>
              <a:t>40</a:t>
            </a:fld>
            <a:endParaRPr lang="th-TH"/>
          </a:p>
        </p:txBody>
      </p:sp>
    </p:spTree>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lstStyle/>
          <a:p>
            <a:endParaRPr lang="th-TH" dirty="0"/>
          </a:p>
        </p:txBody>
      </p:sp>
      <p:sp>
        <p:nvSpPr>
          <p:cNvPr id="4" name="Footer Placeholder 3"/>
          <p:cNvSpPr>
            <a:spLocks noGrp="1"/>
          </p:cNvSpPr>
          <p:nvPr>
            <p:ph type="ftr" sz="quarter" idx="10"/>
          </p:nvPr>
        </p:nvSpPr>
        <p:spPr/>
        <p:txBody>
          <a:bodyPr/>
          <a:lstStyle/>
          <a:p>
            <a:pPr>
              <a:defRPr/>
            </a:pPr>
            <a:endParaRPr lang="th-TH"/>
          </a:p>
        </p:txBody>
      </p:sp>
      <p:sp>
        <p:nvSpPr>
          <p:cNvPr id="5" name="Slide Number Placeholder 4"/>
          <p:cNvSpPr>
            <a:spLocks noGrp="1"/>
          </p:cNvSpPr>
          <p:nvPr>
            <p:ph type="sldNum" sz="quarter" idx="11"/>
          </p:nvPr>
        </p:nvSpPr>
        <p:spPr/>
        <p:txBody>
          <a:bodyPr/>
          <a:lstStyle/>
          <a:p>
            <a:pPr>
              <a:defRPr/>
            </a:pPr>
            <a:fld id="{62C9EDCF-38BD-4DDC-A4A3-0DC299092DC2}" type="slidenum">
              <a:rPr lang="th-TH" altLang="en-US" smtClean="0"/>
              <a:pPr>
                <a:defRPr/>
              </a:pPr>
              <a:t>44</a:t>
            </a:fld>
            <a:endParaRPr lang="th-TH" altLang="en-US"/>
          </a:p>
        </p:txBody>
      </p:sp>
    </p:spTree>
    <p:extLst>
      <p:ext uri="{BB962C8B-B14F-4D97-AF65-F5344CB8AC3E}">
        <p14:creationId xmlns:p14="http://schemas.microsoft.com/office/powerpoint/2010/main" xmlns="" val="1910294572"/>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3970" name="Slide Image Placeholder 1"/>
          <p:cNvSpPr>
            <a:spLocks noGrp="1" noRot="1" noChangeAspect="1" noTextEdit="1"/>
          </p:cNvSpPr>
          <p:nvPr>
            <p:ph type="sldImg"/>
          </p:nvPr>
        </p:nvSpPr>
        <p:spPr bwMode="auto">
          <a:xfrm>
            <a:off x="406400" y="696913"/>
            <a:ext cx="6197600" cy="3486150"/>
          </a:xfrm>
          <a:noFill/>
          <a:ln>
            <a:solidFill>
              <a:srgbClr val="000000"/>
            </a:solidFill>
            <a:miter lim="800000"/>
            <a:headEnd/>
            <a:tailEnd/>
          </a:ln>
        </p:spPr>
      </p:sp>
      <p:sp>
        <p:nvSpPr>
          <p:cNvPr id="3" name="Notes Placeholder 2"/>
          <p:cNvSpPr>
            <a:spLocks noGrp="1"/>
          </p:cNvSpPr>
          <p:nvPr>
            <p:ph type="body" idx="1"/>
          </p:nvPr>
        </p:nvSpPr>
        <p:spPr/>
        <p:txBody>
          <a:bodyPr>
            <a:normAutofit lnSpcReduction="10000"/>
          </a:bodyPr>
          <a:lstStyle/>
          <a:p>
            <a:pPr fontAlgn="auto">
              <a:spcBef>
                <a:spcPts val="0"/>
              </a:spcBef>
              <a:spcAft>
                <a:spcPts val="0"/>
              </a:spcAft>
              <a:defRPr/>
            </a:pPr>
            <a:endParaRPr lang="en-US" dirty="0"/>
          </a:p>
        </p:txBody>
      </p:sp>
      <p:sp>
        <p:nvSpPr>
          <p:cNvPr id="83972" name="Slide Number Placeholder 3"/>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pPr fontAlgn="base">
              <a:spcBef>
                <a:spcPct val="0"/>
              </a:spcBef>
              <a:spcAft>
                <a:spcPct val="0"/>
              </a:spcAft>
            </a:pPr>
            <a:fld id="{42F521CB-C749-49C2-9780-2CE7F5665895}" type="slidenum">
              <a:rPr lang="th-TH"/>
              <a:pPr fontAlgn="base">
                <a:spcBef>
                  <a:spcPct val="0"/>
                </a:spcBef>
                <a:spcAft>
                  <a:spcPct val="0"/>
                </a:spcAft>
              </a:pPr>
              <a:t>46</a:t>
            </a:fld>
            <a:endParaRPr lang="th-TH"/>
          </a:p>
        </p:txBody>
      </p:sp>
    </p:spTree>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994" name="Slide Image Placeholder 1"/>
          <p:cNvSpPr>
            <a:spLocks noGrp="1" noRot="1" noChangeAspect="1" noTextEdit="1"/>
          </p:cNvSpPr>
          <p:nvPr>
            <p:ph type="sldImg"/>
          </p:nvPr>
        </p:nvSpPr>
        <p:spPr bwMode="auto">
          <a:xfrm>
            <a:off x="406400" y="696913"/>
            <a:ext cx="6197600" cy="3486150"/>
          </a:xfrm>
          <a:noFill/>
          <a:ln>
            <a:solidFill>
              <a:srgbClr val="000000"/>
            </a:solidFill>
            <a:miter lim="800000"/>
            <a:headEnd/>
            <a:tailEnd/>
          </a:ln>
        </p:spPr>
      </p:sp>
      <p:sp>
        <p:nvSpPr>
          <p:cNvPr id="84995" name="Notes Placeholder 2"/>
          <p:cNvSpPr>
            <a:spLocks noGrp="1"/>
          </p:cNvSpPr>
          <p:nvPr>
            <p:ph type="body" idx="1"/>
          </p:nvPr>
        </p:nvSpPr>
        <p:spPr bwMode="auto">
          <a:noFill/>
        </p:spPr>
        <p:txBody>
          <a:bodyPr wrap="square" numCol="1" anchor="t" anchorCtr="0" compatLnSpc="1">
            <a:prstTxWarp prst="textNoShape">
              <a:avLst/>
            </a:prstTxWarp>
          </a:bodyPr>
          <a:lstStyle/>
          <a:p>
            <a:pPr>
              <a:spcBef>
                <a:spcPct val="0"/>
              </a:spcBef>
            </a:pPr>
            <a:endParaRPr lang="en-US" dirty="0" smtClean="0"/>
          </a:p>
        </p:txBody>
      </p:sp>
      <p:sp>
        <p:nvSpPr>
          <p:cNvPr id="84996" name="Slide Number Placeholder 3"/>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pPr fontAlgn="base">
              <a:spcBef>
                <a:spcPct val="0"/>
              </a:spcBef>
              <a:spcAft>
                <a:spcPct val="0"/>
              </a:spcAft>
            </a:pPr>
            <a:fld id="{1E416BE1-8BDF-41AD-9782-A9F223EDE433}" type="slidenum">
              <a:rPr lang="th-TH"/>
              <a:pPr fontAlgn="base">
                <a:spcBef>
                  <a:spcPct val="0"/>
                </a:spcBef>
                <a:spcAft>
                  <a:spcPct val="0"/>
                </a:spcAft>
              </a:pPr>
              <a:t>47</a:t>
            </a:fld>
            <a:endParaRPr lang="th-TH"/>
          </a:p>
        </p:txBody>
      </p:sp>
    </p:spTree>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994" name="Slide Image Placeholder 1"/>
          <p:cNvSpPr>
            <a:spLocks noGrp="1" noRot="1" noChangeAspect="1" noTextEdit="1"/>
          </p:cNvSpPr>
          <p:nvPr>
            <p:ph type="sldImg"/>
          </p:nvPr>
        </p:nvSpPr>
        <p:spPr bwMode="auto">
          <a:xfrm>
            <a:off x="406400" y="696913"/>
            <a:ext cx="6197600" cy="3486150"/>
          </a:xfrm>
          <a:noFill/>
          <a:ln>
            <a:solidFill>
              <a:srgbClr val="000000"/>
            </a:solidFill>
            <a:miter lim="800000"/>
            <a:headEnd/>
            <a:tailEnd/>
          </a:ln>
        </p:spPr>
      </p:sp>
      <p:sp>
        <p:nvSpPr>
          <p:cNvPr id="84995" name="Notes Placeholder 2"/>
          <p:cNvSpPr>
            <a:spLocks noGrp="1"/>
          </p:cNvSpPr>
          <p:nvPr>
            <p:ph type="body" idx="1"/>
          </p:nvPr>
        </p:nvSpPr>
        <p:spPr bwMode="auto">
          <a:noFill/>
        </p:spPr>
        <p:txBody>
          <a:bodyPr wrap="square" numCol="1" anchor="t" anchorCtr="0" compatLnSpc="1">
            <a:prstTxWarp prst="textNoShape">
              <a:avLst/>
            </a:prstTxWarp>
          </a:bodyPr>
          <a:lstStyle/>
          <a:p>
            <a:pPr>
              <a:spcBef>
                <a:spcPct val="0"/>
              </a:spcBef>
            </a:pPr>
            <a:endParaRPr lang="en-US" dirty="0" smtClean="0"/>
          </a:p>
        </p:txBody>
      </p:sp>
      <p:sp>
        <p:nvSpPr>
          <p:cNvPr id="84996" name="Slide Number Placeholder 3"/>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pPr fontAlgn="base">
              <a:spcBef>
                <a:spcPct val="0"/>
              </a:spcBef>
              <a:spcAft>
                <a:spcPct val="0"/>
              </a:spcAft>
            </a:pPr>
            <a:fld id="{1E416BE1-8BDF-41AD-9782-A9F223EDE433}" type="slidenum">
              <a:rPr lang="th-TH"/>
              <a:pPr fontAlgn="base">
                <a:spcBef>
                  <a:spcPct val="0"/>
                </a:spcBef>
                <a:spcAft>
                  <a:spcPct val="0"/>
                </a:spcAft>
              </a:pPr>
              <a:t>48</a:t>
            </a:fld>
            <a:endParaRPr lang="th-TH"/>
          </a:p>
        </p:txBody>
      </p:sp>
    </p:spTree>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Slide Image Placeholder 1"/>
          <p:cNvSpPr>
            <a:spLocks noGrp="1" noRot="1" noChangeAspect="1" noTextEdit="1"/>
          </p:cNvSpPr>
          <p:nvPr>
            <p:ph type="sldImg"/>
          </p:nvPr>
        </p:nvSpPr>
        <p:spPr bwMode="auto">
          <a:xfrm>
            <a:off x="406400" y="696913"/>
            <a:ext cx="6197600" cy="3486150"/>
          </a:xfrm>
          <a:noFill/>
          <a:ln>
            <a:solidFill>
              <a:srgbClr val="000000"/>
            </a:solidFill>
            <a:miter lim="800000"/>
            <a:headEnd/>
            <a:tailEnd/>
          </a:ln>
          <a:extLst>
            <a:ext uri="{909E8E84-426E-40DD-AFC4-6F175D3DCCD1}">
              <a14:hiddenFill xmlns:a14="http://schemas.microsoft.com/office/drawing/2010/main" xmlns="">
                <a:solidFill>
                  <a:srgbClr val="FFFFFF"/>
                </a:solidFill>
              </a14:hiddenFill>
            </a:ext>
          </a:extLst>
        </p:spPr>
      </p:sp>
      <p:sp>
        <p:nvSpPr>
          <p:cNvPr id="16387" name="Notes Placeholder 2"/>
          <p:cNvSpPr>
            <a:spLocks noGrp="1"/>
          </p:cNvSpPr>
          <p:nvPr>
            <p:ph type="body" idx="1"/>
          </p:nvPr>
        </p:nvSpPr>
        <p:spPr bwMode="auto">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endParaRPr lang="en-US" smtClean="0">
              <a:cs typeface="Cordia New" pitchFamily="34" charset="-34"/>
            </a:endParaRPr>
          </a:p>
        </p:txBody>
      </p:sp>
      <p:sp>
        <p:nvSpPr>
          <p:cNvPr id="16388" name="Slide Number Placeholder 3"/>
          <p:cNvSpPr>
            <a:spLocks noGrp="1"/>
          </p:cNvSpPr>
          <p:nvPr>
            <p:ph type="sldNum" sz="quarter" idx="5"/>
          </p:nvPr>
        </p:nvSpPr>
        <p:spPr bwMode="auto">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eaLnBrk="0" hangingPunct="0">
              <a:defRPr sz="2800">
                <a:solidFill>
                  <a:schemeClr val="tx1"/>
                </a:solidFill>
                <a:latin typeface="Arial" pitchFamily="34" charset="0"/>
                <a:cs typeface="Arial" pitchFamily="34" charset="0"/>
              </a:defRPr>
            </a:lvl1pPr>
            <a:lvl2pPr marL="742950" indent="-285750" eaLnBrk="0" hangingPunct="0">
              <a:defRPr sz="2800">
                <a:solidFill>
                  <a:schemeClr val="tx1"/>
                </a:solidFill>
                <a:latin typeface="Arial" pitchFamily="34" charset="0"/>
                <a:cs typeface="Arial" pitchFamily="34" charset="0"/>
              </a:defRPr>
            </a:lvl2pPr>
            <a:lvl3pPr marL="1143000" indent="-228600" eaLnBrk="0" hangingPunct="0">
              <a:defRPr sz="2800">
                <a:solidFill>
                  <a:schemeClr val="tx1"/>
                </a:solidFill>
                <a:latin typeface="Arial" pitchFamily="34" charset="0"/>
                <a:cs typeface="Arial" pitchFamily="34" charset="0"/>
              </a:defRPr>
            </a:lvl3pPr>
            <a:lvl4pPr marL="1600200" indent="-228600" eaLnBrk="0" hangingPunct="0">
              <a:defRPr sz="2800">
                <a:solidFill>
                  <a:schemeClr val="tx1"/>
                </a:solidFill>
                <a:latin typeface="Arial" pitchFamily="34" charset="0"/>
                <a:cs typeface="Arial" pitchFamily="34" charset="0"/>
              </a:defRPr>
            </a:lvl4pPr>
            <a:lvl5pPr marL="2057400" indent="-228600" eaLnBrk="0" hangingPunct="0">
              <a:defRPr sz="28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8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8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8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800">
                <a:solidFill>
                  <a:schemeClr val="tx1"/>
                </a:solidFill>
                <a:latin typeface="Arial" pitchFamily="34" charset="0"/>
                <a:cs typeface="Arial" pitchFamily="34" charset="0"/>
              </a:defRPr>
            </a:lvl9pPr>
          </a:lstStyle>
          <a:p>
            <a:pPr eaLnBrk="1" hangingPunct="1"/>
            <a:fld id="{2B6E085A-6CC3-4FEF-8410-6C87EED04AE1}" type="slidenum">
              <a:rPr lang="th-TH" sz="1200" smtClean="0">
                <a:latin typeface="Calibri" pitchFamily="34" charset="0"/>
                <a:cs typeface="Cordia New" pitchFamily="34" charset="-34"/>
              </a:rPr>
              <a:pPr eaLnBrk="1" hangingPunct="1"/>
              <a:t>51</a:t>
            </a:fld>
            <a:endParaRPr lang="th-TH" sz="1200" smtClean="0">
              <a:latin typeface="Calibri" pitchFamily="34" charset="0"/>
              <a:cs typeface="Cordia New" pitchFamily="34" charset="-34"/>
            </a:endParaRPr>
          </a:p>
        </p:txBody>
      </p:sp>
      <p:sp>
        <p:nvSpPr>
          <p:cNvPr id="2" name="Footer Placeholder 1"/>
          <p:cNvSpPr>
            <a:spLocks noGrp="1"/>
          </p:cNvSpPr>
          <p:nvPr>
            <p:ph type="ftr" sz="quarter" idx="4"/>
          </p:nvPr>
        </p:nvSpPr>
        <p:spPr/>
        <p:txBody>
          <a:bodyPr/>
          <a:lstStyle/>
          <a:p>
            <a:pPr>
              <a:defRPr/>
            </a:pPr>
            <a:endParaRPr lang="th-TH"/>
          </a:p>
        </p:txBody>
      </p:sp>
    </p:spTree>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7988" y="698500"/>
            <a:ext cx="6194425" cy="3484563"/>
          </a:xfrm>
        </p:spPr>
      </p:sp>
      <p:sp>
        <p:nvSpPr>
          <p:cNvPr id="3" name="Notes Placeholder 2"/>
          <p:cNvSpPr>
            <a:spLocks noGrp="1"/>
          </p:cNvSpPr>
          <p:nvPr>
            <p:ph type="body" idx="1"/>
          </p:nvPr>
        </p:nvSpPr>
        <p:spPr/>
        <p:txBody>
          <a:bodyPr/>
          <a:lstStyle/>
          <a:p>
            <a:r>
              <a:rPr lang="en-US" dirty="0" smtClean="0"/>
              <a:t>[Welcome</a:t>
            </a:r>
            <a:r>
              <a:rPr lang="en-US" baseline="0" dirty="0" smtClean="0"/>
              <a:t> and introduction]</a:t>
            </a:r>
          </a:p>
          <a:p>
            <a:endParaRPr lang="en-US" baseline="0" dirty="0" smtClean="0"/>
          </a:p>
          <a:p>
            <a:r>
              <a:rPr lang="en-US" baseline="0" dirty="0" smtClean="0"/>
              <a:t>During today's presentation, I will provide a brief overview of the Dawei Special Economic Zone and especially its importance as a potential gateway for the entire region.</a:t>
            </a:r>
          </a:p>
          <a:p>
            <a:endParaRPr lang="en-US" baseline="0" dirty="0" smtClean="0"/>
          </a:p>
          <a:p>
            <a:r>
              <a:rPr lang="en-US" baseline="0" dirty="0" smtClean="0"/>
              <a:t>The Thai government plans to reinforce the development of  Dawei SEZ through the development of SEZ in Thailand, especially in border areas, which will complement the development of Dawei SEZ.</a:t>
            </a:r>
          </a:p>
          <a:p>
            <a:endParaRPr lang="en-US" baseline="0" dirty="0" smtClean="0"/>
          </a:p>
          <a:p>
            <a:r>
              <a:rPr lang="en-US" baseline="0" dirty="0" smtClean="0"/>
              <a:t>Over the years, the Thai government </a:t>
            </a:r>
            <a:r>
              <a:rPr lang="en-US" baseline="0" smtClean="0"/>
              <a:t>has fully </a:t>
            </a:r>
            <a:r>
              <a:rPr lang="en-US" baseline="0" dirty="0" smtClean="0"/>
              <a:t>supporting the Dawei project and has continuous cooperation with the Myanmar government for the successful and sustainable development of the Dawei project.</a:t>
            </a:r>
            <a:endParaRPr lang="en-US" dirty="0"/>
          </a:p>
        </p:txBody>
      </p:sp>
      <p:sp>
        <p:nvSpPr>
          <p:cNvPr id="4" name="Slide Number Placeholder 3"/>
          <p:cNvSpPr>
            <a:spLocks noGrp="1"/>
          </p:cNvSpPr>
          <p:nvPr>
            <p:ph type="sldNum" sz="quarter" idx="10"/>
          </p:nvPr>
        </p:nvSpPr>
        <p:spPr/>
        <p:txBody>
          <a:bodyPr/>
          <a:lstStyle/>
          <a:p>
            <a:fld id="{AF82E55C-12D7-4F90-86CA-890AFD55E655}" type="slidenum">
              <a:rPr lang="en-US" smtClean="0">
                <a:solidFill>
                  <a:prstClr val="black"/>
                </a:solidFill>
              </a:rPr>
              <a:pPr/>
              <a:t>53</a:t>
            </a:fld>
            <a:endParaRPr lang="en-US" dirty="0">
              <a:solidFill>
                <a:prstClr val="black"/>
              </a:solidFill>
            </a:endParaRPr>
          </a:p>
        </p:txBody>
      </p:sp>
    </p:spTree>
    <p:extLst>
      <p:ext uri="{BB962C8B-B14F-4D97-AF65-F5344CB8AC3E}">
        <p14:creationId xmlns:p14="http://schemas.microsoft.com/office/powerpoint/2010/main" xmlns="" val="181777024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7988" y="698500"/>
            <a:ext cx="6194425" cy="3484563"/>
          </a:xfrm>
        </p:spPr>
      </p:sp>
      <p:sp>
        <p:nvSpPr>
          <p:cNvPr id="3" name="Notes Placeholder 2"/>
          <p:cNvSpPr>
            <a:spLocks noGrp="1"/>
          </p:cNvSpPr>
          <p:nvPr>
            <p:ph type="body" idx="1"/>
          </p:nvPr>
        </p:nvSpPr>
        <p:spPr/>
        <p:txBody>
          <a:bodyPr>
            <a:normAutofit/>
          </a:bodyPr>
          <a:lstStyle/>
          <a:p>
            <a:endParaRPr lang="th-TH" dirty="0"/>
          </a:p>
        </p:txBody>
      </p:sp>
      <p:sp>
        <p:nvSpPr>
          <p:cNvPr id="4" name="Slide Number Placeholder 3"/>
          <p:cNvSpPr>
            <a:spLocks noGrp="1"/>
          </p:cNvSpPr>
          <p:nvPr>
            <p:ph type="sldNum" sz="quarter" idx="10"/>
          </p:nvPr>
        </p:nvSpPr>
        <p:spPr/>
        <p:txBody>
          <a:bodyPr/>
          <a:lstStyle/>
          <a:p>
            <a:fld id="{BC563C10-8A12-4A88-8088-0E7857D3CCC3}" type="slidenum">
              <a:rPr lang="th-TH" smtClean="0">
                <a:solidFill>
                  <a:prstClr val="black"/>
                </a:solidFill>
              </a:rPr>
              <a:pPr/>
              <a:t>4</a:t>
            </a:fld>
            <a:endParaRPr lang="th-TH">
              <a:solidFill>
                <a:prstClr val="black"/>
              </a:solidFill>
            </a:endParaRPr>
          </a:p>
        </p:txBody>
      </p:sp>
    </p:spTree>
    <p:extLst>
      <p:ext uri="{BB962C8B-B14F-4D97-AF65-F5344CB8AC3E}">
        <p14:creationId xmlns:p14="http://schemas.microsoft.com/office/powerpoint/2010/main" xmlns="" val="2028492682"/>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Rectangle 7"/>
          <p:cNvSpPr>
            <a:spLocks noGrp="1" noChangeArrowheads="1"/>
          </p:cNvSpPr>
          <p:nvPr>
            <p:ph type="sldNum" sz="quarter" idx="5"/>
          </p:nvPr>
        </p:nvSpPr>
        <p:spPr>
          <a:noFill/>
        </p:spPr>
        <p:txBody>
          <a:bodyPr/>
          <a:lstStyle/>
          <a:p>
            <a:fld id="{686B4433-793A-4938-BAEB-2C8F43F5D67A}" type="slidenum">
              <a:rPr lang="en-US">
                <a:solidFill>
                  <a:prstClr val="black"/>
                </a:solidFill>
              </a:rPr>
              <a:pPr/>
              <a:t>58</a:t>
            </a:fld>
            <a:endParaRPr lang="th-TH">
              <a:solidFill>
                <a:prstClr val="black"/>
              </a:solidFill>
            </a:endParaRPr>
          </a:p>
        </p:txBody>
      </p:sp>
      <p:sp>
        <p:nvSpPr>
          <p:cNvPr id="21507" name="Rectangle 2"/>
          <p:cNvSpPr>
            <a:spLocks noGrp="1" noRot="1" noChangeAspect="1" noChangeArrowheads="1" noTextEdit="1"/>
          </p:cNvSpPr>
          <p:nvPr>
            <p:ph type="sldImg"/>
          </p:nvPr>
        </p:nvSpPr>
        <p:spPr>
          <a:xfrm>
            <a:off x="407988" y="698500"/>
            <a:ext cx="6194425" cy="3484563"/>
          </a:xfrm>
          <a:ln/>
        </p:spPr>
      </p:sp>
      <p:sp>
        <p:nvSpPr>
          <p:cNvPr id="21508" name="Rectangle 3"/>
          <p:cNvSpPr>
            <a:spLocks noGrp="1" noChangeArrowheads="1"/>
          </p:cNvSpPr>
          <p:nvPr>
            <p:ph type="body" idx="1"/>
          </p:nvPr>
        </p:nvSpPr>
        <p:spPr>
          <a:noFill/>
          <a:ln/>
        </p:spPr>
        <p:txBody>
          <a:bodyPr/>
          <a:lstStyle/>
          <a:p>
            <a:pPr eaLnBrk="1" hangingPunct="1"/>
            <a:endParaRPr lang="en-US" dirty="0"/>
          </a:p>
        </p:txBody>
      </p:sp>
    </p:spTree>
    <p:extLst>
      <p:ext uri="{BB962C8B-B14F-4D97-AF65-F5344CB8AC3E}">
        <p14:creationId xmlns:p14="http://schemas.microsoft.com/office/powerpoint/2010/main" xmlns="" val="72939850"/>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6"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xmlns="">
                <a:solidFill>
                  <a:srgbClr val="FFFFFF"/>
                </a:solidFill>
              </a14:hiddenFill>
            </a:ext>
          </a:extLst>
        </p:spPr>
      </p:sp>
      <p:sp>
        <p:nvSpPr>
          <p:cNvPr id="36867" name="Notes Placeholder 2"/>
          <p:cNvSpPr>
            <a:spLocks noGrp="1"/>
          </p:cNvSpPr>
          <p:nvPr>
            <p:ph type="body" idx="1"/>
          </p:nvPr>
        </p:nvSpPr>
        <p:spPr bwMode="auto">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numCol="1" anchor="t" anchorCtr="0" compatLnSpc="1">
            <a:prstTxWarp prst="textNoShape">
              <a:avLst/>
            </a:prstTxWarp>
          </a:bodyPr>
          <a:lstStyle/>
          <a:p>
            <a:endParaRPr lang="th-TH" dirty="0" smtClean="0"/>
          </a:p>
        </p:txBody>
      </p:sp>
      <p:sp>
        <p:nvSpPr>
          <p:cNvPr id="4" name="Slide Number Placeholder 3"/>
          <p:cNvSpPr>
            <a:spLocks noGrp="1"/>
          </p:cNvSpPr>
          <p:nvPr>
            <p:ph type="sldNum" sz="quarter" idx="5"/>
          </p:nvPr>
        </p:nvSpPr>
        <p:spPr/>
        <p:txBody>
          <a:bodyPr/>
          <a:lstStyle/>
          <a:p>
            <a:pPr>
              <a:defRPr/>
            </a:pPr>
            <a:fld id="{2AD8E96E-27B6-4E54-9A7F-B015CC43AA47}" type="slidenum">
              <a:rPr lang="th-TH" smtClean="0"/>
              <a:pPr>
                <a:defRPr/>
              </a:pPr>
              <a:t>59</a:t>
            </a:fld>
            <a:endParaRPr lang="th-TH"/>
          </a:p>
        </p:txBody>
      </p:sp>
    </p:spTree>
    <p:extLst>
      <p:ext uri="{BB962C8B-B14F-4D97-AF65-F5344CB8AC3E}">
        <p14:creationId xmlns:p14="http://schemas.microsoft.com/office/powerpoint/2010/main" xmlns="" val="3003015157"/>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2946"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xmlns="">
                <a:solidFill>
                  <a:srgbClr val="FFFFFF"/>
                </a:solidFill>
              </a14:hiddenFill>
            </a:ext>
          </a:extLst>
        </p:spPr>
      </p:sp>
      <p:sp>
        <p:nvSpPr>
          <p:cNvPr id="82947" name="Notes Placeholder 2"/>
          <p:cNvSpPr>
            <a:spLocks noGrp="1"/>
          </p:cNvSpPr>
          <p:nvPr>
            <p:ph type="body" idx="1"/>
          </p:nvPr>
        </p:nvSpPr>
        <p:spPr bwMode="auto">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endParaRPr lang="th-TH" smtClean="0"/>
          </a:p>
        </p:txBody>
      </p:sp>
      <p:sp>
        <p:nvSpPr>
          <p:cNvPr id="4" name="Slide Number Placeholder 3"/>
          <p:cNvSpPr>
            <a:spLocks noGrp="1"/>
          </p:cNvSpPr>
          <p:nvPr>
            <p:ph type="sldNum" sz="quarter" idx="5"/>
          </p:nvPr>
        </p:nvSpPr>
        <p:spPr/>
        <p:txBody>
          <a:bodyPr/>
          <a:lstStyle/>
          <a:p>
            <a:pPr>
              <a:defRPr/>
            </a:pPr>
            <a:fld id="{9422B368-76AA-48BA-BB67-A896FF833404}" type="slidenum">
              <a:rPr lang="en-US" smtClean="0"/>
              <a:pPr>
                <a:defRPr/>
              </a:pPr>
              <a:t>61</a:t>
            </a:fld>
            <a:endParaRPr lang="en-US"/>
          </a:p>
        </p:txBody>
      </p:sp>
    </p:spTree>
    <p:extLst>
      <p:ext uri="{BB962C8B-B14F-4D97-AF65-F5344CB8AC3E}">
        <p14:creationId xmlns:p14="http://schemas.microsoft.com/office/powerpoint/2010/main" xmlns="" val="1366569069"/>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3970" name="Slide Image Placeholder 1"/>
          <p:cNvSpPr>
            <a:spLocks noGrp="1" noRot="1" noChangeAspect="1" noTextEdit="1"/>
          </p:cNvSpPr>
          <p:nvPr>
            <p:ph type="sldImg"/>
          </p:nvPr>
        </p:nvSpPr>
        <p:spPr bwMode="auto">
          <a:xfrm>
            <a:off x="406400" y="696913"/>
            <a:ext cx="6197600" cy="3486150"/>
          </a:xfrm>
          <a:noFill/>
          <a:ln>
            <a:solidFill>
              <a:srgbClr val="000000"/>
            </a:solidFill>
            <a:miter lim="800000"/>
            <a:headEnd/>
            <a:tailEnd/>
          </a:ln>
          <a:extLst>
            <a:ext uri="{909E8E84-426E-40DD-AFC4-6F175D3DCCD1}">
              <a14:hiddenFill xmlns:a14="http://schemas.microsoft.com/office/drawing/2010/main" xmlns="">
                <a:solidFill>
                  <a:srgbClr val="FFFFFF"/>
                </a:solidFill>
              </a14:hiddenFill>
            </a:ext>
          </a:extLst>
        </p:spPr>
      </p:sp>
      <p:sp>
        <p:nvSpPr>
          <p:cNvPr id="83971" name="Notes Placeholder 2"/>
          <p:cNvSpPr>
            <a:spLocks noGrp="1"/>
          </p:cNvSpPr>
          <p:nvPr>
            <p:ph type="body" idx="1"/>
          </p:nvPr>
        </p:nvSpPr>
        <p:spPr bwMode="auto">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endParaRPr lang="th-TH" smtClean="0"/>
          </a:p>
        </p:txBody>
      </p:sp>
      <p:sp>
        <p:nvSpPr>
          <p:cNvPr id="4" name="Slide Number Placeholder 3"/>
          <p:cNvSpPr>
            <a:spLocks noGrp="1"/>
          </p:cNvSpPr>
          <p:nvPr>
            <p:ph type="sldNum" sz="quarter" idx="5"/>
          </p:nvPr>
        </p:nvSpPr>
        <p:spPr/>
        <p:txBody>
          <a:bodyPr/>
          <a:lstStyle/>
          <a:p>
            <a:pPr>
              <a:defRPr/>
            </a:pPr>
            <a:fld id="{79D4A64B-2298-4207-ACFB-3E0E382EB3A0}" type="slidenum">
              <a:rPr lang="en-US" smtClean="0"/>
              <a:pPr>
                <a:defRPr/>
              </a:pPr>
              <a:t>62</a:t>
            </a:fld>
            <a:endParaRPr lang="en-US"/>
          </a:p>
        </p:txBody>
      </p:sp>
    </p:spTree>
    <p:extLst>
      <p:ext uri="{BB962C8B-B14F-4D97-AF65-F5344CB8AC3E}">
        <p14:creationId xmlns:p14="http://schemas.microsoft.com/office/powerpoint/2010/main" xmlns="" val="230042613"/>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th-TH" dirty="0"/>
          </a:p>
        </p:txBody>
      </p:sp>
      <p:sp>
        <p:nvSpPr>
          <p:cNvPr id="4" name="Slide Number Placeholder 3"/>
          <p:cNvSpPr>
            <a:spLocks noGrp="1"/>
          </p:cNvSpPr>
          <p:nvPr>
            <p:ph type="sldNum" sz="quarter" idx="10"/>
          </p:nvPr>
        </p:nvSpPr>
        <p:spPr/>
        <p:txBody>
          <a:bodyPr/>
          <a:lstStyle/>
          <a:p>
            <a:fld id="{5E0FE133-8D16-4744-86A4-D09901202DC1}" type="slidenum">
              <a:rPr lang="th-TH" smtClean="0"/>
              <a:pPr/>
              <a:t>63</a:t>
            </a:fld>
            <a:endParaRPr lang="th-TH"/>
          </a:p>
        </p:txBody>
      </p:sp>
    </p:spTree>
    <p:extLst>
      <p:ext uri="{BB962C8B-B14F-4D97-AF65-F5344CB8AC3E}">
        <p14:creationId xmlns:p14="http://schemas.microsoft.com/office/powerpoint/2010/main" xmlns="" val="459091757"/>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3970" name="Slide Image Placeholder 1"/>
          <p:cNvSpPr>
            <a:spLocks noGrp="1" noRot="1" noChangeAspect="1" noTextEdit="1"/>
          </p:cNvSpPr>
          <p:nvPr>
            <p:ph type="sldImg"/>
          </p:nvPr>
        </p:nvSpPr>
        <p:spPr bwMode="auto">
          <a:xfrm>
            <a:off x="406400" y="696913"/>
            <a:ext cx="6197600" cy="3486150"/>
          </a:xfrm>
          <a:noFill/>
          <a:ln>
            <a:solidFill>
              <a:srgbClr val="000000"/>
            </a:solidFill>
            <a:miter lim="800000"/>
            <a:headEnd/>
            <a:tailEnd/>
          </a:ln>
          <a:extLst>
            <a:ext uri="{909E8E84-426E-40DD-AFC4-6F175D3DCCD1}">
              <a14:hiddenFill xmlns:a14="http://schemas.microsoft.com/office/drawing/2010/main" xmlns="">
                <a:solidFill>
                  <a:srgbClr val="FFFFFF"/>
                </a:solidFill>
              </a14:hiddenFill>
            </a:ext>
          </a:extLst>
        </p:spPr>
      </p:sp>
      <p:sp>
        <p:nvSpPr>
          <p:cNvPr id="83971" name="Notes Placeholder 2"/>
          <p:cNvSpPr>
            <a:spLocks noGrp="1"/>
          </p:cNvSpPr>
          <p:nvPr>
            <p:ph type="body" idx="1"/>
          </p:nvPr>
        </p:nvSpPr>
        <p:spPr bwMode="auto">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endParaRPr lang="th-TH" smtClean="0"/>
          </a:p>
        </p:txBody>
      </p:sp>
      <p:sp>
        <p:nvSpPr>
          <p:cNvPr id="4" name="Slide Number Placeholder 3"/>
          <p:cNvSpPr>
            <a:spLocks noGrp="1"/>
          </p:cNvSpPr>
          <p:nvPr>
            <p:ph type="sldNum" sz="quarter" idx="5"/>
          </p:nvPr>
        </p:nvSpPr>
        <p:spPr/>
        <p:txBody>
          <a:bodyPr/>
          <a:lstStyle/>
          <a:p>
            <a:pPr>
              <a:defRPr/>
            </a:pPr>
            <a:fld id="{79D4A64B-2298-4207-ACFB-3E0E382EB3A0}" type="slidenum">
              <a:rPr lang="en-US" smtClean="0"/>
              <a:pPr>
                <a:defRPr/>
              </a:pPr>
              <a:t>66</a:t>
            </a:fld>
            <a:endParaRPr lang="en-US"/>
          </a:p>
        </p:txBody>
      </p:sp>
    </p:spTree>
    <p:extLst>
      <p:ext uri="{BB962C8B-B14F-4D97-AF65-F5344CB8AC3E}">
        <p14:creationId xmlns:p14="http://schemas.microsoft.com/office/powerpoint/2010/main" xmlns="" val="477084664"/>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62" name="ตัวยึดรูปบนภาพนิ่ง 1"/>
          <p:cNvSpPr>
            <a:spLocks noGrp="1" noRot="1" noChangeAspect="1" noTextEdit="1"/>
          </p:cNvSpPr>
          <p:nvPr>
            <p:ph type="sldImg"/>
          </p:nvPr>
        </p:nvSpPr>
        <p:spPr bwMode="auto">
          <a:xfrm>
            <a:off x="406400" y="696913"/>
            <a:ext cx="6197600" cy="3486150"/>
          </a:xfrm>
          <a:noFill/>
          <a:ln>
            <a:solidFill>
              <a:srgbClr val="000000"/>
            </a:solidFill>
            <a:miter lim="800000"/>
            <a:headEnd/>
            <a:tailEnd/>
          </a:ln>
          <a:extLst>
            <a:ext uri="{909E8E84-426E-40DD-AFC4-6F175D3DCCD1}">
              <a14:hiddenFill xmlns:a14="http://schemas.microsoft.com/office/drawing/2010/main" xmlns="">
                <a:solidFill>
                  <a:srgbClr val="FFFFFF"/>
                </a:solidFill>
              </a14:hiddenFill>
            </a:ext>
          </a:extLst>
        </p:spPr>
      </p:sp>
      <p:sp>
        <p:nvSpPr>
          <p:cNvPr id="92163" name="ตัวยึดบันทึกย่อ 2"/>
          <p:cNvSpPr>
            <a:spLocks noGrp="1"/>
          </p:cNvSpPr>
          <p:nvPr>
            <p:ph type="body" idx="1"/>
          </p:nvPr>
        </p:nvSpPr>
        <p:spPr bwMode="auto">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endParaRPr lang="th-TH" smtClean="0"/>
          </a:p>
        </p:txBody>
      </p:sp>
      <p:sp>
        <p:nvSpPr>
          <p:cNvPr id="4" name="ตัวยึดหมายเลขภาพนิ่ง 3"/>
          <p:cNvSpPr>
            <a:spLocks noGrp="1"/>
          </p:cNvSpPr>
          <p:nvPr>
            <p:ph type="sldNum" sz="quarter" idx="5"/>
          </p:nvPr>
        </p:nvSpPr>
        <p:spPr/>
        <p:txBody>
          <a:bodyPr/>
          <a:lstStyle/>
          <a:p>
            <a:pPr>
              <a:defRPr/>
            </a:pPr>
            <a:fld id="{85AA4350-B029-42C8-94D3-B7AB93FCB6AF}" type="slidenum">
              <a:rPr lang="en-US" smtClean="0"/>
              <a:pPr>
                <a:defRPr/>
              </a:pPr>
              <a:t>68</a:t>
            </a:fld>
            <a:endParaRPr lang="en-US"/>
          </a:p>
        </p:txBody>
      </p:sp>
    </p:spTree>
    <p:extLst>
      <p:ext uri="{BB962C8B-B14F-4D97-AF65-F5344CB8AC3E}">
        <p14:creationId xmlns:p14="http://schemas.microsoft.com/office/powerpoint/2010/main" xmlns="" val="1547941914"/>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3970" name="Slide Image Placeholder 1"/>
          <p:cNvSpPr>
            <a:spLocks noGrp="1" noRot="1" noChangeAspect="1" noTextEdit="1"/>
          </p:cNvSpPr>
          <p:nvPr>
            <p:ph type="sldImg"/>
          </p:nvPr>
        </p:nvSpPr>
        <p:spPr bwMode="auto">
          <a:xfrm>
            <a:off x="406400" y="696913"/>
            <a:ext cx="6197600" cy="3486150"/>
          </a:xfrm>
          <a:noFill/>
          <a:ln>
            <a:solidFill>
              <a:srgbClr val="000000"/>
            </a:solidFill>
            <a:miter lim="800000"/>
            <a:headEnd/>
            <a:tailEnd/>
          </a:ln>
          <a:extLst>
            <a:ext uri="{909E8E84-426E-40DD-AFC4-6F175D3DCCD1}">
              <a14:hiddenFill xmlns:a14="http://schemas.microsoft.com/office/drawing/2010/main" xmlns="">
                <a:solidFill>
                  <a:srgbClr val="FFFFFF"/>
                </a:solidFill>
              </a14:hiddenFill>
            </a:ext>
          </a:extLst>
        </p:spPr>
      </p:sp>
      <p:sp>
        <p:nvSpPr>
          <p:cNvPr id="83971" name="Notes Placeholder 2"/>
          <p:cNvSpPr>
            <a:spLocks noGrp="1"/>
          </p:cNvSpPr>
          <p:nvPr>
            <p:ph type="body" idx="1"/>
          </p:nvPr>
        </p:nvSpPr>
        <p:spPr bwMode="auto">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endParaRPr lang="th-TH" smtClean="0"/>
          </a:p>
        </p:txBody>
      </p:sp>
      <p:sp>
        <p:nvSpPr>
          <p:cNvPr id="4" name="Slide Number Placeholder 3"/>
          <p:cNvSpPr>
            <a:spLocks noGrp="1"/>
          </p:cNvSpPr>
          <p:nvPr>
            <p:ph type="sldNum" sz="quarter" idx="5"/>
          </p:nvPr>
        </p:nvSpPr>
        <p:spPr/>
        <p:txBody>
          <a:bodyPr/>
          <a:lstStyle/>
          <a:p>
            <a:pPr>
              <a:defRPr/>
            </a:pPr>
            <a:fld id="{79D4A64B-2298-4207-ACFB-3E0E382EB3A0}" type="slidenum">
              <a:rPr lang="en-US" smtClean="0"/>
              <a:pPr>
                <a:defRPr/>
              </a:pPr>
              <a:t>70</a:t>
            </a:fld>
            <a:endParaRPr lang="en-US"/>
          </a:p>
        </p:txBody>
      </p:sp>
    </p:spTree>
    <p:extLst>
      <p:ext uri="{BB962C8B-B14F-4D97-AF65-F5344CB8AC3E}">
        <p14:creationId xmlns:p14="http://schemas.microsoft.com/office/powerpoint/2010/main" xmlns="" val="1277916950"/>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5234" name="Slide Image Placeholder 1"/>
          <p:cNvSpPr>
            <a:spLocks noGrp="1" noRot="1" noChangeAspect="1" noTextEdit="1"/>
          </p:cNvSpPr>
          <p:nvPr>
            <p:ph type="sldImg"/>
          </p:nvPr>
        </p:nvSpPr>
        <p:spPr bwMode="auto">
          <a:xfrm>
            <a:off x="406400" y="696913"/>
            <a:ext cx="6197600" cy="3486150"/>
          </a:xfrm>
          <a:noFill/>
          <a:ln>
            <a:solidFill>
              <a:srgbClr val="000000"/>
            </a:solidFill>
            <a:miter lim="800000"/>
            <a:headEnd/>
            <a:tailEnd/>
          </a:ln>
          <a:extLst>
            <a:ext uri="{909E8E84-426E-40DD-AFC4-6F175D3DCCD1}">
              <a14:hiddenFill xmlns:a14="http://schemas.microsoft.com/office/drawing/2010/main" xmlns="">
                <a:solidFill>
                  <a:srgbClr val="FFFFFF"/>
                </a:solidFill>
              </a14:hiddenFill>
            </a:ext>
          </a:extLst>
        </p:spPr>
      </p:sp>
      <p:sp>
        <p:nvSpPr>
          <p:cNvPr id="95235" name="Notes Placeholder 2"/>
          <p:cNvSpPr>
            <a:spLocks noGrp="1"/>
          </p:cNvSpPr>
          <p:nvPr>
            <p:ph type="body" idx="1"/>
          </p:nvPr>
        </p:nvSpPr>
        <p:spPr bwMode="auto">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endParaRPr lang="th-TH" smtClean="0"/>
          </a:p>
        </p:txBody>
      </p:sp>
      <p:sp>
        <p:nvSpPr>
          <p:cNvPr id="4" name="Slide Number Placeholder 3"/>
          <p:cNvSpPr>
            <a:spLocks noGrp="1"/>
          </p:cNvSpPr>
          <p:nvPr>
            <p:ph type="sldNum" sz="quarter" idx="5"/>
          </p:nvPr>
        </p:nvSpPr>
        <p:spPr/>
        <p:txBody>
          <a:bodyPr/>
          <a:lstStyle/>
          <a:p>
            <a:pPr>
              <a:defRPr/>
            </a:pPr>
            <a:fld id="{A24A7D12-7B57-4587-8DE7-95095D8D28AC}" type="slidenum">
              <a:rPr lang="en-US" smtClean="0"/>
              <a:pPr>
                <a:defRPr/>
              </a:pPr>
              <a:t>71</a:t>
            </a:fld>
            <a:endParaRPr lang="en-US"/>
          </a:p>
        </p:txBody>
      </p:sp>
    </p:spTree>
    <p:extLst>
      <p:ext uri="{BB962C8B-B14F-4D97-AF65-F5344CB8AC3E}">
        <p14:creationId xmlns:p14="http://schemas.microsoft.com/office/powerpoint/2010/main" xmlns="" val="1596403785"/>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6258" name="Slide Image Placeholder 1"/>
          <p:cNvSpPr>
            <a:spLocks noGrp="1" noRot="1" noChangeAspect="1" noTextEdit="1"/>
          </p:cNvSpPr>
          <p:nvPr>
            <p:ph type="sldImg"/>
          </p:nvPr>
        </p:nvSpPr>
        <p:spPr bwMode="auto">
          <a:xfrm>
            <a:off x="406400" y="696913"/>
            <a:ext cx="6197600" cy="3486150"/>
          </a:xfrm>
          <a:noFill/>
          <a:ln>
            <a:solidFill>
              <a:srgbClr val="000000"/>
            </a:solidFill>
            <a:miter lim="800000"/>
            <a:headEnd/>
            <a:tailEnd/>
          </a:ln>
          <a:extLst>
            <a:ext uri="{909E8E84-426E-40DD-AFC4-6F175D3DCCD1}">
              <a14:hiddenFill xmlns:a14="http://schemas.microsoft.com/office/drawing/2010/main" xmlns="">
                <a:solidFill>
                  <a:srgbClr val="FFFFFF"/>
                </a:solidFill>
              </a14:hiddenFill>
            </a:ext>
          </a:extLst>
        </p:spPr>
      </p:sp>
      <p:sp>
        <p:nvSpPr>
          <p:cNvPr id="96259" name="Notes Placeholder 2"/>
          <p:cNvSpPr>
            <a:spLocks noGrp="1"/>
          </p:cNvSpPr>
          <p:nvPr>
            <p:ph type="body" idx="1"/>
          </p:nvPr>
        </p:nvSpPr>
        <p:spPr bwMode="auto">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endParaRPr lang="th-TH" smtClean="0"/>
          </a:p>
        </p:txBody>
      </p:sp>
      <p:sp>
        <p:nvSpPr>
          <p:cNvPr id="4" name="Slide Number Placeholder 3"/>
          <p:cNvSpPr>
            <a:spLocks noGrp="1"/>
          </p:cNvSpPr>
          <p:nvPr>
            <p:ph type="sldNum" sz="quarter" idx="5"/>
          </p:nvPr>
        </p:nvSpPr>
        <p:spPr/>
        <p:txBody>
          <a:bodyPr/>
          <a:lstStyle/>
          <a:p>
            <a:pPr>
              <a:defRPr/>
            </a:pPr>
            <a:fld id="{973E7294-FD04-49A3-BA45-D3AD7065BB46}" type="slidenum">
              <a:rPr lang="en-US" smtClean="0"/>
              <a:pPr>
                <a:defRPr/>
              </a:pPr>
              <a:t>72</a:t>
            </a:fld>
            <a:endParaRPr lang="en-US"/>
          </a:p>
        </p:txBody>
      </p:sp>
    </p:spTree>
    <p:extLst>
      <p:ext uri="{BB962C8B-B14F-4D97-AF65-F5344CB8AC3E}">
        <p14:creationId xmlns:p14="http://schemas.microsoft.com/office/powerpoint/2010/main" xmlns="" val="364482621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7988" y="698500"/>
            <a:ext cx="6194425" cy="3484563"/>
          </a:xfrm>
        </p:spPr>
      </p:sp>
      <p:sp>
        <p:nvSpPr>
          <p:cNvPr id="3" name="Notes Placeholder 2"/>
          <p:cNvSpPr>
            <a:spLocks noGrp="1"/>
          </p:cNvSpPr>
          <p:nvPr>
            <p:ph type="body" idx="1"/>
          </p:nvPr>
        </p:nvSpPr>
        <p:spPr/>
        <p:txBody>
          <a:bodyPr/>
          <a:lstStyle/>
          <a:p>
            <a:r>
              <a:rPr lang="en-US" dirty="0" smtClean="0"/>
              <a:t>[Welcome</a:t>
            </a:r>
            <a:r>
              <a:rPr lang="en-US" baseline="0" dirty="0" smtClean="0"/>
              <a:t> and introduction]</a:t>
            </a:r>
          </a:p>
          <a:p>
            <a:endParaRPr lang="en-US" baseline="0" dirty="0" smtClean="0"/>
          </a:p>
          <a:p>
            <a:r>
              <a:rPr lang="en-US" baseline="0" dirty="0" smtClean="0"/>
              <a:t>During today's presentation, I will provide a brief overview of the Dawei Special Economic Zone and especially its importance as a potential gateway for the entire region.</a:t>
            </a:r>
          </a:p>
          <a:p>
            <a:endParaRPr lang="en-US" baseline="0" dirty="0" smtClean="0"/>
          </a:p>
          <a:p>
            <a:r>
              <a:rPr lang="en-US" baseline="0" dirty="0" smtClean="0"/>
              <a:t>The Thai government plans to reinforce the development of  Dawei SEZ through the development of SEZ in Thailand, especially in border areas, which will complement the development of Dawei SEZ.</a:t>
            </a:r>
          </a:p>
          <a:p>
            <a:endParaRPr lang="en-US" baseline="0" dirty="0" smtClean="0"/>
          </a:p>
          <a:p>
            <a:r>
              <a:rPr lang="en-US" baseline="0" dirty="0" smtClean="0"/>
              <a:t>Over the years, the Thai government </a:t>
            </a:r>
            <a:r>
              <a:rPr lang="en-US" baseline="0" smtClean="0"/>
              <a:t>has fully </a:t>
            </a:r>
            <a:r>
              <a:rPr lang="en-US" baseline="0" dirty="0" smtClean="0"/>
              <a:t>supporting the Dawei project and has continuous cooperation with the Myanmar government for the successful and sustainable development of the Dawei project.</a:t>
            </a:r>
            <a:endParaRPr lang="en-US" dirty="0"/>
          </a:p>
        </p:txBody>
      </p:sp>
      <p:sp>
        <p:nvSpPr>
          <p:cNvPr id="4" name="Slide Number Placeholder 3"/>
          <p:cNvSpPr>
            <a:spLocks noGrp="1"/>
          </p:cNvSpPr>
          <p:nvPr>
            <p:ph type="sldNum" sz="quarter" idx="10"/>
          </p:nvPr>
        </p:nvSpPr>
        <p:spPr/>
        <p:txBody>
          <a:bodyPr/>
          <a:lstStyle/>
          <a:p>
            <a:fld id="{AF82E55C-12D7-4F90-86CA-890AFD55E655}" type="slidenum">
              <a:rPr lang="en-US" smtClean="0">
                <a:solidFill>
                  <a:prstClr val="black"/>
                </a:solidFill>
              </a:rPr>
              <a:pPr/>
              <a:t>8</a:t>
            </a:fld>
            <a:endParaRPr lang="en-US" dirty="0">
              <a:solidFill>
                <a:prstClr val="black"/>
              </a:solidFill>
            </a:endParaRPr>
          </a:p>
        </p:txBody>
      </p:sp>
    </p:spTree>
    <p:extLst>
      <p:ext uri="{BB962C8B-B14F-4D97-AF65-F5344CB8AC3E}">
        <p14:creationId xmlns:p14="http://schemas.microsoft.com/office/powerpoint/2010/main" xmlns="" val="1817770246"/>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850" name="Slide Image Placeholder 1"/>
          <p:cNvSpPr>
            <a:spLocks noGrp="1" noRot="1" noChangeAspect="1" noTextEdit="1"/>
          </p:cNvSpPr>
          <p:nvPr>
            <p:ph type="sldImg"/>
          </p:nvPr>
        </p:nvSpPr>
        <p:spPr bwMode="auto">
          <a:xfrm>
            <a:off x="406400" y="696913"/>
            <a:ext cx="6197600" cy="3486150"/>
          </a:xfrm>
          <a:noFill/>
          <a:ln>
            <a:solidFill>
              <a:srgbClr val="000000"/>
            </a:solidFill>
            <a:miter lim="800000"/>
            <a:headEnd/>
            <a:tailEnd/>
          </a:ln>
        </p:spPr>
      </p:sp>
      <p:sp>
        <p:nvSpPr>
          <p:cNvPr id="78851" name="Notes Placeholder 2"/>
          <p:cNvSpPr>
            <a:spLocks noGrp="1"/>
          </p:cNvSpPr>
          <p:nvPr>
            <p:ph type="body" idx="1"/>
          </p:nvPr>
        </p:nvSpPr>
        <p:spPr bwMode="auto">
          <a:noFill/>
        </p:spPr>
        <p:txBody>
          <a:bodyPr wrap="square" numCol="1" anchor="t" anchorCtr="0" compatLnSpc="1">
            <a:prstTxWarp prst="textNoShape">
              <a:avLst/>
            </a:prstTxWarp>
          </a:bodyPr>
          <a:lstStyle/>
          <a:p>
            <a:endParaRPr lang="en-US" dirty="0" smtClean="0">
              <a:cs typeface="Cordia New" pitchFamily="34" charset="-34"/>
            </a:endParaRPr>
          </a:p>
        </p:txBody>
      </p:sp>
      <p:sp>
        <p:nvSpPr>
          <p:cNvPr id="78852" name="Slide Number Placeholder 3"/>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fld id="{B0ABDD1C-7F87-471B-98AF-38ADD377DA55}" type="slidenum">
              <a:rPr lang="th-TH" smtClean="0"/>
              <a:pPr/>
              <a:t>78</a:t>
            </a:fld>
            <a:endParaRPr lang="th-TH" smtClean="0"/>
          </a:p>
        </p:txBody>
      </p:sp>
    </p:spTree>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3970" name="Slide Image Placeholder 1"/>
          <p:cNvSpPr>
            <a:spLocks noGrp="1" noRot="1" noChangeAspect="1" noTextEdit="1"/>
          </p:cNvSpPr>
          <p:nvPr>
            <p:ph type="sldImg"/>
          </p:nvPr>
        </p:nvSpPr>
        <p:spPr bwMode="auto">
          <a:xfrm>
            <a:off x="406400" y="696913"/>
            <a:ext cx="6197600" cy="3486150"/>
          </a:xfrm>
          <a:noFill/>
          <a:ln>
            <a:solidFill>
              <a:srgbClr val="000000"/>
            </a:solidFill>
            <a:miter lim="800000"/>
            <a:headEnd/>
            <a:tailEnd/>
          </a:ln>
        </p:spPr>
      </p:sp>
      <p:sp>
        <p:nvSpPr>
          <p:cNvPr id="3" name="Notes Placeholder 2"/>
          <p:cNvSpPr>
            <a:spLocks noGrp="1"/>
          </p:cNvSpPr>
          <p:nvPr>
            <p:ph type="body" idx="1"/>
          </p:nvPr>
        </p:nvSpPr>
        <p:spPr/>
        <p:txBody>
          <a:bodyPr>
            <a:normAutofit lnSpcReduction="10000"/>
          </a:bodyPr>
          <a:lstStyle/>
          <a:p>
            <a:pPr fontAlgn="auto">
              <a:spcBef>
                <a:spcPts val="0"/>
              </a:spcBef>
              <a:spcAft>
                <a:spcPts val="0"/>
              </a:spcAft>
              <a:defRPr/>
            </a:pPr>
            <a:endParaRPr lang="en-US" dirty="0"/>
          </a:p>
        </p:txBody>
      </p:sp>
      <p:sp>
        <p:nvSpPr>
          <p:cNvPr id="83972" name="Slide Number Placeholder 3"/>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pPr fontAlgn="base">
              <a:spcBef>
                <a:spcPct val="0"/>
              </a:spcBef>
              <a:spcAft>
                <a:spcPct val="0"/>
              </a:spcAft>
            </a:pPr>
            <a:fld id="{42F521CB-C749-49C2-9780-2CE7F5665895}" type="slidenum">
              <a:rPr lang="th-TH"/>
              <a:pPr fontAlgn="base">
                <a:spcBef>
                  <a:spcPct val="0"/>
                </a:spcBef>
                <a:spcAft>
                  <a:spcPct val="0"/>
                </a:spcAft>
              </a:pPr>
              <a:t>79</a:t>
            </a:fld>
            <a:endParaRPr lang="th-TH"/>
          </a:p>
        </p:txBody>
      </p:sp>
    </p:spTree>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6018" name="Slide Image Placeholder 1"/>
          <p:cNvSpPr>
            <a:spLocks noGrp="1" noRot="1" noChangeAspect="1" noTextEdit="1"/>
          </p:cNvSpPr>
          <p:nvPr>
            <p:ph type="sldImg"/>
          </p:nvPr>
        </p:nvSpPr>
        <p:spPr bwMode="auto">
          <a:xfrm>
            <a:off x="406400" y="696913"/>
            <a:ext cx="6197600" cy="3486150"/>
          </a:xfrm>
          <a:noFill/>
          <a:ln>
            <a:solidFill>
              <a:srgbClr val="000000"/>
            </a:solidFill>
            <a:miter lim="800000"/>
            <a:headEnd/>
            <a:tailEnd/>
          </a:ln>
        </p:spPr>
      </p:sp>
      <p:sp>
        <p:nvSpPr>
          <p:cNvPr id="86019" name="Notes Placeholder 2"/>
          <p:cNvSpPr>
            <a:spLocks noGrp="1"/>
          </p:cNvSpPr>
          <p:nvPr>
            <p:ph type="body" idx="1"/>
          </p:nvPr>
        </p:nvSpPr>
        <p:spPr bwMode="auto">
          <a:noFill/>
        </p:spPr>
        <p:txBody>
          <a:bodyPr wrap="square" numCol="1" anchor="t" anchorCtr="0" compatLnSpc="1">
            <a:prstTxWarp prst="textNoShape">
              <a:avLst/>
            </a:prstTxWarp>
          </a:bodyPr>
          <a:lstStyle/>
          <a:p>
            <a:pPr eaLnBrk="0" hangingPunct="0"/>
            <a:endParaRPr lang="en-US" dirty="0" smtClean="0"/>
          </a:p>
        </p:txBody>
      </p:sp>
      <p:sp>
        <p:nvSpPr>
          <p:cNvPr id="86020" name="Slide Number Placeholder 3"/>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pPr fontAlgn="base">
              <a:spcBef>
                <a:spcPct val="0"/>
              </a:spcBef>
              <a:spcAft>
                <a:spcPct val="0"/>
              </a:spcAft>
            </a:pPr>
            <a:fld id="{EC7626E0-6E9F-476C-A9BD-3C66BF62D3FD}" type="slidenum">
              <a:rPr lang="th-TH"/>
              <a:pPr fontAlgn="base">
                <a:spcBef>
                  <a:spcPct val="0"/>
                </a:spcBef>
                <a:spcAft>
                  <a:spcPct val="0"/>
                </a:spcAft>
              </a:pPr>
              <a:t>80</a:t>
            </a:fld>
            <a:endParaRPr lang="th-TH"/>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2" name="Slide Image Placeholder 1"/>
          <p:cNvSpPr>
            <a:spLocks noGrp="1" noRot="1" noChangeAspect="1" noTextEdit="1"/>
          </p:cNvSpPr>
          <p:nvPr>
            <p:ph type="sldImg"/>
          </p:nvPr>
        </p:nvSpPr>
        <p:spPr>
          <a:xfrm>
            <a:off x="60325" y="309563"/>
            <a:ext cx="6889750" cy="3875087"/>
          </a:xfrm>
          <a:ln/>
        </p:spPr>
      </p:sp>
      <p:sp>
        <p:nvSpPr>
          <p:cNvPr id="32771" name="Notes Placeholder 2"/>
          <p:cNvSpPr>
            <a:spLocks noGrp="1"/>
          </p:cNvSpPr>
          <p:nvPr>
            <p:ph type="body" idx="1"/>
          </p:nvPr>
        </p:nvSpPr>
        <p:spPr>
          <a:xfrm>
            <a:off x="518989" y="4355515"/>
            <a:ext cx="5964242" cy="4663066"/>
          </a:xfrm>
        </p:spPr>
        <p:txBody>
          <a:bodyPr>
            <a:normAutofit/>
          </a:bodyPr>
          <a:lstStyle/>
          <a:p>
            <a:pPr marL="292797" indent="-292797" defTabSz="930156">
              <a:spcBef>
                <a:spcPts val="611"/>
              </a:spcBef>
              <a:tabLst>
                <a:tab pos="464270" algn="l"/>
              </a:tabLst>
            </a:pPr>
            <a:endParaRPr lang="th-TH" sz="1000" dirty="0" smtClean="0">
              <a:latin typeface="Tahoma" pitchFamily="34" charset="0"/>
            </a:endParaRPr>
          </a:p>
        </p:txBody>
      </p:sp>
      <p:sp>
        <p:nvSpPr>
          <p:cNvPr id="40964" name="Slide Number Placeholder 3"/>
          <p:cNvSpPr>
            <a:spLocks noGrp="1"/>
          </p:cNvSpPr>
          <p:nvPr>
            <p:ph type="sldNum" sz="quarter" idx="5"/>
          </p:nvPr>
        </p:nvSpPr>
        <p:spPr>
          <a:xfrm>
            <a:off x="3971799" y="8831137"/>
            <a:ext cx="3038604" cy="465265"/>
          </a:xfrm>
          <a:noFill/>
        </p:spPr>
        <p:txBody>
          <a:bodyPr/>
          <a:lstStyle/>
          <a:p>
            <a:fld id="{5D4328D0-65A2-4CC3-BA58-DFE33BBFAAAE}" type="slidenum">
              <a:rPr lang="en-US" smtClean="0">
                <a:solidFill>
                  <a:srgbClr val="000000"/>
                </a:solidFill>
              </a:rPr>
              <a:pPr/>
              <a:t>9</a:t>
            </a:fld>
            <a:endParaRPr lang="en-US" dirty="0" smtClean="0">
              <a:solidFill>
                <a:srgbClr val="000000"/>
              </a:solidFill>
            </a:endParaRPr>
          </a:p>
        </p:txBody>
      </p:sp>
    </p:spTree>
    <p:extLst>
      <p:ext uri="{BB962C8B-B14F-4D97-AF65-F5344CB8AC3E}">
        <p14:creationId xmlns:p14="http://schemas.microsoft.com/office/powerpoint/2010/main" xmlns="" val="200782128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6400" y="696913"/>
            <a:ext cx="6197600" cy="3486150"/>
          </a:xfrm>
        </p:spPr>
      </p:sp>
      <p:sp>
        <p:nvSpPr>
          <p:cNvPr id="3" name="Notes Placeholder 2"/>
          <p:cNvSpPr>
            <a:spLocks noGrp="1"/>
          </p:cNvSpPr>
          <p:nvPr>
            <p:ph type="body" idx="1"/>
          </p:nvPr>
        </p:nvSpPr>
        <p:spPr/>
        <p:txBody>
          <a:bodyPr/>
          <a:lstStyle/>
          <a:p>
            <a:endParaRPr lang="th-TH" dirty="0"/>
          </a:p>
        </p:txBody>
      </p:sp>
      <p:sp>
        <p:nvSpPr>
          <p:cNvPr id="4" name="Slide Number Placeholder 3"/>
          <p:cNvSpPr>
            <a:spLocks noGrp="1"/>
          </p:cNvSpPr>
          <p:nvPr>
            <p:ph type="sldNum" sz="quarter" idx="10"/>
          </p:nvPr>
        </p:nvSpPr>
        <p:spPr/>
        <p:txBody>
          <a:bodyPr/>
          <a:lstStyle/>
          <a:p>
            <a:fld id="{19D615CE-0A92-46CE-B011-D08CB5488D4F}" type="slidenum">
              <a:rPr lang="th-TH" smtClean="0"/>
              <a:pPr/>
              <a:t>10</a:t>
            </a:fld>
            <a:endParaRPr lang="th-TH"/>
          </a:p>
        </p:txBody>
      </p:sp>
    </p:spTree>
    <p:extLst>
      <p:ext uri="{BB962C8B-B14F-4D97-AF65-F5344CB8AC3E}">
        <p14:creationId xmlns:p14="http://schemas.microsoft.com/office/powerpoint/2010/main" xmlns="" val="421747814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07988" y="698500"/>
            <a:ext cx="6194425" cy="3484563"/>
          </a:xfrm>
        </p:spPr>
      </p:sp>
      <p:sp>
        <p:nvSpPr>
          <p:cNvPr id="3" name="Notes Placeholder 2"/>
          <p:cNvSpPr>
            <a:spLocks noGrp="1"/>
          </p:cNvSpPr>
          <p:nvPr>
            <p:ph type="body" idx="1"/>
          </p:nvPr>
        </p:nvSpPr>
        <p:spPr/>
        <p:txBody>
          <a:bodyPr/>
          <a:lstStyle/>
          <a:p>
            <a:pPr>
              <a:lnSpc>
                <a:spcPts val="1700"/>
              </a:lnSpc>
              <a:defRPr/>
            </a:pPr>
            <a:r>
              <a:rPr lang="en-US" sz="1100" b="1" dirty="0" smtClean="0">
                <a:solidFill>
                  <a:schemeClr val="tx2">
                    <a:lumMod val="50000"/>
                  </a:schemeClr>
                </a:solidFill>
                <a:latin typeface="TH SarabunPSK" pitchFamily="34" charset="-34"/>
              </a:rPr>
              <a:t>Modal Shift +</a:t>
            </a:r>
            <a:r>
              <a:rPr lang="th-TH" sz="1100" b="1" dirty="0" smtClean="0">
                <a:solidFill>
                  <a:schemeClr val="tx2">
                    <a:lumMod val="50000"/>
                  </a:schemeClr>
                </a:solidFill>
                <a:latin typeface="TH SarabunPSK" pitchFamily="34" charset="-34"/>
              </a:rPr>
              <a:t> </a:t>
            </a:r>
            <a:r>
              <a:rPr lang="en-US" sz="1100" b="1" dirty="0" err="1" smtClean="0">
                <a:solidFill>
                  <a:schemeClr val="tx2">
                    <a:lumMod val="50000"/>
                  </a:schemeClr>
                </a:solidFill>
                <a:latin typeface="TH SarabunPSK" pitchFamily="34" charset="-34"/>
              </a:rPr>
              <a:t>Multimadal</a:t>
            </a:r>
            <a:r>
              <a:rPr lang="th-TH" sz="1100" b="1" dirty="0" smtClean="0">
                <a:solidFill>
                  <a:schemeClr val="tx2">
                    <a:lumMod val="50000"/>
                  </a:schemeClr>
                </a:solidFill>
                <a:latin typeface="TH SarabunPSK" pitchFamily="34" charset="-34"/>
              </a:rPr>
              <a:t> </a:t>
            </a:r>
            <a:r>
              <a:rPr lang="th-TH" sz="1200" b="1" dirty="0" smtClean="0">
                <a:solidFill>
                  <a:srgbClr val="0070C0"/>
                </a:solidFill>
                <a:latin typeface="TH SarabunPSK" pitchFamily="34" charset="-34"/>
                <a:cs typeface="TH SarabunPSK" pitchFamily="34" charset="-34"/>
              </a:rPr>
              <a:t>ยุทธศาสตร์ปรับเปลี่ยนรูปแบบการขนส่งสินค้าทางถนนสู่การขนส่งที่มีต้นทุนต่ำกว่า โดย</a:t>
            </a:r>
          </a:p>
          <a:p>
            <a:pPr marL="0" marR="0" indent="0" algn="l" defTabSz="914400" rtl="0" eaLnBrk="1" fontAlgn="auto" latinLnBrk="0" hangingPunct="1">
              <a:lnSpc>
                <a:spcPts val="1700"/>
              </a:lnSpc>
              <a:spcBef>
                <a:spcPts val="0"/>
              </a:spcBef>
              <a:spcAft>
                <a:spcPts val="0"/>
              </a:spcAft>
              <a:buClrTx/>
              <a:buSzTx/>
              <a:buFontTx/>
              <a:buNone/>
              <a:tabLst/>
              <a:defRPr/>
            </a:pPr>
            <a:r>
              <a:rPr lang="th-TH" sz="1100" b="1" dirty="0" smtClean="0">
                <a:solidFill>
                  <a:srgbClr val="0070C0"/>
                </a:solidFill>
                <a:latin typeface="TH SarabunPSK" pitchFamily="34" charset="-34"/>
                <a:cs typeface="TH SarabunPSK" pitchFamily="34" charset="-34"/>
              </a:rPr>
              <a:t>พัฒนาและปรับปรุงโครงข่ายทางรถไฟ</a:t>
            </a:r>
            <a:r>
              <a:rPr lang="th-TH" sz="1100" dirty="0" smtClean="0">
                <a:solidFill>
                  <a:srgbClr val="0070C0"/>
                </a:solidFill>
                <a:latin typeface="TH SarabunPSK" pitchFamily="34" charset="-34"/>
                <a:cs typeface="TH SarabunPSK" pitchFamily="34" charset="-34"/>
              </a:rPr>
              <a:t>ที่มีอยู่ในปัจจุบันให้เป็นโครงข่ายการขนส่งหลักของประเทศ และ</a:t>
            </a:r>
            <a:r>
              <a:rPr lang="th-TH" sz="1100" b="1" dirty="0" smtClean="0">
                <a:solidFill>
                  <a:srgbClr val="0070C0"/>
                </a:solidFill>
                <a:latin typeface="TH SarabunPSK" pitchFamily="34" charset="-34"/>
                <a:cs typeface="TH SarabunPSK" pitchFamily="34" charset="-34"/>
              </a:rPr>
              <a:t>พัฒนาสิ่งอำนวยความสะดวกด้านการขนส่งต่อเนื่องหลายรูปแบบ </a:t>
            </a:r>
          </a:p>
          <a:p>
            <a:pPr marL="0" marR="0" indent="0" algn="l" defTabSz="914400" rtl="0" eaLnBrk="1" fontAlgn="auto" latinLnBrk="0" hangingPunct="1">
              <a:lnSpc>
                <a:spcPts val="1700"/>
              </a:lnSpc>
              <a:spcBef>
                <a:spcPts val="0"/>
              </a:spcBef>
              <a:spcAft>
                <a:spcPts val="0"/>
              </a:spcAft>
              <a:buClrTx/>
              <a:buSzTx/>
              <a:buFontTx/>
              <a:buNone/>
              <a:tabLst/>
              <a:defRPr/>
            </a:pPr>
            <a:r>
              <a:rPr lang="en-US" sz="1200" b="1" dirty="0" smtClean="0">
                <a:solidFill>
                  <a:srgbClr val="0070C0"/>
                </a:solidFill>
                <a:latin typeface="TH SarabunPSK" pitchFamily="34" charset="-34"/>
              </a:rPr>
              <a:t>Connectivity</a:t>
            </a:r>
            <a:r>
              <a:rPr lang="th-TH" sz="1200" b="1" dirty="0" smtClean="0">
                <a:solidFill>
                  <a:srgbClr val="0070C0"/>
                </a:solidFill>
                <a:latin typeface="TH SarabunPSK" pitchFamily="34" charset="-34"/>
              </a:rPr>
              <a:t> </a:t>
            </a:r>
            <a:r>
              <a:rPr lang="th-TH" sz="1200" b="1" dirty="0" smtClean="0">
                <a:solidFill>
                  <a:srgbClr val="0070C0"/>
                </a:solidFill>
                <a:latin typeface="TH SarabunPSK" pitchFamily="34" charset="-34"/>
                <a:cs typeface="TH SarabunPSK" pitchFamily="34" charset="-34"/>
              </a:rPr>
              <a:t>ยุทธศาสตร์พัฒนาโครงสร้างพื้นฐาน และสิ่งอำนวยความสะดวกในการเดินทางและขนส่งไปสู่เมืองศูนย์กลางของภูมิภาคทั่วประเทศ และเชื่อมโยงกับประเทศเพื่อนบ้าน โดย แผนงานพัฒนาประตูการค้าหลักและประตูการค้าชายแดน</a:t>
            </a:r>
            <a:r>
              <a:rPr lang="th-TH" sz="1200" b="1" baseline="0" dirty="0" smtClean="0">
                <a:solidFill>
                  <a:srgbClr val="0070C0"/>
                </a:solidFill>
                <a:latin typeface="TH SarabunPSK" pitchFamily="34" charset="-34"/>
                <a:cs typeface="TH SarabunPSK" pitchFamily="34" charset="-34"/>
              </a:rPr>
              <a:t> และ</a:t>
            </a:r>
            <a:r>
              <a:rPr lang="th-TH" sz="1200" b="1" dirty="0" smtClean="0">
                <a:solidFill>
                  <a:srgbClr val="0070C0"/>
                </a:solidFill>
                <a:latin typeface="TH SarabunPSK" pitchFamily="34" charset="-34"/>
                <a:cs typeface="TH SarabunPSK" pitchFamily="34" charset="-34"/>
              </a:rPr>
              <a:t>แผนงานพัฒนาโครงข่ายเชื่อมต่อภูมิภาค โดยพัฒนาระบบรถไฟ</a:t>
            </a:r>
          </a:p>
          <a:p>
            <a:pPr>
              <a:lnSpc>
                <a:spcPts val="1700"/>
              </a:lnSpc>
              <a:defRPr/>
            </a:pPr>
            <a:r>
              <a:rPr lang="en-US" sz="1200" b="1" dirty="0" smtClean="0">
                <a:solidFill>
                  <a:srgbClr val="7030A0"/>
                </a:solidFill>
                <a:latin typeface="TH SarabunPSK" pitchFamily="34" charset="-34"/>
              </a:rPr>
              <a:t>Mobility</a:t>
            </a:r>
            <a:r>
              <a:rPr lang="th-TH" sz="1200" b="1" dirty="0" smtClean="0">
                <a:solidFill>
                  <a:srgbClr val="7030A0"/>
                </a:solidFill>
                <a:latin typeface="TH SarabunPSK" pitchFamily="34" charset="-34"/>
              </a:rPr>
              <a:t> </a:t>
            </a:r>
            <a:r>
              <a:rPr lang="th-TH" sz="1400" b="1" dirty="0" smtClean="0">
                <a:solidFill>
                  <a:srgbClr val="7030A0"/>
                </a:solidFill>
                <a:latin typeface="TH SarabunPSK" pitchFamily="34" charset="-34"/>
                <a:cs typeface="TH SarabunPSK" pitchFamily="34" charset="-34"/>
              </a:rPr>
              <a:t>ยุทธศาสตร์พัฒนาและปรับปรุงระบบขนส่ง เพื่อยกระดับความคล่องตัว โดย</a:t>
            </a:r>
            <a:r>
              <a:rPr lang="th-TH" sz="1200" b="1" dirty="0" smtClean="0">
                <a:solidFill>
                  <a:srgbClr val="7030A0"/>
                </a:solidFill>
                <a:latin typeface="TH SarabunPSK" pitchFamily="34" charset="-34"/>
                <a:cs typeface="TH SarabunPSK" pitchFamily="34" charset="-34"/>
              </a:rPr>
              <a:t>พัฒนาระบบขนส่งในเขตเมือง และพัฒนาโครงข่ายขนส่งเชื่อมโยงพื้นที่เศรษฐกิจหลักภายในประเทศ</a:t>
            </a:r>
            <a:endParaRPr lang="en-US" sz="1200" b="1" dirty="0" smtClean="0">
              <a:solidFill>
                <a:srgbClr val="0070C0"/>
              </a:solidFill>
              <a:latin typeface="TH SarabunPSK" pitchFamily="34" charset="-34"/>
            </a:endParaRPr>
          </a:p>
          <a:p>
            <a:endParaRPr lang="en-US" dirty="0"/>
          </a:p>
        </p:txBody>
      </p:sp>
      <p:sp>
        <p:nvSpPr>
          <p:cNvPr id="4" name="Slide Number Placeholder 3"/>
          <p:cNvSpPr>
            <a:spLocks noGrp="1"/>
          </p:cNvSpPr>
          <p:nvPr>
            <p:ph type="sldNum" sz="quarter" idx="10"/>
          </p:nvPr>
        </p:nvSpPr>
        <p:spPr/>
        <p:txBody>
          <a:bodyPr/>
          <a:lstStyle/>
          <a:p>
            <a:fld id="{97B8801E-A66C-4BC4-A7E7-2A2F3A464257}" type="slidenum">
              <a:rPr lang="th-TH" smtClean="0">
                <a:solidFill>
                  <a:prstClr val="black"/>
                </a:solidFill>
              </a:rPr>
              <a:pPr/>
              <a:t>12</a:t>
            </a:fld>
            <a:endParaRPr lang="th-TH">
              <a:solidFill>
                <a:prstClr val="black"/>
              </a:solidFill>
            </a:endParaRPr>
          </a:p>
        </p:txBody>
      </p:sp>
    </p:spTree>
    <p:extLst>
      <p:ext uri="{BB962C8B-B14F-4D97-AF65-F5344CB8AC3E}">
        <p14:creationId xmlns:p14="http://schemas.microsoft.com/office/powerpoint/2010/main" xmlns="" val="342373659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7B8801E-A66C-4BC4-A7E7-2A2F3A464257}" type="slidenum">
              <a:rPr lang="th-TH" smtClean="0"/>
              <a:pPr/>
              <a:t>13</a:t>
            </a:fld>
            <a:endParaRPr lang="th-TH"/>
          </a:p>
        </p:txBody>
      </p:sp>
    </p:spTree>
    <p:extLst>
      <p:ext uri="{BB962C8B-B14F-4D97-AF65-F5344CB8AC3E}">
        <p14:creationId xmlns:p14="http://schemas.microsoft.com/office/powerpoint/2010/main" xmlns="" val="357061481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97B8801E-A66C-4BC4-A7E7-2A2F3A464257}" type="slidenum">
              <a:rPr lang="th-TH" smtClean="0"/>
              <a:pPr/>
              <a:t>14</a:t>
            </a:fld>
            <a:endParaRPr lang="th-TH"/>
          </a:p>
        </p:txBody>
      </p:sp>
    </p:spTree>
    <p:extLst>
      <p:ext uri="{BB962C8B-B14F-4D97-AF65-F5344CB8AC3E}">
        <p14:creationId xmlns:p14="http://schemas.microsoft.com/office/powerpoint/2010/main" xmlns="" val="390186114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xml"/><Relationship Id="rId1" Type="http://schemas.openxmlformats.org/officeDocument/2006/relationships/tags" Target="../tags/tag2.xml"/></Relationships>
</file>

<file path=ppt/slideLayouts/_rels/slideLayout4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5.xml"/><Relationship Id="rId1" Type="http://schemas.openxmlformats.org/officeDocument/2006/relationships/tags" Target="../tags/tag4.xml"/></Relationships>
</file>

<file path=ppt/slideLayouts/_rels/slideLayout46.xml.rels><?xml version="1.0" encoding="UTF-8" standalone="yes"?>
<Relationships xmlns="http://schemas.openxmlformats.org/package/2006/relationships"><Relationship Id="rId8" Type="http://schemas.openxmlformats.org/officeDocument/2006/relationships/slideMaster" Target="../slideMasters/slideMaster3.xml"/><Relationship Id="rId3" Type="http://schemas.openxmlformats.org/officeDocument/2006/relationships/tags" Target="../tags/tag8.xml"/><Relationship Id="rId7" Type="http://schemas.openxmlformats.org/officeDocument/2006/relationships/tags" Target="../tags/tag12.xml"/><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tags" Target="../tags/tag11.xml"/><Relationship Id="rId5" Type="http://schemas.openxmlformats.org/officeDocument/2006/relationships/tags" Target="../tags/tag10.xml"/><Relationship Id="rId4" Type="http://schemas.openxmlformats.org/officeDocument/2006/relationships/tags" Target="../tags/tag9.xml"/></Relationships>
</file>

<file path=ppt/slideLayouts/_rels/slideLayout47.xml.rels><?xml version="1.0" encoding="UTF-8" standalone="yes"?>
<Relationships xmlns="http://schemas.openxmlformats.org/package/2006/relationships"><Relationship Id="rId3" Type="http://schemas.openxmlformats.org/officeDocument/2006/relationships/tags" Target="../tags/tag15.xml"/><Relationship Id="rId2" Type="http://schemas.openxmlformats.org/officeDocument/2006/relationships/tags" Target="../tags/tag14.xml"/><Relationship Id="rId1" Type="http://schemas.openxmlformats.org/officeDocument/2006/relationships/tags" Target="../tags/tag13.xml"/><Relationship Id="rId4"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3" Type="http://schemas.openxmlformats.org/officeDocument/2006/relationships/tags" Target="../tags/tag18.xml"/><Relationship Id="rId7" Type="http://schemas.openxmlformats.org/officeDocument/2006/relationships/slideMaster" Target="../slideMasters/slideMaster3.xml"/><Relationship Id="rId2" Type="http://schemas.openxmlformats.org/officeDocument/2006/relationships/tags" Target="../tags/tag17.xml"/><Relationship Id="rId1" Type="http://schemas.openxmlformats.org/officeDocument/2006/relationships/tags" Target="../tags/tag16.xml"/><Relationship Id="rId6" Type="http://schemas.openxmlformats.org/officeDocument/2006/relationships/tags" Target="../tags/tag21.xml"/><Relationship Id="rId5" Type="http://schemas.openxmlformats.org/officeDocument/2006/relationships/tags" Target="../tags/tag20.xml"/><Relationship Id="rId4" Type="http://schemas.openxmlformats.org/officeDocument/2006/relationships/tags" Target="../tags/tag19.xml"/></Relationships>
</file>

<file path=ppt/slideLayouts/_rels/slideLayout49.xml.rels><?xml version="1.0" encoding="UTF-8" standalone="yes"?>
<Relationships xmlns="http://schemas.openxmlformats.org/package/2006/relationships"><Relationship Id="rId3" Type="http://schemas.openxmlformats.org/officeDocument/2006/relationships/tags" Target="../tags/tag24.xml"/><Relationship Id="rId2" Type="http://schemas.openxmlformats.org/officeDocument/2006/relationships/tags" Target="../tags/tag23.xml"/><Relationship Id="rId1" Type="http://schemas.openxmlformats.org/officeDocument/2006/relationships/tags" Target="../tags/tag22.xml"/><Relationship Id="rId4"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6.xml"/><Relationship Id="rId1" Type="http://schemas.openxmlformats.org/officeDocument/2006/relationships/tags" Target="../tags/tag25.xml"/></Relationships>
</file>

<file path=ppt/slideLayouts/_rels/slideLayout5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8.xml"/><Relationship Id="rId1" Type="http://schemas.openxmlformats.org/officeDocument/2006/relationships/tags" Target="../tags/tag27.xml"/></Relationships>
</file>

<file path=ppt/slideLayouts/_rels/slideLayout52.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9.xml"/><Relationship Id="rId1" Type="http://schemas.openxmlformats.org/officeDocument/2006/relationships/vmlDrawing" Target="../drawings/vmlDrawing2.vml"/><Relationship Id="rId4" Type="http://schemas.openxmlformats.org/officeDocument/2006/relationships/oleObject" Target="../embeddings/oleObject2.bin"/></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32.xml"/><Relationship Id="rId1" Type="http://schemas.openxmlformats.org/officeDocument/2006/relationships/tags" Target="../tags/tag31.xml"/></Relationships>
</file>

<file path=ppt/slideLayouts/_rels/slideLayout55.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34.xml"/><Relationship Id="rId1" Type="http://schemas.openxmlformats.org/officeDocument/2006/relationships/tags" Target="../tags/tag33.xml"/></Relationships>
</file>

<file path=ppt/slideLayouts/_rels/slideLayout56.xml.rels><?xml version="1.0" encoding="UTF-8" standalone="yes"?>
<Relationships xmlns="http://schemas.openxmlformats.org/package/2006/relationships"><Relationship Id="rId8" Type="http://schemas.openxmlformats.org/officeDocument/2006/relationships/slideMaster" Target="../slideMasters/slideMaster4.xml"/><Relationship Id="rId3" Type="http://schemas.openxmlformats.org/officeDocument/2006/relationships/tags" Target="../tags/tag37.xml"/><Relationship Id="rId7" Type="http://schemas.openxmlformats.org/officeDocument/2006/relationships/tags" Target="../tags/tag41.xml"/><Relationship Id="rId2" Type="http://schemas.openxmlformats.org/officeDocument/2006/relationships/tags" Target="../tags/tag36.xml"/><Relationship Id="rId1" Type="http://schemas.openxmlformats.org/officeDocument/2006/relationships/tags" Target="../tags/tag35.xml"/><Relationship Id="rId6" Type="http://schemas.openxmlformats.org/officeDocument/2006/relationships/tags" Target="../tags/tag40.xml"/><Relationship Id="rId5" Type="http://schemas.openxmlformats.org/officeDocument/2006/relationships/tags" Target="../tags/tag39.xml"/><Relationship Id="rId4" Type="http://schemas.openxmlformats.org/officeDocument/2006/relationships/tags" Target="../tags/tag38.xml"/></Relationships>
</file>

<file path=ppt/slideLayouts/_rels/slideLayout57.xml.rels><?xml version="1.0" encoding="UTF-8" standalone="yes"?>
<Relationships xmlns="http://schemas.openxmlformats.org/package/2006/relationships"><Relationship Id="rId3" Type="http://schemas.openxmlformats.org/officeDocument/2006/relationships/tags" Target="../tags/tag44.xml"/><Relationship Id="rId2" Type="http://schemas.openxmlformats.org/officeDocument/2006/relationships/tags" Target="../tags/tag43.xml"/><Relationship Id="rId1" Type="http://schemas.openxmlformats.org/officeDocument/2006/relationships/tags" Target="../tags/tag42.xml"/><Relationship Id="rId4"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3" Type="http://schemas.openxmlformats.org/officeDocument/2006/relationships/tags" Target="../tags/tag47.xml"/><Relationship Id="rId7" Type="http://schemas.openxmlformats.org/officeDocument/2006/relationships/slideMaster" Target="../slideMasters/slideMaster4.xml"/><Relationship Id="rId2" Type="http://schemas.openxmlformats.org/officeDocument/2006/relationships/tags" Target="../tags/tag46.xml"/><Relationship Id="rId1" Type="http://schemas.openxmlformats.org/officeDocument/2006/relationships/tags" Target="../tags/tag45.xml"/><Relationship Id="rId6" Type="http://schemas.openxmlformats.org/officeDocument/2006/relationships/tags" Target="../tags/tag50.xml"/><Relationship Id="rId5" Type="http://schemas.openxmlformats.org/officeDocument/2006/relationships/tags" Target="../tags/tag49.xml"/><Relationship Id="rId4" Type="http://schemas.openxmlformats.org/officeDocument/2006/relationships/tags" Target="../tags/tag48.xml"/></Relationships>
</file>

<file path=ppt/slideLayouts/_rels/slideLayout59.xml.rels><?xml version="1.0" encoding="UTF-8" standalone="yes"?>
<Relationships xmlns="http://schemas.openxmlformats.org/package/2006/relationships"><Relationship Id="rId3" Type="http://schemas.openxmlformats.org/officeDocument/2006/relationships/tags" Target="../tags/tag53.xml"/><Relationship Id="rId2" Type="http://schemas.openxmlformats.org/officeDocument/2006/relationships/tags" Target="../tags/tag52.xml"/><Relationship Id="rId1" Type="http://schemas.openxmlformats.org/officeDocument/2006/relationships/tags" Target="../tags/tag51.xml"/><Relationship Id="rId4"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55.xml"/><Relationship Id="rId1" Type="http://schemas.openxmlformats.org/officeDocument/2006/relationships/tags" Target="../tags/tag54.xml"/></Relationships>
</file>

<file path=ppt/slideLayouts/_rels/slideLayout61.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57.xml"/><Relationship Id="rId1" Type="http://schemas.openxmlformats.org/officeDocument/2006/relationships/tags" Target="../tags/tag56.xml"/></Relationships>
</file>

<file path=ppt/slideLayouts/_rels/slideLayout62.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58.xml"/><Relationship Id="rId1" Type="http://schemas.openxmlformats.org/officeDocument/2006/relationships/vmlDrawing" Target="../drawings/vmlDrawing4.vml"/><Relationship Id="rId4" Type="http://schemas.openxmlformats.org/officeDocument/2006/relationships/oleObject" Target="../embeddings/oleObject4.bin"/></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61.xml"/><Relationship Id="rId1" Type="http://schemas.openxmlformats.org/officeDocument/2006/relationships/tags" Target="../tags/tag60.xml"/></Relationships>
</file>

<file path=ppt/slideLayouts/_rels/slideLayout65.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63.xml"/><Relationship Id="rId1" Type="http://schemas.openxmlformats.org/officeDocument/2006/relationships/tags" Target="../tags/tag62.xml"/></Relationships>
</file>

<file path=ppt/slideLayouts/_rels/slideLayout66.xml.rels><?xml version="1.0" encoding="UTF-8" standalone="yes"?>
<Relationships xmlns="http://schemas.openxmlformats.org/package/2006/relationships"><Relationship Id="rId8" Type="http://schemas.openxmlformats.org/officeDocument/2006/relationships/slideMaster" Target="../slideMasters/slideMaster5.xml"/><Relationship Id="rId3" Type="http://schemas.openxmlformats.org/officeDocument/2006/relationships/tags" Target="../tags/tag66.xml"/><Relationship Id="rId7" Type="http://schemas.openxmlformats.org/officeDocument/2006/relationships/tags" Target="../tags/tag70.xml"/><Relationship Id="rId2" Type="http://schemas.openxmlformats.org/officeDocument/2006/relationships/tags" Target="../tags/tag65.xml"/><Relationship Id="rId1" Type="http://schemas.openxmlformats.org/officeDocument/2006/relationships/tags" Target="../tags/tag64.xml"/><Relationship Id="rId6" Type="http://schemas.openxmlformats.org/officeDocument/2006/relationships/tags" Target="../tags/tag69.xml"/><Relationship Id="rId5" Type="http://schemas.openxmlformats.org/officeDocument/2006/relationships/tags" Target="../tags/tag68.xml"/><Relationship Id="rId4" Type="http://schemas.openxmlformats.org/officeDocument/2006/relationships/tags" Target="../tags/tag67.xml"/></Relationships>
</file>

<file path=ppt/slideLayouts/_rels/slideLayout67.xml.rels><?xml version="1.0" encoding="UTF-8" standalone="yes"?>
<Relationships xmlns="http://schemas.openxmlformats.org/package/2006/relationships"><Relationship Id="rId3" Type="http://schemas.openxmlformats.org/officeDocument/2006/relationships/tags" Target="../tags/tag73.xml"/><Relationship Id="rId2" Type="http://schemas.openxmlformats.org/officeDocument/2006/relationships/tags" Target="../tags/tag72.xml"/><Relationship Id="rId1" Type="http://schemas.openxmlformats.org/officeDocument/2006/relationships/tags" Target="../tags/tag71.xml"/><Relationship Id="rId4" Type="http://schemas.openxmlformats.org/officeDocument/2006/relationships/slideMaster" Target="../slideMasters/slideMaster5.xml"/></Relationships>
</file>

<file path=ppt/slideLayouts/_rels/slideLayout68.xml.rels><?xml version="1.0" encoding="UTF-8" standalone="yes"?>
<Relationships xmlns="http://schemas.openxmlformats.org/package/2006/relationships"><Relationship Id="rId3" Type="http://schemas.openxmlformats.org/officeDocument/2006/relationships/tags" Target="../tags/tag76.xml"/><Relationship Id="rId7" Type="http://schemas.openxmlformats.org/officeDocument/2006/relationships/slideMaster" Target="../slideMasters/slideMaster5.xml"/><Relationship Id="rId2" Type="http://schemas.openxmlformats.org/officeDocument/2006/relationships/tags" Target="../tags/tag75.xml"/><Relationship Id="rId1" Type="http://schemas.openxmlformats.org/officeDocument/2006/relationships/tags" Target="../tags/tag74.xml"/><Relationship Id="rId6" Type="http://schemas.openxmlformats.org/officeDocument/2006/relationships/tags" Target="../tags/tag79.xml"/><Relationship Id="rId5" Type="http://schemas.openxmlformats.org/officeDocument/2006/relationships/tags" Target="../tags/tag78.xml"/><Relationship Id="rId4" Type="http://schemas.openxmlformats.org/officeDocument/2006/relationships/tags" Target="../tags/tag77.xml"/></Relationships>
</file>

<file path=ppt/slideLayouts/_rels/slideLayout69.xml.rels><?xml version="1.0" encoding="UTF-8" standalone="yes"?>
<Relationships xmlns="http://schemas.openxmlformats.org/package/2006/relationships"><Relationship Id="rId3" Type="http://schemas.openxmlformats.org/officeDocument/2006/relationships/tags" Target="../tags/tag82.xml"/><Relationship Id="rId2" Type="http://schemas.openxmlformats.org/officeDocument/2006/relationships/tags" Target="../tags/tag81.xml"/><Relationship Id="rId1" Type="http://schemas.openxmlformats.org/officeDocument/2006/relationships/tags" Target="../tags/tag80.xml"/><Relationship Id="rId4"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84.xml"/><Relationship Id="rId1" Type="http://schemas.openxmlformats.org/officeDocument/2006/relationships/tags" Target="../tags/tag83.xml"/></Relationships>
</file>

<file path=ppt/slideLayouts/_rels/slideLayout71.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86.xml"/><Relationship Id="rId1" Type="http://schemas.openxmlformats.org/officeDocument/2006/relationships/tags" Target="../tags/tag85.xml"/></Relationships>
</file>

<file path=ppt/slideLayouts/_rels/slideLayout72.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87.xml"/><Relationship Id="rId1" Type="http://schemas.openxmlformats.org/officeDocument/2006/relationships/vmlDrawing" Target="../drawings/vmlDrawing6.vml"/><Relationship Id="rId4" Type="http://schemas.openxmlformats.org/officeDocument/2006/relationships/oleObject" Target="../embeddings/oleObject6.bin"/></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1597866"/>
            <a:ext cx="7772400" cy="1102519"/>
          </a:xfrm>
        </p:spPr>
        <p:txBody>
          <a:bodyPr/>
          <a:lstStyle/>
          <a:p>
            <a:r>
              <a:rPr lang="en-US" smtClean="0"/>
              <a:t>Click to edit Master title style</a:t>
            </a:r>
            <a:endParaRPr lang="th-TH"/>
          </a:p>
        </p:txBody>
      </p:sp>
      <p:sp>
        <p:nvSpPr>
          <p:cNvPr id="3" name="Subtitle 2"/>
          <p:cNvSpPr>
            <a:spLocks noGrp="1"/>
          </p:cNvSpPr>
          <p:nvPr>
            <p:ph type="subTitle" idx="1"/>
          </p:nvPr>
        </p:nvSpPr>
        <p:spPr>
          <a:xfrm>
            <a:off x="1371600" y="2914650"/>
            <a:ext cx="6400800" cy="131445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th-TH"/>
          </a:p>
        </p:txBody>
      </p:sp>
      <p:sp>
        <p:nvSpPr>
          <p:cNvPr id="4" name="Date Placeholder 3"/>
          <p:cNvSpPr>
            <a:spLocks noGrp="1"/>
          </p:cNvSpPr>
          <p:nvPr>
            <p:ph type="dt" sz="half" idx="10"/>
          </p:nvPr>
        </p:nvSpPr>
        <p:spPr/>
        <p:txBody>
          <a:bodyPr/>
          <a:lstStyle/>
          <a:p>
            <a:fld id="{44D195DF-0D2F-4025-9CFA-E188E25A9FB1}" type="datetime1">
              <a:rPr lang="th-TH" smtClean="0">
                <a:solidFill>
                  <a:prstClr val="black">
                    <a:tint val="75000"/>
                  </a:prstClr>
                </a:solidFill>
              </a:rPr>
              <a:pPr/>
              <a:t>20/09/58</a:t>
            </a:fld>
            <a:endParaRPr lang="th-TH">
              <a:solidFill>
                <a:prstClr val="black">
                  <a:tint val="75000"/>
                </a:prstClr>
              </a:solidFill>
            </a:endParaRPr>
          </a:p>
        </p:txBody>
      </p:sp>
      <p:sp>
        <p:nvSpPr>
          <p:cNvPr id="5" name="Footer Placeholder 4"/>
          <p:cNvSpPr>
            <a:spLocks noGrp="1"/>
          </p:cNvSpPr>
          <p:nvPr>
            <p:ph type="ftr" sz="quarter" idx="11"/>
          </p:nvPr>
        </p:nvSpPr>
        <p:spPr/>
        <p:txBody>
          <a:bodyPr/>
          <a:lstStyle/>
          <a:p>
            <a:endParaRPr lang="th-TH">
              <a:solidFill>
                <a:prstClr val="black">
                  <a:tint val="75000"/>
                </a:prstClr>
              </a:solidFill>
            </a:endParaRPr>
          </a:p>
        </p:txBody>
      </p:sp>
      <p:sp>
        <p:nvSpPr>
          <p:cNvPr id="6" name="Slide Number Placeholder 5"/>
          <p:cNvSpPr>
            <a:spLocks noGrp="1"/>
          </p:cNvSpPr>
          <p:nvPr>
            <p:ph type="sldNum" sz="quarter" idx="12"/>
          </p:nvPr>
        </p:nvSpPr>
        <p:spPr/>
        <p:txBody>
          <a:bodyPr/>
          <a:lstStyle/>
          <a:p>
            <a:fld id="{50853BB3-C49D-4A79-8049-B0B6C5B1AD9A}" type="slidenum">
              <a:rPr lang="th-TH" smtClean="0">
                <a:solidFill>
                  <a:prstClr val="black">
                    <a:tint val="75000"/>
                  </a:prstClr>
                </a:solidFill>
              </a:rPr>
              <a:pPr/>
              <a:t>‹#›</a:t>
            </a:fld>
            <a:endParaRPr lang="th-TH">
              <a:solidFill>
                <a:prstClr val="black">
                  <a:tint val="75000"/>
                </a:prstClr>
              </a:solidFill>
            </a:endParaRPr>
          </a:p>
        </p:txBody>
      </p:sp>
    </p:spTree>
    <p:extLst>
      <p:ext uri="{BB962C8B-B14F-4D97-AF65-F5344CB8AC3E}">
        <p14:creationId xmlns:p14="http://schemas.microsoft.com/office/powerpoint/2010/main" xmlns="" val="334962564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th-TH"/>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th-TH"/>
          </a:p>
        </p:txBody>
      </p:sp>
      <p:sp>
        <p:nvSpPr>
          <p:cNvPr id="4" name="Date Placeholder 3"/>
          <p:cNvSpPr>
            <a:spLocks noGrp="1"/>
          </p:cNvSpPr>
          <p:nvPr>
            <p:ph type="dt" sz="half" idx="10"/>
          </p:nvPr>
        </p:nvSpPr>
        <p:spPr/>
        <p:txBody>
          <a:bodyPr/>
          <a:lstStyle/>
          <a:p>
            <a:fld id="{029ACC5B-5429-45BF-9E04-7016727F1523}" type="datetime1">
              <a:rPr lang="th-TH" smtClean="0">
                <a:solidFill>
                  <a:prstClr val="black">
                    <a:tint val="75000"/>
                  </a:prstClr>
                </a:solidFill>
              </a:rPr>
              <a:pPr/>
              <a:t>20/09/58</a:t>
            </a:fld>
            <a:endParaRPr lang="th-TH">
              <a:solidFill>
                <a:prstClr val="black">
                  <a:tint val="75000"/>
                </a:prstClr>
              </a:solidFill>
            </a:endParaRPr>
          </a:p>
        </p:txBody>
      </p:sp>
      <p:sp>
        <p:nvSpPr>
          <p:cNvPr id="5" name="Footer Placeholder 4"/>
          <p:cNvSpPr>
            <a:spLocks noGrp="1"/>
          </p:cNvSpPr>
          <p:nvPr>
            <p:ph type="ftr" sz="quarter" idx="11"/>
          </p:nvPr>
        </p:nvSpPr>
        <p:spPr/>
        <p:txBody>
          <a:bodyPr/>
          <a:lstStyle/>
          <a:p>
            <a:endParaRPr lang="th-TH">
              <a:solidFill>
                <a:prstClr val="black">
                  <a:tint val="75000"/>
                </a:prstClr>
              </a:solidFill>
            </a:endParaRPr>
          </a:p>
        </p:txBody>
      </p:sp>
      <p:sp>
        <p:nvSpPr>
          <p:cNvPr id="6" name="Slide Number Placeholder 5"/>
          <p:cNvSpPr>
            <a:spLocks noGrp="1"/>
          </p:cNvSpPr>
          <p:nvPr>
            <p:ph type="sldNum" sz="quarter" idx="12"/>
          </p:nvPr>
        </p:nvSpPr>
        <p:spPr/>
        <p:txBody>
          <a:bodyPr/>
          <a:lstStyle/>
          <a:p>
            <a:fld id="{50853BB3-C49D-4A79-8049-B0B6C5B1AD9A}" type="slidenum">
              <a:rPr lang="th-TH" smtClean="0">
                <a:solidFill>
                  <a:prstClr val="black">
                    <a:tint val="75000"/>
                  </a:prstClr>
                </a:solidFill>
              </a:rPr>
              <a:pPr/>
              <a:t>‹#›</a:t>
            </a:fld>
            <a:endParaRPr lang="th-TH">
              <a:solidFill>
                <a:prstClr val="black">
                  <a:tint val="75000"/>
                </a:prstClr>
              </a:solidFill>
            </a:endParaRPr>
          </a:p>
        </p:txBody>
      </p:sp>
    </p:spTree>
    <p:extLst>
      <p:ext uri="{BB962C8B-B14F-4D97-AF65-F5344CB8AC3E}">
        <p14:creationId xmlns:p14="http://schemas.microsoft.com/office/powerpoint/2010/main" xmlns="" val="20325506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154781"/>
            <a:ext cx="2057400" cy="3290888"/>
          </a:xfrm>
        </p:spPr>
        <p:txBody>
          <a:bodyPr vert="eaVert"/>
          <a:lstStyle/>
          <a:p>
            <a:r>
              <a:rPr lang="en-US" smtClean="0"/>
              <a:t>Click to edit Master title style</a:t>
            </a:r>
            <a:endParaRPr lang="th-TH"/>
          </a:p>
        </p:txBody>
      </p:sp>
      <p:sp>
        <p:nvSpPr>
          <p:cNvPr id="3" name="Vertical Text Placeholder 2"/>
          <p:cNvSpPr>
            <a:spLocks noGrp="1"/>
          </p:cNvSpPr>
          <p:nvPr>
            <p:ph type="body" orient="vert" idx="1"/>
          </p:nvPr>
        </p:nvSpPr>
        <p:spPr>
          <a:xfrm>
            <a:off x="457200" y="154781"/>
            <a:ext cx="6019800" cy="3290888"/>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th-TH"/>
          </a:p>
        </p:txBody>
      </p:sp>
      <p:sp>
        <p:nvSpPr>
          <p:cNvPr id="4" name="Date Placeholder 3"/>
          <p:cNvSpPr>
            <a:spLocks noGrp="1"/>
          </p:cNvSpPr>
          <p:nvPr>
            <p:ph type="dt" sz="half" idx="10"/>
          </p:nvPr>
        </p:nvSpPr>
        <p:spPr/>
        <p:txBody>
          <a:bodyPr/>
          <a:lstStyle/>
          <a:p>
            <a:fld id="{4BDED892-7FB6-4F90-A791-FF45D36F195D}" type="datetime1">
              <a:rPr lang="th-TH" smtClean="0">
                <a:solidFill>
                  <a:prstClr val="black">
                    <a:tint val="75000"/>
                  </a:prstClr>
                </a:solidFill>
              </a:rPr>
              <a:pPr/>
              <a:t>20/09/58</a:t>
            </a:fld>
            <a:endParaRPr lang="th-TH">
              <a:solidFill>
                <a:prstClr val="black">
                  <a:tint val="75000"/>
                </a:prstClr>
              </a:solidFill>
            </a:endParaRPr>
          </a:p>
        </p:txBody>
      </p:sp>
      <p:sp>
        <p:nvSpPr>
          <p:cNvPr id="5" name="Footer Placeholder 4"/>
          <p:cNvSpPr>
            <a:spLocks noGrp="1"/>
          </p:cNvSpPr>
          <p:nvPr>
            <p:ph type="ftr" sz="quarter" idx="11"/>
          </p:nvPr>
        </p:nvSpPr>
        <p:spPr/>
        <p:txBody>
          <a:bodyPr/>
          <a:lstStyle/>
          <a:p>
            <a:endParaRPr lang="th-TH">
              <a:solidFill>
                <a:prstClr val="black">
                  <a:tint val="75000"/>
                </a:prstClr>
              </a:solidFill>
            </a:endParaRPr>
          </a:p>
        </p:txBody>
      </p:sp>
      <p:sp>
        <p:nvSpPr>
          <p:cNvPr id="6" name="Slide Number Placeholder 5"/>
          <p:cNvSpPr>
            <a:spLocks noGrp="1"/>
          </p:cNvSpPr>
          <p:nvPr>
            <p:ph type="sldNum" sz="quarter" idx="12"/>
          </p:nvPr>
        </p:nvSpPr>
        <p:spPr/>
        <p:txBody>
          <a:bodyPr/>
          <a:lstStyle/>
          <a:p>
            <a:fld id="{50853BB3-C49D-4A79-8049-B0B6C5B1AD9A}" type="slidenum">
              <a:rPr lang="th-TH" smtClean="0">
                <a:solidFill>
                  <a:prstClr val="black">
                    <a:tint val="75000"/>
                  </a:prstClr>
                </a:solidFill>
              </a:rPr>
              <a:pPr/>
              <a:t>‹#›</a:t>
            </a:fld>
            <a:endParaRPr lang="th-TH">
              <a:solidFill>
                <a:prstClr val="black">
                  <a:tint val="75000"/>
                </a:prstClr>
              </a:solidFill>
            </a:endParaRPr>
          </a:p>
        </p:txBody>
      </p:sp>
    </p:spTree>
    <p:extLst>
      <p:ext uri="{BB962C8B-B14F-4D97-AF65-F5344CB8AC3E}">
        <p14:creationId xmlns:p14="http://schemas.microsoft.com/office/powerpoint/2010/main" xmlns="" val="105750473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cSld name="5_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xmlns="" val="1766698897"/>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3_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xmlns="" val="1684537507"/>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2_Title Slide">
    <p:spTree>
      <p:nvGrpSpPr>
        <p:cNvPr id="1" name=""/>
        <p:cNvGrpSpPr/>
        <p:nvPr/>
      </p:nvGrpSpPr>
      <p:grpSpPr>
        <a:xfrm>
          <a:off x="0" y="0"/>
          <a:ext cx="0" cy="0"/>
          <a:chOff x="0" y="0"/>
          <a:chExt cx="0" cy="0"/>
        </a:xfrm>
      </p:grpSpPr>
      <p:sp>
        <p:nvSpPr>
          <p:cNvPr id="6" name="Text Box 5"/>
          <p:cNvSpPr txBox="1">
            <a:spLocks noChangeArrowheads="1"/>
          </p:cNvSpPr>
          <p:nvPr userDrawn="1"/>
        </p:nvSpPr>
        <p:spPr bwMode="auto">
          <a:xfrm>
            <a:off x="6985001" y="4991101"/>
            <a:ext cx="2232025" cy="230832"/>
          </a:xfrm>
          <a:prstGeom prst="rect">
            <a:avLst/>
          </a:prstGeom>
          <a:noFill/>
          <a:ln w="9525">
            <a:noFill/>
            <a:miter lim="800000"/>
            <a:headEnd/>
            <a:tailEnd/>
          </a:ln>
          <a:effectLst/>
        </p:spPr>
        <p:txBody>
          <a:bodyPr>
            <a:spAutoFit/>
          </a:bodyPr>
          <a:lstStyle/>
          <a:p>
            <a:pPr algn="r">
              <a:spcBef>
                <a:spcPct val="50000"/>
              </a:spcBef>
              <a:defRPr/>
            </a:pPr>
            <a:fld id="{DB6A1EEC-BB6A-4F2D-BEB6-E77C44046A70}" type="slidenum">
              <a:rPr lang="en-US" sz="900">
                <a:solidFill>
                  <a:prstClr val="white"/>
                </a:solidFill>
                <a:latin typeface="Tahoma" pitchFamily="34" charset="0"/>
                <a:cs typeface="Tahoma" pitchFamily="34" charset="0"/>
              </a:rPr>
              <a:pPr algn="r">
                <a:spcBef>
                  <a:spcPct val="50000"/>
                </a:spcBef>
                <a:defRPr/>
              </a:pPr>
              <a:t>‹#›</a:t>
            </a:fld>
            <a:endParaRPr lang="th-TH" sz="900" dirty="0">
              <a:solidFill>
                <a:prstClr val="white"/>
              </a:solidFill>
              <a:latin typeface="Tahoma" pitchFamily="34" charset="0"/>
              <a:cs typeface="Tahoma" pitchFamily="34" charset="0"/>
            </a:endParaRPr>
          </a:p>
        </p:txBody>
      </p:sp>
    </p:spTree>
    <p:extLst>
      <p:ext uri="{BB962C8B-B14F-4D97-AF65-F5344CB8AC3E}">
        <p14:creationId xmlns:p14="http://schemas.microsoft.com/office/powerpoint/2010/main" xmlns="" val="3802235398"/>
      </p:ext>
    </p:extLst>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cSld name="13_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xmlns="" val="2930390393"/>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4_Title and Content">
    <p:spTree>
      <p:nvGrpSpPr>
        <p:cNvPr id="1" name=""/>
        <p:cNvGrpSpPr/>
        <p:nvPr/>
      </p:nvGrpSpPr>
      <p:grpSpPr>
        <a:xfrm>
          <a:off x="0" y="0"/>
          <a:ext cx="0" cy="0"/>
          <a:chOff x="0" y="0"/>
          <a:chExt cx="0" cy="0"/>
        </a:xfrm>
      </p:grpSpPr>
      <p:sp>
        <p:nvSpPr>
          <p:cNvPr id="5" name="Slide Number Placeholder 5"/>
          <p:cNvSpPr>
            <a:spLocks noGrp="1"/>
          </p:cNvSpPr>
          <p:nvPr>
            <p:ph type="sldNum" sz="quarter" idx="4"/>
          </p:nvPr>
        </p:nvSpPr>
        <p:spPr>
          <a:xfrm>
            <a:off x="6981700" y="4920102"/>
            <a:ext cx="2133600" cy="273844"/>
          </a:xfrm>
          <a:prstGeom prst="rect">
            <a:avLst/>
          </a:prstGeom>
        </p:spPr>
        <p:txBody>
          <a:bodyPr vert="horz" lIns="91440" tIns="45720" rIns="91440" bIns="45720" rtlCol="0" anchor="ctr"/>
          <a:lstStyle>
            <a:lvl1pPr algn="r">
              <a:defRPr sz="1200">
                <a:solidFill>
                  <a:schemeClr val="tx1">
                    <a:tint val="75000"/>
                  </a:schemeClr>
                </a:solidFill>
              </a:defRPr>
            </a:lvl1pPr>
          </a:lstStyle>
          <a:p>
            <a:fld id="{82FCEA4C-0381-4735-812F-07A1DB1692DC}"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xmlns="" val="1150932460"/>
      </p:ext>
    </p:extLst>
  </p:cSld>
  <p:clrMapOvr>
    <a:masterClrMapping/>
  </p:clrMapOvr>
  <p:transition spd="med">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4_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xmlns="" val="1583957639"/>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Landscape (Fullscreen)">
    <p:spTree>
      <p:nvGrpSpPr>
        <p:cNvPr id="1" name=""/>
        <p:cNvGrpSpPr/>
        <p:nvPr/>
      </p:nvGrpSpPr>
      <p:grpSpPr>
        <a:xfrm>
          <a:off x="0" y="0"/>
          <a:ext cx="0" cy="0"/>
          <a:chOff x="0" y="0"/>
          <a:chExt cx="0" cy="0"/>
        </a:xfrm>
      </p:grpSpPr>
      <p:sp>
        <p:nvSpPr>
          <p:cNvPr id="4" name="Text Box 5"/>
          <p:cNvSpPr txBox="1">
            <a:spLocks noChangeArrowheads="1"/>
          </p:cNvSpPr>
          <p:nvPr userDrawn="1"/>
        </p:nvSpPr>
        <p:spPr bwMode="auto">
          <a:xfrm>
            <a:off x="6961739" y="4869261"/>
            <a:ext cx="2231780" cy="307777"/>
          </a:xfrm>
          <a:prstGeom prst="rect">
            <a:avLst/>
          </a:prstGeom>
          <a:noFill/>
          <a:ln w="9525">
            <a:noFill/>
            <a:miter lim="800000"/>
            <a:headEnd/>
            <a:tailEnd/>
          </a:ln>
          <a:effectLst/>
        </p:spPr>
        <p:txBody>
          <a:bodyPr>
            <a:spAutoFit/>
          </a:bodyPr>
          <a:lstStyle/>
          <a:p>
            <a:pPr algn="r">
              <a:spcBef>
                <a:spcPct val="50000"/>
              </a:spcBef>
              <a:defRPr/>
            </a:pPr>
            <a:fld id="{75631D8E-FAE8-45F5-9C68-6DAF83DD827B}" type="slidenum">
              <a:rPr lang="en-US" sz="1400">
                <a:solidFill>
                  <a:prstClr val="black"/>
                </a:solidFill>
                <a:latin typeface="TH SarabunPSK" pitchFamily="34" charset="-34"/>
                <a:cs typeface="TH SarabunPSK" pitchFamily="34" charset="-34"/>
              </a:rPr>
              <a:pPr algn="r">
                <a:spcBef>
                  <a:spcPct val="50000"/>
                </a:spcBef>
                <a:defRPr/>
              </a:pPr>
              <a:t>‹#›</a:t>
            </a:fld>
            <a:endParaRPr lang="th-TH" sz="1400" dirty="0">
              <a:solidFill>
                <a:prstClr val="black"/>
              </a:solidFill>
              <a:latin typeface="TH SarabunPSK" pitchFamily="34" charset="-34"/>
              <a:cs typeface="TH SarabunPSK" pitchFamily="34" charset="-34"/>
            </a:endParaRPr>
          </a:p>
        </p:txBody>
      </p:sp>
    </p:spTree>
    <p:extLst>
      <p:ext uri="{BB962C8B-B14F-4D97-AF65-F5344CB8AC3E}">
        <p14:creationId xmlns:p14="http://schemas.microsoft.com/office/powerpoint/2010/main" xmlns="" val="3159278319"/>
      </p:ext>
    </p:extLst>
  </p:cSld>
  <p:clrMapOvr>
    <a:masterClrMapping/>
  </p:clrMapOvr>
  <p:transition>
    <p:fade/>
  </p:transition>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xmlns="" val="3514769040"/>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th-TH"/>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th-TH"/>
          </a:p>
        </p:txBody>
      </p:sp>
      <p:sp>
        <p:nvSpPr>
          <p:cNvPr id="4" name="Date Placeholder 3"/>
          <p:cNvSpPr>
            <a:spLocks noGrp="1"/>
          </p:cNvSpPr>
          <p:nvPr>
            <p:ph type="dt" sz="half" idx="10"/>
          </p:nvPr>
        </p:nvSpPr>
        <p:spPr/>
        <p:txBody>
          <a:bodyPr/>
          <a:lstStyle/>
          <a:p>
            <a:fld id="{8245FDE0-96FF-43BA-84A6-00463405A4AC}" type="datetime1">
              <a:rPr lang="th-TH" smtClean="0">
                <a:solidFill>
                  <a:prstClr val="black">
                    <a:tint val="75000"/>
                  </a:prstClr>
                </a:solidFill>
              </a:rPr>
              <a:pPr/>
              <a:t>20/09/58</a:t>
            </a:fld>
            <a:endParaRPr lang="th-TH">
              <a:solidFill>
                <a:prstClr val="black">
                  <a:tint val="75000"/>
                </a:prstClr>
              </a:solidFill>
            </a:endParaRPr>
          </a:p>
        </p:txBody>
      </p:sp>
      <p:sp>
        <p:nvSpPr>
          <p:cNvPr id="5" name="Footer Placeholder 4"/>
          <p:cNvSpPr>
            <a:spLocks noGrp="1"/>
          </p:cNvSpPr>
          <p:nvPr>
            <p:ph type="ftr" sz="quarter" idx="11"/>
          </p:nvPr>
        </p:nvSpPr>
        <p:spPr/>
        <p:txBody>
          <a:bodyPr/>
          <a:lstStyle/>
          <a:p>
            <a:endParaRPr lang="th-TH">
              <a:solidFill>
                <a:prstClr val="black">
                  <a:tint val="75000"/>
                </a:prstClr>
              </a:solidFill>
            </a:endParaRPr>
          </a:p>
        </p:txBody>
      </p:sp>
      <p:sp>
        <p:nvSpPr>
          <p:cNvPr id="6" name="Slide Number Placeholder 5"/>
          <p:cNvSpPr>
            <a:spLocks noGrp="1"/>
          </p:cNvSpPr>
          <p:nvPr>
            <p:ph type="sldNum" sz="quarter" idx="12"/>
          </p:nvPr>
        </p:nvSpPr>
        <p:spPr/>
        <p:txBody>
          <a:bodyPr/>
          <a:lstStyle/>
          <a:p>
            <a:fld id="{50853BB3-C49D-4A79-8049-B0B6C5B1AD9A}" type="slidenum">
              <a:rPr lang="th-TH" smtClean="0">
                <a:solidFill>
                  <a:prstClr val="black">
                    <a:tint val="75000"/>
                  </a:prstClr>
                </a:solidFill>
              </a:rPr>
              <a:pPr/>
              <a:t>‹#›</a:t>
            </a:fld>
            <a:endParaRPr lang="th-TH">
              <a:solidFill>
                <a:prstClr val="black">
                  <a:tint val="75000"/>
                </a:prstClr>
              </a:solidFill>
            </a:endParaRPr>
          </a:p>
        </p:txBody>
      </p:sp>
    </p:spTree>
    <p:extLst>
      <p:ext uri="{BB962C8B-B14F-4D97-AF65-F5344CB8AC3E}">
        <p14:creationId xmlns:p14="http://schemas.microsoft.com/office/powerpoint/2010/main" xmlns="" val="2104577456"/>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1597880"/>
            <a:ext cx="7772400" cy="1102519"/>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2914650"/>
            <a:ext cx="6400800" cy="131445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p>
            <a:fld id="{27C0B5E5-0641-44F8-B7BE-893AB74943F8}" type="datetimeFigureOut">
              <a:rPr lang="en-US" smtClean="0">
                <a:solidFill>
                  <a:prstClr val="black">
                    <a:tint val="75000"/>
                  </a:prstClr>
                </a:solidFill>
              </a:rPr>
              <a:pPr/>
              <a:t>9/20/2015</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9E5D5249-8C42-4A20-AC34-58DA0E1B61ED}"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xmlns="" val="315431265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27C0B5E5-0641-44F8-B7BE-893AB74943F8}" type="datetimeFigureOut">
              <a:rPr lang="en-US" smtClean="0">
                <a:solidFill>
                  <a:prstClr val="black">
                    <a:tint val="75000"/>
                  </a:prstClr>
                </a:solidFill>
              </a:rPr>
              <a:pPr/>
              <a:t>9/20/2015</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9E5D5249-8C42-4A20-AC34-58DA0E1B61ED}"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xmlns="" val="233749306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3305219"/>
            <a:ext cx="7772400" cy="1021557"/>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180035"/>
            <a:ext cx="7772400" cy="1125140"/>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27C0B5E5-0641-44F8-B7BE-893AB74943F8}" type="datetimeFigureOut">
              <a:rPr lang="en-US" smtClean="0">
                <a:solidFill>
                  <a:prstClr val="black">
                    <a:tint val="75000"/>
                  </a:prstClr>
                </a:solidFill>
              </a:rPr>
              <a:pPr/>
              <a:t>9/20/2015</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9E5D5249-8C42-4A20-AC34-58DA0E1B61ED}"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xmlns="" val="3999848324"/>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200151"/>
            <a:ext cx="4038600" cy="339447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200151"/>
            <a:ext cx="4038600" cy="339447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p:txBody>
          <a:bodyPr/>
          <a:lstStyle/>
          <a:p>
            <a:fld id="{27C0B5E5-0641-44F8-B7BE-893AB74943F8}" type="datetimeFigureOut">
              <a:rPr lang="en-US" smtClean="0">
                <a:solidFill>
                  <a:prstClr val="black">
                    <a:tint val="75000"/>
                  </a:prstClr>
                </a:solidFill>
              </a:rPr>
              <a:pPr/>
              <a:t>9/20/2015</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9E5D5249-8C42-4A20-AC34-58DA0E1B61ED}"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xmlns="" val="3871280750"/>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151338"/>
            <a:ext cx="4040188" cy="47982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1631156"/>
            <a:ext cx="4040188" cy="2963466"/>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33" y="1151338"/>
            <a:ext cx="4041775" cy="47982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33" y="1631156"/>
            <a:ext cx="4041775" cy="2963466"/>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p:txBody>
          <a:bodyPr/>
          <a:lstStyle/>
          <a:p>
            <a:fld id="{27C0B5E5-0641-44F8-B7BE-893AB74943F8}" type="datetimeFigureOut">
              <a:rPr lang="en-US" smtClean="0">
                <a:solidFill>
                  <a:prstClr val="black">
                    <a:tint val="75000"/>
                  </a:prstClr>
                </a:solidFill>
              </a:rPr>
              <a:pPr/>
              <a:t>9/20/2015</a:t>
            </a:fld>
            <a:endParaRPr lang="en-US">
              <a:solidFill>
                <a:prstClr val="black">
                  <a:tint val="75000"/>
                </a:prstClr>
              </a:solidFill>
            </a:endParaRPr>
          </a:p>
        </p:txBody>
      </p:sp>
      <p:sp>
        <p:nvSpPr>
          <p:cNvPr id="8" name="Footer Placeholder 7"/>
          <p:cNvSpPr>
            <a:spLocks noGrp="1"/>
          </p:cNvSpPr>
          <p:nvPr>
            <p:ph type="ftr" sz="quarter" idx="11"/>
          </p:nvPr>
        </p:nvSpPr>
        <p:spPr/>
        <p:txBody>
          <a:bodyPr/>
          <a:lstStyle/>
          <a:p>
            <a:endParaRPr lang="en-US">
              <a:solidFill>
                <a:prstClr val="black">
                  <a:tint val="75000"/>
                </a:prstClr>
              </a:solidFill>
            </a:endParaRPr>
          </a:p>
        </p:txBody>
      </p:sp>
      <p:sp>
        <p:nvSpPr>
          <p:cNvPr id="9" name="Slide Number Placeholder 8"/>
          <p:cNvSpPr>
            <a:spLocks noGrp="1"/>
          </p:cNvSpPr>
          <p:nvPr>
            <p:ph type="sldNum" sz="quarter" idx="12"/>
          </p:nvPr>
        </p:nvSpPr>
        <p:spPr/>
        <p:txBody>
          <a:bodyPr/>
          <a:lstStyle/>
          <a:p>
            <a:fld id="{9E5D5249-8C42-4A20-AC34-58DA0E1B61ED}"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xmlns="" val="323403286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p:txBody>
          <a:bodyPr/>
          <a:lstStyle/>
          <a:p>
            <a:fld id="{27C0B5E5-0641-44F8-B7BE-893AB74943F8}" type="datetimeFigureOut">
              <a:rPr lang="en-US" smtClean="0">
                <a:solidFill>
                  <a:prstClr val="black">
                    <a:tint val="75000"/>
                  </a:prstClr>
                </a:solidFill>
              </a:rPr>
              <a:pPr/>
              <a:t>9/20/2015</a:t>
            </a:fld>
            <a:endParaRPr lang="en-US">
              <a:solidFill>
                <a:prstClr val="black">
                  <a:tint val="75000"/>
                </a:prstClr>
              </a:solidFill>
            </a:endParaRPr>
          </a:p>
        </p:txBody>
      </p:sp>
      <p:sp>
        <p:nvSpPr>
          <p:cNvPr id="4" name="Footer Placeholder 3"/>
          <p:cNvSpPr>
            <a:spLocks noGrp="1"/>
          </p:cNvSpPr>
          <p:nvPr>
            <p:ph type="ftr" sz="quarter" idx="11"/>
          </p:nvPr>
        </p:nvSpPr>
        <p:spPr/>
        <p:txBody>
          <a:bodyPr/>
          <a:lstStyle/>
          <a:p>
            <a:endParaRPr lang="en-US">
              <a:solidFill>
                <a:prstClr val="black">
                  <a:tint val="75000"/>
                </a:prstClr>
              </a:solidFill>
            </a:endParaRPr>
          </a:p>
        </p:txBody>
      </p:sp>
      <p:sp>
        <p:nvSpPr>
          <p:cNvPr id="5" name="Slide Number Placeholder 4"/>
          <p:cNvSpPr>
            <a:spLocks noGrp="1"/>
          </p:cNvSpPr>
          <p:nvPr>
            <p:ph type="sldNum" sz="quarter" idx="12"/>
          </p:nvPr>
        </p:nvSpPr>
        <p:spPr/>
        <p:txBody>
          <a:bodyPr/>
          <a:lstStyle/>
          <a:p>
            <a:fld id="{9E5D5249-8C42-4A20-AC34-58DA0E1B61ED}"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xmlns="" val="11240061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27C0B5E5-0641-44F8-B7BE-893AB74943F8}" type="datetimeFigureOut">
              <a:rPr lang="en-US" smtClean="0">
                <a:solidFill>
                  <a:prstClr val="black">
                    <a:tint val="75000"/>
                  </a:prstClr>
                </a:solidFill>
              </a:rPr>
              <a:pPr/>
              <a:t>9/20/2015</a:t>
            </a:fld>
            <a:endParaRPr lang="en-US">
              <a:solidFill>
                <a:prstClr val="black">
                  <a:tint val="75000"/>
                </a:prstClr>
              </a:solidFill>
            </a:endParaRPr>
          </a:p>
        </p:txBody>
      </p:sp>
      <p:sp>
        <p:nvSpPr>
          <p:cNvPr id="3" name="Footer Placeholder 2"/>
          <p:cNvSpPr>
            <a:spLocks noGrp="1"/>
          </p:cNvSpPr>
          <p:nvPr>
            <p:ph type="ftr" sz="quarter" idx="11"/>
          </p:nvPr>
        </p:nvSpPr>
        <p:spPr/>
        <p:txBody>
          <a:bodyPr/>
          <a:lstStyle/>
          <a:p>
            <a:endParaRPr lang="en-US">
              <a:solidFill>
                <a:prstClr val="black">
                  <a:tint val="75000"/>
                </a:prstClr>
              </a:solidFill>
            </a:endParaRPr>
          </a:p>
        </p:txBody>
      </p:sp>
      <p:sp>
        <p:nvSpPr>
          <p:cNvPr id="4" name="Slide Number Placeholder 3"/>
          <p:cNvSpPr>
            <a:spLocks noGrp="1"/>
          </p:cNvSpPr>
          <p:nvPr>
            <p:ph type="sldNum" sz="quarter" idx="12"/>
          </p:nvPr>
        </p:nvSpPr>
        <p:spPr/>
        <p:txBody>
          <a:bodyPr/>
          <a:lstStyle/>
          <a:p>
            <a:fld id="{9E5D5249-8C42-4A20-AC34-58DA0E1B61ED}"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xmlns="" val="3762943335"/>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2" y="204788"/>
            <a:ext cx="3008313" cy="871538"/>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04794"/>
            <a:ext cx="5111750" cy="438983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2" y="1076328"/>
            <a:ext cx="3008313" cy="3518297"/>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27C0B5E5-0641-44F8-B7BE-893AB74943F8}" type="datetimeFigureOut">
              <a:rPr lang="en-US" smtClean="0">
                <a:solidFill>
                  <a:prstClr val="black">
                    <a:tint val="75000"/>
                  </a:prstClr>
                </a:solidFill>
              </a:rPr>
              <a:pPr/>
              <a:t>9/20/2015</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9E5D5249-8C42-4A20-AC34-58DA0E1B61ED}"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xmlns="" val="177226881"/>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3600451"/>
            <a:ext cx="5486400" cy="425054"/>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459581"/>
            <a:ext cx="5486400" cy="30861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1792288" y="4025505"/>
            <a:ext cx="5486400" cy="603646"/>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27C0B5E5-0641-44F8-B7BE-893AB74943F8}" type="datetimeFigureOut">
              <a:rPr lang="en-US" smtClean="0">
                <a:solidFill>
                  <a:prstClr val="black">
                    <a:tint val="75000"/>
                  </a:prstClr>
                </a:solidFill>
              </a:rPr>
              <a:pPr/>
              <a:t>9/20/2015</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9E5D5249-8C42-4A20-AC34-58DA0E1B61ED}"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xmlns="" val="1582625119"/>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27C0B5E5-0641-44F8-B7BE-893AB74943F8}" type="datetimeFigureOut">
              <a:rPr lang="en-US" smtClean="0">
                <a:solidFill>
                  <a:prstClr val="black">
                    <a:tint val="75000"/>
                  </a:prstClr>
                </a:solidFill>
              </a:rPr>
              <a:pPr/>
              <a:t>9/20/2015</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9E5D5249-8C42-4A20-AC34-58DA0E1B61ED}"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xmlns="" val="229399026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3305176"/>
            <a:ext cx="7772400" cy="1021556"/>
          </a:xfrm>
        </p:spPr>
        <p:txBody>
          <a:bodyPr anchor="t"/>
          <a:lstStyle>
            <a:lvl1pPr algn="l">
              <a:defRPr sz="4000" b="1" cap="all"/>
            </a:lvl1pPr>
          </a:lstStyle>
          <a:p>
            <a:r>
              <a:rPr lang="en-US" smtClean="0"/>
              <a:t>Click to edit Master title style</a:t>
            </a:r>
            <a:endParaRPr lang="th-TH"/>
          </a:p>
        </p:txBody>
      </p:sp>
      <p:sp>
        <p:nvSpPr>
          <p:cNvPr id="3" name="Text Placeholder 2"/>
          <p:cNvSpPr>
            <a:spLocks noGrp="1"/>
          </p:cNvSpPr>
          <p:nvPr>
            <p:ph type="body" idx="1"/>
          </p:nvPr>
        </p:nvSpPr>
        <p:spPr>
          <a:xfrm>
            <a:off x="722313" y="2180035"/>
            <a:ext cx="7772400" cy="1125140"/>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90713CAC-7BC9-4087-BDC5-0F4CEB492BC9}" type="datetime1">
              <a:rPr lang="th-TH" smtClean="0">
                <a:solidFill>
                  <a:prstClr val="black">
                    <a:tint val="75000"/>
                  </a:prstClr>
                </a:solidFill>
              </a:rPr>
              <a:pPr/>
              <a:t>20/09/58</a:t>
            </a:fld>
            <a:endParaRPr lang="th-TH">
              <a:solidFill>
                <a:prstClr val="black">
                  <a:tint val="75000"/>
                </a:prstClr>
              </a:solidFill>
            </a:endParaRPr>
          </a:p>
        </p:txBody>
      </p:sp>
      <p:sp>
        <p:nvSpPr>
          <p:cNvPr id="5" name="Footer Placeholder 4"/>
          <p:cNvSpPr>
            <a:spLocks noGrp="1"/>
          </p:cNvSpPr>
          <p:nvPr>
            <p:ph type="ftr" sz="quarter" idx="11"/>
          </p:nvPr>
        </p:nvSpPr>
        <p:spPr/>
        <p:txBody>
          <a:bodyPr/>
          <a:lstStyle/>
          <a:p>
            <a:endParaRPr lang="th-TH">
              <a:solidFill>
                <a:prstClr val="black">
                  <a:tint val="75000"/>
                </a:prstClr>
              </a:solidFill>
            </a:endParaRPr>
          </a:p>
        </p:txBody>
      </p:sp>
      <p:sp>
        <p:nvSpPr>
          <p:cNvPr id="6" name="Slide Number Placeholder 5"/>
          <p:cNvSpPr>
            <a:spLocks noGrp="1"/>
          </p:cNvSpPr>
          <p:nvPr>
            <p:ph type="sldNum" sz="quarter" idx="12"/>
          </p:nvPr>
        </p:nvSpPr>
        <p:spPr/>
        <p:txBody>
          <a:bodyPr/>
          <a:lstStyle/>
          <a:p>
            <a:fld id="{50853BB3-C49D-4A79-8049-B0B6C5B1AD9A}" type="slidenum">
              <a:rPr lang="th-TH" smtClean="0">
                <a:solidFill>
                  <a:prstClr val="black">
                    <a:tint val="75000"/>
                  </a:prstClr>
                </a:solidFill>
              </a:rPr>
              <a:pPr/>
              <a:t>‹#›</a:t>
            </a:fld>
            <a:endParaRPr lang="th-TH">
              <a:solidFill>
                <a:prstClr val="black">
                  <a:tint val="75000"/>
                </a:prstClr>
              </a:solidFill>
            </a:endParaRPr>
          </a:p>
        </p:txBody>
      </p:sp>
    </p:spTree>
    <p:extLst>
      <p:ext uri="{BB962C8B-B14F-4D97-AF65-F5344CB8AC3E}">
        <p14:creationId xmlns:p14="http://schemas.microsoft.com/office/powerpoint/2010/main" xmlns="" val="3591995600"/>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05982"/>
            <a:ext cx="2057400" cy="4388644"/>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205982"/>
            <a:ext cx="6019800" cy="4388644"/>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27C0B5E5-0641-44F8-B7BE-893AB74943F8}" type="datetimeFigureOut">
              <a:rPr lang="en-US" smtClean="0">
                <a:solidFill>
                  <a:prstClr val="black">
                    <a:tint val="75000"/>
                  </a:prstClr>
                </a:solidFill>
              </a:rPr>
              <a:pPr/>
              <a:t>9/20/2015</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9E5D5249-8C42-4A20-AC34-58DA0E1B61ED}"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xmlns="" val="1715147972"/>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7_Title Slide">
    <p:spTree>
      <p:nvGrpSpPr>
        <p:cNvPr id="1" name=""/>
        <p:cNvGrpSpPr/>
        <p:nvPr/>
      </p:nvGrpSpPr>
      <p:grpSpPr>
        <a:xfrm>
          <a:off x="0" y="0"/>
          <a:ext cx="0" cy="0"/>
          <a:chOff x="0" y="0"/>
          <a:chExt cx="0" cy="0"/>
        </a:xfrm>
      </p:grpSpPr>
      <p:cxnSp>
        <p:nvCxnSpPr>
          <p:cNvPr id="8" name="Straight Connector 7"/>
          <p:cNvCxnSpPr/>
          <p:nvPr userDrawn="1"/>
        </p:nvCxnSpPr>
        <p:spPr>
          <a:xfrm>
            <a:off x="251520" y="437659"/>
            <a:ext cx="8748000" cy="1083"/>
          </a:xfrm>
          <a:prstGeom prst="line">
            <a:avLst/>
          </a:prstGeom>
          <a:ln w="19050">
            <a:solidFill>
              <a:srgbClr val="0070C0"/>
            </a:solidFill>
          </a:ln>
          <a:effectLst>
            <a:outerShdw blurRad="50800" dist="38100" dir="8100000" algn="tr"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xmlns="" val="4218689837"/>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tbl">
  <p:cSld name="ชื่อเรื่องและตาราง">
    <p:spTree>
      <p:nvGrpSpPr>
        <p:cNvPr id="1" name=""/>
        <p:cNvGrpSpPr/>
        <p:nvPr/>
      </p:nvGrpSpPr>
      <p:grpSpPr>
        <a:xfrm>
          <a:off x="0" y="0"/>
          <a:ext cx="0" cy="0"/>
          <a:chOff x="0" y="0"/>
          <a:chExt cx="0" cy="0"/>
        </a:xfrm>
      </p:grpSpPr>
      <p:sp>
        <p:nvSpPr>
          <p:cNvPr id="2" name="ชื่อเรื่อง 1"/>
          <p:cNvSpPr>
            <a:spLocks noGrp="1"/>
          </p:cNvSpPr>
          <p:nvPr>
            <p:ph type="title"/>
          </p:nvPr>
        </p:nvSpPr>
        <p:spPr>
          <a:xfrm>
            <a:off x="457200" y="205979"/>
            <a:ext cx="8229600" cy="857250"/>
          </a:xfrm>
        </p:spPr>
        <p:txBody>
          <a:bodyPr/>
          <a:lstStyle>
            <a:lvl1pPr>
              <a:defRPr>
                <a:cs typeface="TH SarabunPSK" pitchFamily="34" charset="-34"/>
              </a:defRPr>
            </a:lvl1pPr>
          </a:lstStyle>
          <a:p>
            <a:r>
              <a:rPr lang="th-TH" dirty="0" smtClean="0"/>
              <a:t>คลิกเพื่อแก้ไขสไตล์ชื่อเรื่องต้นแบบ</a:t>
            </a:r>
            <a:endParaRPr lang="th-TH" dirty="0"/>
          </a:p>
        </p:txBody>
      </p:sp>
      <p:sp>
        <p:nvSpPr>
          <p:cNvPr id="3" name="ตัวแทนตาราง 2"/>
          <p:cNvSpPr>
            <a:spLocks noGrp="1"/>
          </p:cNvSpPr>
          <p:nvPr>
            <p:ph type="tbl" idx="1"/>
          </p:nvPr>
        </p:nvSpPr>
        <p:spPr>
          <a:xfrm>
            <a:off x="457200" y="1200151"/>
            <a:ext cx="8229600" cy="3394472"/>
          </a:xfrm>
        </p:spPr>
        <p:txBody>
          <a:bodyPr/>
          <a:lstStyle/>
          <a:p>
            <a:pPr lvl="0"/>
            <a:endParaRPr lang="th-TH" noProof="0" smtClean="0"/>
          </a:p>
        </p:txBody>
      </p:sp>
      <p:sp>
        <p:nvSpPr>
          <p:cNvPr id="4" name="Rectangle 4"/>
          <p:cNvSpPr>
            <a:spLocks noGrp="1" noChangeArrowheads="1"/>
          </p:cNvSpPr>
          <p:nvPr>
            <p:ph type="dt" sz="half" idx="10"/>
          </p:nvPr>
        </p:nvSpPr>
        <p:spPr>
          <a:xfrm>
            <a:off x="457200" y="4767264"/>
            <a:ext cx="2133600" cy="273844"/>
          </a:xfrm>
          <a:prstGeom prst="rect">
            <a:avLst/>
          </a:prstGeom>
          <a:ln/>
        </p:spPr>
        <p:txBody>
          <a:bodyPr/>
          <a:lstStyle>
            <a:lvl1pPr>
              <a:defRPr/>
            </a:lvl1pPr>
          </a:lstStyle>
          <a:p>
            <a:pPr>
              <a:defRPr/>
            </a:pPr>
            <a:endParaRPr lang="th-TH">
              <a:solidFill>
                <a:prstClr val="black">
                  <a:tint val="75000"/>
                </a:prstClr>
              </a:solidFill>
            </a:endParaRPr>
          </a:p>
        </p:txBody>
      </p:sp>
      <p:sp>
        <p:nvSpPr>
          <p:cNvPr id="5" name="Rectangle 5"/>
          <p:cNvSpPr>
            <a:spLocks noGrp="1" noChangeArrowheads="1"/>
          </p:cNvSpPr>
          <p:nvPr>
            <p:ph type="ftr" sz="quarter" idx="11"/>
          </p:nvPr>
        </p:nvSpPr>
        <p:spPr>
          <a:xfrm>
            <a:off x="3124200" y="4767264"/>
            <a:ext cx="2895600" cy="273844"/>
          </a:xfrm>
          <a:prstGeom prst="rect">
            <a:avLst/>
          </a:prstGeom>
          <a:ln/>
        </p:spPr>
        <p:txBody>
          <a:bodyPr/>
          <a:lstStyle>
            <a:lvl1pPr>
              <a:defRPr/>
            </a:lvl1pPr>
          </a:lstStyle>
          <a:p>
            <a:pPr>
              <a:defRPr/>
            </a:pPr>
            <a:endParaRPr lang="th-TH">
              <a:solidFill>
                <a:prstClr val="black">
                  <a:tint val="75000"/>
                </a:prstClr>
              </a:solidFill>
            </a:endParaRPr>
          </a:p>
        </p:txBody>
      </p:sp>
      <p:sp>
        <p:nvSpPr>
          <p:cNvPr id="6" name="Rectangle 6"/>
          <p:cNvSpPr>
            <a:spLocks noGrp="1" noChangeArrowheads="1"/>
          </p:cNvSpPr>
          <p:nvPr>
            <p:ph type="sldNum" sz="quarter" idx="12"/>
          </p:nvPr>
        </p:nvSpPr>
        <p:spPr>
          <a:xfrm>
            <a:off x="6553200" y="4767264"/>
            <a:ext cx="2133600" cy="273844"/>
          </a:xfrm>
          <a:prstGeom prst="rect">
            <a:avLst/>
          </a:prstGeom>
          <a:ln/>
        </p:spPr>
        <p:txBody>
          <a:bodyPr/>
          <a:lstStyle>
            <a:lvl1pPr>
              <a:defRPr/>
            </a:lvl1pPr>
          </a:lstStyle>
          <a:p>
            <a:pPr>
              <a:defRPr/>
            </a:pPr>
            <a:fld id="{5E1DA084-CB5F-4A48-AAC8-22088C4791EB}" type="slidenum">
              <a:rPr lang="en-US">
                <a:solidFill>
                  <a:prstClr val="black">
                    <a:tint val="75000"/>
                  </a:prstClr>
                </a:solidFill>
              </a:rPr>
              <a:pPr>
                <a:defRPr/>
              </a:pPr>
              <a:t>‹#›</a:t>
            </a:fld>
            <a:endParaRPr lang="th-TH">
              <a:solidFill>
                <a:prstClr val="black">
                  <a:tint val="75000"/>
                </a:prstClr>
              </a:solidFill>
            </a:endParaRPr>
          </a:p>
        </p:txBody>
      </p:sp>
    </p:spTree>
    <p:extLst>
      <p:ext uri="{BB962C8B-B14F-4D97-AF65-F5344CB8AC3E}">
        <p14:creationId xmlns:p14="http://schemas.microsoft.com/office/powerpoint/2010/main" xmlns="" val="1377709460"/>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14_Title Slide">
    <p:spTree>
      <p:nvGrpSpPr>
        <p:cNvPr id="1" name=""/>
        <p:cNvGrpSpPr/>
        <p:nvPr/>
      </p:nvGrpSpPr>
      <p:grpSpPr>
        <a:xfrm>
          <a:off x="0" y="0"/>
          <a:ext cx="0" cy="0"/>
          <a:chOff x="0" y="0"/>
          <a:chExt cx="0" cy="0"/>
        </a:xfrm>
      </p:grpSpPr>
      <p:cxnSp>
        <p:nvCxnSpPr>
          <p:cNvPr id="8" name="Straight Connector 7"/>
          <p:cNvCxnSpPr/>
          <p:nvPr userDrawn="1"/>
        </p:nvCxnSpPr>
        <p:spPr>
          <a:xfrm>
            <a:off x="251520" y="398878"/>
            <a:ext cx="8748000" cy="1191"/>
          </a:xfrm>
          <a:prstGeom prst="line">
            <a:avLst/>
          </a:prstGeom>
          <a:ln w="19050">
            <a:solidFill>
              <a:srgbClr val="0070C0"/>
            </a:solidFill>
          </a:ln>
          <a:effectLst>
            <a:outerShdw blurRad="50800" dist="38100" dir="8100000" algn="tr"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xmlns="" val="1617045963"/>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2_Title Slide">
    <p:spTree>
      <p:nvGrpSpPr>
        <p:cNvPr id="1" name=""/>
        <p:cNvGrpSpPr/>
        <p:nvPr/>
      </p:nvGrpSpPr>
      <p:grpSpPr>
        <a:xfrm>
          <a:off x="0" y="0"/>
          <a:ext cx="0" cy="0"/>
          <a:chOff x="0" y="0"/>
          <a:chExt cx="0" cy="0"/>
        </a:xfrm>
      </p:grpSpPr>
      <p:cxnSp>
        <p:nvCxnSpPr>
          <p:cNvPr id="8" name="Straight Connector 7"/>
          <p:cNvCxnSpPr/>
          <p:nvPr userDrawn="1"/>
        </p:nvCxnSpPr>
        <p:spPr>
          <a:xfrm>
            <a:off x="251520" y="437659"/>
            <a:ext cx="8748000" cy="1083"/>
          </a:xfrm>
          <a:prstGeom prst="line">
            <a:avLst/>
          </a:prstGeom>
          <a:ln w="19050">
            <a:solidFill>
              <a:srgbClr val="0070C0"/>
            </a:solidFill>
          </a:ln>
          <a:effectLst>
            <a:outerShdw blurRad="50800" dist="38100" dir="8100000" algn="tr"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xmlns="" val="3013283481"/>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12_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xmlns="" val="4016673701"/>
      </p:ext>
    </p:extLst>
  </p:cSld>
  <p:clrMapOvr>
    <a:masterClrMapping/>
  </p:clrMapOvr>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xmlns="" val="1404280412"/>
      </p:ext>
    </p:extLst>
  </p:cSld>
  <p:clrMapOvr>
    <a:masterClrMapping/>
  </p:clrMapOvr>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p:cSld name="13_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xmlns="" val="242353848"/>
      </p:ext>
    </p:extLst>
  </p:cSld>
  <p:clrMapOvr>
    <a:masterClrMapping/>
  </p:clrMapOvr>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3_Title Only">
    <p:spTree>
      <p:nvGrpSpPr>
        <p:cNvPr id="1" name=""/>
        <p:cNvGrpSpPr/>
        <p:nvPr/>
      </p:nvGrpSpPr>
      <p:grpSpPr>
        <a:xfrm>
          <a:off x="0" y="0"/>
          <a:ext cx="0" cy="0"/>
          <a:chOff x="0" y="0"/>
          <a:chExt cx="0" cy="0"/>
        </a:xfrm>
      </p:grpSpPr>
    </p:spTree>
    <p:extLst>
      <p:ext uri="{BB962C8B-B14F-4D97-AF65-F5344CB8AC3E}">
        <p14:creationId xmlns:p14="http://schemas.microsoft.com/office/powerpoint/2010/main" xmlns="" val="2888673806"/>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6_Title Slide">
    <p:spTree>
      <p:nvGrpSpPr>
        <p:cNvPr id="1" name=""/>
        <p:cNvGrpSpPr/>
        <p:nvPr/>
      </p:nvGrpSpPr>
      <p:grpSpPr>
        <a:xfrm>
          <a:off x="0" y="0"/>
          <a:ext cx="0" cy="0"/>
          <a:chOff x="0" y="0"/>
          <a:chExt cx="0" cy="0"/>
        </a:xfrm>
      </p:grpSpPr>
      <p:cxnSp>
        <p:nvCxnSpPr>
          <p:cNvPr id="8" name="Straight Connector 7"/>
          <p:cNvCxnSpPr/>
          <p:nvPr userDrawn="1"/>
        </p:nvCxnSpPr>
        <p:spPr>
          <a:xfrm>
            <a:off x="251520" y="437659"/>
            <a:ext cx="8748000" cy="1083"/>
          </a:xfrm>
          <a:prstGeom prst="line">
            <a:avLst/>
          </a:prstGeom>
          <a:ln w="19050">
            <a:solidFill>
              <a:srgbClr val="0070C0"/>
            </a:solidFill>
          </a:ln>
          <a:effectLst>
            <a:outerShdw blurRad="50800" dist="38100" dir="8100000" algn="tr"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xmlns="" val="409113151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th-TH"/>
          </a:p>
        </p:txBody>
      </p:sp>
      <p:sp>
        <p:nvSpPr>
          <p:cNvPr id="3" name="Content Placeholder 2"/>
          <p:cNvSpPr>
            <a:spLocks noGrp="1"/>
          </p:cNvSpPr>
          <p:nvPr>
            <p:ph sz="half" idx="1"/>
          </p:nvPr>
        </p:nvSpPr>
        <p:spPr>
          <a:xfrm>
            <a:off x="457200" y="900114"/>
            <a:ext cx="4038600" cy="2545556"/>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th-TH"/>
          </a:p>
        </p:txBody>
      </p:sp>
      <p:sp>
        <p:nvSpPr>
          <p:cNvPr id="4" name="Content Placeholder 3"/>
          <p:cNvSpPr>
            <a:spLocks noGrp="1"/>
          </p:cNvSpPr>
          <p:nvPr>
            <p:ph sz="half" idx="2"/>
          </p:nvPr>
        </p:nvSpPr>
        <p:spPr>
          <a:xfrm>
            <a:off x="4648200" y="900114"/>
            <a:ext cx="4038600" cy="2545556"/>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th-TH"/>
          </a:p>
        </p:txBody>
      </p:sp>
      <p:sp>
        <p:nvSpPr>
          <p:cNvPr id="5" name="Date Placeholder 4"/>
          <p:cNvSpPr>
            <a:spLocks noGrp="1"/>
          </p:cNvSpPr>
          <p:nvPr>
            <p:ph type="dt" sz="half" idx="10"/>
          </p:nvPr>
        </p:nvSpPr>
        <p:spPr/>
        <p:txBody>
          <a:bodyPr/>
          <a:lstStyle/>
          <a:p>
            <a:fld id="{89095DD6-42D3-4376-AECC-28A414C2E841}" type="datetime1">
              <a:rPr lang="th-TH" smtClean="0">
                <a:solidFill>
                  <a:prstClr val="black">
                    <a:tint val="75000"/>
                  </a:prstClr>
                </a:solidFill>
              </a:rPr>
              <a:pPr/>
              <a:t>20/09/58</a:t>
            </a:fld>
            <a:endParaRPr lang="th-TH">
              <a:solidFill>
                <a:prstClr val="black">
                  <a:tint val="75000"/>
                </a:prstClr>
              </a:solidFill>
            </a:endParaRPr>
          </a:p>
        </p:txBody>
      </p:sp>
      <p:sp>
        <p:nvSpPr>
          <p:cNvPr id="6" name="Footer Placeholder 5"/>
          <p:cNvSpPr>
            <a:spLocks noGrp="1"/>
          </p:cNvSpPr>
          <p:nvPr>
            <p:ph type="ftr" sz="quarter" idx="11"/>
          </p:nvPr>
        </p:nvSpPr>
        <p:spPr/>
        <p:txBody>
          <a:bodyPr/>
          <a:lstStyle/>
          <a:p>
            <a:endParaRPr lang="th-TH">
              <a:solidFill>
                <a:prstClr val="black">
                  <a:tint val="75000"/>
                </a:prstClr>
              </a:solidFill>
            </a:endParaRPr>
          </a:p>
        </p:txBody>
      </p:sp>
      <p:sp>
        <p:nvSpPr>
          <p:cNvPr id="7" name="Slide Number Placeholder 6"/>
          <p:cNvSpPr>
            <a:spLocks noGrp="1"/>
          </p:cNvSpPr>
          <p:nvPr>
            <p:ph type="sldNum" sz="quarter" idx="12"/>
          </p:nvPr>
        </p:nvSpPr>
        <p:spPr/>
        <p:txBody>
          <a:bodyPr/>
          <a:lstStyle/>
          <a:p>
            <a:fld id="{50853BB3-C49D-4A79-8049-B0B6C5B1AD9A}" type="slidenum">
              <a:rPr lang="th-TH" smtClean="0">
                <a:solidFill>
                  <a:prstClr val="black">
                    <a:tint val="75000"/>
                  </a:prstClr>
                </a:solidFill>
              </a:rPr>
              <a:pPr/>
              <a:t>‹#›</a:t>
            </a:fld>
            <a:endParaRPr lang="th-TH">
              <a:solidFill>
                <a:prstClr val="black">
                  <a:tint val="75000"/>
                </a:prstClr>
              </a:solidFill>
            </a:endParaRPr>
          </a:p>
        </p:txBody>
      </p:sp>
    </p:spTree>
    <p:extLst>
      <p:ext uri="{BB962C8B-B14F-4D97-AF65-F5344CB8AC3E}">
        <p14:creationId xmlns:p14="http://schemas.microsoft.com/office/powerpoint/2010/main" xmlns="" val="531279994"/>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cxnSp>
        <p:nvCxnSpPr>
          <p:cNvPr id="8" name="Straight Connector 7"/>
          <p:cNvCxnSpPr/>
          <p:nvPr userDrawn="1"/>
        </p:nvCxnSpPr>
        <p:spPr>
          <a:xfrm>
            <a:off x="251520" y="427543"/>
            <a:ext cx="8748000" cy="1191"/>
          </a:xfrm>
          <a:prstGeom prst="line">
            <a:avLst/>
          </a:prstGeom>
          <a:ln w="19050">
            <a:solidFill>
              <a:srgbClr val="0070C0"/>
            </a:solidFill>
          </a:ln>
          <a:effectLst>
            <a:outerShdw blurRad="50800" dist="38100" dir="8100000" algn="tr"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xmlns="" val="1878166126"/>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cSld name="5_Blank">
    <p:spTree>
      <p:nvGrpSpPr>
        <p:cNvPr id="1" name=""/>
        <p:cNvGrpSpPr/>
        <p:nvPr/>
      </p:nvGrpSpPr>
      <p:grpSpPr>
        <a:xfrm>
          <a:off x="0" y="0"/>
          <a:ext cx="0" cy="0"/>
          <a:chOff x="0" y="0"/>
          <a:chExt cx="0" cy="0"/>
        </a:xfrm>
      </p:grpSpPr>
      <p:sp>
        <p:nvSpPr>
          <p:cNvPr id="18" name="Rectangle 2"/>
          <p:cNvSpPr>
            <a:spLocks noGrp="1"/>
          </p:cNvSpPr>
          <p:nvPr>
            <p:ph type="title"/>
          </p:nvPr>
        </p:nvSpPr>
        <p:spPr/>
        <p:txBody>
          <a:bodyPr/>
          <a:lstStyle>
            <a:extLst/>
          </a:lstStyle>
          <a:p>
            <a:r>
              <a:rPr lang="en-US" smtClean="0"/>
              <a:t>Click to edit Master title style</a:t>
            </a:r>
            <a:endParaRPr lang="en-US"/>
          </a:p>
        </p:txBody>
      </p:sp>
      <p:sp>
        <p:nvSpPr>
          <p:cNvPr id="6" name="Rectangle 6"/>
          <p:cNvSpPr>
            <a:spLocks noGrp="1"/>
          </p:cNvSpPr>
          <p:nvPr>
            <p:ph type="dt" sz="half" idx="10"/>
          </p:nvPr>
        </p:nvSpPr>
        <p:spPr>
          <a:xfrm>
            <a:off x="457200" y="4767267"/>
            <a:ext cx="2133600" cy="273844"/>
          </a:xfrm>
          <a:prstGeom prst="rect">
            <a:avLst/>
          </a:prstGeom>
        </p:spPr>
        <p:txBody>
          <a:bodyPr/>
          <a:lstStyle>
            <a:extLst/>
          </a:lstStyle>
          <a:p>
            <a:fld id="{A75714E4-BE5F-460E-9E19-2B1ABAA46C88}" type="datetimeFigureOut">
              <a:rPr lang="en-US" smtClean="0">
                <a:solidFill>
                  <a:prstClr val="black">
                    <a:tint val="75000"/>
                  </a:prstClr>
                </a:solidFill>
              </a:rPr>
              <a:pPr/>
              <a:t>9/20/2015</a:t>
            </a:fld>
            <a:endParaRPr lang="en-US">
              <a:solidFill>
                <a:prstClr val="black">
                  <a:tint val="75000"/>
                </a:prstClr>
              </a:solidFill>
            </a:endParaRPr>
          </a:p>
        </p:txBody>
      </p:sp>
      <p:sp>
        <p:nvSpPr>
          <p:cNvPr id="8" name="Rectangle 8"/>
          <p:cNvSpPr>
            <a:spLocks noGrp="1"/>
          </p:cNvSpPr>
          <p:nvPr>
            <p:ph type="sldNum" sz="quarter" idx="11"/>
          </p:nvPr>
        </p:nvSpPr>
        <p:spPr>
          <a:xfrm>
            <a:off x="6553200" y="4767267"/>
            <a:ext cx="2133600" cy="273844"/>
          </a:xfrm>
          <a:prstGeom prst="rect">
            <a:avLst/>
          </a:prstGeom>
        </p:spPr>
        <p:txBody>
          <a:bodyPr/>
          <a:lstStyle>
            <a:extLst/>
          </a:lstStyle>
          <a:p>
            <a:fld id="{20D8B75E-70E3-4890-B667-94C137072905}" type="slidenum">
              <a:rPr lang="en-US" smtClean="0">
                <a:solidFill>
                  <a:prstClr val="black">
                    <a:tint val="75000"/>
                  </a:prstClr>
                </a:solidFill>
              </a:rPr>
              <a:pPr/>
              <a:t>‹#›</a:t>
            </a:fld>
            <a:endParaRPr lang="en-US">
              <a:solidFill>
                <a:prstClr val="black">
                  <a:tint val="75000"/>
                </a:prstClr>
              </a:solidFill>
            </a:endParaRPr>
          </a:p>
        </p:txBody>
      </p:sp>
      <p:sp>
        <p:nvSpPr>
          <p:cNvPr id="9" name="Rectangle 9"/>
          <p:cNvSpPr>
            <a:spLocks noGrp="1"/>
          </p:cNvSpPr>
          <p:nvPr>
            <p:ph type="ftr" sz="quarter" idx="12"/>
          </p:nvPr>
        </p:nvSpPr>
        <p:spPr>
          <a:xfrm>
            <a:off x="3124200" y="4767267"/>
            <a:ext cx="2895600" cy="273844"/>
          </a:xfrm>
          <a:prstGeom prst="rect">
            <a:avLst/>
          </a:prstGeom>
        </p:spPr>
        <p:txBody>
          <a:bodyPr/>
          <a:lstStyle>
            <a:extLst/>
          </a:lstStyle>
          <a:p>
            <a:endParaRPr lang="en-US">
              <a:solidFill>
                <a:prstClr val="black">
                  <a:tint val="75000"/>
                </a:prstClr>
              </a:solidFill>
            </a:endParaRPr>
          </a:p>
        </p:txBody>
      </p:sp>
    </p:spTree>
    <p:extLst>
      <p:ext uri="{BB962C8B-B14F-4D97-AF65-F5344CB8AC3E}">
        <p14:creationId xmlns:p14="http://schemas.microsoft.com/office/powerpoint/2010/main" xmlns="" val="3182551804"/>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3_Title Slide">
    <p:spTree>
      <p:nvGrpSpPr>
        <p:cNvPr id="1" name=""/>
        <p:cNvGrpSpPr/>
        <p:nvPr/>
      </p:nvGrpSpPr>
      <p:grpSpPr>
        <a:xfrm>
          <a:off x="0" y="0"/>
          <a:ext cx="0" cy="0"/>
          <a:chOff x="0" y="0"/>
          <a:chExt cx="0" cy="0"/>
        </a:xfrm>
      </p:grpSpPr>
      <p:cxnSp>
        <p:nvCxnSpPr>
          <p:cNvPr id="8" name="Straight Connector 7"/>
          <p:cNvCxnSpPr/>
          <p:nvPr userDrawn="1"/>
        </p:nvCxnSpPr>
        <p:spPr>
          <a:xfrm>
            <a:off x="251520" y="437659"/>
            <a:ext cx="8748000" cy="1083"/>
          </a:xfrm>
          <a:prstGeom prst="line">
            <a:avLst/>
          </a:prstGeom>
          <a:ln w="19050">
            <a:solidFill>
              <a:srgbClr val="0070C0"/>
            </a:solidFill>
          </a:ln>
          <a:effectLst>
            <a:outerShdw blurRad="50800" dist="38100" dir="8100000" algn="tr"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xmlns="" val="1290855521"/>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Landscape (Fullscreen)">
    <p:spTree>
      <p:nvGrpSpPr>
        <p:cNvPr id="1" name=""/>
        <p:cNvGrpSpPr/>
        <p:nvPr/>
      </p:nvGrpSpPr>
      <p:grpSpPr>
        <a:xfrm>
          <a:off x="0" y="0"/>
          <a:ext cx="0" cy="0"/>
          <a:chOff x="0" y="0"/>
          <a:chExt cx="0" cy="0"/>
        </a:xfrm>
      </p:grpSpPr>
      <p:sp>
        <p:nvSpPr>
          <p:cNvPr id="2" name="Text Box 3"/>
          <p:cNvSpPr txBox="1">
            <a:spLocks noChangeArrowheads="1"/>
          </p:cNvSpPr>
          <p:nvPr userDrawn="1"/>
        </p:nvSpPr>
        <p:spPr bwMode="auto">
          <a:xfrm>
            <a:off x="-55494" y="4885952"/>
            <a:ext cx="2231781" cy="307777"/>
          </a:xfrm>
          <a:prstGeom prst="rect">
            <a:avLst/>
          </a:prstGeom>
          <a:noFill/>
          <a:ln w="9525">
            <a:noFill/>
            <a:miter lim="800000"/>
            <a:headEnd/>
            <a:tailEnd/>
          </a:ln>
          <a:effectLst/>
        </p:spPr>
        <p:txBody>
          <a:bodyPr>
            <a:spAutoFit/>
          </a:bodyPr>
          <a:lstStyle/>
          <a:p>
            <a:pPr>
              <a:spcBef>
                <a:spcPct val="50000"/>
              </a:spcBef>
              <a:defRPr/>
            </a:pPr>
            <a:r>
              <a:rPr lang="th-TH" sz="1400" b="1" dirty="0" smtClean="0">
                <a:solidFill>
                  <a:srgbClr val="EEECE1">
                    <a:lumMod val="25000"/>
                  </a:srgbClr>
                </a:solidFill>
                <a:latin typeface="TH SarabunPSK" pitchFamily="34" charset="-34"/>
                <a:cs typeface="TH SarabunPSK" pitchFamily="34" charset="-34"/>
              </a:rPr>
              <a:t>14 กันยายน </a:t>
            </a:r>
            <a:r>
              <a:rPr lang="th-TH" sz="1400" b="1" dirty="0">
                <a:solidFill>
                  <a:srgbClr val="EEECE1">
                    <a:lumMod val="25000"/>
                  </a:srgbClr>
                </a:solidFill>
                <a:latin typeface="TH SarabunPSK" pitchFamily="34" charset="-34"/>
                <a:cs typeface="TH SarabunPSK" pitchFamily="34" charset="-34"/>
              </a:rPr>
              <a:t>2558</a:t>
            </a:r>
          </a:p>
        </p:txBody>
      </p:sp>
      <p:sp>
        <p:nvSpPr>
          <p:cNvPr id="3" name="Text Box 3"/>
          <p:cNvSpPr txBox="1">
            <a:spLocks noChangeArrowheads="1"/>
          </p:cNvSpPr>
          <p:nvPr userDrawn="1"/>
        </p:nvSpPr>
        <p:spPr bwMode="auto">
          <a:xfrm>
            <a:off x="3745096" y="4865299"/>
            <a:ext cx="2231781" cy="307777"/>
          </a:xfrm>
          <a:prstGeom prst="rect">
            <a:avLst/>
          </a:prstGeom>
          <a:noFill/>
          <a:ln w="9525">
            <a:noFill/>
            <a:miter lim="800000"/>
            <a:headEnd/>
            <a:tailEnd/>
          </a:ln>
          <a:effectLst/>
        </p:spPr>
        <p:txBody>
          <a:bodyPr>
            <a:spAutoFit/>
          </a:bodyPr>
          <a:lstStyle/>
          <a:p>
            <a:pPr algn="ctr">
              <a:spcBef>
                <a:spcPct val="50000"/>
              </a:spcBef>
              <a:defRPr/>
            </a:pPr>
            <a:r>
              <a:rPr lang="en-US" sz="1400" b="1" dirty="0" smtClean="0">
                <a:solidFill>
                  <a:srgbClr val="EEECE1">
                    <a:lumMod val="25000"/>
                  </a:srgbClr>
                </a:solidFill>
                <a:latin typeface="TH SarabunPSK" pitchFamily="34" charset="-34"/>
                <a:cs typeface="TH SarabunPSK" pitchFamily="34" charset="-34"/>
              </a:rPr>
              <a:t>www.nesdb.go.th</a:t>
            </a:r>
            <a:endParaRPr lang="th-TH" sz="1400" b="1" dirty="0">
              <a:solidFill>
                <a:srgbClr val="EEECE1">
                  <a:lumMod val="25000"/>
                </a:srgbClr>
              </a:solidFill>
              <a:latin typeface="TH SarabunPSK" pitchFamily="34" charset="-34"/>
              <a:cs typeface="TH SarabunPSK" pitchFamily="34" charset="-34"/>
            </a:endParaRPr>
          </a:p>
        </p:txBody>
      </p:sp>
      <p:sp>
        <p:nvSpPr>
          <p:cNvPr id="4" name="Text Box 5"/>
          <p:cNvSpPr txBox="1">
            <a:spLocks noChangeArrowheads="1"/>
          </p:cNvSpPr>
          <p:nvPr userDrawn="1"/>
        </p:nvSpPr>
        <p:spPr bwMode="auto">
          <a:xfrm>
            <a:off x="6961739" y="4849378"/>
            <a:ext cx="2231780" cy="338554"/>
          </a:xfrm>
          <a:prstGeom prst="rect">
            <a:avLst/>
          </a:prstGeom>
          <a:noFill/>
          <a:ln w="9525">
            <a:noFill/>
            <a:miter lim="800000"/>
            <a:headEnd/>
            <a:tailEnd/>
          </a:ln>
          <a:effectLst/>
        </p:spPr>
        <p:txBody>
          <a:bodyPr>
            <a:spAutoFit/>
          </a:bodyPr>
          <a:lstStyle/>
          <a:p>
            <a:pPr algn="r">
              <a:spcBef>
                <a:spcPct val="50000"/>
              </a:spcBef>
              <a:defRPr/>
            </a:pPr>
            <a:fld id="{75631D8E-FAE8-45F5-9C68-6DAF83DD827B}" type="slidenum">
              <a:rPr lang="en-US" sz="1600">
                <a:solidFill>
                  <a:prstClr val="black"/>
                </a:solidFill>
                <a:latin typeface="TH SarabunPSK" pitchFamily="34" charset="-34"/>
                <a:cs typeface="TH SarabunPSK" pitchFamily="34" charset="-34"/>
              </a:rPr>
              <a:pPr algn="r">
                <a:spcBef>
                  <a:spcPct val="50000"/>
                </a:spcBef>
                <a:defRPr/>
              </a:pPr>
              <a:t>‹#›</a:t>
            </a:fld>
            <a:endParaRPr lang="th-TH" sz="1600" dirty="0">
              <a:solidFill>
                <a:prstClr val="black"/>
              </a:solidFill>
              <a:latin typeface="TH SarabunPSK" pitchFamily="34" charset="-34"/>
              <a:cs typeface="TH SarabunPSK" pitchFamily="34" charset="-34"/>
            </a:endParaRPr>
          </a:p>
        </p:txBody>
      </p:sp>
    </p:spTree>
    <p:extLst>
      <p:ext uri="{BB962C8B-B14F-4D97-AF65-F5344CB8AC3E}">
        <p14:creationId xmlns:p14="http://schemas.microsoft.com/office/powerpoint/2010/main" xmlns="" val="1260777303"/>
      </p:ext>
    </p:extLst>
  </p:cSld>
  <p:clrMapOvr>
    <a:masterClrMapping/>
  </p:clrMapOvr>
  <p:transition>
    <p:fade/>
  </p:transition>
  <p:timing>
    <p:tnLst>
      <p:par>
        <p:cT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Slide Number Placeholder" hidden="1"/>
          <p:cNvSpPr>
            <a:spLocks noGrp="1"/>
          </p:cNvSpPr>
          <p:nvPr>
            <p:ph type="sldNum" sz="quarter" idx="11"/>
            <p:custDataLst>
              <p:tags r:id="rId1"/>
            </p:custDataLst>
          </p:nvPr>
        </p:nvSpPr>
        <p:spPr>
          <a:xfrm>
            <a:off x="9204923" y="130135"/>
            <a:ext cx="24046" cy="30778"/>
          </a:xfrm>
          <a:prstGeom prst="rect">
            <a:avLst/>
          </a:prstGeom>
        </p:spPr>
        <p:txBody>
          <a:bodyPr vert="horz" wrap="none" lIns="0" tIns="0" rIns="0" bIns="0" rtlCol="0" anchor="ctr">
            <a:spAutoFit/>
          </a:bodyPr>
          <a:lstStyle>
            <a:lvl1pPr algn="l">
              <a:defRPr sz="200" b="0">
                <a:solidFill>
                  <a:schemeClr val="bg1">
                    <a:lumMod val="75000"/>
                  </a:schemeClr>
                </a:solidFill>
                <a:latin typeface="+mn-lt"/>
                <a:cs typeface="+mn-cs"/>
                <a:sym typeface="+mn-lt"/>
              </a:defRPr>
            </a:lvl1pPr>
          </a:lstStyle>
          <a:p>
            <a:pPr fontAlgn="base">
              <a:spcBef>
                <a:spcPct val="0"/>
              </a:spcBef>
              <a:spcAft>
                <a:spcPct val="0"/>
              </a:spcAft>
            </a:pPr>
            <a:fld id="{01940DDA-0656-452C-A408-68789653BD9B}" type="slidenum">
              <a:rPr lang="en-US" smtClean="0">
                <a:solidFill>
                  <a:srgbClr val="FFFFFF">
                    <a:lumMod val="75000"/>
                  </a:srgbClr>
                </a:solidFill>
              </a:rPr>
              <a:pPr fontAlgn="base">
                <a:spcBef>
                  <a:spcPct val="0"/>
                </a:spcBef>
                <a:spcAft>
                  <a:spcPct val="0"/>
                </a:spcAft>
              </a:pPr>
              <a:t>‹#›</a:t>
            </a:fld>
            <a:endParaRPr lang="en-US" dirty="0">
              <a:solidFill>
                <a:srgbClr val="FFFFFF">
                  <a:lumMod val="75000"/>
                </a:srgbClr>
              </a:solidFill>
            </a:endParaRPr>
          </a:p>
        </p:txBody>
      </p:sp>
      <p:sp>
        <p:nvSpPr>
          <p:cNvPr id="4" name="Footer Placeholder" hidden="1"/>
          <p:cNvSpPr>
            <a:spLocks noGrp="1"/>
          </p:cNvSpPr>
          <p:nvPr>
            <p:ph type="ftr" sz="quarter" idx="12"/>
            <p:custDataLst>
              <p:tags r:id="rId2"/>
            </p:custDataLst>
          </p:nvPr>
        </p:nvSpPr>
        <p:spPr>
          <a:xfrm>
            <a:off x="9204945" y="171487"/>
            <a:ext cx="65" cy="30778"/>
          </a:xfrm>
          <a:prstGeom prst="rect">
            <a:avLst/>
          </a:prstGeom>
        </p:spPr>
        <p:txBody>
          <a:bodyPr vert="horz" wrap="none" lIns="0" tIns="0" rIns="0" bIns="0" rtlCol="0" anchor="t" anchorCtr="0">
            <a:spAutoFit/>
          </a:bodyPr>
          <a:lstStyle>
            <a:lvl1pPr algn="l" rtl="0" fontAlgn="base">
              <a:lnSpc>
                <a:spcPct val="100000"/>
              </a:lnSpc>
              <a:spcBef>
                <a:spcPts val="0"/>
              </a:spcBef>
              <a:spcAft>
                <a:spcPct val="0"/>
              </a:spcAft>
              <a:defRPr lang="en-US" sz="200" b="0" kern="1200" smtClean="0">
                <a:solidFill>
                  <a:schemeClr val="bg1">
                    <a:lumMod val="75000"/>
                  </a:schemeClr>
                </a:solidFill>
                <a:latin typeface="+mn-lt"/>
                <a:ea typeface="+mn-ea"/>
                <a:cs typeface="+mn-cs"/>
                <a:sym typeface="+mn-lt"/>
              </a:defRPr>
            </a:lvl1pPr>
          </a:lstStyle>
          <a:p>
            <a:endParaRPr lang="de-DE" dirty="0">
              <a:solidFill>
                <a:srgbClr val="FFFFFF">
                  <a:lumMod val="75000"/>
                </a:srgbClr>
              </a:solidFill>
            </a:endParaRPr>
          </a:p>
        </p:txBody>
      </p:sp>
      <p:sp>
        <p:nvSpPr>
          <p:cNvPr id="2" name="Title 1"/>
          <p:cNvSpPr>
            <a:spLocks noGrp="1"/>
          </p:cNvSpPr>
          <p:nvPr>
            <p:ph type="title"/>
          </p:nvPr>
        </p:nvSpPr>
        <p:spPr>
          <a:xfrm>
            <a:off x="681231" y="540008"/>
            <a:ext cx="7879374" cy="560923"/>
          </a:xfrm>
        </p:spPr>
        <p:txBody>
          <a:bodyPr/>
          <a:lstStyle>
            <a:lvl1pPr>
              <a:tabLst>
                <a:tab pos="1067413" algn="l"/>
              </a:tabLst>
              <a:defRPr>
                <a:latin typeface="+mj-lt"/>
                <a:sym typeface="+mn-lt"/>
              </a:defRPr>
            </a:lvl1pPr>
          </a:lstStyle>
          <a:p>
            <a:r>
              <a:rPr lang="en-US" dirty="0" smtClean="0"/>
              <a:t>Click to edit Master title style</a:t>
            </a:r>
            <a:endParaRPr lang="en-US" dirty="0"/>
          </a:p>
        </p:txBody>
      </p:sp>
    </p:spTree>
    <p:extLst>
      <p:ext uri="{BB962C8B-B14F-4D97-AF65-F5344CB8AC3E}">
        <p14:creationId xmlns:p14="http://schemas.microsoft.com/office/powerpoint/2010/main" xmlns="" val="2814431354"/>
      </p:ext>
    </p:extLst>
  </p:cSld>
  <p:clrMapOvr>
    <a:masterClrMapping/>
  </p:clrMapOvr>
  <p:timing>
    <p:tnLst>
      <p:par>
        <p:cT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12" name="Slide Number Placeholder" hidden="1"/>
          <p:cNvSpPr>
            <a:spLocks noGrp="1"/>
          </p:cNvSpPr>
          <p:nvPr>
            <p:ph type="sldNum" sz="quarter" idx="11"/>
            <p:custDataLst>
              <p:tags r:id="rId1"/>
            </p:custDataLst>
          </p:nvPr>
        </p:nvSpPr>
        <p:spPr>
          <a:xfrm>
            <a:off x="9204923" y="130135"/>
            <a:ext cx="24046" cy="30778"/>
          </a:xfrm>
          <a:prstGeom prst="rect">
            <a:avLst/>
          </a:prstGeom>
        </p:spPr>
        <p:txBody>
          <a:bodyPr vert="horz" wrap="none" lIns="0" tIns="0" rIns="0" bIns="0" rtlCol="0" anchor="ctr">
            <a:spAutoFit/>
          </a:bodyPr>
          <a:lstStyle>
            <a:lvl1pPr algn="l">
              <a:defRPr sz="200" b="0">
                <a:solidFill>
                  <a:schemeClr val="bg1">
                    <a:lumMod val="75000"/>
                  </a:schemeClr>
                </a:solidFill>
                <a:latin typeface="+mn-lt"/>
                <a:cs typeface="+mn-cs"/>
                <a:sym typeface="+mn-lt"/>
              </a:defRPr>
            </a:lvl1pPr>
          </a:lstStyle>
          <a:p>
            <a:pPr fontAlgn="base">
              <a:spcBef>
                <a:spcPct val="0"/>
              </a:spcBef>
              <a:spcAft>
                <a:spcPct val="0"/>
              </a:spcAft>
            </a:pPr>
            <a:fld id="{01940DDA-0656-452C-A408-68789653BD9B}" type="slidenum">
              <a:rPr lang="en-US" smtClean="0">
                <a:solidFill>
                  <a:srgbClr val="FFFFFF">
                    <a:lumMod val="75000"/>
                  </a:srgbClr>
                </a:solidFill>
              </a:rPr>
              <a:pPr fontAlgn="base">
                <a:spcBef>
                  <a:spcPct val="0"/>
                </a:spcBef>
                <a:spcAft>
                  <a:spcPct val="0"/>
                </a:spcAft>
              </a:pPr>
              <a:t>‹#›</a:t>
            </a:fld>
            <a:endParaRPr lang="en-US" dirty="0">
              <a:solidFill>
                <a:srgbClr val="FFFFFF">
                  <a:lumMod val="75000"/>
                </a:srgbClr>
              </a:solidFill>
            </a:endParaRPr>
          </a:p>
        </p:txBody>
      </p:sp>
      <p:sp>
        <p:nvSpPr>
          <p:cNvPr id="13" name="Footer Placeholder" hidden="1"/>
          <p:cNvSpPr>
            <a:spLocks noGrp="1"/>
          </p:cNvSpPr>
          <p:nvPr>
            <p:ph type="ftr" sz="quarter" idx="10"/>
            <p:custDataLst>
              <p:tags r:id="rId2"/>
            </p:custDataLst>
          </p:nvPr>
        </p:nvSpPr>
        <p:spPr>
          <a:xfrm>
            <a:off x="9204945" y="171487"/>
            <a:ext cx="65" cy="30778"/>
          </a:xfrm>
          <a:prstGeom prst="rect">
            <a:avLst/>
          </a:prstGeom>
        </p:spPr>
        <p:txBody>
          <a:bodyPr vert="horz" wrap="none" lIns="0" tIns="0" rIns="0" bIns="0" rtlCol="0" anchor="t" anchorCtr="0">
            <a:spAutoFit/>
          </a:bodyPr>
          <a:lstStyle>
            <a:lvl1pPr algn="l" rtl="0" fontAlgn="base">
              <a:lnSpc>
                <a:spcPct val="100000"/>
              </a:lnSpc>
              <a:spcBef>
                <a:spcPts val="0"/>
              </a:spcBef>
              <a:spcAft>
                <a:spcPct val="0"/>
              </a:spcAft>
              <a:defRPr lang="en-US" sz="200" b="0" kern="1200" smtClean="0">
                <a:solidFill>
                  <a:schemeClr val="bg1">
                    <a:lumMod val="75000"/>
                  </a:schemeClr>
                </a:solidFill>
                <a:latin typeface="+mn-lt"/>
                <a:ea typeface="+mn-ea"/>
                <a:cs typeface="+mn-cs"/>
                <a:sym typeface="+mn-lt"/>
              </a:defRPr>
            </a:lvl1pPr>
          </a:lstStyle>
          <a:p>
            <a:endParaRPr lang="de-DE" dirty="0">
              <a:solidFill>
                <a:srgbClr val="FFFFFF">
                  <a:lumMod val="75000"/>
                </a:srgbClr>
              </a:solidFill>
            </a:endParaRPr>
          </a:p>
        </p:txBody>
      </p:sp>
      <p:sp>
        <p:nvSpPr>
          <p:cNvPr id="4" name="Text Placeholder 3"/>
          <p:cNvSpPr>
            <a:spLocks noGrp="1"/>
          </p:cNvSpPr>
          <p:nvPr>
            <p:ph type="body" sz="quarter" idx="12" hasCustomPrompt="1"/>
          </p:nvPr>
        </p:nvSpPr>
        <p:spPr>
          <a:xfrm>
            <a:off x="681231" y="1282500"/>
            <a:ext cx="7879374" cy="1189556"/>
          </a:xfrm>
        </p:spPr>
        <p:txBody>
          <a:bodyPr/>
          <a:lstStyle>
            <a:lvl1pPr>
              <a:defRPr>
                <a:solidFill>
                  <a:schemeClr val="tx2"/>
                </a:solidFill>
                <a:latin typeface="+mn-lt"/>
                <a:sym typeface="+mn-lt"/>
              </a:defRPr>
            </a:lvl1pPr>
            <a:lvl2pPr>
              <a:defRPr>
                <a:solidFill>
                  <a:schemeClr val="tx2"/>
                </a:solidFill>
                <a:latin typeface="+mn-lt"/>
                <a:sym typeface="+mn-lt"/>
              </a:defRPr>
            </a:lvl2pPr>
            <a:lvl3pPr>
              <a:defRPr>
                <a:solidFill>
                  <a:schemeClr val="tx2"/>
                </a:solidFill>
                <a:latin typeface="+mn-lt"/>
                <a:sym typeface="+mn-lt"/>
              </a:defRPr>
            </a:lvl3pPr>
            <a:lvl4pPr>
              <a:defRPr>
                <a:solidFill>
                  <a:schemeClr val="tx2"/>
                </a:solidFill>
                <a:latin typeface="+mn-lt"/>
                <a:sym typeface="+mn-lt"/>
              </a:defRPr>
            </a:lvl4pPr>
          </a:lstStyle>
          <a:p>
            <a:pPr lvl="0"/>
            <a:r>
              <a:rPr lang="en-US" dirty="0" smtClean="0"/>
              <a:t>Click to edit Master text styles – Level 0</a:t>
            </a:r>
          </a:p>
          <a:p>
            <a:pPr lvl="1"/>
            <a:r>
              <a:rPr lang="en-US" dirty="0" smtClean="0"/>
              <a:t>Level 1</a:t>
            </a:r>
          </a:p>
          <a:p>
            <a:pPr lvl="2"/>
            <a:r>
              <a:rPr lang="en-US" dirty="0" smtClean="0"/>
              <a:t>Level 2</a:t>
            </a:r>
          </a:p>
          <a:p>
            <a:pPr lvl="3"/>
            <a:r>
              <a:rPr lang="en-US" dirty="0" smtClean="0"/>
              <a:t>Level 3</a:t>
            </a:r>
          </a:p>
        </p:txBody>
      </p:sp>
      <p:sp>
        <p:nvSpPr>
          <p:cNvPr id="2" name="Title 1"/>
          <p:cNvSpPr>
            <a:spLocks noGrp="1"/>
          </p:cNvSpPr>
          <p:nvPr>
            <p:ph type="title"/>
          </p:nvPr>
        </p:nvSpPr>
        <p:spPr>
          <a:xfrm>
            <a:off x="681231" y="540008"/>
            <a:ext cx="7879374" cy="560923"/>
          </a:xfrm>
        </p:spPr>
        <p:txBody>
          <a:bodyPr/>
          <a:lstStyle>
            <a:lvl1pPr>
              <a:defRPr>
                <a:latin typeface="+mj-lt"/>
                <a:sym typeface="+mn-lt"/>
              </a:defRPr>
            </a:lvl1pPr>
          </a:lstStyle>
          <a:p>
            <a:r>
              <a:rPr lang="en-US" smtClean="0"/>
              <a:t>Click to edit Master title style</a:t>
            </a:r>
            <a:endParaRPr lang="en-US" dirty="0"/>
          </a:p>
        </p:txBody>
      </p:sp>
    </p:spTree>
    <p:extLst>
      <p:ext uri="{BB962C8B-B14F-4D97-AF65-F5344CB8AC3E}">
        <p14:creationId xmlns:p14="http://schemas.microsoft.com/office/powerpoint/2010/main" xmlns="" val="2982123381"/>
      </p:ext>
    </p:extLst>
  </p:cSld>
  <p:clrMapOvr>
    <a:masterClrMapping/>
  </p:clrMapOvr>
  <p:timing>
    <p:tnLst>
      <p:par>
        <p:cTn id="1" dur="indefinite" restart="never" nodeType="tmRoot"/>
      </p:par>
    </p:tn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2"/>
        </a:solidFill>
        <a:effectLst/>
      </p:bgPr>
    </p:bg>
    <p:spTree>
      <p:nvGrpSpPr>
        <p:cNvPr id="1" name=""/>
        <p:cNvGrpSpPr/>
        <p:nvPr/>
      </p:nvGrpSpPr>
      <p:grpSpPr>
        <a:xfrm>
          <a:off x="0" y="0"/>
          <a:ext cx="0" cy="0"/>
          <a:chOff x="0" y="0"/>
          <a:chExt cx="0" cy="0"/>
        </a:xfrm>
      </p:grpSpPr>
      <p:sp>
        <p:nvSpPr>
          <p:cNvPr id="5" name="Slide Number Placeholder" hidden="1"/>
          <p:cNvSpPr>
            <a:spLocks noGrp="1"/>
          </p:cNvSpPr>
          <p:nvPr>
            <p:ph type="sldNum" sz="quarter" idx="11"/>
            <p:custDataLst>
              <p:tags r:id="rId1"/>
            </p:custDataLst>
          </p:nvPr>
        </p:nvSpPr>
        <p:spPr>
          <a:xfrm>
            <a:off x="9204923" y="130135"/>
            <a:ext cx="24046" cy="30778"/>
          </a:xfrm>
          <a:prstGeom prst="rect">
            <a:avLst/>
          </a:prstGeom>
        </p:spPr>
        <p:txBody>
          <a:bodyPr vert="horz" wrap="none" lIns="0" tIns="0" rIns="0" bIns="0" rtlCol="0" anchor="ctr">
            <a:spAutoFit/>
          </a:bodyPr>
          <a:lstStyle>
            <a:lvl1pPr algn="l">
              <a:defRPr sz="200" b="0">
                <a:solidFill>
                  <a:schemeClr val="bg1">
                    <a:lumMod val="75000"/>
                  </a:schemeClr>
                </a:solidFill>
                <a:latin typeface="+mn-lt"/>
                <a:cs typeface="+mn-cs"/>
                <a:sym typeface="+mn-lt"/>
              </a:defRPr>
            </a:lvl1pPr>
          </a:lstStyle>
          <a:p>
            <a:pPr fontAlgn="base">
              <a:spcBef>
                <a:spcPct val="0"/>
              </a:spcBef>
              <a:spcAft>
                <a:spcPct val="0"/>
              </a:spcAft>
            </a:pPr>
            <a:fld id="{01940DDA-0656-452C-A408-68789653BD9B}" type="slidenum">
              <a:rPr lang="en-US" smtClean="0">
                <a:solidFill>
                  <a:srgbClr val="FFFFFF">
                    <a:lumMod val="75000"/>
                  </a:srgbClr>
                </a:solidFill>
              </a:rPr>
              <a:pPr fontAlgn="base">
                <a:spcBef>
                  <a:spcPct val="0"/>
                </a:spcBef>
                <a:spcAft>
                  <a:spcPct val="0"/>
                </a:spcAft>
              </a:pPr>
              <a:t>‹#›</a:t>
            </a:fld>
            <a:endParaRPr lang="en-US" dirty="0">
              <a:solidFill>
                <a:srgbClr val="FFFFFF">
                  <a:lumMod val="75000"/>
                </a:srgbClr>
              </a:solidFill>
            </a:endParaRPr>
          </a:p>
        </p:txBody>
      </p:sp>
      <p:sp>
        <p:nvSpPr>
          <p:cNvPr id="6" name="Footer Placeholder" hidden="1"/>
          <p:cNvSpPr>
            <a:spLocks noGrp="1"/>
          </p:cNvSpPr>
          <p:nvPr>
            <p:ph type="ftr" sz="quarter" idx="12"/>
            <p:custDataLst>
              <p:tags r:id="rId2"/>
            </p:custDataLst>
          </p:nvPr>
        </p:nvSpPr>
        <p:spPr>
          <a:xfrm>
            <a:off x="9204945" y="171487"/>
            <a:ext cx="65" cy="30778"/>
          </a:xfrm>
          <a:prstGeom prst="rect">
            <a:avLst/>
          </a:prstGeom>
        </p:spPr>
        <p:txBody>
          <a:bodyPr vert="horz" wrap="none" lIns="0" tIns="0" rIns="0" bIns="0" rtlCol="0" anchor="t" anchorCtr="0">
            <a:spAutoFit/>
          </a:bodyPr>
          <a:lstStyle>
            <a:lvl1pPr algn="l" rtl="0" fontAlgn="base">
              <a:lnSpc>
                <a:spcPct val="100000"/>
              </a:lnSpc>
              <a:spcBef>
                <a:spcPts val="0"/>
              </a:spcBef>
              <a:spcAft>
                <a:spcPct val="0"/>
              </a:spcAft>
              <a:defRPr lang="en-US" sz="200" b="0" kern="1200" smtClean="0">
                <a:solidFill>
                  <a:schemeClr val="bg1">
                    <a:lumMod val="75000"/>
                  </a:schemeClr>
                </a:solidFill>
                <a:latin typeface="+mn-lt"/>
                <a:ea typeface="+mn-ea"/>
                <a:cs typeface="+mn-cs"/>
                <a:sym typeface="+mn-lt"/>
              </a:defRPr>
            </a:lvl1pPr>
          </a:lstStyle>
          <a:p>
            <a:endParaRPr lang="de-DE" dirty="0">
              <a:solidFill>
                <a:srgbClr val="FFFFFF">
                  <a:lumMod val="75000"/>
                </a:srgbClr>
              </a:solidFill>
            </a:endParaRPr>
          </a:p>
        </p:txBody>
      </p:sp>
      <p:grpSp>
        <p:nvGrpSpPr>
          <p:cNvPr id="30" name="Position Lines"/>
          <p:cNvGrpSpPr/>
          <p:nvPr userDrawn="1"/>
        </p:nvGrpSpPr>
        <p:grpSpPr>
          <a:xfrm>
            <a:off x="332308" y="5164931"/>
            <a:ext cx="3160246" cy="54000"/>
            <a:chOff x="360000" y="6886575"/>
            <a:chExt cx="3423600" cy="72000"/>
          </a:xfrm>
        </p:grpSpPr>
        <p:sp>
          <p:nvSpPr>
            <p:cNvPr id="21" name="Line"/>
            <p:cNvSpPr>
              <a:spLocks noChangeShapeType="1"/>
            </p:cNvSpPr>
            <p:nvPr>
              <p:custDataLst>
                <p:tags r:id="rId3"/>
              </p:custDataLst>
            </p:nvPr>
          </p:nvSpPr>
          <p:spPr bwMode="auto">
            <a:xfrm>
              <a:off x="360000" y="6886575"/>
              <a:ext cx="0" cy="72000"/>
            </a:xfrm>
            <a:prstGeom prst="line">
              <a:avLst/>
            </a:prstGeom>
            <a:noFill/>
            <a:ln w="3175" cmpd="sng">
              <a:solidFill>
                <a:schemeClr val="accent1"/>
              </a:solidFill>
              <a:round/>
              <a:headEnd/>
              <a:tailEnd/>
            </a:ln>
            <a:effectLst/>
          </p:spPr>
          <p:txBody>
            <a:bodyPr/>
            <a:lstStyle/>
            <a:p>
              <a:pPr fontAlgn="base">
                <a:spcBef>
                  <a:spcPct val="0"/>
                </a:spcBef>
                <a:spcAft>
                  <a:spcPct val="0"/>
                </a:spcAft>
              </a:pPr>
              <a:endParaRPr lang="en-US" sz="1100" b="1" dirty="0">
                <a:solidFill>
                  <a:srgbClr val="000000"/>
                </a:solidFill>
                <a:sym typeface="+mn-lt"/>
              </a:endParaRPr>
            </a:p>
          </p:txBody>
        </p:sp>
        <p:sp>
          <p:nvSpPr>
            <p:cNvPr id="22" name="Line"/>
            <p:cNvSpPr>
              <a:spLocks noChangeShapeType="1"/>
            </p:cNvSpPr>
            <p:nvPr>
              <p:custDataLst>
                <p:tags r:id="rId4"/>
              </p:custDataLst>
            </p:nvPr>
          </p:nvSpPr>
          <p:spPr bwMode="auto">
            <a:xfrm>
              <a:off x="890814" y="6886575"/>
              <a:ext cx="0" cy="72000"/>
            </a:xfrm>
            <a:prstGeom prst="line">
              <a:avLst/>
            </a:prstGeom>
            <a:noFill/>
            <a:ln w="3175" cmpd="sng">
              <a:solidFill>
                <a:schemeClr val="accent1"/>
              </a:solidFill>
              <a:round/>
              <a:headEnd/>
              <a:tailEnd/>
            </a:ln>
            <a:effectLst/>
          </p:spPr>
          <p:txBody>
            <a:bodyPr/>
            <a:lstStyle/>
            <a:p>
              <a:pPr fontAlgn="base">
                <a:spcBef>
                  <a:spcPct val="0"/>
                </a:spcBef>
                <a:spcAft>
                  <a:spcPct val="0"/>
                </a:spcAft>
              </a:pPr>
              <a:endParaRPr lang="en-US" sz="1100" b="1" dirty="0">
                <a:solidFill>
                  <a:srgbClr val="000000"/>
                </a:solidFill>
                <a:sym typeface="+mn-lt"/>
              </a:endParaRPr>
            </a:p>
          </p:txBody>
        </p:sp>
        <p:sp>
          <p:nvSpPr>
            <p:cNvPr id="23" name="Line"/>
            <p:cNvSpPr>
              <a:spLocks noChangeShapeType="1"/>
            </p:cNvSpPr>
            <p:nvPr userDrawn="1">
              <p:custDataLst>
                <p:tags r:id="rId5"/>
              </p:custDataLst>
            </p:nvPr>
          </p:nvSpPr>
          <p:spPr bwMode="auto">
            <a:xfrm>
              <a:off x="1174135" y="6886575"/>
              <a:ext cx="0" cy="72000"/>
            </a:xfrm>
            <a:prstGeom prst="line">
              <a:avLst/>
            </a:prstGeom>
            <a:noFill/>
            <a:ln w="3175" cmpd="sng">
              <a:solidFill>
                <a:schemeClr val="accent1"/>
              </a:solidFill>
              <a:round/>
              <a:headEnd/>
              <a:tailEnd/>
            </a:ln>
            <a:effectLst/>
          </p:spPr>
          <p:txBody>
            <a:bodyPr/>
            <a:lstStyle/>
            <a:p>
              <a:pPr fontAlgn="base">
                <a:spcBef>
                  <a:spcPct val="0"/>
                </a:spcBef>
                <a:spcAft>
                  <a:spcPct val="0"/>
                </a:spcAft>
              </a:pPr>
              <a:endParaRPr lang="en-US" sz="1100" b="1" dirty="0">
                <a:solidFill>
                  <a:srgbClr val="000000"/>
                </a:solidFill>
                <a:sym typeface="+mn-lt"/>
              </a:endParaRPr>
            </a:p>
          </p:txBody>
        </p:sp>
        <p:sp>
          <p:nvSpPr>
            <p:cNvPr id="36" name="Line"/>
            <p:cNvSpPr>
              <a:spLocks noChangeShapeType="1"/>
            </p:cNvSpPr>
            <p:nvPr userDrawn="1">
              <p:custDataLst>
                <p:tags r:id="rId6"/>
              </p:custDataLst>
            </p:nvPr>
          </p:nvSpPr>
          <p:spPr bwMode="auto">
            <a:xfrm>
              <a:off x="3504355" y="6886575"/>
              <a:ext cx="0" cy="72000"/>
            </a:xfrm>
            <a:prstGeom prst="line">
              <a:avLst/>
            </a:prstGeom>
            <a:noFill/>
            <a:ln w="3175" cmpd="sng">
              <a:solidFill>
                <a:schemeClr val="accent1"/>
              </a:solidFill>
              <a:round/>
              <a:headEnd/>
              <a:tailEnd/>
            </a:ln>
            <a:effectLst/>
          </p:spPr>
          <p:txBody>
            <a:bodyPr/>
            <a:lstStyle/>
            <a:p>
              <a:pPr fontAlgn="base">
                <a:spcBef>
                  <a:spcPct val="0"/>
                </a:spcBef>
                <a:spcAft>
                  <a:spcPct val="0"/>
                </a:spcAft>
              </a:pPr>
              <a:endParaRPr lang="en-US" sz="1100" b="1" dirty="0">
                <a:solidFill>
                  <a:srgbClr val="000000"/>
                </a:solidFill>
                <a:sym typeface="+mn-lt"/>
              </a:endParaRPr>
            </a:p>
          </p:txBody>
        </p:sp>
        <p:sp>
          <p:nvSpPr>
            <p:cNvPr id="37" name="Line"/>
            <p:cNvSpPr>
              <a:spLocks noChangeShapeType="1"/>
            </p:cNvSpPr>
            <p:nvPr userDrawn="1">
              <p:custDataLst>
                <p:tags r:id="rId7"/>
              </p:custDataLst>
            </p:nvPr>
          </p:nvSpPr>
          <p:spPr bwMode="auto">
            <a:xfrm>
              <a:off x="3783600" y="6886575"/>
              <a:ext cx="0" cy="72000"/>
            </a:xfrm>
            <a:prstGeom prst="line">
              <a:avLst/>
            </a:prstGeom>
            <a:noFill/>
            <a:ln w="3175" cmpd="sng">
              <a:solidFill>
                <a:schemeClr val="accent1"/>
              </a:solidFill>
              <a:round/>
              <a:headEnd/>
              <a:tailEnd/>
            </a:ln>
            <a:effectLst/>
          </p:spPr>
          <p:txBody>
            <a:bodyPr/>
            <a:lstStyle/>
            <a:p>
              <a:pPr fontAlgn="base">
                <a:spcBef>
                  <a:spcPct val="0"/>
                </a:spcBef>
                <a:spcAft>
                  <a:spcPct val="0"/>
                </a:spcAft>
              </a:pPr>
              <a:endParaRPr lang="en-US" sz="1100" b="1" dirty="0">
                <a:solidFill>
                  <a:srgbClr val="000000"/>
                </a:solidFill>
                <a:sym typeface="+mn-lt"/>
              </a:endParaRPr>
            </a:p>
          </p:txBody>
        </p:sp>
      </p:grpSp>
      <p:sp>
        <p:nvSpPr>
          <p:cNvPr id="2" name="Title"/>
          <p:cNvSpPr>
            <a:spLocks noGrp="1"/>
          </p:cNvSpPr>
          <p:nvPr>
            <p:ph type="title" hasCustomPrompt="1"/>
          </p:nvPr>
        </p:nvSpPr>
        <p:spPr>
          <a:xfrm>
            <a:off x="0" y="3648853"/>
            <a:ext cx="3492554" cy="938125"/>
          </a:xfrm>
        </p:spPr>
        <p:txBody>
          <a:bodyPr wrap="square" lIns="306792" tIns="0" rIns="214754" bIns="613584" anchor="b" anchorCtr="0">
            <a:spAutoFit/>
          </a:bodyPr>
          <a:lstStyle>
            <a:lvl1pPr marL="450505" indent="-450505" algn="l">
              <a:tabLst>
                <a:tab pos="692668" algn="l"/>
              </a:tabLst>
              <a:defRPr>
                <a:latin typeface="+mj-lt"/>
                <a:sym typeface="+mn-lt"/>
              </a:defRPr>
            </a:lvl1pPr>
          </a:lstStyle>
          <a:p>
            <a:r>
              <a:rPr lang="en-US" dirty="0" smtClean="0"/>
              <a:t>A.   Click to edit text</a:t>
            </a:r>
            <a:endParaRPr lang="de-DE" dirty="0"/>
          </a:p>
        </p:txBody>
      </p:sp>
      <p:sp>
        <p:nvSpPr>
          <p:cNvPr id="4" name="Client name"/>
          <p:cNvSpPr>
            <a:spLocks noGrp="1"/>
          </p:cNvSpPr>
          <p:nvPr>
            <p:ph type="body" sz="quarter" idx="13" hasCustomPrompt="1"/>
          </p:nvPr>
        </p:nvSpPr>
        <p:spPr>
          <a:xfrm>
            <a:off x="822290" y="405001"/>
            <a:ext cx="2670264" cy="484748"/>
          </a:xfrm>
        </p:spPr>
        <p:txBody>
          <a:bodyPr>
            <a:noAutofit/>
          </a:bodyPr>
          <a:lstStyle>
            <a:lvl1pPr>
              <a:lnSpc>
                <a:spcPct val="100000"/>
              </a:lnSpc>
              <a:defRPr>
                <a:latin typeface="+mn-lt"/>
                <a:sym typeface="+mn-lt"/>
              </a:defRPr>
            </a:lvl1pPr>
          </a:lstStyle>
          <a:p>
            <a:pPr lvl="0"/>
            <a:r>
              <a:rPr lang="en-US" dirty="0" smtClean="0"/>
              <a:t>Client logo/name</a:t>
            </a:r>
          </a:p>
        </p:txBody>
      </p:sp>
    </p:spTree>
    <p:extLst>
      <p:ext uri="{BB962C8B-B14F-4D97-AF65-F5344CB8AC3E}">
        <p14:creationId xmlns:p14="http://schemas.microsoft.com/office/powerpoint/2010/main" xmlns="" val="460149751"/>
      </p:ext>
    </p:extLst>
  </p:cSld>
  <p:clrMapOvr>
    <a:masterClrMapping/>
  </p:clrMapOvr>
  <p:timing>
    <p:tnLst>
      <p:par>
        <p:cTn id="1" dur="indefinite" restart="never" nodeType="tmRoot"/>
      </p:par>
    </p:tnLst>
  </p:timing>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Cover Page">
    <p:bg>
      <p:bgPr>
        <a:solidFill>
          <a:schemeClr val="accent2"/>
        </a:solidFill>
        <a:effectLst/>
      </p:bgPr>
    </p:bg>
    <p:spTree>
      <p:nvGrpSpPr>
        <p:cNvPr id="1" name=""/>
        <p:cNvGrpSpPr/>
        <p:nvPr/>
      </p:nvGrpSpPr>
      <p:grpSpPr>
        <a:xfrm>
          <a:off x="0" y="0"/>
          <a:ext cx="0" cy="0"/>
          <a:chOff x="0" y="0"/>
          <a:chExt cx="0" cy="0"/>
        </a:xfrm>
      </p:grpSpPr>
      <p:sp>
        <p:nvSpPr>
          <p:cNvPr id="14" name="Slide Number Placeholder" hidden="1"/>
          <p:cNvSpPr>
            <a:spLocks noGrp="1"/>
          </p:cNvSpPr>
          <p:nvPr>
            <p:ph type="sldNum" sz="quarter" idx="11"/>
            <p:custDataLst>
              <p:tags r:id="rId1"/>
            </p:custDataLst>
          </p:nvPr>
        </p:nvSpPr>
        <p:spPr>
          <a:xfrm>
            <a:off x="9204923" y="130135"/>
            <a:ext cx="24046" cy="30778"/>
          </a:xfrm>
          <a:prstGeom prst="rect">
            <a:avLst/>
          </a:prstGeom>
        </p:spPr>
        <p:txBody>
          <a:bodyPr vert="horz" wrap="none" lIns="0" tIns="0" rIns="0" bIns="0" rtlCol="0" anchor="ctr">
            <a:spAutoFit/>
          </a:bodyPr>
          <a:lstStyle>
            <a:lvl1pPr algn="l">
              <a:defRPr sz="200" b="0">
                <a:solidFill>
                  <a:schemeClr val="bg1">
                    <a:lumMod val="75000"/>
                  </a:schemeClr>
                </a:solidFill>
                <a:latin typeface="+mn-lt"/>
                <a:cs typeface="+mn-cs"/>
                <a:sym typeface="+mn-lt"/>
              </a:defRPr>
            </a:lvl1pPr>
          </a:lstStyle>
          <a:p>
            <a:pPr fontAlgn="base">
              <a:spcBef>
                <a:spcPct val="0"/>
              </a:spcBef>
              <a:spcAft>
                <a:spcPct val="0"/>
              </a:spcAft>
            </a:pPr>
            <a:fld id="{01940DDA-0656-452C-A408-68789653BD9B}" type="slidenum">
              <a:rPr lang="en-US" smtClean="0">
                <a:solidFill>
                  <a:srgbClr val="FFFFFF">
                    <a:lumMod val="75000"/>
                  </a:srgbClr>
                </a:solidFill>
              </a:rPr>
              <a:pPr fontAlgn="base">
                <a:spcBef>
                  <a:spcPct val="0"/>
                </a:spcBef>
                <a:spcAft>
                  <a:spcPct val="0"/>
                </a:spcAft>
              </a:pPr>
              <a:t>‹#›</a:t>
            </a:fld>
            <a:endParaRPr lang="en-US" dirty="0">
              <a:solidFill>
                <a:srgbClr val="FFFFFF">
                  <a:lumMod val="75000"/>
                </a:srgbClr>
              </a:solidFill>
            </a:endParaRPr>
          </a:p>
        </p:txBody>
      </p:sp>
      <p:sp>
        <p:nvSpPr>
          <p:cNvPr id="15" name="Footer Placeholder" hidden="1"/>
          <p:cNvSpPr>
            <a:spLocks noGrp="1"/>
          </p:cNvSpPr>
          <p:nvPr>
            <p:ph type="ftr" sz="quarter" idx="10"/>
            <p:custDataLst>
              <p:tags r:id="rId2"/>
            </p:custDataLst>
          </p:nvPr>
        </p:nvSpPr>
        <p:spPr>
          <a:xfrm>
            <a:off x="9204945" y="171487"/>
            <a:ext cx="65" cy="30778"/>
          </a:xfrm>
          <a:prstGeom prst="rect">
            <a:avLst/>
          </a:prstGeom>
        </p:spPr>
        <p:txBody>
          <a:bodyPr vert="horz" wrap="none" lIns="0" tIns="0" rIns="0" bIns="0" rtlCol="0" anchor="t" anchorCtr="0">
            <a:spAutoFit/>
          </a:bodyPr>
          <a:lstStyle>
            <a:lvl1pPr algn="l" rtl="0" fontAlgn="base">
              <a:lnSpc>
                <a:spcPct val="100000"/>
              </a:lnSpc>
              <a:spcBef>
                <a:spcPts val="0"/>
              </a:spcBef>
              <a:spcAft>
                <a:spcPct val="0"/>
              </a:spcAft>
              <a:defRPr lang="en-US" sz="200" b="0" kern="1200" smtClean="0">
                <a:solidFill>
                  <a:schemeClr val="bg1">
                    <a:lumMod val="75000"/>
                  </a:schemeClr>
                </a:solidFill>
                <a:latin typeface="+mn-lt"/>
                <a:ea typeface="+mn-ea"/>
                <a:cs typeface="+mn-cs"/>
                <a:sym typeface="+mn-lt"/>
              </a:defRPr>
            </a:lvl1pPr>
          </a:lstStyle>
          <a:p>
            <a:endParaRPr lang="de-DE" dirty="0">
              <a:solidFill>
                <a:srgbClr val="FFFFFF">
                  <a:lumMod val="75000"/>
                </a:srgbClr>
              </a:solidFill>
            </a:endParaRPr>
          </a:p>
        </p:txBody>
      </p:sp>
      <p:sp>
        <p:nvSpPr>
          <p:cNvPr id="10" name="Type of document"/>
          <p:cNvSpPr>
            <a:spLocks noGrp="1"/>
          </p:cNvSpPr>
          <p:nvPr>
            <p:ph type="body" sz="quarter" idx="18" hasCustomPrompt="1"/>
          </p:nvPr>
        </p:nvSpPr>
        <p:spPr>
          <a:xfrm>
            <a:off x="4" y="3365171"/>
            <a:ext cx="4199969" cy="490801"/>
          </a:xfrm>
        </p:spPr>
        <p:txBody>
          <a:bodyPr wrap="square" lIns="306792" tIns="61358" rIns="214754" anchor="t" anchorCtr="0">
            <a:normAutofit/>
          </a:bodyPr>
          <a:lstStyle>
            <a:lvl1pPr>
              <a:lnSpc>
                <a:spcPct val="90000"/>
              </a:lnSpc>
              <a:spcBef>
                <a:spcPts val="0"/>
              </a:spcBef>
              <a:defRPr sz="1800">
                <a:latin typeface="+mn-lt"/>
                <a:sym typeface="+mn-lt"/>
              </a:defRPr>
            </a:lvl1pPr>
            <a:lvl2pPr>
              <a:lnSpc>
                <a:spcPct val="90000"/>
              </a:lnSpc>
              <a:spcBef>
                <a:spcPts val="0"/>
              </a:spcBef>
              <a:defRPr/>
            </a:lvl2pPr>
            <a:lvl3pPr>
              <a:lnSpc>
                <a:spcPct val="90000"/>
              </a:lnSpc>
              <a:spcBef>
                <a:spcPts val="0"/>
              </a:spcBef>
              <a:defRPr/>
            </a:lvl3pPr>
            <a:lvl4pPr>
              <a:lnSpc>
                <a:spcPct val="90000"/>
              </a:lnSpc>
              <a:spcBef>
                <a:spcPts val="0"/>
              </a:spcBef>
              <a:defRPr/>
            </a:lvl4pPr>
            <a:lvl5pPr>
              <a:lnSpc>
                <a:spcPct val="90000"/>
              </a:lnSpc>
              <a:spcBef>
                <a:spcPts val="0"/>
              </a:spcBef>
              <a:defRPr/>
            </a:lvl5pPr>
          </a:lstStyle>
          <a:p>
            <a:pPr lvl="0"/>
            <a:r>
              <a:rPr lang="en-US" dirty="0" smtClean="0"/>
              <a:t>Type of document</a:t>
            </a:r>
            <a:br>
              <a:rPr lang="en-US" dirty="0" smtClean="0"/>
            </a:br>
            <a:r>
              <a:rPr lang="en-US" dirty="0" smtClean="0"/>
              <a:t>(max. two lines)</a:t>
            </a:r>
          </a:p>
        </p:txBody>
      </p:sp>
      <p:sp>
        <p:nvSpPr>
          <p:cNvPr id="3" name="Location, date"/>
          <p:cNvSpPr>
            <a:spLocks noGrp="1"/>
          </p:cNvSpPr>
          <p:nvPr>
            <p:ph type="body" sz="quarter" idx="16" hasCustomPrompt="1"/>
          </p:nvPr>
        </p:nvSpPr>
        <p:spPr>
          <a:xfrm>
            <a:off x="4" y="4197216"/>
            <a:ext cx="4199969" cy="540148"/>
          </a:xfrm>
        </p:spPr>
        <p:txBody>
          <a:bodyPr lIns="306792" tIns="0" rIns="214754" anchor="b" anchorCtr="0">
            <a:noAutofit/>
          </a:bodyPr>
          <a:lstStyle>
            <a:lvl1pPr marL="0" marR="0" indent="0" algn="l" defTabSz="779252" rtl="0" eaLnBrk="1" fontAlgn="auto" latinLnBrk="0" hangingPunct="1">
              <a:lnSpc>
                <a:spcPct val="90000"/>
              </a:lnSpc>
              <a:spcBef>
                <a:spcPts val="0"/>
              </a:spcBef>
              <a:spcAft>
                <a:spcPts val="0"/>
              </a:spcAft>
              <a:buClrTx/>
              <a:buSzTx/>
              <a:buFont typeface="Arial Narrow" pitchFamily="34" charset="0"/>
              <a:buNone/>
              <a:tabLst/>
              <a:defRPr sz="1100" baseline="0">
                <a:latin typeface="+mn-lt"/>
                <a:sym typeface="+mn-lt"/>
              </a:defRPr>
            </a:lvl1pPr>
          </a:lstStyle>
          <a:p>
            <a:pPr marL="0" marR="0" lvl="0" indent="0" algn="l" defTabSz="779252" rtl="0" eaLnBrk="1" fontAlgn="auto" latinLnBrk="0" hangingPunct="1">
              <a:lnSpc>
                <a:spcPct val="90000"/>
              </a:lnSpc>
              <a:spcBef>
                <a:spcPts val="0"/>
              </a:spcBef>
              <a:spcAft>
                <a:spcPts val="0"/>
              </a:spcAft>
              <a:buClrTx/>
              <a:buSzTx/>
              <a:buFont typeface="Arial Narrow" pitchFamily="34" charset="0"/>
              <a:buNone/>
              <a:tabLst/>
              <a:defRPr/>
            </a:pPr>
            <a:r>
              <a:rPr lang="en-US" dirty="0" smtClean="0"/>
              <a:t>Location, date of presentation (month, day, year)</a:t>
            </a:r>
          </a:p>
        </p:txBody>
      </p:sp>
      <p:sp>
        <p:nvSpPr>
          <p:cNvPr id="4" name="Project name"/>
          <p:cNvSpPr>
            <a:spLocks noGrp="1"/>
          </p:cNvSpPr>
          <p:nvPr>
            <p:ph type="title" hasCustomPrompt="1"/>
          </p:nvPr>
        </p:nvSpPr>
        <p:spPr>
          <a:xfrm>
            <a:off x="4" y="2385808"/>
            <a:ext cx="4199969" cy="979333"/>
          </a:xfrm>
        </p:spPr>
        <p:txBody>
          <a:bodyPr wrap="square" lIns="306792" rIns="214754" bIns="92038" anchor="b" anchorCtr="0">
            <a:spAutoFit/>
          </a:bodyPr>
          <a:lstStyle>
            <a:lvl1pPr>
              <a:defRPr sz="3200" baseline="0">
                <a:latin typeface="+mj-lt"/>
                <a:sym typeface="+mn-lt"/>
              </a:defRPr>
            </a:lvl1pPr>
          </a:lstStyle>
          <a:p>
            <a:r>
              <a:rPr lang="en-US" dirty="0" smtClean="0"/>
              <a:t>Project name or document title</a:t>
            </a:r>
            <a:endParaRPr lang="en-US" dirty="0"/>
          </a:p>
        </p:txBody>
      </p:sp>
      <p:sp>
        <p:nvSpPr>
          <p:cNvPr id="19" name="Position Lines"/>
          <p:cNvSpPr>
            <a:spLocks noChangeShapeType="1"/>
          </p:cNvSpPr>
          <p:nvPr>
            <p:custDataLst>
              <p:tags r:id="rId3"/>
            </p:custDataLst>
          </p:nvPr>
        </p:nvSpPr>
        <p:spPr bwMode="auto">
          <a:xfrm>
            <a:off x="332308" y="5164931"/>
            <a:ext cx="0" cy="54000"/>
          </a:xfrm>
          <a:prstGeom prst="line">
            <a:avLst/>
          </a:prstGeom>
          <a:noFill/>
          <a:ln w="3175" cmpd="sng">
            <a:solidFill>
              <a:schemeClr val="accent1"/>
            </a:solidFill>
            <a:round/>
            <a:headEnd/>
            <a:tailEnd/>
          </a:ln>
          <a:effectLst/>
        </p:spPr>
        <p:txBody>
          <a:bodyPr lIns="77925" tIns="38963" rIns="77925" bIns="38963"/>
          <a:lstStyle/>
          <a:p>
            <a:pPr fontAlgn="base">
              <a:spcBef>
                <a:spcPct val="0"/>
              </a:spcBef>
              <a:spcAft>
                <a:spcPct val="0"/>
              </a:spcAft>
            </a:pPr>
            <a:endParaRPr lang="en-US" sz="1100" b="1" dirty="0">
              <a:solidFill>
                <a:srgbClr val="000000"/>
              </a:solidFill>
              <a:sym typeface="+mn-lt"/>
            </a:endParaRPr>
          </a:p>
        </p:txBody>
      </p:sp>
      <p:sp>
        <p:nvSpPr>
          <p:cNvPr id="5" name="Client name"/>
          <p:cNvSpPr>
            <a:spLocks noGrp="1"/>
          </p:cNvSpPr>
          <p:nvPr>
            <p:ph type="body" sz="quarter" idx="19" hasCustomPrompt="1"/>
          </p:nvPr>
        </p:nvSpPr>
        <p:spPr>
          <a:xfrm>
            <a:off x="332311" y="405001"/>
            <a:ext cx="3867661" cy="484748"/>
          </a:xfrm>
        </p:spPr>
        <p:txBody>
          <a:bodyPr>
            <a:noAutofit/>
          </a:bodyPr>
          <a:lstStyle>
            <a:lvl1pPr>
              <a:lnSpc>
                <a:spcPct val="100000"/>
              </a:lnSpc>
              <a:defRPr baseline="0">
                <a:latin typeface="+mn-lt"/>
                <a:sym typeface="+mn-lt"/>
              </a:defRPr>
            </a:lvl1pPr>
          </a:lstStyle>
          <a:p>
            <a:pPr lvl="0"/>
            <a:r>
              <a:rPr lang="en-US" dirty="0" smtClean="0"/>
              <a:t>Client logo/name</a:t>
            </a:r>
          </a:p>
        </p:txBody>
      </p:sp>
    </p:spTree>
    <p:extLst>
      <p:ext uri="{BB962C8B-B14F-4D97-AF65-F5344CB8AC3E}">
        <p14:creationId xmlns:p14="http://schemas.microsoft.com/office/powerpoint/2010/main" xmlns="" val="3107832432"/>
      </p:ext>
    </p:extLst>
  </p:cSld>
  <p:clrMapOvr>
    <a:masterClrMapping/>
  </p:clrMapOvr>
  <p:timing>
    <p:tnLst>
      <p:par>
        <p:cTn id="1" dur="indefinite" restart="never" nodeType="tmRoot"/>
      </p:par>
    </p:tn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Contents">
    <p:bg>
      <p:bgPr>
        <a:solidFill>
          <a:schemeClr val="bg1"/>
        </a:solidFill>
        <a:effectLst/>
      </p:bgPr>
    </p:bg>
    <p:spTree>
      <p:nvGrpSpPr>
        <p:cNvPr id="1" name=""/>
        <p:cNvGrpSpPr/>
        <p:nvPr/>
      </p:nvGrpSpPr>
      <p:grpSpPr>
        <a:xfrm>
          <a:off x="0" y="0"/>
          <a:ext cx="0" cy="0"/>
          <a:chOff x="0" y="0"/>
          <a:chExt cx="0" cy="0"/>
        </a:xfrm>
      </p:grpSpPr>
      <p:sp>
        <p:nvSpPr>
          <p:cNvPr id="15" name="Slide Number Placeholder" hidden="1"/>
          <p:cNvSpPr>
            <a:spLocks noGrp="1"/>
          </p:cNvSpPr>
          <p:nvPr>
            <p:ph type="sldNum" sz="quarter" idx="11"/>
            <p:custDataLst>
              <p:tags r:id="rId1"/>
            </p:custDataLst>
          </p:nvPr>
        </p:nvSpPr>
        <p:spPr>
          <a:xfrm>
            <a:off x="9204923" y="130135"/>
            <a:ext cx="24046" cy="30778"/>
          </a:xfrm>
          <a:prstGeom prst="rect">
            <a:avLst/>
          </a:prstGeom>
        </p:spPr>
        <p:txBody>
          <a:bodyPr vert="horz" wrap="none" lIns="0" tIns="0" rIns="0" bIns="0" rtlCol="0" anchor="ctr">
            <a:spAutoFit/>
          </a:bodyPr>
          <a:lstStyle>
            <a:lvl1pPr algn="l">
              <a:defRPr sz="200" b="0">
                <a:solidFill>
                  <a:schemeClr val="bg1">
                    <a:lumMod val="75000"/>
                  </a:schemeClr>
                </a:solidFill>
                <a:latin typeface="+mn-lt"/>
                <a:cs typeface="+mn-cs"/>
                <a:sym typeface="+mn-lt"/>
              </a:defRPr>
            </a:lvl1pPr>
          </a:lstStyle>
          <a:p>
            <a:pPr fontAlgn="base">
              <a:spcBef>
                <a:spcPct val="0"/>
              </a:spcBef>
              <a:spcAft>
                <a:spcPct val="0"/>
              </a:spcAft>
            </a:pPr>
            <a:fld id="{01940DDA-0656-452C-A408-68789653BD9B}" type="slidenum">
              <a:rPr lang="en-US" smtClean="0">
                <a:solidFill>
                  <a:srgbClr val="FFFFFF">
                    <a:lumMod val="75000"/>
                  </a:srgbClr>
                </a:solidFill>
              </a:rPr>
              <a:pPr fontAlgn="base">
                <a:spcBef>
                  <a:spcPct val="0"/>
                </a:spcBef>
                <a:spcAft>
                  <a:spcPct val="0"/>
                </a:spcAft>
              </a:pPr>
              <a:t>‹#›</a:t>
            </a:fld>
            <a:endParaRPr lang="en-US" dirty="0">
              <a:solidFill>
                <a:srgbClr val="FFFFFF">
                  <a:lumMod val="75000"/>
                </a:srgbClr>
              </a:solidFill>
            </a:endParaRPr>
          </a:p>
        </p:txBody>
      </p:sp>
      <p:sp>
        <p:nvSpPr>
          <p:cNvPr id="16" name="Footer Placeholder" hidden="1"/>
          <p:cNvSpPr>
            <a:spLocks noGrp="1"/>
          </p:cNvSpPr>
          <p:nvPr>
            <p:ph type="ftr" sz="quarter" idx="12"/>
            <p:custDataLst>
              <p:tags r:id="rId2"/>
            </p:custDataLst>
          </p:nvPr>
        </p:nvSpPr>
        <p:spPr>
          <a:xfrm>
            <a:off x="9204945" y="171487"/>
            <a:ext cx="65" cy="30778"/>
          </a:xfrm>
          <a:prstGeom prst="rect">
            <a:avLst/>
          </a:prstGeom>
        </p:spPr>
        <p:txBody>
          <a:bodyPr vert="horz" wrap="none" lIns="0" tIns="0" rIns="0" bIns="0" rtlCol="0" anchor="t" anchorCtr="0">
            <a:spAutoFit/>
          </a:bodyPr>
          <a:lstStyle>
            <a:lvl1pPr algn="l" rtl="0" fontAlgn="base">
              <a:lnSpc>
                <a:spcPct val="100000"/>
              </a:lnSpc>
              <a:spcBef>
                <a:spcPts val="0"/>
              </a:spcBef>
              <a:spcAft>
                <a:spcPct val="0"/>
              </a:spcAft>
              <a:defRPr lang="en-US" sz="200" b="0" kern="1200" smtClean="0">
                <a:solidFill>
                  <a:schemeClr val="bg1">
                    <a:lumMod val="75000"/>
                  </a:schemeClr>
                </a:solidFill>
                <a:latin typeface="+mn-lt"/>
                <a:ea typeface="+mn-ea"/>
                <a:cs typeface="+mn-cs"/>
                <a:sym typeface="+mn-lt"/>
              </a:defRPr>
            </a:lvl1pPr>
          </a:lstStyle>
          <a:p>
            <a:endParaRPr lang="de-DE" dirty="0">
              <a:solidFill>
                <a:srgbClr val="FFFFFF">
                  <a:lumMod val="75000"/>
                </a:srgbClr>
              </a:solidFill>
            </a:endParaRPr>
          </a:p>
        </p:txBody>
      </p:sp>
      <p:sp>
        <p:nvSpPr>
          <p:cNvPr id="7" name="Note: Exclusive dealing"/>
          <p:cNvSpPr txBox="1">
            <a:spLocks noChangeArrowheads="1"/>
          </p:cNvSpPr>
          <p:nvPr userDrawn="1">
            <p:custDataLst>
              <p:tags r:id="rId3"/>
            </p:custDataLst>
          </p:nvPr>
        </p:nvSpPr>
        <p:spPr bwMode="auto">
          <a:xfrm>
            <a:off x="681236" y="4387008"/>
            <a:ext cx="7879015" cy="738664"/>
          </a:xfrm>
          <a:prstGeom prst="rect">
            <a:avLst/>
          </a:prstGeom>
          <a:noFill/>
          <a:ln w="9525">
            <a:noFill/>
            <a:miter lim="800000"/>
            <a:headEnd/>
            <a:tailEnd/>
          </a:ln>
        </p:spPr>
        <p:txBody>
          <a:bodyPr lIns="0" tIns="0" rIns="0" bIns="0" anchor="b" anchorCtr="0">
            <a:spAutoFit/>
          </a:bodyPr>
          <a:lstStyle/>
          <a:p>
            <a:pPr eaLnBrk="0" fontAlgn="base" hangingPunct="0">
              <a:spcBef>
                <a:spcPct val="0"/>
              </a:spcBef>
              <a:spcAft>
                <a:spcPct val="0"/>
              </a:spcAft>
            </a:pPr>
            <a:r>
              <a:rPr kumimoji="1" lang="en-US" altLang="de-DE" sz="800" dirty="0" smtClean="0">
                <a:solidFill>
                  <a:srgbClr val="000000"/>
                </a:solidFill>
                <a:sym typeface="+mn-lt"/>
              </a:rPr>
              <a:t>This document shall be treated as confidential. It has been compiled for the exclusive, internal use by our client and is not complete without the underlying detail analyses and the oral presentation. It may not be passed on and/or may not be made available to third parties without prior written consent from Roland Berger Strategy Consultants. RBSC does not assume any responsibility for the completeness and accuracy of the statements made in this document.        </a:t>
            </a:r>
          </a:p>
          <a:p>
            <a:pPr eaLnBrk="0" fontAlgn="base" hangingPunct="0">
              <a:spcBef>
                <a:spcPct val="0"/>
              </a:spcBef>
              <a:spcAft>
                <a:spcPct val="0"/>
              </a:spcAft>
            </a:pPr>
            <a:endParaRPr kumimoji="1" lang="en-US" altLang="de-DE" sz="800" dirty="0" smtClean="0">
              <a:solidFill>
                <a:srgbClr val="000000"/>
              </a:solidFill>
              <a:sym typeface="+mn-lt"/>
            </a:endParaRPr>
          </a:p>
          <a:p>
            <a:pPr eaLnBrk="0" fontAlgn="base" hangingPunct="0">
              <a:spcBef>
                <a:spcPct val="0"/>
              </a:spcBef>
              <a:spcAft>
                <a:spcPct val="0"/>
              </a:spcAft>
            </a:pPr>
            <a:endParaRPr kumimoji="1" lang="en-US" altLang="de-DE" sz="800" dirty="0" smtClean="0">
              <a:solidFill>
                <a:srgbClr val="000000"/>
              </a:solidFill>
              <a:sym typeface="+mn-lt"/>
            </a:endParaRPr>
          </a:p>
          <a:p>
            <a:pPr eaLnBrk="0" fontAlgn="base" hangingPunct="0">
              <a:spcBef>
                <a:spcPct val="0"/>
              </a:spcBef>
              <a:spcAft>
                <a:spcPct val="0"/>
              </a:spcAft>
            </a:pPr>
            <a:r>
              <a:rPr kumimoji="1" lang="en-US" altLang="de-DE" sz="800" dirty="0" smtClean="0">
                <a:solidFill>
                  <a:srgbClr val="000000"/>
                </a:solidFill>
                <a:sym typeface="+mn-lt"/>
              </a:rPr>
              <a:t>©  Roland Berger Strategy Consultants</a:t>
            </a:r>
          </a:p>
        </p:txBody>
      </p:sp>
      <p:sp>
        <p:nvSpPr>
          <p:cNvPr id="5" name="Contents Text"/>
          <p:cNvSpPr>
            <a:spLocks noGrp="1"/>
          </p:cNvSpPr>
          <p:nvPr>
            <p:ph type="body" sz="quarter" idx="10" hasCustomPrompt="1"/>
            <p:custDataLst>
              <p:tags r:id="rId4"/>
            </p:custDataLst>
          </p:nvPr>
        </p:nvSpPr>
        <p:spPr>
          <a:xfrm>
            <a:off x="681236" y="1282500"/>
            <a:ext cx="7879015" cy="2872068"/>
          </a:xfrm>
        </p:spPr>
        <p:txBody>
          <a:bodyPr>
            <a:spAutoFit/>
          </a:bodyPr>
          <a:lstStyle>
            <a:lvl1pPr marL="306792" indent="-306792">
              <a:spcBef>
                <a:spcPts val="1704"/>
              </a:spcBef>
              <a:tabLst>
                <a:tab pos="7275721" algn="r"/>
              </a:tabLst>
              <a:defRPr>
                <a:solidFill>
                  <a:schemeClr val="tx1"/>
                </a:solidFill>
                <a:latin typeface="+mn-lt"/>
                <a:cs typeface="+mn-cs"/>
                <a:sym typeface="+mn-lt"/>
              </a:defRPr>
            </a:lvl1pPr>
            <a:lvl2pPr marL="613584" indent="-306792">
              <a:spcBef>
                <a:spcPts val="511"/>
              </a:spcBef>
              <a:buNone/>
              <a:tabLst>
                <a:tab pos="7275721" algn="r"/>
              </a:tabLst>
              <a:defRPr b="0">
                <a:solidFill>
                  <a:schemeClr val="tx1"/>
                </a:solidFill>
                <a:latin typeface="+mn-lt"/>
                <a:sym typeface="+mn-lt"/>
              </a:defRPr>
            </a:lvl2pPr>
            <a:lvl3pPr marL="1073772" indent="-460188">
              <a:spcBef>
                <a:spcPts val="0"/>
              </a:spcBef>
              <a:buNone/>
              <a:tabLst>
                <a:tab pos="7275721" algn="r"/>
              </a:tabLst>
              <a:defRPr>
                <a:solidFill>
                  <a:schemeClr val="tx1"/>
                </a:solidFill>
                <a:latin typeface="+mn-lt"/>
                <a:sym typeface="+mn-lt"/>
              </a:defRPr>
            </a:lvl3pPr>
            <a:lvl4pPr marL="1070119" indent="-455917">
              <a:buNone/>
              <a:tabLst>
                <a:tab pos="7262193" algn="r"/>
              </a:tabLst>
              <a:defRPr/>
            </a:lvl4pPr>
            <a:lvl5pPr>
              <a:buNone/>
              <a:defRPr/>
            </a:lvl5pPr>
          </a:lstStyle>
          <a:p>
            <a:pPr lvl="0"/>
            <a:r>
              <a:rPr lang="en-US" dirty="0" smtClean="0"/>
              <a:t>A.	xxx	xx</a:t>
            </a:r>
          </a:p>
          <a:p>
            <a:pPr lvl="0"/>
            <a:r>
              <a:rPr lang="en-US" dirty="0" smtClean="0"/>
              <a:t>B.	xxx	xx</a:t>
            </a:r>
          </a:p>
          <a:p>
            <a:pPr lvl="1"/>
            <a:r>
              <a:rPr lang="en-US" dirty="0" smtClean="0"/>
              <a:t>1.	xxx	xx</a:t>
            </a:r>
          </a:p>
          <a:p>
            <a:pPr lvl="1"/>
            <a:r>
              <a:rPr lang="en-US" dirty="0" smtClean="0"/>
              <a:t>2.	xxx	xx</a:t>
            </a:r>
          </a:p>
          <a:p>
            <a:pPr lvl="2"/>
            <a:r>
              <a:rPr lang="en-US" dirty="0" smtClean="0"/>
              <a:t>2.1	xxx	xx</a:t>
            </a:r>
          </a:p>
          <a:p>
            <a:pPr lvl="2"/>
            <a:r>
              <a:rPr lang="en-US" dirty="0" smtClean="0"/>
              <a:t>2.2	xxx	xx</a:t>
            </a:r>
          </a:p>
          <a:p>
            <a:pPr lvl="0"/>
            <a:r>
              <a:rPr lang="en-US" dirty="0" smtClean="0"/>
              <a:t>C.	xxx	xx</a:t>
            </a:r>
          </a:p>
          <a:p>
            <a:pPr lvl="1"/>
            <a:r>
              <a:rPr lang="en-US" dirty="0" smtClean="0"/>
              <a:t>1.	xxx	xx</a:t>
            </a:r>
          </a:p>
          <a:p>
            <a:pPr lvl="2"/>
            <a:r>
              <a:rPr lang="en-US" dirty="0" smtClean="0"/>
              <a:t>1.1	xxx	xx</a:t>
            </a:r>
          </a:p>
        </p:txBody>
      </p:sp>
      <p:sp>
        <p:nvSpPr>
          <p:cNvPr id="10" name="Contents Title"/>
          <p:cNvSpPr txBox="1">
            <a:spLocks/>
          </p:cNvSpPr>
          <p:nvPr>
            <p:custDataLst>
              <p:tags r:id="rId5"/>
            </p:custDataLst>
          </p:nvPr>
        </p:nvSpPr>
        <p:spPr>
          <a:xfrm>
            <a:off x="681236" y="780311"/>
            <a:ext cx="7879015" cy="257635"/>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lgn="l">
              <a:lnSpc>
                <a:spcPct val="93000"/>
              </a:lnSpc>
              <a:defRPr/>
            </a:lvl1pPr>
          </a:lstStyle>
          <a:p>
            <a:pPr defTabSz="779252">
              <a:spcBef>
                <a:spcPct val="0"/>
              </a:spcBef>
              <a:tabLst>
                <a:tab pos="7271663" algn="r"/>
              </a:tabLst>
              <a:defRPr/>
            </a:pPr>
            <a:r>
              <a:rPr lang="en-US" altLang="de-DE" sz="1800" noProof="1" smtClean="0">
                <a:solidFill>
                  <a:srgbClr val="716D6D"/>
                </a:solidFill>
                <a:sym typeface="+mn-lt"/>
              </a:rPr>
              <a:t>Contents	Page</a:t>
            </a:r>
            <a:endParaRPr lang="en-US" altLang="de-DE" sz="1800" noProof="1">
              <a:solidFill>
                <a:srgbClr val="716D6D"/>
              </a:solidFill>
              <a:sym typeface="+mn-lt"/>
            </a:endParaRPr>
          </a:p>
        </p:txBody>
      </p:sp>
      <p:sp>
        <p:nvSpPr>
          <p:cNvPr id="14" name="Title"/>
          <p:cNvSpPr>
            <a:spLocks noGrp="1"/>
          </p:cNvSpPr>
          <p:nvPr>
            <p:ph type="title" hasCustomPrompt="1"/>
            <p:custDataLst>
              <p:tags r:id="rId6"/>
            </p:custDataLst>
          </p:nvPr>
        </p:nvSpPr>
        <p:spPr>
          <a:xfrm>
            <a:off x="1213759" y="780305"/>
            <a:ext cx="731077" cy="225398"/>
          </a:xfrm>
        </p:spPr>
        <p:txBody>
          <a:bodyPr vert="horz" lIns="0" tIns="0" rIns="0" bIns="0" rtlCol="0" anchor="t" anchorCtr="0">
            <a:noAutofit/>
          </a:bodyPr>
          <a:lstStyle>
            <a:lvl1pPr marL="0" indent="0" algn="r" defTabSz="779252" rtl="0" eaLnBrk="1" latinLnBrk="0" hangingPunct="1">
              <a:lnSpc>
                <a:spcPct val="93000"/>
              </a:lnSpc>
              <a:spcBef>
                <a:spcPct val="0"/>
              </a:spcBef>
              <a:buNone/>
              <a:tabLst/>
              <a:defRPr lang="en-US" sz="1800" b="0" kern="1200" dirty="0">
                <a:solidFill>
                  <a:schemeClr val="tx2"/>
                </a:solidFill>
                <a:latin typeface="+mj-lt"/>
                <a:ea typeface="+mj-ea"/>
                <a:cs typeface="+mj-cs"/>
                <a:sym typeface="+mn-lt"/>
              </a:defRPr>
            </a:lvl1pPr>
          </a:lstStyle>
          <a:p>
            <a:r>
              <a:rPr lang="en-US" noProof="1" smtClean="0"/>
              <a:t>  </a:t>
            </a:r>
            <a:endParaRPr lang="en-US" noProof="1"/>
          </a:p>
        </p:txBody>
      </p:sp>
    </p:spTree>
    <p:extLst>
      <p:ext uri="{BB962C8B-B14F-4D97-AF65-F5344CB8AC3E}">
        <p14:creationId xmlns:p14="http://schemas.microsoft.com/office/powerpoint/2010/main" xmlns="" val="650012326"/>
      </p:ext>
    </p:extLst>
  </p:cSld>
  <p:clrMapOvr>
    <a:masterClrMapping/>
  </p:clrMapOvr>
  <p:timing>
    <p:tnLst>
      <p:par>
        <p:cTn id="1" dur="indefinite" restart="never" nodeType="tmRoot"/>
      </p:par>
    </p:tn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p:cSld name="LastSlide">
    <p:bg>
      <p:bgPr>
        <a:solidFill>
          <a:schemeClr val="accent2"/>
        </a:solidFill>
        <a:effectLst/>
      </p:bgPr>
    </p:bg>
    <p:spTree>
      <p:nvGrpSpPr>
        <p:cNvPr id="1" name=""/>
        <p:cNvGrpSpPr/>
        <p:nvPr/>
      </p:nvGrpSpPr>
      <p:grpSpPr>
        <a:xfrm>
          <a:off x="0" y="0"/>
          <a:ext cx="0" cy="0"/>
          <a:chOff x="0" y="0"/>
          <a:chExt cx="0" cy="0"/>
        </a:xfrm>
      </p:grpSpPr>
      <p:sp>
        <p:nvSpPr>
          <p:cNvPr id="10" name="Slide Number Placeholder" hidden="1"/>
          <p:cNvSpPr>
            <a:spLocks noGrp="1"/>
          </p:cNvSpPr>
          <p:nvPr>
            <p:ph type="sldNum" sz="quarter" idx="11"/>
            <p:custDataLst>
              <p:tags r:id="rId1"/>
            </p:custDataLst>
          </p:nvPr>
        </p:nvSpPr>
        <p:spPr>
          <a:xfrm>
            <a:off x="9204923" y="130135"/>
            <a:ext cx="24046" cy="30778"/>
          </a:xfrm>
          <a:prstGeom prst="rect">
            <a:avLst/>
          </a:prstGeom>
        </p:spPr>
        <p:txBody>
          <a:bodyPr vert="horz" wrap="none" lIns="0" tIns="0" rIns="0" bIns="0" rtlCol="0" anchor="ctr">
            <a:spAutoFit/>
          </a:bodyPr>
          <a:lstStyle>
            <a:lvl1pPr algn="l">
              <a:defRPr sz="200" b="0">
                <a:solidFill>
                  <a:schemeClr val="bg1">
                    <a:lumMod val="75000"/>
                  </a:schemeClr>
                </a:solidFill>
                <a:latin typeface="+mn-lt"/>
                <a:cs typeface="+mn-cs"/>
                <a:sym typeface="+mn-lt"/>
              </a:defRPr>
            </a:lvl1pPr>
          </a:lstStyle>
          <a:p>
            <a:pPr fontAlgn="base">
              <a:spcBef>
                <a:spcPct val="0"/>
              </a:spcBef>
              <a:spcAft>
                <a:spcPct val="0"/>
              </a:spcAft>
            </a:pPr>
            <a:fld id="{01940DDA-0656-452C-A408-68789653BD9B}" type="slidenum">
              <a:rPr lang="en-US" smtClean="0">
                <a:solidFill>
                  <a:srgbClr val="FFFFFF">
                    <a:lumMod val="75000"/>
                  </a:srgbClr>
                </a:solidFill>
              </a:rPr>
              <a:pPr fontAlgn="base">
                <a:spcBef>
                  <a:spcPct val="0"/>
                </a:spcBef>
                <a:spcAft>
                  <a:spcPct val="0"/>
                </a:spcAft>
              </a:pPr>
              <a:t>‹#›</a:t>
            </a:fld>
            <a:endParaRPr lang="en-US" dirty="0">
              <a:solidFill>
                <a:srgbClr val="FFFFFF">
                  <a:lumMod val="75000"/>
                </a:srgbClr>
              </a:solidFill>
            </a:endParaRPr>
          </a:p>
        </p:txBody>
      </p:sp>
      <p:sp>
        <p:nvSpPr>
          <p:cNvPr id="11" name="Footer Placeholder" hidden="1"/>
          <p:cNvSpPr>
            <a:spLocks noGrp="1"/>
          </p:cNvSpPr>
          <p:nvPr>
            <p:ph type="ftr" sz="quarter" idx="10"/>
            <p:custDataLst>
              <p:tags r:id="rId2"/>
            </p:custDataLst>
          </p:nvPr>
        </p:nvSpPr>
        <p:spPr>
          <a:xfrm>
            <a:off x="9204945" y="171487"/>
            <a:ext cx="65" cy="30778"/>
          </a:xfrm>
          <a:prstGeom prst="rect">
            <a:avLst/>
          </a:prstGeom>
        </p:spPr>
        <p:txBody>
          <a:bodyPr vert="horz" wrap="none" lIns="0" tIns="0" rIns="0" bIns="0" rtlCol="0" anchor="t" anchorCtr="0">
            <a:spAutoFit/>
          </a:bodyPr>
          <a:lstStyle>
            <a:lvl1pPr algn="l" rtl="0" fontAlgn="base">
              <a:lnSpc>
                <a:spcPct val="100000"/>
              </a:lnSpc>
              <a:spcBef>
                <a:spcPts val="0"/>
              </a:spcBef>
              <a:spcAft>
                <a:spcPct val="0"/>
              </a:spcAft>
              <a:defRPr lang="en-US" sz="200" b="0" kern="1200" smtClean="0">
                <a:solidFill>
                  <a:schemeClr val="bg1">
                    <a:lumMod val="75000"/>
                  </a:schemeClr>
                </a:solidFill>
                <a:latin typeface="+mn-lt"/>
                <a:ea typeface="+mn-ea"/>
                <a:cs typeface="+mn-cs"/>
                <a:sym typeface="+mn-lt"/>
              </a:defRPr>
            </a:lvl1pPr>
          </a:lstStyle>
          <a:p>
            <a:endParaRPr lang="de-DE" dirty="0">
              <a:solidFill>
                <a:srgbClr val="FFFFFF">
                  <a:lumMod val="75000"/>
                </a:srgbClr>
              </a:solidFill>
            </a:endParaRPr>
          </a:p>
        </p:txBody>
      </p:sp>
      <p:sp>
        <p:nvSpPr>
          <p:cNvPr id="5" name="Position Lines"/>
          <p:cNvSpPr>
            <a:spLocks noChangeShapeType="1"/>
          </p:cNvSpPr>
          <p:nvPr userDrawn="1">
            <p:custDataLst>
              <p:tags r:id="rId3"/>
            </p:custDataLst>
          </p:nvPr>
        </p:nvSpPr>
        <p:spPr bwMode="auto">
          <a:xfrm>
            <a:off x="4944031" y="5164931"/>
            <a:ext cx="0" cy="54000"/>
          </a:xfrm>
          <a:prstGeom prst="line">
            <a:avLst/>
          </a:prstGeom>
          <a:noFill/>
          <a:ln w="3175" cmpd="sng">
            <a:solidFill>
              <a:schemeClr val="accent1"/>
            </a:solidFill>
            <a:round/>
            <a:headEnd/>
            <a:tailEnd/>
          </a:ln>
          <a:effectLst/>
        </p:spPr>
        <p:txBody>
          <a:bodyPr lIns="77925" tIns="38963" rIns="77925" bIns="38963"/>
          <a:lstStyle/>
          <a:p>
            <a:pPr fontAlgn="base">
              <a:spcBef>
                <a:spcPct val="0"/>
              </a:spcBef>
              <a:spcAft>
                <a:spcPct val="0"/>
              </a:spcAft>
            </a:pPr>
            <a:endParaRPr lang="en-US" sz="1100" b="1" dirty="0">
              <a:solidFill>
                <a:srgbClr val="000000"/>
              </a:solidFill>
              <a:sym typeface="+mn-lt"/>
            </a:endParaRPr>
          </a:p>
        </p:txBody>
      </p:sp>
    </p:spTree>
    <p:extLst>
      <p:ext uri="{BB962C8B-B14F-4D97-AF65-F5344CB8AC3E}">
        <p14:creationId xmlns:p14="http://schemas.microsoft.com/office/powerpoint/2010/main" xmlns="" val="3769325442"/>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05978"/>
            <a:ext cx="8229600" cy="857250"/>
          </a:xfrm>
        </p:spPr>
        <p:txBody>
          <a:bodyPr/>
          <a:lstStyle>
            <a:lvl1pPr>
              <a:defRPr/>
            </a:lvl1pPr>
          </a:lstStyle>
          <a:p>
            <a:r>
              <a:rPr lang="en-US" smtClean="0"/>
              <a:t>Click to edit Master title style</a:t>
            </a:r>
            <a:endParaRPr lang="th-TH"/>
          </a:p>
        </p:txBody>
      </p:sp>
      <p:sp>
        <p:nvSpPr>
          <p:cNvPr id="3" name="Text Placeholder 2"/>
          <p:cNvSpPr>
            <a:spLocks noGrp="1"/>
          </p:cNvSpPr>
          <p:nvPr>
            <p:ph type="body" idx="1"/>
          </p:nvPr>
        </p:nvSpPr>
        <p:spPr>
          <a:xfrm>
            <a:off x="457200" y="1151335"/>
            <a:ext cx="4040188" cy="47982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1631156"/>
            <a:ext cx="4040188" cy="2963466"/>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th-TH"/>
          </a:p>
        </p:txBody>
      </p:sp>
      <p:sp>
        <p:nvSpPr>
          <p:cNvPr id="5" name="Text Placeholder 4"/>
          <p:cNvSpPr>
            <a:spLocks noGrp="1"/>
          </p:cNvSpPr>
          <p:nvPr>
            <p:ph type="body" sz="quarter" idx="3"/>
          </p:nvPr>
        </p:nvSpPr>
        <p:spPr>
          <a:xfrm>
            <a:off x="4645033" y="1151335"/>
            <a:ext cx="4041775" cy="47982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33" y="1631156"/>
            <a:ext cx="4041775" cy="2963466"/>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th-TH"/>
          </a:p>
        </p:txBody>
      </p:sp>
      <p:sp>
        <p:nvSpPr>
          <p:cNvPr id="7" name="Date Placeholder 6"/>
          <p:cNvSpPr>
            <a:spLocks noGrp="1"/>
          </p:cNvSpPr>
          <p:nvPr>
            <p:ph type="dt" sz="half" idx="10"/>
          </p:nvPr>
        </p:nvSpPr>
        <p:spPr/>
        <p:txBody>
          <a:bodyPr/>
          <a:lstStyle/>
          <a:p>
            <a:fld id="{90E4B35C-A5D0-4D51-8740-32AE8D170602}" type="datetime1">
              <a:rPr lang="th-TH" smtClean="0">
                <a:solidFill>
                  <a:prstClr val="black">
                    <a:tint val="75000"/>
                  </a:prstClr>
                </a:solidFill>
              </a:rPr>
              <a:pPr/>
              <a:t>20/09/58</a:t>
            </a:fld>
            <a:endParaRPr lang="th-TH">
              <a:solidFill>
                <a:prstClr val="black">
                  <a:tint val="75000"/>
                </a:prstClr>
              </a:solidFill>
            </a:endParaRPr>
          </a:p>
        </p:txBody>
      </p:sp>
      <p:sp>
        <p:nvSpPr>
          <p:cNvPr id="8" name="Footer Placeholder 7"/>
          <p:cNvSpPr>
            <a:spLocks noGrp="1"/>
          </p:cNvSpPr>
          <p:nvPr>
            <p:ph type="ftr" sz="quarter" idx="11"/>
          </p:nvPr>
        </p:nvSpPr>
        <p:spPr/>
        <p:txBody>
          <a:bodyPr/>
          <a:lstStyle/>
          <a:p>
            <a:endParaRPr lang="th-TH">
              <a:solidFill>
                <a:prstClr val="black">
                  <a:tint val="75000"/>
                </a:prstClr>
              </a:solidFill>
            </a:endParaRPr>
          </a:p>
        </p:txBody>
      </p:sp>
      <p:sp>
        <p:nvSpPr>
          <p:cNvPr id="9" name="Slide Number Placeholder 8"/>
          <p:cNvSpPr>
            <a:spLocks noGrp="1"/>
          </p:cNvSpPr>
          <p:nvPr>
            <p:ph type="sldNum" sz="quarter" idx="12"/>
          </p:nvPr>
        </p:nvSpPr>
        <p:spPr/>
        <p:txBody>
          <a:bodyPr/>
          <a:lstStyle/>
          <a:p>
            <a:fld id="{50853BB3-C49D-4A79-8049-B0B6C5B1AD9A}" type="slidenum">
              <a:rPr lang="th-TH" smtClean="0">
                <a:solidFill>
                  <a:prstClr val="black">
                    <a:tint val="75000"/>
                  </a:prstClr>
                </a:solidFill>
              </a:rPr>
              <a:pPr/>
              <a:t>‹#›</a:t>
            </a:fld>
            <a:endParaRPr lang="th-TH">
              <a:solidFill>
                <a:prstClr val="black">
                  <a:tint val="75000"/>
                </a:prstClr>
              </a:solidFill>
            </a:endParaRPr>
          </a:p>
        </p:txBody>
      </p:sp>
    </p:spTree>
    <p:extLst>
      <p:ext uri="{BB962C8B-B14F-4D97-AF65-F5344CB8AC3E}">
        <p14:creationId xmlns:p14="http://schemas.microsoft.com/office/powerpoint/2010/main" xmlns="" val="1558414206"/>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DisclaimerPage">
    <p:spTree>
      <p:nvGrpSpPr>
        <p:cNvPr id="1" name=""/>
        <p:cNvGrpSpPr/>
        <p:nvPr/>
      </p:nvGrpSpPr>
      <p:grpSpPr>
        <a:xfrm>
          <a:off x="0" y="0"/>
          <a:ext cx="0" cy="0"/>
          <a:chOff x="0" y="0"/>
          <a:chExt cx="0" cy="0"/>
        </a:xfrm>
      </p:grpSpPr>
      <p:sp>
        <p:nvSpPr>
          <p:cNvPr id="12" name="Slide Number Placeholder" hidden="1"/>
          <p:cNvSpPr>
            <a:spLocks noGrp="1"/>
          </p:cNvSpPr>
          <p:nvPr>
            <p:ph type="sldNum" sz="quarter" idx="11"/>
            <p:custDataLst>
              <p:tags r:id="rId1"/>
            </p:custDataLst>
          </p:nvPr>
        </p:nvSpPr>
        <p:spPr>
          <a:xfrm>
            <a:off x="9204923" y="130135"/>
            <a:ext cx="24046" cy="30778"/>
          </a:xfrm>
          <a:prstGeom prst="rect">
            <a:avLst/>
          </a:prstGeom>
        </p:spPr>
        <p:txBody>
          <a:bodyPr vert="horz" wrap="none" lIns="0" tIns="0" rIns="0" bIns="0" rtlCol="0" anchor="ctr">
            <a:spAutoFit/>
          </a:bodyPr>
          <a:lstStyle>
            <a:lvl1pPr algn="l">
              <a:defRPr sz="200" b="0">
                <a:solidFill>
                  <a:schemeClr val="bg1">
                    <a:lumMod val="75000"/>
                  </a:schemeClr>
                </a:solidFill>
                <a:latin typeface="+mn-lt"/>
                <a:cs typeface="+mn-cs"/>
                <a:sym typeface="+mn-lt"/>
              </a:defRPr>
            </a:lvl1pPr>
          </a:lstStyle>
          <a:p>
            <a:pPr fontAlgn="base">
              <a:spcBef>
                <a:spcPct val="0"/>
              </a:spcBef>
              <a:spcAft>
                <a:spcPct val="0"/>
              </a:spcAft>
            </a:pPr>
            <a:fld id="{01940DDA-0656-452C-A408-68789653BD9B}" type="slidenum">
              <a:rPr lang="en-US" smtClean="0">
                <a:solidFill>
                  <a:srgbClr val="FFFFFF">
                    <a:lumMod val="75000"/>
                  </a:srgbClr>
                </a:solidFill>
              </a:rPr>
              <a:pPr fontAlgn="base">
                <a:spcBef>
                  <a:spcPct val="0"/>
                </a:spcBef>
                <a:spcAft>
                  <a:spcPct val="0"/>
                </a:spcAft>
              </a:pPr>
              <a:t>‹#›</a:t>
            </a:fld>
            <a:endParaRPr lang="en-US" dirty="0">
              <a:solidFill>
                <a:srgbClr val="FFFFFF">
                  <a:lumMod val="75000"/>
                </a:srgbClr>
              </a:solidFill>
            </a:endParaRPr>
          </a:p>
        </p:txBody>
      </p:sp>
      <p:sp>
        <p:nvSpPr>
          <p:cNvPr id="13" name="Footer Placeholder" hidden="1"/>
          <p:cNvSpPr>
            <a:spLocks noGrp="1"/>
          </p:cNvSpPr>
          <p:nvPr>
            <p:ph type="ftr" sz="quarter" idx="10"/>
            <p:custDataLst>
              <p:tags r:id="rId2"/>
            </p:custDataLst>
          </p:nvPr>
        </p:nvSpPr>
        <p:spPr>
          <a:xfrm>
            <a:off x="9204945" y="171487"/>
            <a:ext cx="65" cy="30778"/>
          </a:xfrm>
          <a:prstGeom prst="rect">
            <a:avLst/>
          </a:prstGeom>
        </p:spPr>
        <p:txBody>
          <a:bodyPr vert="horz" wrap="none" lIns="0" tIns="0" rIns="0" bIns="0" rtlCol="0" anchor="t" anchorCtr="0">
            <a:spAutoFit/>
          </a:bodyPr>
          <a:lstStyle>
            <a:lvl1pPr algn="l" rtl="0" fontAlgn="base">
              <a:lnSpc>
                <a:spcPct val="100000"/>
              </a:lnSpc>
              <a:spcBef>
                <a:spcPts val="0"/>
              </a:spcBef>
              <a:spcAft>
                <a:spcPct val="0"/>
              </a:spcAft>
              <a:defRPr lang="en-US" sz="200" b="0" kern="1200" smtClean="0">
                <a:solidFill>
                  <a:schemeClr val="bg1">
                    <a:lumMod val="75000"/>
                  </a:schemeClr>
                </a:solidFill>
                <a:latin typeface="+mn-lt"/>
                <a:ea typeface="+mn-ea"/>
                <a:cs typeface="+mn-cs"/>
                <a:sym typeface="+mn-lt"/>
              </a:defRPr>
            </a:lvl1pPr>
          </a:lstStyle>
          <a:p>
            <a:endParaRPr lang="de-DE" dirty="0">
              <a:solidFill>
                <a:srgbClr val="FFFFFF">
                  <a:lumMod val="75000"/>
                </a:srgbClr>
              </a:solidFill>
            </a:endParaRPr>
          </a:p>
        </p:txBody>
      </p:sp>
    </p:spTree>
    <p:extLst>
      <p:ext uri="{BB962C8B-B14F-4D97-AF65-F5344CB8AC3E}">
        <p14:creationId xmlns:p14="http://schemas.microsoft.com/office/powerpoint/2010/main" xmlns="" val="2609166097"/>
      </p:ext>
    </p:extLst>
  </p:cSld>
  <p:clrMapOvr>
    <a:masterClrMapping/>
  </p:clrMapOvr>
  <p:timing>
    <p:tnLst>
      <p:par>
        <p:cTn id="1" dur="indefinite" restart="never" nodeType="tmRoot"/>
      </p:par>
    </p:tnLst>
  </p:timing>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3" name="Slide Number Placeholder" hidden="1"/>
          <p:cNvSpPr>
            <a:spLocks noGrp="1"/>
          </p:cNvSpPr>
          <p:nvPr>
            <p:ph type="sldNum" sz="quarter" idx="11"/>
            <p:custDataLst>
              <p:tags r:id="rId1"/>
            </p:custDataLst>
          </p:nvPr>
        </p:nvSpPr>
        <p:spPr>
          <a:xfrm>
            <a:off x="9204923" y="130135"/>
            <a:ext cx="24046" cy="30778"/>
          </a:xfrm>
          <a:prstGeom prst="rect">
            <a:avLst/>
          </a:prstGeom>
        </p:spPr>
        <p:txBody>
          <a:bodyPr vert="horz" wrap="none" lIns="0" tIns="0" rIns="0" bIns="0" rtlCol="0" anchor="ctr">
            <a:spAutoFit/>
          </a:bodyPr>
          <a:lstStyle>
            <a:lvl1pPr algn="l">
              <a:defRPr sz="200" b="0">
                <a:solidFill>
                  <a:schemeClr val="bg1">
                    <a:lumMod val="75000"/>
                  </a:schemeClr>
                </a:solidFill>
                <a:latin typeface="+mn-lt"/>
                <a:cs typeface="+mn-cs"/>
                <a:sym typeface="+mn-lt"/>
              </a:defRPr>
            </a:lvl1pPr>
          </a:lstStyle>
          <a:p>
            <a:pPr fontAlgn="base">
              <a:spcBef>
                <a:spcPct val="0"/>
              </a:spcBef>
              <a:spcAft>
                <a:spcPct val="0"/>
              </a:spcAft>
            </a:pPr>
            <a:fld id="{01940DDA-0656-452C-A408-68789653BD9B}" type="slidenum">
              <a:rPr lang="en-US" smtClean="0">
                <a:solidFill>
                  <a:srgbClr val="FFFFFF">
                    <a:lumMod val="75000"/>
                  </a:srgbClr>
                </a:solidFill>
              </a:rPr>
              <a:pPr fontAlgn="base">
                <a:spcBef>
                  <a:spcPct val="0"/>
                </a:spcBef>
                <a:spcAft>
                  <a:spcPct val="0"/>
                </a:spcAft>
              </a:pPr>
              <a:t>‹#›</a:t>
            </a:fld>
            <a:endParaRPr lang="en-US" dirty="0">
              <a:solidFill>
                <a:srgbClr val="FFFFFF">
                  <a:lumMod val="75000"/>
                </a:srgbClr>
              </a:solidFill>
            </a:endParaRPr>
          </a:p>
        </p:txBody>
      </p:sp>
      <p:sp>
        <p:nvSpPr>
          <p:cNvPr id="4" name="Footer Placeholder" hidden="1"/>
          <p:cNvSpPr>
            <a:spLocks noGrp="1"/>
          </p:cNvSpPr>
          <p:nvPr>
            <p:ph type="ftr" sz="quarter" idx="12"/>
            <p:custDataLst>
              <p:tags r:id="rId2"/>
            </p:custDataLst>
          </p:nvPr>
        </p:nvSpPr>
        <p:spPr>
          <a:xfrm>
            <a:off x="9204945" y="171487"/>
            <a:ext cx="65" cy="30778"/>
          </a:xfrm>
          <a:prstGeom prst="rect">
            <a:avLst/>
          </a:prstGeom>
        </p:spPr>
        <p:txBody>
          <a:bodyPr vert="horz" wrap="none" lIns="0" tIns="0" rIns="0" bIns="0" rtlCol="0" anchor="t" anchorCtr="0">
            <a:spAutoFit/>
          </a:bodyPr>
          <a:lstStyle>
            <a:lvl1pPr algn="l" rtl="0" fontAlgn="base">
              <a:lnSpc>
                <a:spcPct val="100000"/>
              </a:lnSpc>
              <a:spcBef>
                <a:spcPts val="0"/>
              </a:spcBef>
              <a:spcAft>
                <a:spcPct val="0"/>
              </a:spcAft>
              <a:defRPr lang="en-US" sz="200" b="0" kern="1200" smtClean="0">
                <a:solidFill>
                  <a:schemeClr val="bg1">
                    <a:lumMod val="75000"/>
                  </a:schemeClr>
                </a:solidFill>
                <a:latin typeface="+mn-lt"/>
                <a:ea typeface="+mn-ea"/>
                <a:cs typeface="+mn-cs"/>
                <a:sym typeface="+mn-lt"/>
              </a:defRPr>
            </a:lvl1pPr>
          </a:lstStyle>
          <a:p>
            <a:endParaRPr lang="de-DE" dirty="0">
              <a:solidFill>
                <a:srgbClr val="FFFFFF">
                  <a:lumMod val="75000"/>
                </a:srgbClr>
              </a:solidFill>
            </a:endParaRPr>
          </a:p>
        </p:txBody>
      </p:sp>
    </p:spTree>
    <p:extLst>
      <p:ext uri="{BB962C8B-B14F-4D97-AF65-F5344CB8AC3E}">
        <p14:creationId xmlns:p14="http://schemas.microsoft.com/office/powerpoint/2010/main" xmlns="" val="777736062"/>
      </p:ext>
    </p:extLst>
  </p:cSld>
  <p:clrMapOvr>
    <a:masterClrMapping/>
  </p:clrMapOvr>
  <p:timing>
    <p:tnLst>
      <p:par>
        <p:cTn id="1" dur="indefinite" restart="never" nodeType="tmRoot"/>
      </p:par>
    </p:tnLst>
  </p:timing>
</p:sldLayout>
</file>

<file path=ppt/slideLayouts/slideLayout52.xml><?xml version="1.0" encoding="utf-8"?>
<p:sldLayout xmlns:a="http://schemas.openxmlformats.org/drawingml/2006/main" xmlns:r="http://schemas.openxmlformats.org/officeDocument/2006/relationships" xmlns:p="http://schemas.openxmlformats.org/presentationml/2006/main" userDrawn="1">
  <p:cSld name="Fond blanc">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1495" y="1194"/>
          <a:ext cx="1465" cy="1190"/>
        </p:xfrm>
        <a:graphic>
          <a:graphicData uri="http://schemas.openxmlformats.org/presentationml/2006/ole">
            <p:oleObj spid="_x0000_s2066" name="think-cell Slide" r:id="rId4" imgW="360" imgH="360" progId="">
              <p:embed/>
            </p:oleObj>
          </a:graphicData>
        </a:graphic>
      </p:graphicFrame>
      <p:sp>
        <p:nvSpPr>
          <p:cNvPr id="3" name="Rectangle 53"/>
          <p:cNvSpPr>
            <a:spLocks noChangeArrowheads="1"/>
          </p:cNvSpPr>
          <p:nvPr userDrawn="1"/>
        </p:nvSpPr>
        <p:spPr bwMode="auto">
          <a:xfrm>
            <a:off x="0" y="0"/>
            <a:ext cx="266700" cy="5143500"/>
          </a:xfrm>
          <a:prstGeom prst="rect">
            <a:avLst/>
          </a:prstGeom>
          <a:solidFill>
            <a:srgbClr val="09BAFF"/>
          </a:solidFill>
          <a:ln w="9525">
            <a:noFill/>
            <a:miter lim="800000"/>
            <a:headEnd/>
            <a:tailEnd/>
          </a:ln>
          <a:effectLst/>
        </p:spPr>
        <p:txBody>
          <a:bodyPr wrap="none" lIns="0" tIns="0" rIns="0" bIns="0" anchor="ctr"/>
          <a:lstStyle/>
          <a:p>
            <a:pPr defTabSz="816251">
              <a:defRPr/>
            </a:pPr>
            <a:endParaRPr lang="fr-FR" sz="1600" dirty="0">
              <a:solidFill>
                <a:srgbClr val="000000"/>
              </a:solidFill>
              <a:ea typeface="MS PGothic"/>
              <a:sym typeface="Arial Narrow"/>
            </a:endParaRPr>
          </a:p>
        </p:txBody>
      </p:sp>
      <p:sp>
        <p:nvSpPr>
          <p:cNvPr id="4" name="Rectangle 53"/>
          <p:cNvSpPr>
            <a:spLocks noChangeArrowheads="1"/>
          </p:cNvSpPr>
          <p:nvPr userDrawn="1"/>
        </p:nvSpPr>
        <p:spPr bwMode="auto">
          <a:xfrm>
            <a:off x="6550271" y="4"/>
            <a:ext cx="2593730" cy="964406"/>
          </a:xfrm>
          <a:prstGeom prst="rect">
            <a:avLst/>
          </a:prstGeom>
          <a:solidFill>
            <a:srgbClr val="09BAFF"/>
          </a:solidFill>
          <a:ln w="9525">
            <a:noFill/>
            <a:miter lim="800000"/>
            <a:headEnd/>
            <a:tailEnd/>
          </a:ln>
          <a:effectLst/>
        </p:spPr>
        <p:txBody>
          <a:bodyPr wrap="none" lIns="0" tIns="0" rIns="0" bIns="0" anchor="ctr"/>
          <a:lstStyle/>
          <a:p>
            <a:pPr defTabSz="816251">
              <a:defRPr/>
            </a:pPr>
            <a:endParaRPr lang="fr-FR" sz="1600" dirty="0">
              <a:solidFill>
                <a:srgbClr val="000000"/>
              </a:solidFill>
              <a:ea typeface="MS PGothic"/>
              <a:sym typeface="Arial Narrow"/>
            </a:endParaRPr>
          </a:p>
        </p:txBody>
      </p:sp>
      <p:sp>
        <p:nvSpPr>
          <p:cNvPr id="5" name="Rectangle 53"/>
          <p:cNvSpPr>
            <a:spLocks noChangeArrowheads="1"/>
          </p:cNvSpPr>
          <p:nvPr userDrawn="1"/>
        </p:nvSpPr>
        <p:spPr bwMode="auto">
          <a:xfrm>
            <a:off x="256510" y="4"/>
            <a:ext cx="6293763" cy="964406"/>
          </a:xfrm>
          <a:prstGeom prst="rect">
            <a:avLst/>
          </a:prstGeom>
          <a:solidFill>
            <a:schemeClr val="bg2"/>
          </a:solidFill>
          <a:ln w="9525">
            <a:noFill/>
            <a:miter lim="800000"/>
            <a:headEnd/>
            <a:tailEnd/>
          </a:ln>
          <a:effectLst/>
        </p:spPr>
        <p:txBody>
          <a:bodyPr wrap="none" lIns="0" tIns="0" rIns="0" bIns="0" anchor="ctr"/>
          <a:lstStyle/>
          <a:p>
            <a:pPr defTabSz="816251">
              <a:defRPr/>
            </a:pPr>
            <a:endParaRPr lang="fr-FR" sz="1600" dirty="0">
              <a:solidFill>
                <a:srgbClr val="000000"/>
              </a:solidFill>
              <a:ea typeface="MS PGothic"/>
              <a:sym typeface="Arial Narrow"/>
            </a:endParaRPr>
          </a:p>
        </p:txBody>
      </p:sp>
      <p:sp>
        <p:nvSpPr>
          <p:cNvPr id="8" name="Title 7"/>
          <p:cNvSpPr>
            <a:spLocks noGrp="1"/>
          </p:cNvSpPr>
          <p:nvPr>
            <p:ph type="title"/>
          </p:nvPr>
        </p:nvSpPr>
        <p:spPr>
          <a:xfrm>
            <a:off x="422038" y="157166"/>
            <a:ext cx="6021415" cy="579835"/>
          </a:xfrm>
        </p:spPr>
        <p:txBody>
          <a:bodyPr/>
          <a:lstStyle>
            <a:lvl1pPr>
              <a:defRPr>
                <a:solidFill>
                  <a:schemeClr val="bg1"/>
                </a:solidFill>
              </a:defRPr>
            </a:lvl1pPr>
          </a:lstStyle>
          <a:p>
            <a:r>
              <a:rPr lang="en-US" dirty="0" smtClean="0"/>
              <a:t>Click to edit Master title style</a:t>
            </a:r>
            <a:endParaRPr lang="en-US" dirty="0"/>
          </a:p>
        </p:txBody>
      </p:sp>
      <p:sp>
        <p:nvSpPr>
          <p:cNvPr id="9" name="Slide Number"/>
          <p:cNvSpPr txBox="1">
            <a:spLocks noChangeArrowheads="1"/>
          </p:cNvSpPr>
          <p:nvPr userDrawn="1"/>
        </p:nvSpPr>
        <p:spPr bwMode="auto">
          <a:xfrm>
            <a:off x="55131" y="5020611"/>
            <a:ext cx="155492" cy="123111"/>
          </a:xfrm>
          <a:prstGeom prst="rect">
            <a:avLst/>
          </a:prstGeom>
          <a:noFill/>
          <a:ln w="9525">
            <a:noFill/>
            <a:miter lim="800000"/>
            <a:headEnd/>
            <a:tailEnd/>
          </a:ln>
          <a:effectLst/>
        </p:spPr>
        <p:txBody>
          <a:bodyPr vert="horz" wrap="none" lIns="0" tIns="0" rIns="0" bIns="0" numCol="1" anchor="t" anchorCtr="0" compatLnSpc="1">
            <a:prstTxWarp prst="textNoShape">
              <a:avLst/>
            </a:prstTxWarp>
            <a:spAutoFit/>
          </a:bodyPr>
          <a:lstStyle>
            <a:lvl1pPr>
              <a:defRPr sz="900" b="0" smtClean="0"/>
            </a:lvl1pPr>
          </a:lstStyle>
          <a:p>
            <a:pPr algn="ctr" defTabSz="779252" fontAlgn="base">
              <a:spcBef>
                <a:spcPct val="0"/>
              </a:spcBef>
              <a:spcAft>
                <a:spcPct val="0"/>
              </a:spcAft>
              <a:defRPr/>
            </a:pPr>
            <a:r>
              <a:rPr lang="en-US" sz="800" dirty="0">
                <a:solidFill>
                  <a:srgbClr val="FFFFFF"/>
                </a:solidFill>
                <a:cs typeface="Arial" pitchFamily="34" charset="0"/>
              </a:rPr>
              <a:t>-</a:t>
            </a:r>
            <a:fld id="{7AA7B471-74A3-4F5F-8955-6C99E2375CAC}" type="slidenum">
              <a:rPr lang="en-US" sz="800">
                <a:solidFill>
                  <a:srgbClr val="FFFFFF"/>
                </a:solidFill>
                <a:cs typeface="Arial" pitchFamily="34" charset="0"/>
              </a:rPr>
              <a:pPr algn="ctr" defTabSz="779252" fontAlgn="base">
                <a:spcBef>
                  <a:spcPct val="0"/>
                </a:spcBef>
                <a:spcAft>
                  <a:spcPct val="0"/>
                </a:spcAft>
                <a:defRPr/>
              </a:pPr>
              <a:t>‹#›</a:t>
            </a:fld>
            <a:r>
              <a:rPr lang="en-US" sz="800" dirty="0">
                <a:solidFill>
                  <a:srgbClr val="FFFFFF"/>
                </a:solidFill>
                <a:cs typeface="Arial" pitchFamily="34" charset="0"/>
              </a:rPr>
              <a:t>-</a:t>
            </a:r>
          </a:p>
        </p:txBody>
      </p:sp>
    </p:spTree>
    <p:extLst>
      <p:ext uri="{BB962C8B-B14F-4D97-AF65-F5344CB8AC3E}">
        <p14:creationId xmlns:p14="http://schemas.microsoft.com/office/powerpoint/2010/main" xmlns="" val="2933033266"/>
      </p:ext>
    </p:extLst>
  </p:cSld>
  <p:clrMapOvr>
    <a:masterClrMapping/>
  </p:clrMapOvr>
  <p:timing>
    <p:tnLst>
      <p:par>
        <p:cTn id="1" dur="indefinite" restart="never" nodeType="tmRoot"/>
      </p:par>
    </p:tnLst>
  </p:timing>
</p:sldLayout>
</file>

<file path=ppt/slideLayouts/slideLayout53.xml><?xml version="1.0" encoding="utf-8"?>
<p:sldLayout xmlns:a="http://schemas.openxmlformats.org/drawingml/2006/main" xmlns:r="http://schemas.openxmlformats.org/officeDocument/2006/relationships" xmlns:p="http://schemas.openxmlformats.org/presentationml/2006/main" userDrawn="1">
  <p:cSld name="Landscape (Fullscreen)">
    <p:spTree>
      <p:nvGrpSpPr>
        <p:cNvPr id="1" name=""/>
        <p:cNvGrpSpPr/>
        <p:nvPr/>
      </p:nvGrpSpPr>
      <p:grpSpPr>
        <a:xfrm>
          <a:off x="0" y="0"/>
          <a:ext cx="0" cy="0"/>
          <a:chOff x="0" y="0"/>
          <a:chExt cx="0" cy="0"/>
        </a:xfrm>
      </p:grpSpPr>
    </p:spTree>
    <p:extLst>
      <p:ext uri="{BB962C8B-B14F-4D97-AF65-F5344CB8AC3E}">
        <p14:creationId xmlns:p14="http://schemas.microsoft.com/office/powerpoint/2010/main" xmlns="" val="766848572"/>
      </p:ext>
    </p:extLst>
  </p:cSld>
  <p:clrMapOvr>
    <a:masterClrMapping/>
  </p:clrMapOvr>
  <p:transition>
    <p:fade/>
  </p:transition>
  <p:timing>
    <p:tnLst>
      <p:par>
        <p:cTn id="1" dur="indefinite" restart="never" nodeType="tmRoot"/>
      </p:par>
    </p:tnLst>
  </p:timing>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Slide Number Placeholder" hidden="1"/>
          <p:cNvSpPr>
            <a:spLocks noGrp="1"/>
          </p:cNvSpPr>
          <p:nvPr>
            <p:ph type="sldNum" sz="quarter" idx="11"/>
            <p:custDataLst>
              <p:tags r:id="rId1"/>
            </p:custDataLst>
          </p:nvPr>
        </p:nvSpPr>
        <p:spPr>
          <a:xfrm>
            <a:off x="9204923" y="130135"/>
            <a:ext cx="24046" cy="30778"/>
          </a:xfrm>
          <a:prstGeom prst="rect">
            <a:avLst/>
          </a:prstGeom>
        </p:spPr>
        <p:txBody>
          <a:bodyPr vert="horz" wrap="none" lIns="0" tIns="0" rIns="0" bIns="0" rtlCol="0" anchor="ctr">
            <a:spAutoFit/>
          </a:bodyPr>
          <a:lstStyle>
            <a:lvl1pPr algn="l">
              <a:defRPr sz="200" b="0">
                <a:solidFill>
                  <a:schemeClr val="bg1">
                    <a:lumMod val="75000"/>
                  </a:schemeClr>
                </a:solidFill>
                <a:latin typeface="+mn-lt"/>
                <a:cs typeface="+mn-cs"/>
                <a:sym typeface="+mn-lt"/>
              </a:defRPr>
            </a:lvl1pPr>
          </a:lstStyle>
          <a:p>
            <a:pPr fontAlgn="base">
              <a:spcBef>
                <a:spcPct val="0"/>
              </a:spcBef>
              <a:spcAft>
                <a:spcPct val="0"/>
              </a:spcAft>
            </a:pPr>
            <a:fld id="{01940DDA-0656-452C-A408-68789653BD9B}" type="slidenum">
              <a:rPr lang="en-US" smtClean="0">
                <a:solidFill>
                  <a:srgbClr val="FFFFFF">
                    <a:lumMod val="75000"/>
                  </a:srgbClr>
                </a:solidFill>
              </a:rPr>
              <a:pPr fontAlgn="base">
                <a:spcBef>
                  <a:spcPct val="0"/>
                </a:spcBef>
                <a:spcAft>
                  <a:spcPct val="0"/>
                </a:spcAft>
              </a:pPr>
              <a:t>‹#›</a:t>
            </a:fld>
            <a:endParaRPr lang="en-US" dirty="0">
              <a:solidFill>
                <a:srgbClr val="FFFFFF">
                  <a:lumMod val="75000"/>
                </a:srgbClr>
              </a:solidFill>
            </a:endParaRPr>
          </a:p>
        </p:txBody>
      </p:sp>
      <p:sp>
        <p:nvSpPr>
          <p:cNvPr id="4" name="Footer Placeholder" hidden="1"/>
          <p:cNvSpPr>
            <a:spLocks noGrp="1"/>
          </p:cNvSpPr>
          <p:nvPr>
            <p:ph type="ftr" sz="quarter" idx="12"/>
            <p:custDataLst>
              <p:tags r:id="rId2"/>
            </p:custDataLst>
          </p:nvPr>
        </p:nvSpPr>
        <p:spPr>
          <a:xfrm>
            <a:off x="9204945" y="171487"/>
            <a:ext cx="65" cy="30778"/>
          </a:xfrm>
          <a:prstGeom prst="rect">
            <a:avLst/>
          </a:prstGeom>
        </p:spPr>
        <p:txBody>
          <a:bodyPr vert="horz" wrap="none" lIns="0" tIns="0" rIns="0" bIns="0" rtlCol="0" anchor="t" anchorCtr="0">
            <a:spAutoFit/>
          </a:bodyPr>
          <a:lstStyle>
            <a:lvl1pPr algn="l" rtl="0" fontAlgn="base">
              <a:lnSpc>
                <a:spcPct val="100000"/>
              </a:lnSpc>
              <a:spcBef>
                <a:spcPts val="0"/>
              </a:spcBef>
              <a:spcAft>
                <a:spcPct val="0"/>
              </a:spcAft>
              <a:defRPr lang="en-US" sz="200" b="0" kern="1200" smtClean="0">
                <a:solidFill>
                  <a:schemeClr val="bg1">
                    <a:lumMod val="75000"/>
                  </a:schemeClr>
                </a:solidFill>
                <a:latin typeface="+mn-lt"/>
                <a:ea typeface="+mn-ea"/>
                <a:cs typeface="+mn-cs"/>
                <a:sym typeface="+mn-lt"/>
              </a:defRPr>
            </a:lvl1pPr>
          </a:lstStyle>
          <a:p>
            <a:endParaRPr lang="de-DE" dirty="0">
              <a:solidFill>
                <a:srgbClr val="FFFFFF">
                  <a:lumMod val="75000"/>
                </a:srgbClr>
              </a:solidFill>
            </a:endParaRPr>
          </a:p>
        </p:txBody>
      </p:sp>
      <p:sp>
        <p:nvSpPr>
          <p:cNvPr id="2" name="Title 1"/>
          <p:cNvSpPr>
            <a:spLocks noGrp="1"/>
          </p:cNvSpPr>
          <p:nvPr>
            <p:ph type="title"/>
          </p:nvPr>
        </p:nvSpPr>
        <p:spPr>
          <a:xfrm>
            <a:off x="681231" y="540008"/>
            <a:ext cx="7879374" cy="560923"/>
          </a:xfrm>
        </p:spPr>
        <p:txBody>
          <a:bodyPr/>
          <a:lstStyle>
            <a:lvl1pPr>
              <a:tabLst>
                <a:tab pos="1067413" algn="l"/>
              </a:tabLst>
              <a:defRPr>
                <a:latin typeface="+mj-lt"/>
                <a:sym typeface="+mn-lt"/>
              </a:defRPr>
            </a:lvl1pPr>
          </a:lstStyle>
          <a:p>
            <a:r>
              <a:rPr lang="en-US" dirty="0" smtClean="0"/>
              <a:t>Click to edit Master title style</a:t>
            </a:r>
            <a:endParaRPr lang="en-US" dirty="0"/>
          </a:p>
        </p:txBody>
      </p:sp>
    </p:spTree>
    <p:extLst>
      <p:ext uri="{BB962C8B-B14F-4D97-AF65-F5344CB8AC3E}">
        <p14:creationId xmlns:p14="http://schemas.microsoft.com/office/powerpoint/2010/main" xmlns="" val="2822182002"/>
      </p:ext>
    </p:extLst>
  </p:cSld>
  <p:clrMapOvr>
    <a:masterClrMapping/>
  </p:clrMapOvr>
  <p:timing>
    <p:tnLst>
      <p:par>
        <p:cTn id="1" dur="indefinite" restart="never" nodeType="tmRoot"/>
      </p:par>
    </p:tnLst>
  </p:timing>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12" name="Slide Number Placeholder" hidden="1"/>
          <p:cNvSpPr>
            <a:spLocks noGrp="1"/>
          </p:cNvSpPr>
          <p:nvPr>
            <p:ph type="sldNum" sz="quarter" idx="11"/>
            <p:custDataLst>
              <p:tags r:id="rId1"/>
            </p:custDataLst>
          </p:nvPr>
        </p:nvSpPr>
        <p:spPr>
          <a:xfrm>
            <a:off x="9204923" y="130135"/>
            <a:ext cx="24046" cy="30778"/>
          </a:xfrm>
          <a:prstGeom prst="rect">
            <a:avLst/>
          </a:prstGeom>
        </p:spPr>
        <p:txBody>
          <a:bodyPr vert="horz" wrap="none" lIns="0" tIns="0" rIns="0" bIns="0" rtlCol="0" anchor="ctr">
            <a:spAutoFit/>
          </a:bodyPr>
          <a:lstStyle>
            <a:lvl1pPr algn="l">
              <a:defRPr sz="200" b="0">
                <a:solidFill>
                  <a:schemeClr val="bg1">
                    <a:lumMod val="75000"/>
                  </a:schemeClr>
                </a:solidFill>
                <a:latin typeface="+mn-lt"/>
                <a:cs typeface="+mn-cs"/>
                <a:sym typeface="+mn-lt"/>
              </a:defRPr>
            </a:lvl1pPr>
          </a:lstStyle>
          <a:p>
            <a:pPr fontAlgn="base">
              <a:spcBef>
                <a:spcPct val="0"/>
              </a:spcBef>
              <a:spcAft>
                <a:spcPct val="0"/>
              </a:spcAft>
            </a:pPr>
            <a:fld id="{01940DDA-0656-452C-A408-68789653BD9B}" type="slidenum">
              <a:rPr lang="en-US" smtClean="0">
                <a:solidFill>
                  <a:srgbClr val="FFFFFF">
                    <a:lumMod val="75000"/>
                  </a:srgbClr>
                </a:solidFill>
              </a:rPr>
              <a:pPr fontAlgn="base">
                <a:spcBef>
                  <a:spcPct val="0"/>
                </a:spcBef>
                <a:spcAft>
                  <a:spcPct val="0"/>
                </a:spcAft>
              </a:pPr>
              <a:t>‹#›</a:t>
            </a:fld>
            <a:endParaRPr lang="en-US" dirty="0">
              <a:solidFill>
                <a:srgbClr val="FFFFFF">
                  <a:lumMod val="75000"/>
                </a:srgbClr>
              </a:solidFill>
            </a:endParaRPr>
          </a:p>
        </p:txBody>
      </p:sp>
      <p:sp>
        <p:nvSpPr>
          <p:cNvPr id="13" name="Footer Placeholder" hidden="1"/>
          <p:cNvSpPr>
            <a:spLocks noGrp="1"/>
          </p:cNvSpPr>
          <p:nvPr>
            <p:ph type="ftr" sz="quarter" idx="10"/>
            <p:custDataLst>
              <p:tags r:id="rId2"/>
            </p:custDataLst>
          </p:nvPr>
        </p:nvSpPr>
        <p:spPr>
          <a:xfrm>
            <a:off x="9204945" y="171487"/>
            <a:ext cx="65" cy="30778"/>
          </a:xfrm>
          <a:prstGeom prst="rect">
            <a:avLst/>
          </a:prstGeom>
        </p:spPr>
        <p:txBody>
          <a:bodyPr vert="horz" wrap="none" lIns="0" tIns="0" rIns="0" bIns="0" rtlCol="0" anchor="t" anchorCtr="0">
            <a:spAutoFit/>
          </a:bodyPr>
          <a:lstStyle>
            <a:lvl1pPr algn="l" rtl="0" fontAlgn="base">
              <a:lnSpc>
                <a:spcPct val="100000"/>
              </a:lnSpc>
              <a:spcBef>
                <a:spcPts val="0"/>
              </a:spcBef>
              <a:spcAft>
                <a:spcPct val="0"/>
              </a:spcAft>
              <a:defRPr lang="en-US" sz="200" b="0" kern="1200" smtClean="0">
                <a:solidFill>
                  <a:schemeClr val="bg1">
                    <a:lumMod val="75000"/>
                  </a:schemeClr>
                </a:solidFill>
                <a:latin typeface="+mn-lt"/>
                <a:ea typeface="+mn-ea"/>
                <a:cs typeface="+mn-cs"/>
                <a:sym typeface="+mn-lt"/>
              </a:defRPr>
            </a:lvl1pPr>
          </a:lstStyle>
          <a:p>
            <a:endParaRPr lang="de-DE" dirty="0">
              <a:solidFill>
                <a:srgbClr val="FFFFFF">
                  <a:lumMod val="75000"/>
                </a:srgbClr>
              </a:solidFill>
            </a:endParaRPr>
          </a:p>
        </p:txBody>
      </p:sp>
      <p:sp>
        <p:nvSpPr>
          <p:cNvPr id="4" name="Text Placeholder 3"/>
          <p:cNvSpPr>
            <a:spLocks noGrp="1"/>
          </p:cNvSpPr>
          <p:nvPr>
            <p:ph type="body" sz="quarter" idx="12" hasCustomPrompt="1"/>
          </p:nvPr>
        </p:nvSpPr>
        <p:spPr>
          <a:xfrm>
            <a:off x="681231" y="1282500"/>
            <a:ext cx="7879374" cy="1189556"/>
          </a:xfrm>
        </p:spPr>
        <p:txBody>
          <a:bodyPr/>
          <a:lstStyle>
            <a:lvl1pPr>
              <a:defRPr>
                <a:solidFill>
                  <a:schemeClr val="tx2"/>
                </a:solidFill>
                <a:latin typeface="+mn-lt"/>
                <a:sym typeface="+mn-lt"/>
              </a:defRPr>
            </a:lvl1pPr>
            <a:lvl2pPr>
              <a:defRPr>
                <a:solidFill>
                  <a:schemeClr val="tx2"/>
                </a:solidFill>
                <a:latin typeface="+mn-lt"/>
                <a:sym typeface="+mn-lt"/>
              </a:defRPr>
            </a:lvl2pPr>
            <a:lvl3pPr>
              <a:defRPr>
                <a:solidFill>
                  <a:schemeClr val="tx2"/>
                </a:solidFill>
                <a:latin typeface="+mn-lt"/>
                <a:sym typeface="+mn-lt"/>
              </a:defRPr>
            </a:lvl3pPr>
            <a:lvl4pPr>
              <a:defRPr>
                <a:solidFill>
                  <a:schemeClr val="tx2"/>
                </a:solidFill>
                <a:latin typeface="+mn-lt"/>
                <a:sym typeface="+mn-lt"/>
              </a:defRPr>
            </a:lvl4pPr>
          </a:lstStyle>
          <a:p>
            <a:pPr lvl="0"/>
            <a:r>
              <a:rPr lang="en-US" dirty="0" smtClean="0"/>
              <a:t>Click to edit Master text styles – Level 0</a:t>
            </a:r>
          </a:p>
          <a:p>
            <a:pPr lvl="1"/>
            <a:r>
              <a:rPr lang="en-US" dirty="0" smtClean="0"/>
              <a:t>Level 1</a:t>
            </a:r>
          </a:p>
          <a:p>
            <a:pPr lvl="2"/>
            <a:r>
              <a:rPr lang="en-US" dirty="0" smtClean="0"/>
              <a:t>Level 2</a:t>
            </a:r>
          </a:p>
          <a:p>
            <a:pPr lvl="3"/>
            <a:r>
              <a:rPr lang="en-US" dirty="0" smtClean="0"/>
              <a:t>Level 3</a:t>
            </a:r>
          </a:p>
        </p:txBody>
      </p:sp>
      <p:sp>
        <p:nvSpPr>
          <p:cNvPr id="2" name="Title 1"/>
          <p:cNvSpPr>
            <a:spLocks noGrp="1"/>
          </p:cNvSpPr>
          <p:nvPr>
            <p:ph type="title"/>
          </p:nvPr>
        </p:nvSpPr>
        <p:spPr>
          <a:xfrm>
            <a:off x="681231" y="540008"/>
            <a:ext cx="7879374" cy="560923"/>
          </a:xfrm>
        </p:spPr>
        <p:txBody>
          <a:bodyPr/>
          <a:lstStyle>
            <a:lvl1pPr>
              <a:defRPr>
                <a:latin typeface="+mj-lt"/>
                <a:sym typeface="+mn-lt"/>
              </a:defRPr>
            </a:lvl1pPr>
          </a:lstStyle>
          <a:p>
            <a:r>
              <a:rPr lang="en-US" smtClean="0"/>
              <a:t>Click to edit Master title style</a:t>
            </a:r>
            <a:endParaRPr lang="en-US" dirty="0"/>
          </a:p>
        </p:txBody>
      </p:sp>
    </p:spTree>
    <p:extLst>
      <p:ext uri="{BB962C8B-B14F-4D97-AF65-F5344CB8AC3E}">
        <p14:creationId xmlns:p14="http://schemas.microsoft.com/office/powerpoint/2010/main" xmlns="" val="3163728817"/>
      </p:ext>
    </p:extLst>
  </p:cSld>
  <p:clrMapOvr>
    <a:masterClrMapping/>
  </p:clrMapOvr>
  <p:timing>
    <p:tnLst>
      <p:par>
        <p:cTn id="1" dur="indefinite" restart="never" nodeType="tmRoot"/>
      </p:par>
    </p:tnLst>
  </p:timing>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2"/>
        </a:solidFill>
        <a:effectLst/>
      </p:bgPr>
    </p:bg>
    <p:spTree>
      <p:nvGrpSpPr>
        <p:cNvPr id="1" name=""/>
        <p:cNvGrpSpPr/>
        <p:nvPr/>
      </p:nvGrpSpPr>
      <p:grpSpPr>
        <a:xfrm>
          <a:off x="0" y="0"/>
          <a:ext cx="0" cy="0"/>
          <a:chOff x="0" y="0"/>
          <a:chExt cx="0" cy="0"/>
        </a:xfrm>
      </p:grpSpPr>
      <p:sp>
        <p:nvSpPr>
          <p:cNvPr id="5" name="Slide Number Placeholder" hidden="1"/>
          <p:cNvSpPr>
            <a:spLocks noGrp="1"/>
          </p:cNvSpPr>
          <p:nvPr>
            <p:ph type="sldNum" sz="quarter" idx="11"/>
            <p:custDataLst>
              <p:tags r:id="rId1"/>
            </p:custDataLst>
          </p:nvPr>
        </p:nvSpPr>
        <p:spPr>
          <a:xfrm>
            <a:off x="9204923" y="130135"/>
            <a:ext cx="24046" cy="30778"/>
          </a:xfrm>
          <a:prstGeom prst="rect">
            <a:avLst/>
          </a:prstGeom>
        </p:spPr>
        <p:txBody>
          <a:bodyPr vert="horz" wrap="none" lIns="0" tIns="0" rIns="0" bIns="0" rtlCol="0" anchor="ctr">
            <a:spAutoFit/>
          </a:bodyPr>
          <a:lstStyle>
            <a:lvl1pPr algn="l">
              <a:defRPr sz="200" b="0">
                <a:solidFill>
                  <a:schemeClr val="bg1">
                    <a:lumMod val="75000"/>
                  </a:schemeClr>
                </a:solidFill>
                <a:latin typeface="+mn-lt"/>
                <a:cs typeface="+mn-cs"/>
                <a:sym typeface="+mn-lt"/>
              </a:defRPr>
            </a:lvl1pPr>
          </a:lstStyle>
          <a:p>
            <a:pPr fontAlgn="base">
              <a:spcBef>
                <a:spcPct val="0"/>
              </a:spcBef>
              <a:spcAft>
                <a:spcPct val="0"/>
              </a:spcAft>
            </a:pPr>
            <a:fld id="{01940DDA-0656-452C-A408-68789653BD9B}" type="slidenum">
              <a:rPr lang="en-US" smtClean="0">
                <a:solidFill>
                  <a:srgbClr val="FFFFFF">
                    <a:lumMod val="75000"/>
                  </a:srgbClr>
                </a:solidFill>
              </a:rPr>
              <a:pPr fontAlgn="base">
                <a:spcBef>
                  <a:spcPct val="0"/>
                </a:spcBef>
                <a:spcAft>
                  <a:spcPct val="0"/>
                </a:spcAft>
              </a:pPr>
              <a:t>‹#›</a:t>
            </a:fld>
            <a:endParaRPr lang="en-US" dirty="0">
              <a:solidFill>
                <a:srgbClr val="FFFFFF">
                  <a:lumMod val="75000"/>
                </a:srgbClr>
              </a:solidFill>
            </a:endParaRPr>
          </a:p>
        </p:txBody>
      </p:sp>
      <p:sp>
        <p:nvSpPr>
          <p:cNvPr id="6" name="Footer Placeholder" hidden="1"/>
          <p:cNvSpPr>
            <a:spLocks noGrp="1"/>
          </p:cNvSpPr>
          <p:nvPr>
            <p:ph type="ftr" sz="quarter" idx="12"/>
            <p:custDataLst>
              <p:tags r:id="rId2"/>
            </p:custDataLst>
          </p:nvPr>
        </p:nvSpPr>
        <p:spPr>
          <a:xfrm>
            <a:off x="9204945" y="171487"/>
            <a:ext cx="65" cy="30778"/>
          </a:xfrm>
          <a:prstGeom prst="rect">
            <a:avLst/>
          </a:prstGeom>
        </p:spPr>
        <p:txBody>
          <a:bodyPr vert="horz" wrap="none" lIns="0" tIns="0" rIns="0" bIns="0" rtlCol="0" anchor="t" anchorCtr="0">
            <a:spAutoFit/>
          </a:bodyPr>
          <a:lstStyle>
            <a:lvl1pPr algn="l" rtl="0" fontAlgn="base">
              <a:lnSpc>
                <a:spcPct val="100000"/>
              </a:lnSpc>
              <a:spcBef>
                <a:spcPts val="0"/>
              </a:spcBef>
              <a:spcAft>
                <a:spcPct val="0"/>
              </a:spcAft>
              <a:defRPr lang="en-US" sz="200" b="0" kern="1200" smtClean="0">
                <a:solidFill>
                  <a:schemeClr val="bg1">
                    <a:lumMod val="75000"/>
                  </a:schemeClr>
                </a:solidFill>
                <a:latin typeface="+mn-lt"/>
                <a:ea typeface="+mn-ea"/>
                <a:cs typeface="+mn-cs"/>
                <a:sym typeface="+mn-lt"/>
              </a:defRPr>
            </a:lvl1pPr>
          </a:lstStyle>
          <a:p>
            <a:endParaRPr lang="de-DE" dirty="0">
              <a:solidFill>
                <a:srgbClr val="FFFFFF">
                  <a:lumMod val="75000"/>
                </a:srgbClr>
              </a:solidFill>
            </a:endParaRPr>
          </a:p>
        </p:txBody>
      </p:sp>
      <p:grpSp>
        <p:nvGrpSpPr>
          <p:cNvPr id="30" name="Position Lines"/>
          <p:cNvGrpSpPr/>
          <p:nvPr userDrawn="1"/>
        </p:nvGrpSpPr>
        <p:grpSpPr>
          <a:xfrm>
            <a:off x="332308" y="5164931"/>
            <a:ext cx="3160246" cy="54000"/>
            <a:chOff x="360000" y="6886575"/>
            <a:chExt cx="3423600" cy="72000"/>
          </a:xfrm>
        </p:grpSpPr>
        <p:sp>
          <p:nvSpPr>
            <p:cNvPr id="21" name="Line"/>
            <p:cNvSpPr>
              <a:spLocks noChangeShapeType="1"/>
            </p:cNvSpPr>
            <p:nvPr>
              <p:custDataLst>
                <p:tags r:id="rId3"/>
              </p:custDataLst>
            </p:nvPr>
          </p:nvSpPr>
          <p:spPr bwMode="auto">
            <a:xfrm>
              <a:off x="360000" y="6886575"/>
              <a:ext cx="0" cy="72000"/>
            </a:xfrm>
            <a:prstGeom prst="line">
              <a:avLst/>
            </a:prstGeom>
            <a:noFill/>
            <a:ln w="3175" cmpd="sng">
              <a:solidFill>
                <a:schemeClr val="accent1"/>
              </a:solidFill>
              <a:round/>
              <a:headEnd/>
              <a:tailEnd/>
            </a:ln>
            <a:effectLst/>
          </p:spPr>
          <p:txBody>
            <a:bodyPr/>
            <a:lstStyle/>
            <a:p>
              <a:pPr fontAlgn="base">
                <a:spcBef>
                  <a:spcPct val="0"/>
                </a:spcBef>
                <a:spcAft>
                  <a:spcPct val="0"/>
                </a:spcAft>
              </a:pPr>
              <a:endParaRPr lang="en-US" sz="1100" b="1" dirty="0">
                <a:solidFill>
                  <a:srgbClr val="000000"/>
                </a:solidFill>
                <a:sym typeface="+mn-lt"/>
              </a:endParaRPr>
            </a:p>
          </p:txBody>
        </p:sp>
        <p:sp>
          <p:nvSpPr>
            <p:cNvPr id="22" name="Line"/>
            <p:cNvSpPr>
              <a:spLocks noChangeShapeType="1"/>
            </p:cNvSpPr>
            <p:nvPr>
              <p:custDataLst>
                <p:tags r:id="rId4"/>
              </p:custDataLst>
            </p:nvPr>
          </p:nvSpPr>
          <p:spPr bwMode="auto">
            <a:xfrm>
              <a:off x="890814" y="6886575"/>
              <a:ext cx="0" cy="72000"/>
            </a:xfrm>
            <a:prstGeom prst="line">
              <a:avLst/>
            </a:prstGeom>
            <a:noFill/>
            <a:ln w="3175" cmpd="sng">
              <a:solidFill>
                <a:schemeClr val="accent1"/>
              </a:solidFill>
              <a:round/>
              <a:headEnd/>
              <a:tailEnd/>
            </a:ln>
            <a:effectLst/>
          </p:spPr>
          <p:txBody>
            <a:bodyPr/>
            <a:lstStyle/>
            <a:p>
              <a:pPr fontAlgn="base">
                <a:spcBef>
                  <a:spcPct val="0"/>
                </a:spcBef>
                <a:spcAft>
                  <a:spcPct val="0"/>
                </a:spcAft>
              </a:pPr>
              <a:endParaRPr lang="en-US" sz="1100" b="1" dirty="0">
                <a:solidFill>
                  <a:srgbClr val="000000"/>
                </a:solidFill>
                <a:sym typeface="+mn-lt"/>
              </a:endParaRPr>
            </a:p>
          </p:txBody>
        </p:sp>
        <p:sp>
          <p:nvSpPr>
            <p:cNvPr id="23" name="Line"/>
            <p:cNvSpPr>
              <a:spLocks noChangeShapeType="1"/>
            </p:cNvSpPr>
            <p:nvPr userDrawn="1">
              <p:custDataLst>
                <p:tags r:id="rId5"/>
              </p:custDataLst>
            </p:nvPr>
          </p:nvSpPr>
          <p:spPr bwMode="auto">
            <a:xfrm>
              <a:off x="1174135" y="6886575"/>
              <a:ext cx="0" cy="72000"/>
            </a:xfrm>
            <a:prstGeom prst="line">
              <a:avLst/>
            </a:prstGeom>
            <a:noFill/>
            <a:ln w="3175" cmpd="sng">
              <a:solidFill>
                <a:schemeClr val="accent1"/>
              </a:solidFill>
              <a:round/>
              <a:headEnd/>
              <a:tailEnd/>
            </a:ln>
            <a:effectLst/>
          </p:spPr>
          <p:txBody>
            <a:bodyPr/>
            <a:lstStyle/>
            <a:p>
              <a:pPr fontAlgn="base">
                <a:spcBef>
                  <a:spcPct val="0"/>
                </a:spcBef>
                <a:spcAft>
                  <a:spcPct val="0"/>
                </a:spcAft>
              </a:pPr>
              <a:endParaRPr lang="en-US" sz="1100" b="1" dirty="0">
                <a:solidFill>
                  <a:srgbClr val="000000"/>
                </a:solidFill>
                <a:sym typeface="+mn-lt"/>
              </a:endParaRPr>
            </a:p>
          </p:txBody>
        </p:sp>
        <p:sp>
          <p:nvSpPr>
            <p:cNvPr id="36" name="Line"/>
            <p:cNvSpPr>
              <a:spLocks noChangeShapeType="1"/>
            </p:cNvSpPr>
            <p:nvPr userDrawn="1">
              <p:custDataLst>
                <p:tags r:id="rId6"/>
              </p:custDataLst>
            </p:nvPr>
          </p:nvSpPr>
          <p:spPr bwMode="auto">
            <a:xfrm>
              <a:off x="3504355" y="6886575"/>
              <a:ext cx="0" cy="72000"/>
            </a:xfrm>
            <a:prstGeom prst="line">
              <a:avLst/>
            </a:prstGeom>
            <a:noFill/>
            <a:ln w="3175" cmpd="sng">
              <a:solidFill>
                <a:schemeClr val="accent1"/>
              </a:solidFill>
              <a:round/>
              <a:headEnd/>
              <a:tailEnd/>
            </a:ln>
            <a:effectLst/>
          </p:spPr>
          <p:txBody>
            <a:bodyPr/>
            <a:lstStyle/>
            <a:p>
              <a:pPr fontAlgn="base">
                <a:spcBef>
                  <a:spcPct val="0"/>
                </a:spcBef>
                <a:spcAft>
                  <a:spcPct val="0"/>
                </a:spcAft>
              </a:pPr>
              <a:endParaRPr lang="en-US" sz="1100" b="1" dirty="0">
                <a:solidFill>
                  <a:srgbClr val="000000"/>
                </a:solidFill>
                <a:sym typeface="+mn-lt"/>
              </a:endParaRPr>
            </a:p>
          </p:txBody>
        </p:sp>
        <p:sp>
          <p:nvSpPr>
            <p:cNvPr id="37" name="Line"/>
            <p:cNvSpPr>
              <a:spLocks noChangeShapeType="1"/>
            </p:cNvSpPr>
            <p:nvPr userDrawn="1">
              <p:custDataLst>
                <p:tags r:id="rId7"/>
              </p:custDataLst>
            </p:nvPr>
          </p:nvSpPr>
          <p:spPr bwMode="auto">
            <a:xfrm>
              <a:off x="3783600" y="6886575"/>
              <a:ext cx="0" cy="72000"/>
            </a:xfrm>
            <a:prstGeom prst="line">
              <a:avLst/>
            </a:prstGeom>
            <a:noFill/>
            <a:ln w="3175" cmpd="sng">
              <a:solidFill>
                <a:schemeClr val="accent1"/>
              </a:solidFill>
              <a:round/>
              <a:headEnd/>
              <a:tailEnd/>
            </a:ln>
            <a:effectLst/>
          </p:spPr>
          <p:txBody>
            <a:bodyPr/>
            <a:lstStyle/>
            <a:p>
              <a:pPr fontAlgn="base">
                <a:spcBef>
                  <a:spcPct val="0"/>
                </a:spcBef>
                <a:spcAft>
                  <a:spcPct val="0"/>
                </a:spcAft>
              </a:pPr>
              <a:endParaRPr lang="en-US" sz="1100" b="1" dirty="0">
                <a:solidFill>
                  <a:srgbClr val="000000"/>
                </a:solidFill>
                <a:sym typeface="+mn-lt"/>
              </a:endParaRPr>
            </a:p>
          </p:txBody>
        </p:sp>
      </p:grpSp>
      <p:sp>
        <p:nvSpPr>
          <p:cNvPr id="2" name="Title"/>
          <p:cNvSpPr>
            <a:spLocks noGrp="1"/>
          </p:cNvSpPr>
          <p:nvPr>
            <p:ph type="title" hasCustomPrompt="1"/>
          </p:nvPr>
        </p:nvSpPr>
        <p:spPr>
          <a:xfrm>
            <a:off x="0" y="3648853"/>
            <a:ext cx="3492554" cy="938125"/>
          </a:xfrm>
        </p:spPr>
        <p:txBody>
          <a:bodyPr wrap="square" lIns="306792" tIns="0" rIns="214754" bIns="613584" anchor="b" anchorCtr="0">
            <a:spAutoFit/>
          </a:bodyPr>
          <a:lstStyle>
            <a:lvl1pPr marL="450505" indent="-450505" algn="l">
              <a:tabLst>
                <a:tab pos="692668" algn="l"/>
              </a:tabLst>
              <a:defRPr>
                <a:latin typeface="+mj-lt"/>
                <a:sym typeface="+mn-lt"/>
              </a:defRPr>
            </a:lvl1pPr>
          </a:lstStyle>
          <a:p>
            <a:r>
              <a:rPr lang="en-US" dirty="0" smtClean="0"/>
              <a:t>A.   Click to edit text</a:t>
            </a:r>
            <a:endParaRPr lang="de-DE" dirty="0"/>
          </a:p>
        </p:txBody>
      </p:sp>
      <p:sp>
        <p:nvSpPr>
          <p:cNvPr id="4" name="Client name"/>
          <p:cNvSpPr>
            <a:spLocks noGrp="1"/>
          </p:cNvSpPr>
          <p:nvPr>
            <p:ph type="body" sz="quarter" idx="13" hasCustomPrompt="1"/>
          </p:nvPr>
        </p:nvSpPr>
        <p:spPr>
          <a:xfrm>
            <a:off x="822290" y="405001"/>
            <a:ext cx="2670264" cy="484748"/>
          </a:xfrm>
        </p:spPr>
        <p:txBody>
          <a:bodyPr>
            <a:noAutofit/>
          </a:bodyPr>
          <a:lstStyle>
            <a:lvl1pPr>
              <a:lnSpc>
                <a:spcPct val="100000"/>
              </a:lnSpc>
              <a:defRPr>
                <a:latin typeface="+mn-lt"/>
                <a:sym typeface="+mn-lt"/>
              </a:defRPr>
            </a:lvl1pPr>
          </a:lstStyle>
          <a:p>
            <a:pPr lvl="0"/>
            <a:r>
              <a:rPr lang="en-US" dirty="0" smtClean="0"/>
              <a:t>Client logo/name</a:t>
            </a:r>
          </a:p>
        </p:txBody>
      </p:sp>
    </p:spTree>
    <p:extLst>
      <p:ext uri="{BB962C8B-B14F-4D97-AF65-F5344CB8AC3E}">
        <p14:creationId xmlns:p14="http://schemas.microsoft.com/office/powerpoint/2010/main" xmlns="" val="2200693108"/>
      </p:ext>
    </p:extLst>
  </p:cSld>
  <p:clrMapOvr>
    <a:masterClrMapping/>
  </p:clrMapOvr>
  <p:timing>
    <p:tnLst>
      <p:par>
        <p:cTn id="1" dur="indefinite" restart="never" nodeType="tmRoot"/>
      </p:par>
    </p:tnLst>
  </p:timing>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Cover Page">
    <p:bg>
      <p:bgPr>
        <a:solidFill>
          <a:schemeClr val="accent2"/>
        </a:solidFill>
        <a:effectLst/>
      </p:bgPr>
    </p:bg>
    <p:spTree>
      <p:nvGrpSpPr>
        <p:cNvPr id="1" name=""/>
        <p:cNvGrpSpPr/>
        <p:nvPr/>
      </p:nvGrpSpPr>
      <p:grpSpPr>
        <a:xfrm>
          <a:off x="0" y="0"/>
          <a:ext cx="0" cy="0"/>
          <a:chOff x="0" y="0"/>
          <a:chExt cx="0" cy="0"/>
        </a:xfrm>
      </p:grpSpPr>
      <p:sp>
        <p:nvSpPr>
          <p:cNvPr id="14" name="Slide Number Placeholder" hidden="1"/>
          <p:cNvSpPr>
            <a:spLocks noGrp="1"/>
          </p:cNvSpPr>
          <p:nvPr>
            <p:ph type="sldNum" sz="quarter" idx="11"/>
            <p:custDataLst>
              <p:tags r:id="rId1"/>
            </p:custDataLst>
          </p:nvPr>
        </p:nvSpPr>
        <p:spPr>
          <a:xfrm>
            <a:off x="9204923" y="130135"/>
            <a:ext cx="24046" cy="30778"/>
          </a:xfrm>
          <a:prstGeom prst="rect">
            <a:avLst/>
          </a:prstGeom>
        </p:spPr>
        <p:txBody>
          <a:bodyPr vert="horz" wrap="none" lIns="0" tIns="0" rIns="0" bIns="0" rtlCol="0" anchor="ctr">
            <a:spAutoFit/>
          </a:bodyPr>
          <a:lstStyle>
            <a:lvl1pPr algn="l">
              <a:defRPr sz="200" b="0">
                <a:solidFill>
                  <a:schemeClr val="bg1">
                    <a:lumMod val="75000"/>
                  </a:schemeClr>
                </a:solidFill>
                <a:latin typeface="+mn-lt"/>
                <a:cs typeface="+mn-cs"/>
                <a:sym typeface="+mn-lt"/>
              </a:defRPr>
            </a:lvl1pPr>
          </a:lstStyle>
          <a:p>
            <a:pPr fontAlgn="base">
              <a:spcBef>
                <a:spcPct val="0"/>
              </a:spcBef>
              <a:spcAft>
                <a:spcPct val="0"/>
              </a:spcAft>
            </a:pPr>
            <a:fld id="{01940DDA-0656-452C-A408-68789653BD9B}" type="slidenum">
              <a:rPr lang="en-US" smtClean="0">
                <a:solidFill>
                  <a:srgbClr val="FFFFFF">
                    <a:lumMod val="75000"/>
                  </a:srgbClr>
                </a:solidFill>
              </a:rPr>
              <a:pPr fontAlgn="base">
                <a:spcBef>
                  <a:spcPct val="0"/>
                </a:spcBef>
                <a:spcAft>
                  <a:spcPct val="0"/>
                </a:spcAft>
              </a:pPr>
              <a:t>‹#›</a:t>
            </a:fld>
            <a:endParaRPr lang="en-US" dirty="0">
              <a:solidFill>
                <a:srgbClr val="FFFFFF">
                  <a:lumMod val="75000"/>
                </a:srgbClr>
              </a:solidFill>
            </a:endParaRPr>
          </a:p>
        </p:txBody>
      </p:sp>
      <p:sp>
        <p:nvSpPr>
          <p:cNvPr id="15" name="Footer Placeholder" hidden="1"/>
          <p:cNvSpPr>
            <a:spLocks noGrp="1"/>
          </p:cNvSpPr>
          <p:nvPr>
            <p:ph type="ftr" sz="quarter" idx="10"/>
            <p:custDataLst>
              <p:tags r:id="rId2"/>
            </p:custDataLst>
          </p:nvPr>
        </p:nvSpPr>
        <p:spPr>
          <a:xfrm>
            <a:off x="9204945" y="171487"/>
            <a:ext cx="65" cy="30778"/>
          </a:xfrm>
          <a:prstGeom prst="rect">
            <a:avLst/>
          </a:prstGeom>
        </p:spPr>
        <p:txBody>
          <a:bodyPr vert="horz" wrap="none" lIns="0" tIns="0" rIns="0" bIns="0" rtlCol="0" anchor="t" anchorCtr="0">
            <a:spAutoFit/>
          </a:bodyPr>
          <a:lstStyle>
            <a:lvl1pPr algn="l" rtl="0" fontAlgn="base">
              <a:lnSpc>
                <a:spcPct val="100000"/>
              </a:lnSpc>
              <a:spcBef>
                <a:spcPts val="0"/>
              </a:spcBef>
              <a:spcAft>
                <a:spcPct val="0"/>
              </a:spcAft>
              <a:defRPr lang="en-US" sz="200" b="0" kern="1200" smtClean="0">
                <a:solidFill>
                  <a:schemeClr val="bg1">
                    <a:lumMod val="75000"/>
                  </a:schemeClr>
                </a:solidFill>
                <a:latin typeface="+mn-lt"/>
                <a:ea typeface="+mn-ea"/>
                <a:cs typeface="+mn-cs"/>
                <a:sym typeface="+mn-lt"/>
              </a:defRPr>
            </a:lvl1pPr>
          </a:lstStyle>
          <a:p>
            <a:endParaRPr lang="de-DE" dirty="0">
              <a:solidFill>
                <a:srgbClr val="FFFFFF">
                  <a:lumMod val="75000"/>
                </a:srgbClr>
              </a:solidFill>
            </a:endParaRPr>
          </a:p>
        </p:txBody>
      </p:sp>
      <p:sp>
        <p:nvSpPr>
          <p:cNvPr id="10" name="Type of document"/>
          <p:cNvSpPr>
            <a:spLocks noGrp="1"/>
          </p:cNvSpPr>
          <p:nvPr>
            <p:ph type="body" sz="quarter" idx="18" hasCustomPrompt="1"/>
          </p:nvPr>
        </p:nvSpPr>
        <p:spPr>
          <a:xfrm>
            <a:off x="4" y="3365171"/>
            <a:ext cx="4199969" cy="490801"/>
          </a:xfrm>
        </p:spPr>
        <p:txBody>
          <a:bodyPr wrap="square" lIns="306792" tIns="61358" rIns="214754" anchor="t" anchorCtr="0">
            <a:normAutofit/>
          </a:bodyPr>
          <a:lstStyle>
            <a:lvl1pPr>
              <a:lnSpc>
                <a:spcPct val="90000"/>
              </a:lnSpc>
              <a:spcBef>
                <a:spcPts val="0"/>
              </a:spcBef>
              <a:defRPr sz="1800">
                <a:latin typeface="+mn-lt"/>
                <a:sym typeface="+mn-lt"/>
              </a:defRPr>
            </a:lvl1pPr>
            <a:lvl2pPr>
              <a:lnSpc>
                <a:spcPct val="90000"/>
              </a:lnSpc>
              <a:spcBef>
                <a:spcPts val="0"/>
              </a:spcBef>
              <a:defRPr/>
            </a:lvl2pPr>
            <a:lvl3pPr>
              <a:lnSpc>
                <a:spcPct val="90000"/>
              </a:lnSpc>
              <a:spcBef>
                <a:spcPts val="0"/>
              </a:spcBef>
              <a:defRPr/>
            </a:lvl3pPr>
            <a:lvl4pPr>
              <a:lnSpc>
                <a:spcPct val="90000"/>
              </a:lnSpc>
              <a:spcBef>
                <a:spcPts val="0"/>
              </a:spcBef>
              <a:defRPr/>
            </a:lvl4pPr>
            <a:lvl5pPr>
              <a:lnSpc>
                <a:spcPct val="90000"/>
              </a:lnSpc>
              <a:spcBef>
                <a:spcPts val="0"/>
              </a:spcBef>
              <a:defRPr/>
            </a:lvl5pPr>
          </a:lstStyle>
          <a:p>
            <a:pPr lvl="0"/>
            <a:r>
              <a:rPr lang="en-US" dirty="0" smtClean="0"/>
              <a:t>Type of document</a:t>
            </a:r>
            <a:br>
              <a:rPr lang="en-US" dirty="0" smtClean="0"/>
            </a:br>
            <a:r>
              <a:rPr lang="en-US" dirty="0" smtClean="0"/>
              <a:t>(max. two lines)</a:t>
            </a:r>
          </a:p>
        </p:txBody>
      </p:sp>
      <p:sp>
        <p:nvSpPr>
          <p:cNvPr id="3" name="Location, date"/>
          <p:cNvSpPr>
            <a:spLocks noGrp="1"/>
          </p:cNvSpPr>
          <p:nvPr>
            <p:ph type="body" sz="quarter" idx="16" hasCustomPrompt="1"/>
          </p:nvPr>
        </p:nvSpPr>
        <p:spPr>
          <a:xfrm>
            <a:off x="4" y="4197216"/>
            <a:ext cx="4199969" cy="540148"/>
          </a:xfrm>
        </p:spPr>
        <p:txBody>
          <a:bodyPr lIns="306792" tIns="0" rIns="214754" anchor="b" anchorCtr="0">
            <a:noAutofit/>
          </a:bodyPr>
          <a:lstStyle>
            <a:lvl1pPr marL="0" marR="0" indent="0" algn="l" defTabSz="779252" rtl="0" eaLnBrk="1" fontAlgn="auto" latinLnBrk="0" hangingPunct="1">
              <a:lnSpc>
                <a:spcPct val="90000"/>
              </a:lnSpc>
              <a:spcBef>
                <a:spcPts val="0"/>
              </a:spcBef>
              <a:spcAft>
                <a:spcPts val="0"/>
              </a:spcAft>
              <a:buClrTx/>
              <a:buSzTx/>
              <a:buFont typeface="Arial Narrow" pitchFamily="34" charset="0"/>
              <a:buNone/>
              <a:tabLst/>
              <a:defRPr sz="1100" baseline="0">
                <a:latin typeface="+mn-lt"/>
                <a:sym typeface="+mn-lt"/>
              </a:defRPr>
            </a:lvl1pPr>
          </a:lstStyle>
          <a:p>
            <a:pPr marL="0" marR="0" lvl="0" indent="0" algn="l" defTabSz="779252" rtl="0" eaLnBrk="1" fontAlgn="auto" latinLnBrk="0" hangingPunct="1">
              <a:lnSpc>
                <a:spcPct val="90000"/>
              </a:lnSpc>
              <a:spcBef>
                <a:spcPts val="0"/>
              </a:spcBef>
              <a:spcAft>
                <a:spcPts val="0"/>
              </a:spcAft>
              <a:buClrTx/>
              <a:buSzTx/>
              <a:buFont typeface="Arial Narrow" pitchFamily="34" charset="0"/>
              <a:buNone/>
              <a:tabLst/>
              <a:defRPr/>
            </a:pPr>
            <a:r>
              <a:rPr lang="en-US" dirty="0" smtClean="0"/>
              <a:t>Location, date of presentation (month, day, year)</a:t>
            </a:r>
          </a:p>
        </p:txBody>
      </p:sp>
      <p:sp>
        <p:nvSpPr>
          <p:cNvPr id="4" name="Project name"/>
          <p:cNvSpPr>
            <a:spLocks noGrp="1"/>
          </p:cNvSpPr>
          <p:nvPr>
            <p:ph type="title" hasCustomPrompt="1"/>
          </p:nvPr>
        </p:nvSpPr>
        <p:spPr>
          <a:xfrm>
            <a:off x="4" y="2385808"/>
            <a:ext cx="4199969" cy="979333"/>
          </a:xfrm>
        </p:spPr>
        <p:txBody>
          <a:bodyPr wrap="square" lIns="306792" rIns="214754" bIns="92038" anchor="b" anchorCtr="0">
            <a:spAutoFit/>
          </a:bodyPr>
          <a:lstStyle>
            <a:lvl1pPr>
              <a:defRPr sz="3200" baseline="0">
                <a:latin typeface="+mj-lt"/>
                <a:sym typeface="+mn-lt"/>
              </a:defRPr>
            </a:lvl1pPr>
          </a:lstStyle>
          <a:p>
            <a:r>
              <a:rPr lang="en-US" dirty="0" smtClean="0"/>
              <a:t>Project name or document title</a:t>
            </a:r>
            <a:endParaRPr lang="en-US" dirty="0"/>
          </a:p>
        </p:txBody>
      </p:sp>
      <p:sp>
        <p:nvSpPr>
          <p:cNvPr id="19" name="Position Lines"/>
          <p:cNvSpPr>
            <a:spLocks noChangeShapeType="1"/>
          </p:cNvSpPr>
          <p:nvPr>
            <p:custDataLst>
              <p:tags r:id="rId3"/>
            </p:custDataLst>
          </p:nvPr>
        </p:nvSpPr>
        <p:spPr bwMode="auto">
          <a:xfrm>
            <a:off x="332308" y="5164931"/>
            <a:ext cx="0" cy="54000"/>
          </a:xfrm>
          <a:prstGeom prst="line">
            <a:avLst/>
          </a:prstGeom>
          <a:noFill/>
          <a:ln w="3175" cmpd="sng">
            <a:solidFill>
              <a:schemeClr val="accent1"/>
            </a:solidFill>
            <a:round/>
            <a:headEnd/>
            <a:tailEnd/>
          </a:ln>
          <a:effectLst/>
        </p:spPr>
        <p:txBody>
          <a:bodyPr lIns="77925" tIns="38963" rIns="77925" bIns="38963"/>
          <a:lstStyle/>
          <a:p>
            <a:pPr fontAlgn="base">
              <a:spcBef>
                <a:spcPct val="0"/>
              </a:spcBef>
              <a:spcAft>
                <a:spcPct val="0"/>
              </a:spcAft>
            </a:pPr>
            <a:endParaRPr lang="en-US" sz="1100" b="1" dirty="0">
              <a:solidFill>
                <a:srgbClr val="000000"/>
              </a:solidFill>
              <a:sym typeface="+mn-lt"/>
            </a:endParaRPr>
          </a:p>
        </p:txBody>
      </p:sp>
      <p:sp>
        <p:nvSpPr>
          <p:cNvPr id="5" name="Client name"/>
          <p:cNvSpPr>
            <a:spLocks noGrp="1"/>
          </p:cNvSpPr>
          <p:nvPr>
            <p:ph type="body" sz="quarter" idx="19" hasCustomPrompt="1"/>
          </p:nvPr>
        </p:nvSpPr>
        <p:spPr>
          <a:xfrm>
            <a:off x="332311" y="405001"/>
            <a:ext cx="3867661" cy="484748"/>
          </a:xfrm>
        </p:spPr>
        <p:txBody>
          <a:bodyPr>
            <a:noAutofit/>
          </a:bodyPr>
          <a:lstStyle>
            <a:lvl1pPr>
              <a:lnSpc>
                <a:spcPct val="100000"/>
              </a:lnSpc>
              <a:defRPr baseline="0">
                <a:latin typeface="+mn-lt"/>
                <a:sym typeface="+mn-lt"/>
              </a:defRPr>
            </a:lvl1pPr>
          </a:lstStyle>
          <a:p>
            <a:pPr lvl="0"/>
            <a:r>
              <a:rPr lang="en-US" dirty="0" smtClean="0"/>
              <a:t>Client logo/name</a:t>
            </a:r>
          </a:p>
        </p:txBody>
      </p:sp>
    </p:spTree>
    <p:extLst>
      <p:ext uri="{BB962C8B-B14F-4D97-AF65-F5344CB8AC3E}">
        <p14:creationId xmlns:p14="http://schemas.microsoft.com/office/powerpoint/2010/main" xmlns="" val="619585014"/>
      </p:ext>
    </p:extLst>
  </p:cSld>
  <p:clrMapOvr>
    <a:masterClrMapping/>
  </p:clrMapOvr>
  <p:timing>
    <p:tnLst>
      <p:par>
        <p:cTn id="1" dur="indefinite" restart="never" nodeType="tmRoot"/>
      </p:par>
    </p:tnLst>
  </p:timing>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Contents">
    <p:bg>
      <p:bgPr>
        <a:solidFill>
          <a:schemeClr val="bg1"/>
        </a:solidFill>
        <a:effectLst/>
      </p:bgPr>
    </p:bg>
    <p:spTree>
      <p:nvGrpSpPr>
        <p:cNvPr id="1" name=""/>
        <p:cNvGrpSpPr/>
        <p:nvPr/>
      </p:nvGrpSpPr>
      <p:grpSpPr>
        <a:xfrm>
          <a:off x="0" y="0"/>
          <a:ext cx="0" cy="0"/>
          <a:chOff x="0" y="0"/>
          <a:chExt cx="0" cy="0"/>
        </a:xfrm>
      </p:grpSpPr>
      <p:sp>
        <p:nvSpPr>
          <p:cNvPr id="15" name="Slide Number Placeholder" hidden="1"/>
          <p:cNvSpPr>
            <a:spLocks noGrp="1"/>
          </p:cNvSpPr>
          <p:nvPr>
            <p:ph type="sldNum" sz="quarter" idx="11"/>
            <p:custDataLst>
              <p:tags r:id="rId1"/>
            </p:custDataLst>
          </p:nvPr>
        </p:nvSpPr>
        <p:spPr>
          <a:xfrm>
            <a:off x="9204923" y="130135"/>
            <a:ext cx="24046" cy="30778"/>
          </a:xfrm>
          <a:prstGeom prst="rect">
            <a:avLst/>
          </a:prstGeom>
        </p:spPr>
        <p:txBody>
          <a:bodyPr vert="horz" wrap="none" lIns="0" tIns="0" rIns="0" bIns="0" rtlCol="0" anchor="ctr">
            <a:spAutoFit/>
          </a:bodyPr>
          <a:lstStyle>
            <a:lvl1pPr algn="l">
              <a:defRPr sz="200" b="0">
                <a:solidFill>
                  <a:schemeClr val="bg1">
                    <a:lumMod val="75000"/>
                  </a:schemeClr>
                </a:solidFill>
                <a:latin typeface="+mn-lt"/>
                <a:cs typeface="+mn-cs"/>
                <a:sym typeface="+mn-lt"/>
              </a:defRPr>
            </a:lvl1pPr>
          </a:lstStyle>
          <a:p>
            <a:pPr fontAlgn="base">
              <a:spcBef>
                <a:spcPct val="0"/>
              </a:spcBef>
              <a:spcAft>
                <a:spcPct val="0"/>
              </a:spcAft>
            </a:pPr>
            <a:fld id="{01940DDA-0656-452C-A408-68789653BD9B}" type="slidenum">
              <a:rPr lang="en-US" smtClean="0">
                <a:solidFill>
                  <a:srgbClr val="FFFFFF">
                    <a:lumMod val="75000"/>
                  </a:srgbClr>
                </a:solidFill>
              </a:rPr>
              <a:pPr fontAlgn="base">
                <a:spcBef>
                  <a:spcPct val="0"/>
                </a:spcBef>
                <a:spcAft>
                  <a:spcPct val="0"/>
                </a:spcAft>
              </a:pPr>
              <a:t>‹#›</a:t>
            </a:fld>
            <a:endParaRPr lang="en-US" dirty="0">
              <a:solidFill>
                <a:srgbClr val="FFFFFF">
                  <a:lumMod val="75000"/>
                </a:srgbClr>
              </a:solidFill>
            </a:endParaRPr>
          </a:p>
        </p:txBody>
      </p:sp>
      <p:sp>
        <p:nvSpPr>
          <p:cNvPr id="16" name="Footer Placeholder" hidden="1"/>
          <p:cNvSpPr>
            <a:spLocks noGrp="1"/>
          </p:cNvSpPr>
          <p:nvPr>
            <p:ph type="ftr" sz="quarter" idx="12"/>
            <p:custDataLst>
              <p:tags r:id="rId2"/>
            </p:custDataLst>
          </p:nvPr>
        </p:nvSpPr>
        <p:spPr>
          <a:xfrm>
            <a:off x="9204945" y="171487"/>
            <a:ext cx="65" cy="30778"/>
          </a:xfrm>
          <a:prstGeom prst="rect">
            <a:avLst/>
          </a:prstGeom>
        </p:spPr>
        <p:txBody>
          <a:bodyPr vert="horz" wrap="none" lIns="0" tIns="0" rIns="0" bIns="0" rtlCol="0" anchor="t" anchorCtr="0">
            <a:spAutoFit/>
          </a:bodyPr>
          <a:lstStyle>
            <a:lvl1pPr algn="l" rtl="0" fontAlgn="base">
              <a:lnSpc>
                <a:spcPct val="100000"/>
              </a:lnSpc>
              <a:spcBef>
                <a:spcPts val="0"/>
              </a:spcBef>
              <a:spcAft>
                <a:spcPct val="0"/>
              </a:spcAft>
              <a:defRPr lang="en-US" sz="200" b="0" kern="1200" smtClean="0">
                <a:solidFill>
                  <a:schemeClr val="bg1">
                    <a:lumMod val="75000"/>
                  </a:schemeClr>
                </a:solidFill>
                <a:latin typeface="+mn-lt"/>
                <a:ea typeface="+mn-ea"/>
                <a:cs typeface="+mn-cs"/>
                <a:sym typeface="+mn-lt"/>
              </a:defRPr>
            </a:lvl1pPr>
          </a:lstStyle>
          <a:p>
            <a:endParaRPr lang="de-DE" dirty="0">
              <a:solidFill>
                <a:srgbClr val="FFFFFF">
                  <a:lumMod val="75000"/>
                </a:srgbClr>
              </a:solidFill>
            </a:endParaRPr>
          </a:p>
        </p:txBody>
      </p:sp>
      <p:sp>
        <p:nvSpPr>
          <p:cNvPr id="7" name="Note: Exclusive dealing"/>
          <p:cNvSpPr txBox="1">
            <a:spLocks noChangeArrowheads="1"/>
          </p:cNvSpPr>
          <p:nvPr userDrawn="1">
            <p:custDataLst>
              <p:tags r:id="rId3"/>
            </p:custDataLst>
          </p:nvPr>
        </p:nvSpPr>
        <p:spPr bwMode="auto">
          <a:xfrm>
            <a:off x="681236" y="4387008"/>
            <a:ext cx="7879015" cy="738664"/>
          </a:xfrm>
          <a:prstGeom prst="rect">
            <a:avLst/>
          </a:prstGeom>
          <a:noFill/>
          <a:ln w="9525">
            <a:noFill/>
            <a:miter lim="800000"/>
            <a:headEnd/>
            <a:tailEnd/>
          </a:ln>
        </p:spPr>
        <p:txBody>
          <a:bodyPr lIns="0" tIns="0" rIns="0" bIns="0" anchor="b" anchorCtr="0">
            <a:spAutoFit/>
          </a:bodyPr>
          <a:lstStyle/>
          <a:p>
            <a:pPr eaLnBrk="0" fontAlgn="base" hangingPunct="0">
              <a:spcBef>
                <a:spcPct val="0"/>
              </a:spcBef>
              <a:spcAft>
                <a:spcPct val="0"/>
              </a:spcAft>
            </a:pPr>
            <a:r>
              <a:rPr kumimoji="1" lang="en-US" altLang="de-DE" sz="800" dirty="0" smtClean="0">
                <a:solidFill>
                  <a:srgbClr val="000000"/>
                </a:solidFill>
                <a:sym typeface="+mn-lt"/>
              </a:rPr>
              <a:t>This document shall be treated as confidential. It has been compiled for the exclusive, internal use by our client and is not complete without the underlying detail analyses and the oral presentation. It may not be passed on and/or may not be made available to third parties without prior written consent from Roland Berger Strategy Consultants. RBSC does not assume any responsibility for the completeness and accuracy of the statements made in this document.        </a:t>
            </a:r>
          </a:p>
          <a:p>
            <a:pPr eaLnBrk="0" fontAlgn="base" hangingPunct="0">
              <a:spcBef>
                <a:spcPct val="0"/>
              </a:spcBef>
              <a:spcAft>
                <a:spcPct val="0"/>
              </a:spcAft>
            </a:pPr>
            <a:endParaRPr kumimoji="1" lang="en-US" altLang="de-DE" sz="800" dirty="0" smtClean="0">
              <a:solidFill>
                <a:srgbClr val="000000"/>
              </a:solidFill>
              <a:sym typeface="+mn-lt"/>
            </a:endParaRPr>
          </a:p>
          <a:p>
            <a:pPr eaLnBrk="0" fontAlgn="base" hangingPunct="0">
              <a:spcBef>
                <a:spcPct val="0"/>
              </a:spcBef>
              <a:spcAft>
                <a:spcPct val="0"/>
              </a:spcAft>
            </a:pPr>
            <a:endParaRPr kumimoji="1" lang="en-US" altLang="de-DE" sz="800" dirty="0" smtClean="0">
              <a:solidFill>
                <a:srgbClr val="000000"/>
              </a:solidFill>
              <a:sym typeface="+mn-lt"/>
            </a:endParaRPr>
          </a:p>
          <a:p>
            <a:pPr eaLnBrk="0" fontAlgn="base" hangingPunct="0">
              <a:spcBef>
                <a:spcPct val="0"/>
              </a:spcBef>
              <a:spcAft>
                <a:spcPct val="0"/>
              </a:spcAft>
            </a:pPr>
            <a:r>
              <a:rPr kumimoji="1" lang="en-US" altLang="de-DE" sz="800" dirty="0" smtClean="0">
                <a:solidFill>
                  <a:srgbClr val="000000"/>
                </a:solidFill>
                <a:sym typeface="+mn-lt"/>
              </a:rPr>
              <a:t>©  Roland Berger Strategy Consultants</a:t>
            </a:r>
          </a:p>
        </p:txBody>
      </p:sp>
      <p:sp>
        <p:nvSpPr>
          <p:cNvPr id="5" name="Contents Text"/>
          <p:cNvSpPr>
            <a:spLocks noGrp="1"/>
          </p:cNvSpPr>
          <p:nvPr>
            <p:ph type="body" sz="quarter" idx="10" hasCustomPrompt="1"/>
            <p:custDataLst>
              <p:tags r:id="rId4"/>
            </p:custDataLst>
          </p:nvPr>
        </p:nvSpPr>
        <p:spPr>
          <a:xfrm>
            <a:off x="681236" y="1282500"/>
            <a:ext cx="7879015" cy="2872068"/>
          </a:xfrm>
        </p:spPr>
        <p:txBody>
          <a:bodyPr>
            <a:spAutoFit/>
          </a:bodyPr>
          <a:lstStyle>
            <a:lvl1pPr marL="306792" indent="-306792">
              <a:spcBef>
                <a:spcPts val="1704"/>
              </a:spcBef>
              <a:tabLst>
                <a:tab pos="7275721" algn="r"/>
              </a:tabLst>
              <a:defRPr>
                <a:solidFill>
                  <a:schemeClr val="tx1"/>
                </a:solidFill>
                <a:latin typeface="+mn-lt"/>
                <a:cs typeface="+mn-cs"/>
                <a:sym typeface="+mn-lt"/>
              </a:defRPr>
            </a:lvl1pPr>
            <a:lvl2pPr marL="613584" indent="-306792">
              <a:spcBef>
                <a:spcPts val="511"/>
              </a:spcBef>
              <a:buNone/>
              <a:tabLst>
                <a:tab pos="7275721" algn="r"/>
              </a:tabLst>
              <a:defRPr b="0">
                <a:solidFill>
                  <a:schemeClr val="tx1"/>
                </a:solidFill>
                <a:latin typeface="+mn-lt"/>
                <a:sym typeface="+mn-lt"/>
              </a:defRPr>
            </a:lvl2pPr>
            <a:lvl3pPr marL="1073772" indent="-460188">
              <a:spcBef>
                <a:spcPts val="0"/>
              </a:spcBef>
              <a:buNone/>
              <a:tabLst>
                <a:tab pos="7275721" algn="r"/>
              </a:tabLst>
              <a:defRPr>
                <a:solidFill>
                  <a:schemeClr val="tx1"/>
                </a:solidFill>
                <a:latin typeface="+mn-lt"/>
                <a:sym typeface="+mn-lt"/>
              </a:defRPr>
            </a:lvl3pPr>
            <a:lvl4pPr marL="1070119" indent="-455917">
              <a:buNone/>
              <a:tabLst>
                <a:tab pos="7262193" algn="r"/>
              </a:tabLst>
              <a:defRPr/>
            </a:lvl4pPr>
            <a:lvl5pPr>
              <a:buNone/>
              <a:defRPr/>
            </a:lvl5pPr>
          </a:lstStyle>
          <a:p>
            <a:pPr lvl="0"/>
            <a:r>
              <a:rPr lang="en-US" dirty="0" smtClean="0"/>
              <a:t>A.	xxx	xx</a:t>
            </a:r>
          </a:p>
          <a:p>
            <a:pPr lvl="0"/>
            <a:r>
              <a:rPr lang="en-US" dirty="0" smtClean="0"/>
              <a:t>B.	xxx	xx</a:t>
            </a:r>
          </a:p>
          <a:p>
            <a:pPr lvl="1"/>
            <a:r>
              <a:rPr lang="en-US" dirty="0" smtClean="0"/>
              <a:t>1.	xxx	xx</a:t>
            </a:r>
          </a:p>
          <a:p>
            <a:pPr lvl="1"/>
            <a:r>
              <a:rPr lang="en-US" dirty="0" smtClean="0"/>
              <a:t>2.	xxx	xx</a:t>
            </a:r>
          </a:p>
          <a:p>
            <a:pPr lvl="2"/>
            <a:r>
              <a:rPr lang="en-US" dirty="0" smtClean="0"/>
              <a:t>2.1	xxx	xx</a:t>
            </a:r>
          </a:p>
          <a:p>
            <a:pPr lvl="2"/>
            <a:r>
              <a:rPr lang="en-US" dirty="0" smtClean="0"/>
              <a:t>2.2	xxx	xx</a:t>
            </a:r>
          </a:p>
          <a:p>
            <a:pPr lvl="0"/>
            <a:r>
              <a:rPr lang="en-US" dirty="0" smtClean="0"/>
              <a:t>C.	xxx	xx</a:t>
            </a:r>
          </a:p>
          <a:p>
            <a:pPr lvl="1"/>
            <a:r>
              <a:rPr lang="en-US" dirty="0" smtClean="0"/>
              <a:t>1.	xxx	xx</a:t>
            </a:r>
          </a:p>
          <a:p>
            <a:pPr lvl="2"/>
            <a:r>
              <a:rPr lang="en-US" dirty="0" smtClean="0"/>
              <a:t>1.1	xxx	xx</a:t>
            </a:r>
          </a:p>
        </p:txBody>
      </p:sp>
      <p:sp>
        <p:nvSpPr>
          <p:cNvPr id="10" name="Contents Title"/>
          <p:cNvSpPr txBox="1">
            <a:spLocks/>
          </p:cNvSpPr>
          <p:nvPr>
            <p:custDataLst>
              <p:tags r:id="rId5"/>
            </p:custDataLst>
          </p:nvPr>
        </p:nvSpPr>
        <p:spPr>
          <a:xfrm>
            <a:off x="681236" y="780311"/>
            <a:ext cx="7879015" cy="257635"/>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lgn="l">
              <a:lnSpc>
                <a:spcPct val="93000"/>
              </a:lnSpc>
              <a:defRPr/>
            </a:lvl1pPr>
          </a:lstStyle>
          <a:p>
            <a:pPr defTabSz="779252">
              <a:spcBef>
                <a:spcPct val="0"/>
              </a:spcBef>
              <a:tabLst>
                <a:tab pos="7271663" algn="r"/>
              </a:tabLst>
              <a:defRPr/>
            </a:pPr>
            <a:r>
              <a:rPr lang="en-US" altLang="de-DE" sz="1800" noProof="1" smtClean="0">
                <a:solidFill>
                  <a:srgbClr val="716D6D"/>
                </a:solidFill>
                <a:sym typeface="+mn-lt"/>
              </a:rPr>
              <a:t>Contents	Page</a:t>
            </a:r>
            <a:endParaRPr lang="en-US" altLang="de-DE" sz="1800" noProof="1">
              <a:solidFill>
                <a:srgbClr val="716D6D"/>
              </a:solidFill>
              <a:sym typeface="+mn-lt"/>
            </a:endParaRPr>
          </a:p>
        </p:txBody>
      </p:sp>
      <p:sp>
        <p:nvSpPr>
          <p:cNvPr id="14" name="Title"/>
          <p:cNvSpPr>
            <a:spLocks noGrp="1"/>
          </p:cNvSpPr>
          <p:nvPr>
            <p:ph type="title" hasCustomPrompt="1"/>
            <p:custDataLst>
              <p:tags r:id="rId6"/>
            </p:custDataLst>
          </p:nvPr>
        </p:nvSpPr>
        <p:spPr>
          <a:xfrm>
            <a:off x="1213759" y="780305"/>
            <a:ext cx="731077" cy="225398"/>
          </a:xfrm>
        </p:spPr>
        <p:txBody>
          <a:bodyPr vert="horz" lIns="0" tIns="0" rIns="0" bIns="0" rtlCol="0" anchor="t" anchorCtr="0">
            <a:noAutofit/>
          </a:bodyPr>
          <a:lstStyle>
            <a:lvl1pPr marL="0" indent="0" algn="r" defTabSz="779252" rtl="0" eaLnBrk="1" latinLnBrk="0" hangingPunct="1">
              <a:lnSpc>
                <a:spcPct val="93000"/>
              </a:lnSpc>
              <a:spcBef>
                <a:spcPct val="0"/>
              </a:spcBef>
              <a:buNone/>
              <a:tabLst/>
              <a:defRPr lang="en-US" sz="1800" b="0" kern="1200" dirty="0">
                <a:solidFill>
                  <a:schemeClr val="tx2"/>
                </a:solidFill>
                <a:latin typeface="+mj-lt"/>
                <a:ea typeface="+mj-ea"/>
                <a:cs typeface="+mj-cs"/>
                <a:sym typeface="+mn-lt"/>
              </a:defRPr>
            </a:lvl1pPr>
          </a:lstStyle>
          <a:p>
            <a:r>
              <a:rPr lang="en-US" noProof="1" smtClean="0"/>
              <a:t>  </a:t>
            </a:r>
            <a:endParaRPr lang="en-US" noProof="1"/>
          </a:p>
        </p:txBody>
      </p:sp>
    </p:spTree>
    <p:extLst>
      <p:ext uri="{BB962C8B-B14F-4D97-AF65-F5344CB8AC3E}">
        <p14:creationId xmlns:p14="http://schemas.microsoft.com/office/powerpoint/2010/main" xmlns="" val="3884574777"/>
      </p:ext>
    </p:extLst>
  </p:cSld>
  <p:clrMapOvr>
    <a:masterClrMapping/>
  </p:clrMapOvr>
  <p:timing>
    <p:tnLst>
      <p:par>
        <p:cTn id="1" dur="indefinite" restart="never" nodeType="tmRoot"/>
      </p:par>
    </p:tnLst>
  </p:timing>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p:cSld name="LastSlide">
    <p:bg>
      <p:bgPr>
        <a:solidFill>
          <a:schemeClr val="accent2"/>
        </a:solidFill>
        <a:effectLst/>
      </p:bgPr>
    </p:bg>
    <p:spTree>
      <p:nvGrpSpPr>
        <p:cNvPr id="1" name=""/>
        <p:cNvGrpSpPr/>
        <p:nvPr/>
      </p:nvGrpSpPr>
      <p:grpSpPr>
        <a:xfrm>
          <a:off x="0" y="0"/>
          <a:ext cx="0" cy="0"/>
          <a:chOff x="0" y="0"/>
          <a:chExt cx="0" cy="0"/>
        </a:xfrm>
      </p:grpSpPr>
      <p:sp>
        <p:nvSpPr>
          <p:cNvPr id="10" name="Slide Number Placeholder" hidden="1"/>
          <p:cNvSpPr>
            <a:spLocks noGrp="1"/>
          </p:cNvSpPr>
          <p:nvPr>
            <p:ph type="sldNum" sz="quarter" idx="11"/>
            <p:custDataLst>
              <p:tags r:id="rId1"/>
            </p:custDataLst>
          </p:nvPr>
        </p:nvSpPr>
        <p:spPr>
          <a:xfrm>
            <a:off x="9204923" y="130135"/>
            <a:ext cx="24046" cy="30778"/>
          </a:xfrm>
          <a:prstGeom prst="rect">
            <a:avLst/>
          </a:prstGeom>
        </p:spPr>
        <p:txBody>
          <a:bodyPr vert="horz" wrap="none" lIns="0" tIns="0" rIns="0" bIns="0" rtlCol="0" anchor="ctr">
            <a:spAutoFit/>
          </a:bodyPr>
          <a:lstStyle>
            <a:lvl1pPr algn="l">
              <a:defRPr sz="200" b="0">
                <a:solidFill>
                  <a:schemeClr val="bg1">
                    <a:lumMod val="75000"/>
                  </a:schemeClr>
                </a:solidFill>
                <a:latin typeface="+mn-lt"/>
                <a:cs typeface="+mn-cs"/>
                <a:sym typeface="+mn-lt"/>
              </a:defRPr>
            </a:lvl1pPr>
          </a:lstStyle>
          <a:p>
            <a:pPr fontAlgn="base">
              <a:spcBef>
                <a:spcPct val="0"/>
              </a:spcBef>
              <a:spcAft>
                <a:spcPct val="0"/>
              </a:spcAft>
            </a:pPr>
            <a:fld id="{01940DDA-0656-452C-A408-68789653BD9B}" type="slidenum">
              <a:rPr lang="en-US" smtClean="0">
                <a:solidFill>
                  <a:srgbClr val="FFFFFF">
                    <a:lumMod val="75000"/>
                  </a:srgbClr>
                </a:solidFill>
              </a:rPr>
              <a:pPr fontAlgn="base">
                <a:spcBef>
                  <a:spcPct val="0"/>
                </a:spcBef>
                <a:spcAft>
                  <a:spcPct val="0"/>
                </a:spcAft>
              </a:pPr>
              <a:t>‹#›</a:t>
            </a:fld>
            <a:endParaRPr lang="en-US" dirty="0">
              <a:solidFill>
                <a:srgbClr val="FFFFFF">
                  <a:lumMod val="75000"/>
                </a:srgbClr>
              </a:solidFill>
            </a:endParaRPr>
          </a:p>
        </p:txBody>
      </p:sp>
      <p:sp>
        <p:nvSpPr>
          <p:cNvPr id="11" name="Footer Placeholder" hidden="1"/>
          <p:cNvSpPr>
            <a:spLocks noGrp="1"/>
          </p:cNvSpPr>
          <p:nvPr>
            <p:ph type="ftr" sz="quarter" idx="10"/>
            <p:custDataLst>
              <p:tags r:id="rId2"/>
            </p:custDataLst>
          </p:nvPr>
        </p:nvSpPr>
        <p:spPr>
          <a:xfrm>
            <a:off x="9204945" y="171487"/>
            <a:ext cx="65" cy="30778"/>
          </a:xfrm>
          <a:prstGeom prst="rect">
            <a:avLst/>
          </a:prstGeom>
        </p:spPr>
        <p:txBody>
          <a:bodyPr vert="horz" wrap="none" lIns="0" tIns="0" rIns="0" bIns="0" rtlCol="0" anchor="t" anchorCtr="0">
            <a:spAutoFit/>
          </a:bodyPr>
          <a:lstStyle>
            <a:lvl1pPr algn="l" rtl="0" fontAlgn="base">
              <a:lnSpc>
                <a:spcPct val="100000"/>
              </a:lnSpc>
              <a:spcBef>
                <a:spcPts val="0"/>
              </a:spcBef>
              <a:spcAft>
                <a:spcPct val="0"/>
              </a:spcAft>
              <a:defRPr lang="en-US" sz="200" b="0" kern="1200" smtClean="0">
                <a:solidFill>
                  <a:schemeClr val="bg1">
                    <a:lumMod val="75000"/>
                  </a:schemeClr>
                </a:solidFill>
                <a:latin typeface="+mn-lt"/>
                <a:ea typeface="+mn-ea"/>
                <a:cs typeface="+mn-cs"/>
                <a:sym typeface="+mn-lt"/>
              </a:defRPr>
            </a:lvl1pPr>
          </a:lstStyle>
          <a:p>
            <a:endParaRPr lang="de-DE" dirty="0">
              <a:solidFill>
                <a:srgbClr val="FFFFFF">
                  <a:lumMod val="75000"/>
                </a:srgbClr>
              </a:solidFill>
            </a:endParaRPr>
          </a:p>
        </p:txBody>
      </p:sp>
      <p:sp>
        <p:nvSpPr>
          <p:cNvPr id="5" name="Position Lines"/>
          <p:cNvSpPr>
            <a:spLocks noChangeShapeType="1"/>
          </p:cNvSpPr>
          <p:nvPr userDrawn="1">
            <p:custDataLst>
              <p:tags r:id="rId3"/>
            </p:custDataLst>
          </p:nvPr>
        </p:nvSpPr>
        <p:spPr bwMode="auto">
          <a:xfrm>
            <a:off x="4944031" y="5164931"/>
            <a:ext cx="0" cy="54000"/>
          </a:xfrm>
          <a:prstGeom prst="line">
            <a:avLst/>
          </a:prstGeom>
          <a:noFill/>
          <a:ln w="3175" cmpd="sng">
            <a:solidFill>
              <a:schemeClr val="accent1"/>
            </a:solidFill>
            <a:round/>
            <a:headEnd/>
            <a:tailEnd/>
          </a:ln>
          <a:effectLst/>
        </p:spPr>
        <p:txBody>
          <a:bodyPr lIns="77925" tIns="38963" rIns="77925" bIns="38963"/>
          <a:lstStyle/>
          <a:p>
            <a:pPr fontAlgn="base">
              <a:spcBef>
                <a:spcPct val="0"/>
              </a:spcBef>
              <a:spcAft>
                <a:spcPct val="0"/>
              </a:spcAft>
            </a:pPr>
            <a:endParaRPr lang="en-US" sz="1100" b="1" dirty="0">
              <a:solidFill>
                <a:srgbClr val="000000"/>
              </a:solidFill>
              <a:sym typeface="+mn-lt"/>
            </a:endParaRPr>
          </a:p>
        </p:txBody>
      </p:sp>
    </p:spTree>
    <p:extLst>
      <p:ext uri="{BB962C8B-B14F-4D97-AF65-F5344CB8AC3E}">
        <p14:creationId xmlns:p14="http://schemas.microsoft.com/office/powerpoint/2010/main" xmlns="" val="1180125281"/>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th-TH"/>
          </a:p>
        </p:txBody>
      </p:sp>
      <p:sp>
        <p:nvSpPr>
          <p:cNvPr id="3" name="Date Placeholder 2"/>
          <p:cNvSpPr>
            <a:spLocks noGrp="1"/>
          </p:cNvSpPr>
          <p:nvPr>
            <p:ph type="dt" sz="half" idx="10"/>
          </p:nvPr>
        </p:nvSpPr>
        <p:spPr/>
        <p:txBody>
          <a:bodyPr/>
          <a:lstStyle/>
          <a:p>
            <a:fld id="{E264407C-9474-4C10-A601-5EC2E0D084D9}" type="datetime1">
              <a:rPr lang="th-TH" smtClean="0">
                <a:solidFill>
                  <a:prstClr val="black">
                    <a:tint val="75000"/>
                  </a:prstClr>
                </a:solidFill>
              </a:rPr>
              <a:pPr/>
              <a:t>20/09/58</a:t>
            </a:fld>
            <a:endParaRPr lang="th-TH">
              <a:solidFill>
                <a:prstClr val="black">
                  <a:tint val="75000"/>
                </a:prstClr>
              </a:solidFill>
            </a:endParaRPr>
          </a:p>
        </p:txBody>
      </p:sp>
      <p:sp>
        <p:nvSpPr>
          <p:cNvPr id="4" name="Footer Placeholder 3"/>
          <p:cNvSpPr>
            <a:spLocks noGrp="1"/>
          </p:cNvSpPr>
          <p:nvPr>
            <p:ph type="ftr" sz="quarter" idx="11"/>
          </p:nvPr>
        </p:nvSpPr>
        <p:spPr/>
        <p:txBody>
          <a:bodyPr/>
          <a:lstStyle/>
          <a:p>
            <a:endParaRPr lang="th-TH">
              <a:solidFill>
                <a:prstClr val="black">
                  <a:tint val="75000"/>
                </a:prstClr>
              </a:solidFill>
            </a:endParaRPr>
          </a:p>
        </p:txBody>
      </p:sp>
      <p:sp>
        <p:nvSpPr>
          <p:cNvPr id="5" name="Slide Number Placeholder 4"/>
          <p:cNvSpPr>
            <a:spLocks noGrp="1"/>
          </p:cNvSpPr>
          <p:nvPr>
            <p:ph type="sldNum" sz="quarter" idx="12"/>
          </p:nvPr>
        </p:nvSpPr>
        <p:spPr/>
        <p:txBody>
          <a:bodyPr/>
          <a:lstStyle/>
          <a:p>
            <a:fld id="{50853BB3-C49D-4A79-8049-B0B6C5B1AD9A}" type="slidenum">
              <a:rPr lang="th-TH" smtClean="0">
                <a:solidFill>
                  <a:prstClr val="black">
                    <a:tint val="75000"/>
                  </a:prstClr>
                </a:solidFill>
              </a:rPr>
              <a:pPr/>
              <a:t>‹#›</a:t>
            </a:fld>
            <a:endParaRPr lang="th-TH">
              <a:solidFill>
                <a:prstClr val="black">
                  <a:tint val="75000"/>
                </a:prstClr>
              </a:solidFill>
            </a:endParaRPr>
          </a:p>
        </p:txBody>
      </p:sp>
    </p:spTree>
    <p:extLst>
      <p:ext uri="{BB962C8B-B14F-4D97-AF65-F5344CB8AC3E}">
        <p14:creationId xmlns:p14="http://schemas.microsoft.com/office/powerpoint/2010/main" xmlns="" val="3963571444"/>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DisclaimerPage">
    <p:spTree>
      <p:nvGrpSpPr>
        <p:cNvPr id="1" name=""/>
        <p:cNvGrpSpPr/>
        <p:nvPr/>
      </p:nvGrpSpPr>
      <p:grpSpPr>
        <a:xfrm>
          <a:off x="0" y="0"/>
          <a:ext cx="0" cy="0"/>
          <a:chOff x="0" y="0"/>
          <a:chExt cx="0" cy="0"/>
        </a:xfrm>
      </p:grpSpPr>
      <p:sp>
        <p:nvSpPr>
          <p:cNvPr id="12" name="Slide Number Placeholder" hidden="1"/>
          <p:cNvSpPr>
            <a:spLocks noGrp="1"/>
          </p:cNvSpPr>
          <p:nvPr>
            <p:ph type="sldNum" sz="quarter" idx="11"/>
            <p:custDataLst>
              <p:tags r:id="rId1"/>
            </p:custDataLst>
          </p:nvPr>
        </p:nvSpPr>
        <p:spPr>
          <a:xfrm>
            <a:off x="9204923" y="130135"/>
            <a:ext cx="24046" cy="30778"/>
          </a:xfrm>
          <a:prstGeom prst="rect">
            <a:avLst/>
          </a:prstGeom>
        </p:spPr>
        <p:txBody>
          <a:bodyPr vert="horz" wrap="none" lIns="0" tIns="0" rIns="0" bIns="0" rtlCol="0" anchor="ctr">
            <a:spAutoFit/>
          </a:bodyPr>
          <a:lstStyle>
            <a:lvl1pPr algn="l">
              <a:defRPr sz="200" b="0">
                <a:solidFill>
                  <a:schemeClr val="bg1">
                    <a:lumMod val="75000"/>
                  </a:schemeClr>
                </a:solidFill>
                <a:latin typeface="+mn-lt"/>
                <a:cs typeface="+mn-cs"/>
                <a:sym typeface="+mn-lt"/>
              </a:defRPr>
            </a:lvl1pPr>
          </a:lstStyle>
          <a:p>
            <a:pPr fontAlgn="base">
              <a:spcBef>
                <a:spcPct val="0"/>
              </a:spcBef>
              <a:spcAft>
                <a:spcPct val="0"/>
              </a:spcAft>
            </a:pPr>
            <a:fld id="{01940DDA-0656-452C-A408-68789653BD9B}" type="slidenum">
              <a:rPr lang="en-US" smtClean="0">
                <a:solidFill>
                  <a:srgbClr val="FFFFFF">
                    <a:lumMod val="75000"/>
                  </a:srgbClr>
                </a:solidFill>
              </a:rPr>
              <a:pPr fontAlgn="base">
                <a:spcBef>
                  <a:spcPct val="0"/>
                </a:spcBef>
                <a:spcAft>
                  <a:spcPct val="0"/>
                </a:spcAft>
              </a:pPr>
              <a:t>‹#›</a:t>
            </a:fld>
            <a:endParaRPr lang="en-US" dirty="0">
              <a:solidFill>
                <a:srgbClr val="FFFFFF">
                  <a:lumMod val="75000"/>
                </a:srgbClr>
              </a:solidFill>
            </a:endParaRPr>
          </a:p>
        </p:txBody>
      </p:sp>
      <p:sp>
        <p:nvSpPr>
          <p:cNvPr id="13" name="Footer Placeholder" hidden="1"/>
          <p:cNvSpPr>
            <a:spLocks noGrp="1"/>
          </p:cNvSpPr>
          <p:nvPr>
            <p:ph type="ftr" sz="quarter" idx="10"/>
            <p:custDataLst>
              <p:tags r:id="rId2"/>
            </p:custDataLst>
          </p:nvPr>
        </p:nvSpPr>
        <p:spPr>
          <a:xfrm>
            <a:off x="9204945" y="171487"/>
            <a:ext cx="65" cy="30778"/>
          </a:xfrm>
          <a:prstGeom prst="rect">
            <a:avLst/>
          </a:prstGeom>
        </p:spPr>
        <p:txBody>
          <a:bodyPr vert="horz" wrap="none" lIns="0" tIns="0" rIns="0" bIns="0" rtlCol="0" anchor="t" anchorCtr="0">
            <a:spAutoFit/>
          </a:bodyPr>
          <a:lstStyle>
            <a:lvl1pPr algn="l" rtl="0" fontAlgn="base">
              <a:lnSpc>
                <a:spcPct val="100000"/>
              </a:lnSpc>
              <a:spcBef>
                <a:spcPts val="0"/>
              </a:spcBef>
              <a:spcAft>
                <a:spcPct val="0"/>
              </a:spcAft>
              <a:defRPr lang="en-US" sz="200" b="0" kern="1200" smtClean="0">
                <a:solidFill>
                  <a:schemeClr val="bg1">
                    <a:lumMod val="75000"/>
                  </a:schemeClr>
                </a:solidFill>
                <a:latin typeface="+mn-lt"/>
                <a:ea typeface="+mn-ea"/>
                <a:cs typeface="+mn-cs"/>
                <a:sym typeface="+mn-lt"/>
              </a:defRPr>
            </a:lvl1pPr>
          </a:lstStyle>
          <a:p>
            <a:endParaRPr lang="de-DE" dirty="0">
              <a:solidFill>
                <a:srgbClr val="FFFFFF">
                  <a:lumMod val="75000"/>
                </a:srgbClr>
              </a:solidFill>
            </a:endParaRPr>
          </a:p>
        </p:txBody>
      </p:sp>
    </p:spTree>
    <p:extLst>
      <p:ext uri="{BB962C8B-B14F-4D97-AF65-F5344CB8AC3E}">
        <p14:creationId xmlns:p14="http://schemas.microsoft.com/office/powerpoint/2010/main" xmlns="" val="1454128314"/>
      </p:ext>
    </p:extLst>
  </p:cSld>
  <p:clrMapOvr>
    <a:masterClrMapping/>
  </p:clrMapOvr>
  <p:timing>
    <p:tnLst>
      <p:par>
        <p:cTn id="1" dur="indefinite" restart="never" nodeType="tmRoot"/>
      </p:par>
    </p:tnLst>
  </p:timing>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3" name="Slide Number Placeholder" hidden="1"/>
          <p:cNvSpPr>
            <a:spLocks noGrp="1"/>
          </p:cNvSpPr>
          <p:nvPr>
            <p:ph type="sldNum" sz="quarter" idx="11"/>
            <p:custDataLst>
              <p:tags r:id="rId1"/>
            </p:custDataLst>
          </p:nvPr>
        </p:nvSpPr>
        <p:spPr>
          <a:xfrm>
            <a:off x="9204923" y="130135"/>
            <a:ext cx="24046" cy="30778"/>
          </a:xfrm>
          <a:prstGeom prst="rect">
            <a:avLst/>
          </a:prstGeom>
        </p:spPr>
        <p:txBody>
          <a:bodyPr vert="horz" wrap="none" lIns="0" tIns="0" rIns="0" bIns="0" rtlCol="0" anchor="ctr">
            <a:spAutoFit/>
          </a:bodyPr>
          <a:lstStyle>
            <a:lvl1pPr algn="l">
              <a:defRPr sz="200" b="0">
                <a:solidFill>
                  <a:schemeClr val="bg1">
                    <a:lumMod val="75000"/>
                  </a:schemeClr>
                </a:solidFill>
                <a:latin typeface="+mn-lt"/>
                <a:cs typeface="+mn-cs"/>
                <a:sym typeface="+mn-lt"/>
              </a:defRPr>
            </a:lvl1pPr>
          </a:lstStyle>
          <a:p>
            <a:pPr fontAlgn="base">
              <a:spcBef>
                <a:spcPct val="0"/>
              </a:spcBef>
              <a:spcAft>
                <a:spcPct val="0"/>
              </a:spcAft>
            </a:pPr>
            <a:fld id="{01940DDA-0656-452C-A408-68789653BD9B}" type="slidenum">
              <a:rPr lang="en-US" smtClean="0">
                <a:solidFill>
                  <a:srgbClr val="FFFFFF">
                    <a:lumMod val="75000"/>
                  </a:srgbClr>
                </a:solidFill>
              </a:rPr>
              <a:pPr fontAlgn="base">
                <a:spcBef>
                  <a:spcPct val="0"/>
                </a:spcBef>
                <a:spcAft>
                  <a:spcPct val="0"/>
                </a:spcAft>
              </a:pPr>
              <a:t>‹#›</a:t>
            </a:fld>
            <a:endParaRPr lang="en-US" dirty="0">
              <a:solidFill>
                <a:srgbClr val="FFFFFF">
                  <a:lumMod val="75000"/>
                </a:srgbClr>
              </a:solidFill>
            </a:endParaRPr>
          </a:p>
        </p:txBody>
      </p:sp>
      <p:sp>
        <p:nvSpPr>
          <p:cNvPr id="4" name="Footer Placeholder" hidden="1"/>
          <p:cNvSpPr>
            <a:spLocks noGrp="1"/>
          </p:cNvSpPr>
          <p:nvPr>
            <p:ph type="ftr" sz="quarter" idx="12"/>
            <p:custDataLst>
              <p:tags r:id="rId2"/>
            </p:custDataLst>
          </p:nvPr>
        </p:nvSpPr>
        <p:spPr>
          <a:xfrm>
            <a:off x="9204945" y="171487"/>
            <a:ext cx="65" cy="30778"/>
          </a:xfrm>
          <a:prstGeom prst="rect">
            <a:avLst/>
          </a:prstGeom>
        </p:spPr>
        <p:txBody>
          <a:bodyPr vert="horz" wrap="none" lIns="0" tIns="0" rIns="0" bIns="0" rtlCol="0" anchor="t" anchorCtr="0">
            <a:spAutoFit/>
          </a:bodyPr>
          <a:lstStyle>
            <a:lvl1pPr algn="l" rtl="0" fontAlgn="base">
              <a:lnSpc>
                <a:spcPct val="100000"/>
              </a:lnSpc>
              <a:spcBef>
                <a:spcPts val="0"/>
              </a:spcBef>
              <a:spcAft>
                <a:spcPct val="0"/>
              </a:spcAft>
              <a:defRPr lang="en-US" sz="200" b="0" kern="1200" smtClean="0">
                <a:solidFill>
                  <a:schemeClr val="bg1">
                    <a:lumMod val="75000"/>
                  </a:schemeClr>
                </a:solidFill>
                <a:latin typeface="+mn-lt"/>
                <a:ea typeface="+mn-ea"/>
                <a:cs typeface="+mn-cs"/>
                <a:sym typeface="+mn-lt"/>
              </a:defRPr>
            </a:lvl1pPr>
          </a:lstStyle>
          <a:p>
            <a:endParaRPr lang="de-DE" dirty="0">
              <a:solidFill>
                <a:srgbClr val="FFFFFF">
                  <a:lumMod val="75000"/>
                </a:srgbClr>
              </a:solidFill>
            </a:endParaRPr>
          </a:p>
        </p:txBody>
      </p:sp>
    </p:spTree>
    <p:extLst>
      <p:ext uri="{BB962C8B-B14F-4D97-AF65-F5344CB8AC3E}">
        <p14:creationId xmlns:p14="http://schemas.microsoft.com/office/powerpoint/2010/main" xmlns="" val="2521271906"/>
      </p:ext>
    </p:extLst>
  </p:cSld>
  <p:clrMapOvr>
    <a:masterClrMapping/>
  </p:clrMapOvr>
  <p:timing>
    <p:tnLst>
      <p:par>
        <p:cTn id="1" dur="indefinite" restart="never" nodeType="tmRoot"/>
      </p:par>
    </p:tnLst>
  </p:timing>
</p:sldLayout>
</file>

<file path=ppt/slideLayouts/slideLayout62.xml><?xml version="1.0" encoding="utf-8"?>
<p:sldLayout xmlns:a="http://schemas.openxmlformats.org/drawingml/2006/main" xmlns:r="http://schemas.openxmlformats.org/officeDocument/2006/relationships" xmlns:p="http://schemas.openxmlformats.org/presentationml/2006/main" userDrawn="1">
  <p:cSld name="Fond blanc">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1495" y="1194"/>
          <a:ext cx="1465" cy="1190"/>
        </p:xfrm>
        <a:graphic>
          <a:graphicData uri="http://schemas.openxmlformats.org/presentationml/2006/ole">
            <p:oleObj spid="_x0000_s4115" name="think-cell Slide" r:id="rId4" imgW="360" imgH="360" progId="">
              <p:embed/>
            </p:oleObj>
          </a:graphicData>
        </a:graphic>
      </p:graphicFrame>
      <p:sp>
        <p:nvSpPr>
          <p:cNvPr id="3" name="Rectangle 53"/>
          <p:cNvSpPr>
            <a:spLocks noChangeArrowheads="1"/>
          </p:cNvSpPr>
          <p:nvPr userDrawn="1"/>
        </p:nvSpPr>
        <p:spPr bwMode="auto">
          <a:xfrm>
            <a:off x="0" y="0"/>
            <a:ext cx="266700" cy="5143500"/>
          </a:xfrm>
          <a:prstGeom prst="rect">
            <a:avLst/>
          </a:prstGeom>
          <a:solidFill>
            <a:srgbClr val="09BAFF"/>
          </a:solidFill>
          <a:ln w="9525">
            <a:noFill/>
            <a:miter lim="800000"/>
            <a:headEnd/>
            <a:tailEnd/>
          </a:ln>
          <a:effectLst/>
        </p:spPr>
        <p:txBody>
          <a:bodyPr wrap="none" lIns="0" tIns="0" rIns="0" bIns="0" anchor="ctr"/>
          <a:lstStyle/>
          <a:p>
            <a:pPr defTabSz="816251">
              <a:defRPr/>
            </a:pPr>
            <a:endParaRPr lang="fr-FR" sz="1600" dirty="0">
              <a:solidFill>
                <a:srgbClr val="000000"/>
              </a:solidFill>
              <a:ea typeface="MS PGothic"/>
              <a:sym typeface="Arial Narrow"/>
            </a:endParaRPr>
          </a:p>
        </p:txBody>
      </p:sp>
      <p:sp>
        <p:nvSpPr>
          <p:cNvPr id="4" name="Rectangle 53"/>
          <p:cNvSpPr>
            <a:spLocks noChangeArrowheads="1"/>
          </p:cNvSpPr>
          <p:nvPr userDrawn="1"/>
        </p:nvSpPr>
        <p:spPr bwMode="auto">
          <a:xfrm>
            <a:off x="6550271" y="4"/>
            <a:ext cx="2593730" cy="964406"/>
          </a:xfrm>
          <a:prstGeom prst="rect">
            <a:avLst/>
          </a:prstGeom>
          <a:solidFill>
            <a:srgbClr val="09BAFF"/>
          </a:solidFill>
          <a:ln w="9525">
            <a:noFill/>
            <a:miter lim="800000"/>
            <a:headEnd/>
            <a:tailEnd/>
          </a:ln>
          <a:effectLst/>
        </p:spPr>
        <p:txBody>
          <a:bodyPr wrap="none" lIns="0" tIns="0" rIns="0" bIns="0" anchor="ctr"/>
          <a:lstStyle/>
          <a:p>
            <a:pPr defTabSz="816251">
              <a:defRPr/>
            </a:pPr>
            <a:endParaRPr lang="fr-FR" sz="1600" dirty="0">
              <a:solidFill>
                <a:srgbClr val="000000"/>
              </a:solidFill>
              <a:ea typeface="MS PGothic"/>
              <a:sym typeface="Arial Narrow"/>
            </a:endParaRPr>
          </a:p>
        </p:txBody>
      </p:sp>
      <p:sp>
        <p:nvSpPr>
          <p:cNvPr id="5" name="Rectangle 53"/>
          <p:cNvSpPr>
            <a:spLocks noChangeArrowheads="1"/>
          </p:cNvSpPr>
          <p:nvPr userDrawn="1"/>
        </p:nvSpPr>
        <p:spPr bwMode="auto">
          <a:xfrm>
            <a:off x="256510" y="4"/>
            <a:ext cx="6293763" cy="964406"/>
          </a:xfrm>
          <a:prstGeom prst="rect">
            <a:avLst/>
          </a:prstGeom>
          <a:solidFill>
            <a:schemeClr val="bg2"/>
          </a:solidFill>
          <a:ln w="9525">
            <a:noFill/>
            <a:miter lim="800000"/>
            <a:headEnd/>
            <a:tailEnd/>
          </a:ln>
          <a:effectLst/>
        </p:spPr>
        <p:txBody>
          <a:bodyPr wrap="none" lIns="0" tIns="0" rIns="0" bIns="0" anchor="ctr"/>
          <a:lstStyle/>
          <a:p>
            <a:pPr defTabSz="816251">
              <a:defRPr/>
            </a:pPr>
            <a:endParaRPr lang="fr-FR" sz="1600" dirty="0">
              <a:solidFill>
                <a:srgbClr val="000000"/>
              </a:solidFill>
              <a:ea typeface="MS PGothic"/>
              <a:sym typeface="Arial Narrow"/>
            </a:endParaRPr>
          </a:p>
        </p:txBody>
      </p:sp>
      <p:sp>
        <p:nvSpPr>
          <p:cNvPr id="8" name="Title 7"/>
          <p:cNvSpPr>
            <a:spLocks noGrp="1"/>
          </p:cNvSpPr>
          <p:nvPr>
            <p:ph type="title"/>
          </p:nvPr>
        </p:nvSpPr>
        <p:spPr>
          <a:xfrm>
            <a:off x="422038" y="157166"/>
            <a:ext cx="6021415" cy="579835"/>
          </a:xfrm>
        </p:spPr>
        <p:txBody>
          <a:bodyPr/>
          <a:lstStyle>
            <a:lvl1pPr>
              <a:defRPr>
                <a:solidFill>
                  <a:schemeClr val="bg1"/>
                </a:solidFill>
              </a:defRPr>
            </a:lvl1pPr>
          </a:lstStyle>
          <a:p>
            <a:r>
              <a:rPr lang="en-US" dirty="0" smtClean="0"/>
              <a:t>Click to edit Master title style</a:t>
            </a:r>
            <a:endParaRPr lang="en-US" dirty="0"/>
          </a:p>
        </p:txBody>
      </p:sp>
      <p:sp>
        <p:nvSpPr>
          <p:cNvPr id="9" name="Slide Number"/>
          <p:cNvSpPr txBox="1">
            <a:spLocks noChangeArrowheads="1"/>
          </p:cNvSpPr>
          <p:nvPr userDrawn="1"/>
        </p:nvSpPr>
        <p:spPr bwMode="auto">
          <a:xfrm>
            <a:off x="55131" y="5020611"/>
            <a:ext cx="155492" cy="123111"/>
          </a:xfrm>
          <a:prstGeom prst="rect">
            <a:avLst/>
          </a:prstGeom>
          <a:noFill/>
          <a:ln w="9525">
            <a:noFill/>
            <a:miter lim="800000"/>
            <a:headEnd/>
            <a:tailEnd/>
          </a:ln>
          <a:effectLst/>
        </p:spPr>
        <p:txBody>
          <a:bodyPr vert="horz" wrap="none" lIns="0" tIns="0" rIns="0" bIns="0" numCol="1" anchor="t" anchorCtr="0" compatLnSpc="1">
            <a:prstTxWarp prst="textNoShape">
              <a:avLst/>
            </a:prstTxWarp>
            <a:spAutoFit/>
          </a:bodyPr>
          <a:lstStyle>
            <a:lvl1pPr>
              <a:defRPr sz="900" b="0" smtClean="0"/>
            </a:lvl1pPr>
          </a:lstStyle>
          <a:p>
            <a:pPr algn="ctr" defTabSz="779252" fontAlgn="base">
              <a:spcBef>
                <a:spcPct val="0"/>
              </a:spcBef>
              <a:spcAft>
                <a:spcPct val="0"/>
              </a:spcAft>
              <a:defRPr/>
            </a:pPr>
            <a:r>
              <a:rPr lang="en-US" sz="800" dirty="0">
                <a:solidFill>
                  <a:srgbClr val="FFFFFF"/>
                </a:solidFill>
                <a:cs typeface="Arial" pitchFamily="34" charset="0"/>
              </a:rPr>
              <a:t>-</a:t>
            </a:r>
            <a:fld id="{7AA7B471-74A3-4F5F-8955-6C99E2375CAC}" type="slidenum">
              <a:rPr lang="en-US" sz="800">
                <a:solidFill>
                  <a:srgbClr val="FFFFFF"/>
                </a:solidFill>
                <a:cs typeface="Arial" pitchFamily="34" charset="0"/>
              </a:rPr>
              <a:pPr algn="ctr" defTabSz="779252" fontAlgn="base">
                <a:spcBef>
                  <a:spcPct val="0"/>
                </a:spcBef>
                <a:spcAft>
                  <a:spcPct val="0"/>
                </a:spcAft>
                <a:defRPr/>
              </a:pPr>
              <a:t>‹#›</a:t>
            </a:fld>
            <a:r>
              <a:rPr lang="en-US" sz="800" dirty="0">
                <a:solidFill>
                  <a:srgbClr val="FFFFFF"/>
                </a:solidFill>
                <a:cs typeface="Arial" pitchFamily="34" charset="0"/>
              </a:rPr>
              <a:t>-</a:t>
            </a:r>
          </a:p>
        </p:txBody>
      </p:sp>
    </p:spTree>
    <p:extLst>
      <p:ext uri="{BB962C8B-B14F-4D97-AF65-F5344CB8AC3E}">
        <p14:creationId xmlns:p14="http://schemas.microsoft.com/office/powerpoint/2010/main" xmlns="" val="2044705485"/>
      </p:ext>
    </p:extLst>
  </p:cSld>
  <p:clrMapOvr>
    <a:masterClrMapping/>
  </p:clrMapOvr>
  <p:timing>
    <p:tnLst>
      <p:par>
        <p:cTn id="1" dur="indefinite" restart="never" nodeType="tmRoot"/>
      </p:par>
    </p:tnLst>
  </p:timing>
</p:sldLayout>
</file>

<file path=ppt/slideLayouts/slideLayout63.xml><?xml version="1.0" encoding="utf-8"?>
<p:sldLayout xmlns:a="http://schemas.openxmlformats.org/drawingml/2006/main" xmlns:r="http://schemas.openxmlformats.org/officeDocument/2006/relationships" xmlns:p="http://schemas.openxmlformats.org/presentationml/2006/main" userDrawn="1">
  <p:cSld name="Landscape (Fullscreen)">
    <p:spTree>
      <p:nvGrpSpPr>
        <p:cNvPr id="1" name=""/>
        <p:cNvGrpSpPr/>
        <p:nvPr/>
      </p:nvGrpSpPr>
      <p:grpSpPr>
        <a:xfrm>
          <a:off x="0" y="0"/>
          <a:ext cx="0" cy="0"/>
          <a:chOff x="0" y="0"/>
          <a:chExt cx="0" cy="0"/>
        </a:xfrm>
      </p:grpSpPr>
    </p:spTree>
    <p:extLst>
      <p:ext uri="{BB962C8B-B14F-4D97-AF65-F5344CB8AC3E}">
        <p14:creationId xmlns:p14="http://schemas.microsoft.com/office/powerpoint/2010/main" xmlns="" val="1438885155"/>
      </p:ext>
    </p:extLst>
  </p:cSld>
  <p:clrMapOvr>
    <a:masterClrMapping/>
  </p:clrMapOvr>
  <p:transition>
    <p:fade/>
  </p:transition>
  <p:timing>
    <p:tnLst>
      <p:par>
        <p:cTn id="1" dur="indefinite" restart="never" nodeType="tmRoot"/>
      </p:par>
    </p:tnLst>
  </p:timing>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Slide Number Placeholder" hidden="1"/>
          <p:cNvSpPr>
            <a:spLocks noGrp="1"/>
          </p:cNvSpPr>
          <p:nvPr>
            <p:ph type="sldNum" sz="quarter" idx="11"/>
            <p:custDataLst>
              <p:tags r:id="rId1"/>
            </p:custDataLst>
          </p:nvPr>
        </p:nvSpPr>
        <p:spPr>
          <a:xfrm>
            <a:off x="9204923" y="130135"/>
            <a:ext cx="24046" cy="30778"/>
          </a:xfrm>
          <a:prstGeom prst="rect">
            <a:avLst/>
          </a:prstGeom>
        </p:spPr>
        <p:txBody>
          <a:bodyPr vert="horz" wrap="none" lIns="0" tIns="0" rIns="0" bIns="0" rtlCol="0" anchor="ctr">
            <a:spAutoFit/>
          </a:bodyPr>
          <a:lstStyle>
            <a:lvl1pPr algn="l">
              <a:defRPr sz="200" b="0">
                <a:solidFill>
                  <a:schemeClr val="bg1">
                    <a:lumMod val="75000"/>
                  </a:schemeClr>
                </a:solidFill>
                <a:latin typeface="+mn-lt"/>
                <a:cs typeface="+mn-cs"/>
                <a:sym typeface="+mn-lt"/>
              </a:defRPr>
            </a:lvl1pPr>
          </a:lstStyle>
          <a:p>
            <a:pPr fontAlgn="base">
              <a:spcBef>
                <a:spcPct val="0"/>
              </a:spcBef>
              <a:spcAft>
                <a:spcPct val="0"/>
              </a:spcAft>
            </a:pPr>
            <a:fld id="{01940DDA-0656-452C-A408-68789653BD9B}" type="slidenum">
              <a:rPr lang="en-US" smtClean="0">
                <a:solidFill>
                  <a:srgbClr val="FFFFFF">
                    <a:lumMod val="75000"/>
                  </a:srgbClr>
                </a:solidFill>
              </a:rPr>
              <a:pPr fontAlgn="base">
                <a:spcBef>
                  <a:spcPct val="0"/>
                </a:spcBef>
                <a:spcAft>
                  <a:spcPct val="0"/>
                </a:spcAft>
              </a:pPr>
              <a:t>‹#›</a:t>
            </a:fld>
            <a:endParaRPr lang="en-US" dirty="0">
              <a:solidFill>
                <a:srgbClr val="FFFFFF">
                  <a:lumMod val="75000"/>
                </a:srgbClr>
              </a:solidFill>
            </a:endParaRPr>
          </a:p>
        </p:txBody>
      </p:sp>
      <p:sp>
        <p:nvSpPr>
          <p:cNvPr id="4" name="Footer Placeholder" hidden="1"/>
          <p:cNvSpPr>
            <a:spLocks noGrp="1"/>
          </p:cNvSpPr>
          <p:nvPr>
            <p:ph type="ftr" sz="quarter" idx="12"/>
            <p:custDataLst>
              <p:tags r:id="rId2"/>
            </p:custDataLst>
          </p:nvPr>
        </p:nvSpPr>
        <p:spPr>
          <a:xfrm>
            <a:off x="9204945" y="171487"/>
            <a:ext cx="65" cy="30778"/>
          </a:xfrm>
          <a:prstGeom prst="rect">
            <a:avLst/>
          </a:prstGeom>
        </p:spPr>
        <p:txBody>
          <a:bodyPr vert="horz" wrap="none" lIns="0" tIns="0" rIns="0" bIns="0" rtlCol="0" anchor="t" anchorCtr="0">
            <a:spAutoFit/>
          </a:bodyPr>
          <a:lstStyle>
            <a:lvl1pPr algn="l" rtl="0" fontAlgn="base">
              <a:lnSpc>
                <a:spcPct val="100000"/>
              </a:lnSpc>
              <a:spcBef>
                <a:spcPts val="0"/>
              </a:spcBef>
              <a:spcAft>
                <a:spcPct val="0"/>
              </a:spcAft>
              <a:defRPr lang="en-US" sz="200" b="0" kern="1200" smtClean="0">
                <a:solidFill>
                  <a:schemeClr val="bg1">
                    <a:lumMod val="75000"/>
                  </a:schemeClr>
                </a:solidFill>
                <a:latin typeface="+mn-lt"/>
                <a:ea typeface="+mn-ea"/>
                <a:cs typeface="+mn-cs"/>
                <a:sym typeface="+mn-lt"/>
              </a:defRPr>
            </a:lvl1pPr>
          </a:lstStyle>
          <a:p>
            <a:endParaRPr lang="de-DE" dirty="0">
              <a:solidFill>
                <a:srgbClr val="FFFFFF">
                  <a:lumMod val="75000"/>
                </a:srgbClr>
              </a:solidFill>
            </a:endParaRPr>
          </a:p>
        </p:txBody>
      </p:sp>
      <p:sp>
        <p:nvSpPr>
          <p:cNvPr id="2" name="Title 1"/>
          <p:cNvSpPr>
            <a:spLocks noGrp="1"/>
          </p:cNvSpPr>
          <p:nvPr>
            <p:ph type="title"/>
          </p:nvPr>
        </p:nvSpPr>
        <p:spPr>
          <a:xfrm>
            <a:off x="681231" y="540008"/>
            <a:ext cx="7879374" cy="560923"/>
          </a:xfrm>
        </p:spPr>
        <p:txBody>
          <a:bodyPr/>
          <a:lstStyle>
            <a:lvl1pPr>
              <a:tabLst>
                <a:tab pos="1067413" algn="l"/>
              </a:tabLst>
              <a:defRPr>
                <a:latin typeface="+mj-lt"/>
                <a:sym typeface="+mn-lt"/>
              </a:defRPr>
            </a:lvl1pPr>
          </a:lstStyle>
          <a:p>
            <a:r>
              <a:rPr lang="en-US" dirty="0" smtClean="0"/>
              <a:t>Click to edit Master title style</a:t>
            </a:r>
            <a:endParaRPr lang="en-US" dirty="0"/>
          </a:p>
        </p:txBody>
      </p:sp>
    </p:spTree>
    <p:extLst>
      <p:ext uri="{BB962C8B-B14F-4D97-AF65-F5344CB8AC3E}">
        <p14:creationId xmlns:p14="http://schemas.microsoft.com/office/powerpoint/2010/main" xmlns="" val="912802507"/>
      </p:ext>
    </p:extLst>
  </p:cSld>
  <p:clrMapOvr>
    <a:masterClrMapping/>
  </p:clrMapOvr>
  <p:timing>
    <p:tnLst>
      <p:par>
        <p:cTn id="1" dur="indefinite" restart="never" nodeType="tmRoot"/>
      </p:par>
    </p:tnLst>
  </p:timing>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12" name="Slide Number Placeholder" hidden="1"/>
          <p:cNvSpPr>
            <a:spLocks noGrp="1"/>
          </p:cNvSpPr>
          <p:nvPr>
            <p:ph type="sldNum" sz="quarter" idx="11"/>
            <p:custDataLst>
              <p:tags r:id="rId1"/>
            </p:custDataLst>
          </p:nvPr>
        </p:nvSpPr>
        <p:spPr>
          <a:xfrm>
            <a:off x="9204923" y="130135"/>
            <a:ext cx="24046" cy="30778"/>
          </a:xfrm>
          <a:prstGeom prst="rect">
            <a:avLst/>
          </a:prstGeom>
        </p:spPr>
        <p:txBody>
          <a:bodyPr vert="horz" wrap="none" lIns="0" tIns="0" rIns="0" bIns="0" rtlCol="0" anchor="ctr">
            <a:spAutoFit/>
          </a:bodyPr>
          <a:lstStyle>
            <a:lvl1pPr algn="l">
              <a:defRPr sz="200" b="0">
                <a:solidFill>
                  <a:schemeClr val="bg1">
                    <a:lumMod val="75000"/>
                  </a:schemeClr>
                </a:solidFill>
                <a:latin typeface="+mn-lt"/>
                <a:cs typeface="+mn-cs"/>
                <a:sym typeface="+mn-lt"/>
              </a:defRPr>
            </a:lvl1pPr>
          </a:lstStyle>
          <a:p>
            <a:pPr fontAlgn="base">
              <a:spcBef>
                <a:spcPct val="0"/>
              </a:spcBef>
              <a:spcAft>
                <a:spcPct val="0"/>
              </a:spcAft>
            </a:pPr>
            <a:fld id="{01940DDA-0656-452C-A408-68789653BD9B}" type="slidenum">
              <a:rPr lang="en-US" smtClean="0">
                <a:solidFill>
                  <a:srgbClr val="FFFFFF">
                    <a:lumMod val="75000"/>
                  </a:srgbClr>
                </a:solidFill>
              </a:rPr>
              <a:pPr fontAlgn="base">
                <a:spcBef>
                  <a:spcPct val="0"/>
                </a:spcBef>
                <a:spcAft>
                  <a:spcPct val="0"/>
                </a:spcAft>
              </a:pPr>
              <a:t>‹#›</a:t>
            </a:fld>
            <a:endParaRPr lang="en-US" dirty="0">
              <a:solidFill>
                <a:srgbClr val="FFFFFF">
                  <a:lumMod val="75000"/>
                </a:srgbClr>
              </a:solidFill>
            </a:endParaRPr>
          </a:p>
        </p:txBody>
      </p:sp>
      <p:sp>
        <p:nvSpPr>
          <p:cNvPr id="13" name="Footer Placeholder" hidden="1"/>
          <p:cNvSpPr>
            <a:spLocks noGrp="1"/>
          </p:cNvSpPr>
          <p:nvPr>
            <p:ph type="ftr" sz="quarter" idx="10"/>
            <p:custDataLst>
              <p:tags r:id="rId2"/>
            </p:custDataLst>
          </p:nvPr>
        </p:nvSpPr>
        <p:spPr>
          <a:xfrm>
            <a:off x="9204945" y="171487"/>
            <a:ext cx="65" cy="30778"/>
          </a:xfrm>
          <a:prstGeom prst="rect">
            <a:avLst/>
          </a:prstGeom>
        </p:spPr>
        <p:txBody>
          <a:bodyPr vert="horz" wrap="none" lIns="0" tIns="0" rIns="0" bIns="0" rtlCol="0" anchor="t" anchorCtr="0">
            <a:spAutoFit/>
          </a:bodyPr>
          <a:lstStyle>
            <a:lvl1pPr algn="l" rtl="0" fontAlgn="base">
              <a:lnSpc>
                <a:spcPct val="100000"/>
              </a:lnSpc>
              <a:spcBef>
                <a:spcPts val="0"/>
              </a:spcBef>
              <a:spcAft>
                <a:spcPct val="0"/>
              </a:spcAft>
              <a:defRPr lang="en-US" sz="200" b="0" kern="1200" smtClean="0">
                <a:solidFill>
                  <a:schemeClr val="bg1">
                    <a:lumMod val="75000"/>
                  </a:schemeClr>
                </a:solidFill>
                <a:latin typeface="+mn-lt"/>
                <a:ea typeface="+mn-ea"/>
                <a:cs typeface="+mn-cs"/>
                <a:sym typeface="+mn-lt"/>
              </a:defRPr>
            </a:lvl1pPr>
          </a:lstStyle>
          <a:p>
            <a:endParaRPr lang="de-DE" dirty="0">
              <a:solidFill>
                <a:srgbClr val="FFFFFF">
                  <a:lumMod val="75000"/>
                </a:srgbClr>
              </a:solidFill>
            </a:endParaRPr>
          </a:p>
        </p:txBody>
      </p:sp>
      <p:sp>
        <p:nvSpPr>
          <p:cNvPr id="4" name="Text Placeholder 3"/>
          <p:cNvSpPr>
            <a:spLocks noGrp="1"/>
          </p:cNvSpPr>
          <p:nvPr>
            <p:ph type="body" sz="quarter" idx="12" hasCustomPrompt="1"/>
          </p:nvPr>
        </p:nvSpPr>
        <p:spPr>
          <a:xfrm>
            <a:off x="681231" y="1282500"/>
            <a:ext cx="7879374" cy="1189556"/>
          </a:xfrm>
        </p:spPr>
        <p:txBody>
          <a:bodyPr/>
          <a:lstStyle>
            <a:lvl1pPr>
              <a:defRPr>
                <a:solidFill>
                  <a:schemeClr val="tx2"/>
                </a:solidFill>
                <a:latin typeface="+mn-lt"/>
                <a:sym typeface="+mn-lt"/>
              </a:defRPr>
            </a:lvl1pPr>
            <a:lvl2pPr>
              <a:defRPr>
                <a:solidFill>
                  <a:schemeClr val="tx2"/>
                </a:solidFill>
                <a:latin typeface="+mn-lt"/>
                <a:sym typeface="+mn-lt"/>
              </a:defRPr>
            </a:lvl2pPr>
            <a:lvl3pPr>
              <a:defRPr>
                <a:solidFill>
                  <a:schemeClr val="tx2"/>
                </a:solidFill>
                <a:latin typeface="+mn-lt"/>
                <a:sym typeface="+mn-lt"/>
              </a:defRPr>
            </a:lvl3pPr>
            <a:lvl4pPr>
              <a:defRPr>
                <a:solidFill>
                  <a:schemeClr val="tx2"/>
                </a:solidFill>
                <a:latin typeface="+mn-lt"/>
                <a:sym typeface="+mn-lt"/>
              </a:defRPr>
            </a:lvl4pPr>
          </a:lstStyle>
          <a:p>
            <a:pPr lvl="0"/>
            <a:r>
              <a:rPr lang="en-US" dirty="0" smtClean="0"/>
              <a:t>Click to edit Master text styles – Level 0</a:t>
            </a:r>
          </a:p>
          <a:p>
            <a:pPr lvl="1"/>
            <a:r>
              <a:rPr lang="en-US" dirty="0" smtClean="0"/>
              <a:t>Level 1</a:t>
            </a:r>
          </a:p>
          <a:p>
            <a:pPr lvl="2"/>
            <a:r>
              <a:rPr lang="en-US" dirty="0" smtClean="0"/>
              <a:t>Level 2</a:t>
            </a:r>
          </a:p>
          <a:p>
            <a:pPr lvl="3"/>
            <a:r>
              <a:rPr lang="en-US" dirty="0" smtClean="0"/>
              <a:t>Level 3</a:t>
            </a:r>
          </a:p>
        </p:txBody>
      </p:sp>
      <p:sp>
        <p:nvSpPr>
          <p:cNvPr id="2" name="Title 1"/>
          <p:cNvSpPr>
            <a:spLocks noGrp="1"/>
          </p:cNvSpPr>
          <p:nvPr>
            <p:ph type="title"/>
          </p:nvPr>
        </p:nvSpPr>
        <p:spPr>
          <a:xfrm>
            <a:off x="681231" y="540008"/>
            <a:ext cx="7879374" cy="560923"/>
          </a:xfrm>
        </p:spPr>
        <p:txBody>
          <a:bodyPr/>
          <a:lstStyle>
            <a:lvl1pPr>
              <a:defRPr>
                <a:latin typeface="+mj-lt"/>
                <a:sym typeface="+mn-lt"/>
              </a:defRPr>
            </a:lvl1pPr>
          </a:lstStyle>
          <a:p>
            <a:r>
              <a:rPr lang="en-US" smtClean="0"/>
              <a:t>Click to edit Master title style</a:t>
            </a:r>
            <a:endParaRPr lang="en-US" dirty="0"/>
          </a:p>
        </p:txBody>
      </p:sp>
    </p:spTree>
    <p:extLst>
      <p:ext uri="{BB962C8B-B14F-4D97-AF65-F5344CB8AC3E}">
        <p14:creationId xmlns:p14="http://schemas.microsoft.com/office/powerpoint/2010/main" xmlns="" val="220099441"/>
      </p:ext>
    </p:extLst>
  </p:cSld>
  <p:clrMapOvr>
    <a:masterClrMapping/>
  </p:clrMapOvr>
  <p:timing>
    <p:tnLst>
      <p:par>
        <p:cTn id="1" dur="indefinite" restart="never" nodeType="tmRoot"/>
      </p:par>
    </p:tnLst>
  </p:timing>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chemeClr val="accent2"/>
        </a:solidFill>
        <a:effectLst/>
      </p:bgPr>
    </p:bg>
    <p:spTree>
      <p:nvGrpSpPr>
        <p:cNvPr id="1" name=""/>
        <p:cNvGrpSpPr/>
        <p:nvPr/>
      </p:nvGrpSpPr>
      <p:grpSpPr>
        <a:xfrm>
          <a:off x="0" y="0"/>
          <a:ext cx="0" cy="0"/>
          <a:chOff x="0" y="0"/>
          <a:chExt cx="0" cy="0"/>
        </a:xfrm>
      </p:grpSpPr>
      <p:sp>
        <p:nvSpPr>
          <p:cNvPr id="5" name="Slide Number Placeholder" hidden="1"/>
          <p:cNvSpPr>
            <a:spLocks noGrp="1"/>
          </p:cNvSpPr>
          <p:nvPr>
            <p:ph type="sldNum" sz="quarter" idx="11"/>
            <p:custDataLst>
              <p:tags r:id="rId1"/>
            </p:custDataLst>
          </p:nvPr>
        </p:nvSpPr>
        <p:spPr>
          <a:xfrm>
            <a:off x="9204923" y="130135"/>
            <a:ext cx="24046" cy="30778"/>
          </a:xfrm>
          <a:prstGeom prst="rect">
            <a:avLst/>
          </a:prstGeom>
        </p:spPr>
        <p:txBody>
          <a:bodyPr vert="horz" wrap="none" lIns="0" tIns="0" rIns="0" bIns="0" rtlCol="0" anchor="ctr">
            <a:spAutoFit/>
          </a:bodyPr>
          <a:lstStyle>
            <a:lvl1pPr algn="l">
              <a:defRPr sz="200" b="0">
                <a:solidFill>
                  <a:schemeClr val="bg1">
                    <a:lumMod val="75000"/>
                  </a:schemeClr>
                </a:solidFill>
                <a:latin typeface="+mn-lt"/>
                <a:cs typeface="+mn-cs"/>
                <a:sym typeface="+mn-lt"/>
              </a:defRPr>
            </a:lvl1pPr>
          </a:lstStyle>
          <a:p>
            <a:pPr fontAlgn="base">
              <a:spcBef>
                <a:spcPct val="0"/>
              </a:spcBef>
              <a:spcAft>
                <a:spcPct val="0"/>
              </a:spcAft>
            </a:pPr>
            <a:fld id="{01940DDA-0656-452C-A408-68789653BD9B}" type="slidenum">
              <a:rPr lang="en-US" smtClean="0">
                <a:solidFill>
                  <a:srgbClr val="FFFFFF">
                    <a:lumMod val="75000"/>
                  </a:srgbClr>
                </a:solidFill>
              </a:rPr>
              <a:pPr fontAlgn="base">
                <a:spcBef>
                  <a:spcPct val="0"/>
                </a:spcBef>
                <a:spcAft>
                  <a:spcPct val="0"/>
                </a:spcAft>
              </a:pPr>
              <a:t>‹#›</a:t>
            </a:fld>
            <a:endParaRPr lang="en-US" dirty="0">
              <a:solidFill>
                <a:srgbClr val="FFFFFF">
                  <a:lumMod val="75000"/>
                </a:srgbClr>
              </a:solidFill>
            </a:endParaRPr>
          </a:p>
        </p:txBody>
      </p:sp>
      <p:sp>
        <p:nvSpPr>
          <p:cNvPr id="6" name="Footer Placeholder" hidden="1"/>
          <p:cNvSpPr>
            <a:spLocks noGrp="1"/>
          </p:cNvSpPr>
          <p:nvPr>
            <p:ph type="ftr" sz="quarter" idx="12"/>
            <p:custDataLst>
              <p:tags r:id="rId2"/>
            </p:custDataLst>
          </p:nvPr>
        </p:nvSpPr>
        <p:spPr>
          <a:xfrm>
            <a:off x="9204945" y="171487"/>
            <a:ext cx="65" cy="30778"/>
          </a:xfrm>
          <a:prstGeom prst="rect">
            <a:avLst/>
          </a:prstGeom>
        </p:spPr>
        <p:txBody>
          <a:bodyPr vert="horz" wrap="none" lIns="0" tIns="0" rIns="0" bIns="0" rtlCol="0" anchor="t" anchorCtr="0">
            <a:spAutoFit/>
          </a:bodyPr>
          <a:lstStyle>
            <a:lvl1pPr algn="l" rtl="0" fontAlgn="base">
              <a:lnSpc>
                <a:spcPct val="100000"/>
              </a:lnSpc>
              <a:spcBef>
                <a:spcPts val="0"/>
              </a:spcBef>
              <a:spcAft>
                <a:spcPct val="0"/>
              </a:spcAft>
              <a:defRPr lang="en-US" sz="200" b="0" kern="1200" smtClean="0">
                <a:solidFill>
                  <a:schemeClr val="bg1">
                    <a:lumMod val="75000"/>
                  </a:schemeClr>
                </a:solidFill>
                <a:latin typeface="+mn-lt"/>
                <a:ea typeface="+mn-ea"/>
                <a:cs typeface="+mn-cs"/>
                <a:sym typeface="+mn-lt"/>
              </a:defRPr>
            </a:lvl1pPr>
          </a:lstStyle>
          <a:p>
            <a:endParaRPr lang="de-DE" dirty="0">
              <a:solidFill>
                <a:srgbClr val="FFFFFF">
                  <a:lumMod val="75000"/>
                </a:srgbClr>
              </a:solidFill>
            </a:endParaRPr>
          </a:p>
        </p:txBody>
      </p:sp>
      <p:grpSp>
        <p:nvGrpSpPr>
          <p:cNvPr id="30" name="Position Lines"/>
          <p:cNvGrpSpPr/>
          <p:nvPr userDrawn="1"/>
        </p:nvGrpSpPr>
        <p:grpSpPr>
          <a:xfrm>
            <a:off x="332308" y="5164931"/>
            <a:ext cx="3160246" cy="54000"/>
            <a:chOff x="360000" y="6886575"/>
            <a:chExt cx="3423600" cy="72000"/>
          </a:xfrm>
        </p:grpSpPr>
        <p:sp>
          <p:nvSpPr>
            <p:cNvPr id="21" name="Line"/>
            <p:cNvSpPr>
              <a:spLocks noChangeShapeType="1"/>
            </p:cNvSpPr>
            <p:nvPr>
              <p:custDataLst>
                <p:tags r:id="rId3"/>
              </p:custDataLst>
            </p:nvPr>
          </p:nvSpPr>
          <p:spPr bwMode="auto">
            <a:xfrm>
              <a:off x="360000" y="6886575"/>
              <a:ext cx="0" cy="72000"/>
            </a:xfrm>
            <a:prstGeom prst="line">
              <a:avLst/>
            </a:prstGeom>
            <a:noFill/>
            <a:ln w="3175" cmpd="sng">
              <a:solidFill>
                <a:schemeClr val="accent1"/>
              </a:solidFill>
              <a:round/>
              <a:headEnd/>
              <a:tailEnd/>
            </a:ln>
            <a:effectLst/>
          </p:spPr>
          <p:txBody>
            <a:bodyPr/>
            <a:lstStyle/>
            <a:p>
              <a:pPr fontAlgn="base">
                <a:spcBef>
                  <a:spcPct val="0"/>
                </a:spcBef>
                <a:spcAft>
                  <a:spcPct val="0"/>
                </a:spcAft>
              </a:pPr>
              <a:endParaRPr lang="en-US" sz="1100" b="1" dirty="0">
                <a:solidFill>
                  <a:srgbClr val="000000"/>
                </a:solidFill>
                <a:sym typeface="+mn-lt"/>
              </a:endParaRPr>
            </a:p>
          </p:txBody>
        </p:sp>
        <p:sp>
          <p:nvSpPr>
            <p:cNvPr id="22" name="Line"/>
            <p:cNvSpPr>
              <a:spLocks noChangeShapeType="1"/>
            </p:cNvSpPr>
            <p:nvPr>
              <p:custDataLst>
                <p:tags r:id="rId4"/>
              </p:custDataLst>
            </p:nvPr>
          </p:nvSpPr>
          <p:spPr bwMode="auto">
            <a:xfrm>
              <a:off x="890814" y="6886575"/>
              <a:ext cx="0" cy="72000"/>
            </a:xfrm>
            <a:prstGeom prst="line">
              <a:avLst/>
            </a:prstGeom>
            <a:noFill/>
            <a:ln w="3175" cmpd="sng">
              <a:solidFill>
                <a:schemeClr val="accent1"/>
              </a:solidFill>
              <a:round/>
              <a:headEnd/>
              <a:tailEnd/>
            </a:ln>
            <a:effectLst/>
          </p:spPr>
          <p:txBody>
            <a:bodyPr/>
            <a:lstStyle/>
            <a:p>
              <a:pPr fontAlgn="base">
                <a:spcBef>
                  <a:spcPct val="0"/>
                </a:spcBef>
                <a:spcAft>
                  <a:spcPct val="0"/>
                </a:spcAft>
              </a:pPr>
              <a:endParaRPr lang="en-US" sz="1100" b="1" dirty="0">
                <a:solidFill>
                  <a:srgbClr val="000000"/>
                </a:solidFill>
                <a:sym typeface="+mn-lt"/>
              </a:endParaRPr>
            </a:p>
          </p:txBody>
        </p:sp>
        <p:sp>
          <p:nvSpPr>
            <p:cNvPr id="23" name="Line"/>
            <p:cNvSpPr>
              <a:spLocks noChangeShapeType="1"/>
            </p:cNvSpPr>
            <p:nvPr userDrawn="1">
              <p:custDataLst>
                <p:tags r:id="rId5"/>
              </p:custDataLst>
            </p:nvPr>
          </p:nvSpPr>
          <p:spPr bwMode="auto">
            <a:xfrm>
              <a:off x="1174135" y="6886575"/>
              <a:ext cx="0" cy="72000"/>
            </a:xfrm>
            <a:prstGeom prst="line">
              <a:avLst/>
            </a:prstGeom>
            <a:noFill/>
            <a:ln w="3175" cmpd="sng">
              <a:solidFill>
                <a:schemeClr val="accent1"/>
              </a:solidFill>
              <a:round/>
              <a:headEnd/>
              <a:tailEnd/>
            </a:ln>
            <a:effectLst/>
          </p:spPr>
          <p:txBody>
            <a:bodyPr/>
            <a:lstStyle/>
            <a:p>
              <a:pPr fontAlgn="base">
                <a:spcBef>
                  <a:spcPct val="0"/>
                </a:spcBef>
                <a:spcAft>
                  <a:spcPct val="0"/>
                </a:spcAft>
              </a:pPr>
              <a:endParaRPr lang="en-US" sz="1100" b="1" dirty="0">
                <a:solidFill>
                  <a:srgbClr val="000000"/>
                </a:solidFill>
                <a:sym typeface="+mn-lt"/>
              </a:endParaRPr>
            </a:p>
          </p:txBody>
        </p:sp>
        <p:sp>
          <p:nvSpPr>
            <p:cNvPr id="36" name="Line"/>
            <p:cNvSpPr>
              <a:spLocks noChangeShapeType="1"/>
            </p:cNvSpPr>
            <p:nvPr userDrawn="1">
              <p:custDataLst>
                <p:tags r:id="rId6"/>
              </p:custDataLst>
            </p:nvPr>
          </p:nvSpPr>
          <p:spPr bwMode="auto">
            <a:xfrm>
              <a:off x="3504355" y="6886575"/>
              <a:ext cx="0" cy="72000"/>
            </a:xfrm>
            <a:prstGeom prst="line">
              <a:avLst/>
            </a:prstGeom>
            <a:noFill/>
            <a:ln w="3175" cmpd="sng">
              <a:solidFill>
                <a:schemeClr val="accent1"/>
              </a:solidFill>
              <a:round/>
              <a:headEnd/>
              <a:tailEnd/>
            </a:ln>
            <a:effectLst/>
          </p:spPr>
          <p:txBody>
            <a:bodyPr/>
            <a:lstStyle/>
            <a:p>
              <a:pPr fontAlgn="base">
                <a:spcBef>
                  <a:spcPct val="0"/>
                </a:spcBef>
                <a:spcAft>
                  <a:spcPct val="0"/>
                </a:spcAft>
              </a:pPr>
              <a:endParaRPr lang="en-US" sz="1100" b="1" dirty="0">
                <a:solidFill>
                  <a:srgbClr val="000000"/>
                </a:solidFill>
                <a:sym typeface="+mn-lt"/>
              </a:endParaRPr>
            </a:p>
          </p:txBody>
        </p:sp>
        <p:sp>
          <p:nvSpPr>
            <p:cNvPr id="37" name="Line"/>
            <p:cNvSpPr>
              <a:spLocks noChangeShapeType="1"/>
            </p:cNvSpPr>
            <p:nvPr userDrawn="1">
              <p:custDataLst>
                <p:tags r:id="rId7"/>
              </p:custDataLst>
            </p:nvPr>
          </p:nvSpPr>
          <p:spPr bwMode="auto">
            <a:xfrm>
              <a:off x="3783600" y="6886575"/>
              <a:ext cx="0" cy="72000"/>
            </a:xfrm>
            <a:prstGeom prst="line">
              <a:avLst/>
            </a:prstGeom>
            <a:noFill/>
            <a:ln w="3175" cmpd="sng">
              <a:solidFill>
                <a:schemeClr val="accent1"/>
              </a:solidFill>
              <a:round/>
              <a:headEnd/>
              <a:tailEnd/>
            </a:ln>
            <a:effectLst/>
          </p:spPr>
          <p:txBody>
            <a:bodyPr/>
            <a:lstStyle/>
            <a:p>
              <a:pPr fontAlgn="base">
                <a:spcBef>
                  <a:spcPct val="0"/>
                </a:spcBef>
                <a:spcAft>
                  <a:spcPct val="0"/>
                </a:spcAft>
              </a:pPr>
              <a:endParaRPr lang="en-US" sz="1100" b="1" dirty="0">
                <a:solidFill>
                  <a:srgbClr val="000000"/>
                </a:solidFill>
                <a:sym typeface="+mn-lt"/>
              </a:endParaRPr>
            </a:p>
          </p:txBody>
        </p:sp>
      </p:grpSp>
      <p:sp>
        <p:nvSpPr>
          <p:cNvPr id="2" name="Title"/>
          <p:cNvSpPr>
            <a:spLocks noGrp="1"/>
          </p:cNvSpPr>
          <p:nvPr>
            <p:ph type="title" hasCustomPrompt="1"/>
          </p:nvPr>
        </p:nvSpPr>
        <p:spPr>
          <a:xfrm>
            <a:off x="0" y="3648853"/>
            <a:ext cx="3492554" cy="938125"/>
          </a:xfrm>
        </p:spPr>
        <p:txBody>
          <a:bodyPr wrap="square" lIns="306792" tIns="0" rIns="214754" bIns="613584" anchor="b" anchorCtr="0">
            <a:spAutoFit/>
          </a:bodyPr>
          <a:lstStyle>
            <a:lvl1pPr marL="450505" indent="-450505" algn="l">
              <a:tabLst>
                <a:tab pos="692668" algn="l"/>
              </a:tabLst>
              <a:defRPr>
                <a:latin typeface="+mj-lt"/>
                <a:sym typeface="+mn-lt"/>
              </a:defRPr>
            </a:lvl1pPr>
          </a:lstStyle>
          <a:p>
            <a:r>
              <a:rPr lang="en-US" dirty="0" smtClean="0"/>
              <a:t>A.   Click to edit text</a:t>
            </a:r>
            <a:endParaRPr lang="de-DE" dirty="0"/>
          </a:p>
        </p:txBody>
      </p:sp>
      <p:sp>
        <p:nvSpPr>
          <p:cNvPr id="4" name="Client name"/>
          <p:cNvSpPr>
            <a:spLocks noGrp="1"/>
          </p:cNvSpPr>
          <p:nvPr>
            <p:ph type="body" sz="quarter" idx="13" hasCustomPrompt="1"/>
          </p:nvPr>
        </p:nvSpPr>
        <p:spPr>
          <a:xfrm>
            <a:off x="822290" y="405001"/>
            <a:ext cx="2670264" cy="484748"/>
          </a:xfrm>
        </p:spPr>
        <p:txBody>
          <a:bodyPr>
            <a:noAutofit/>
          </a:bodyPr>
          <a:lstStyle>
            <a:lvl1pPr>
              <a:lnSpc>
                <a:spcPct val="100000"/>
              </a:lnSpc>
              <a:defRPr>
                <a:latin typeface="+mn-lt"/>
                <a:sym typeface="+mn-lt"/>
              </a:defRPr>
            </a:lvl1pPr>
          </a:lstStyle>
          <a:p>
            <a:pPr lvl="0"/>
            <a:r>
              <a:rPr lang="en-US" dirty="0" smtClean="0"/>
              <a:t>Client logo/name</a:t>
            </a:r>
          </a:p>
        </p:txBody>
      </p:sp>
    </p:spTree>
    <p:extLst>
      <p:ext uri="{BB962C8B-B14F-4D97-AF65-F5344CB8AC3E}">
        <p14:creationId xmlns:p14="http://schemas.microsoft.com/office/powerpoint/2010/main" xmlns="" val="1370925413"/>
      </p:ext>
    </p:extLst>
  </p:cSld>
  <p:clrMapOvr>
    <a:masterClrMapping/>
  </p:clrMapOvr>
  <p:timing>
    <p:tnLst>
      <p:par>
        <p:cTn id="1" dur="indefinite" restart="never" nodeType="tmRoot"/>
      </p:par>
    </p:tnLst>
  </p:timing>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Cover Page">
    <p:bg>
      <p:bgPr>
        <a:solidFill>
          <a:schemeClr val="accent2"/>
        </a:solidFill>
        <a:effectLst/>
      </p:bgPr>
    </p:bg>
    <p:spTree>
      <p:nvGrpSpPr>
        <p:cNvPr id="1" name=""/>
        <p:cNvGrpSpPr/>
        <p:nvPr/>
      </p:nvGrpSpPr>
      <p:grpSpPr>
        <a:xfrm>
          <a:off x="0" y="0"/>
          <a:ext cx="0" cy="0"/>
          <a:chOff x="0" y="0"/>
          <a:chExt cx="0" cy="0"/>
        </a:xfrm>
      </p:grpSpPr>
      <p:sp>
        <p:nvSpPr>
          <p:cNvPr id="14" name="Slide Number Placeholder" hidden="1"/>
          <p:cNvSpPr>
            <a:spLocks noGrp="1"/>
          </p:cNvSpPr>
          <p:nvPr>
            <p:ph type="sldNum" sz="quarter" idx="11"/>
            <p:custDataLst>
              <p:tags r:id="rId1"/>
            </p:custDataLst>
          </p:nvPr>
        </p:nvSpPr>
        <p:spPr>
          <a:xfrm>
            <a:off x="9204923" y="130135"/>
            <a:ext cx="24046" cy="30778"/>
          </a:xfrm>
          <a:prstGeom prst="rect">
            <a:avLst/>
          </a:prstGeom>
        </p:spPr>
        <p:txBody>
          <a:bodyPr vert="horz" wrap="none" lIns="0" tIns="0" rIns="0" bIns="0" rtlCol="0" anchor="ctr">
            <a:spAutoFit/>
          </a:bodyPr>
          <a:lstStyle>
            <a:lvl1pPr algn="l">
              <a:defRPr sz="200" b="0">
                <a:solidFill>
                  <a:schemeClr val="bg1">
                    <a:lumMod val="75000"/>
                  </a:schemeClr>
                </a:solidFill>
                <a:latin typeface="+mn-lt"/>
                <a:cs typeface="+mn-cs"/>
                <a:sym typeface="+mn-lt"/>
              </a:defRPr>
            </a:lvl1pPr>
          </a:lstStyle>
          <a:p>
            <a:pPr fontAlgn="base">
              <a:spcBef>
                <a:spcPct val="0"/>
              </a:spcBef>
              <a:spcAft>
                <a:spcPct val="0"/>
              </a:spcAft>
            </a:pPr>
            <a:fld id="{01940DDA-0656-452C-A408-68789653BD9B}" type="slidenum">
              <a:rPr lang="en-US" smtClean="0">
                <a:solidFill>
                  <a:srgbClr val="FFFFFF">
                    <a:lumMod val="75000"/>
                  </a:srgbClr>
                </a:solidFill>
              </a:rPr>
              <a:pPr fontAlgn="base">
                <a:spcBef>
                  <a:spcPct val="0"/>
                </a:spcBef>
                <a:spcAft>
                  <a:spcPct val="0"/>
                </a:spcAft>
              </a:pPr>
              <a:t>‹#›</a:t>
            </a:fld>
            <a:endParaRPr lang="en-US" dirty="0">
              <a:solidFill>
                <a:srgbClr val="FFFFFF">
                  <a:lumMod val="75000"/>
                </a:srgbClr>
              </a:solidFill>
            </a:endParaRPr>
          </a:p>
        </p:txBody>
      </p:sp>
      <p:sp>
        <p:nvSpPr>
          <p:cNvPr id="15" name="Footer Placeholder" hidden="1"/>
          <p:cNvSpPr>
            <a:spLocks noGrp="1"/>
          </p:cNvSpPr>
          <p:nvPr>
            <p:ph type="ftr" sz="quarter" idx="10"/>
            <p:custDataLst>
              <p:tags r:id="rId2"/>
            </p:custDataLst>
          </p:nvPr>
        </p:nvSpPr>
        <p:spPr>
          <a:xfrm>
            <a:off x="9204945" y="171487"/>
            <a:ext cx="65" cy="30778"/>
          </a:xfrm>
          <a:prstGeom prst="rect">
            <a:avLst/>
          </a:prstGeom>
        </p:spPr>
        <p:txBody>
          <a:bodyPr vert="horz" wrap="none" lIns="0" tIns="0" rIns="0" bIns="0" rtlCol="0" anchor="t" anchorCtr="0">
            <a:spAutoFit/>
          </a:bodyPr>
          <a:lstStyle>
            <a:lvl1pPr algn="l" rtl="0" fontAlgn="base">
              <a:lnSpc>
                <a:spcPct val="100000"/>
              </a:lnSpc>
              <a:spcBef>
                <a:spcPts val="0"/>
              </a:spcBef>
              <a:spcAft>
                <a:spcPct val="0"/>
              </a:spcAft>
              <a:defRPr lang="en-US" sz="200" b="0" kern="1200" smtClean="0">
                <a:solidFill>
                  <a:schemeClr val="bg1">
                    <a:lumMod val="75000"/>
                  </a:schemeClr>
                </a:solidFill>
                <a:latin typeface="+mn-lt"/>
                <a:ea typeface="+mn-ea"/>
                <a:cs typeface="+mn-cs"/>
                <a:sym typeface="+mn-lt"/>
              </a:defRPr>
            </a:lvl1pPr>
          </a:lstStyle>
          <a:p>
            <a:endParaRPr lang="de-DE" dirty="0">
              <a:solidFill>
                <a:srgbClr val="FFFFFF">
                  <a:lumMod val="75000"/>
                </a:srgbClr>
              </a:solidFill>
            </a:endParaRPr>
          </a:p>
        </p:txBody>
      </p:sp>
      <p:sp>
        <p:nvSpPr>
          <p:cNvPr id="10" name="Type of document"/>
          <p:cNvSpPr>
            <a:spLocks noGrp="1"/>
          </p:cNvSpPr>
          <p:nvPr>
            <p:ph type="body" sz="quarter" idx="18" hasCustomPrompt="1"/>
          </p:nvPr>
        </p:nvSpPr>
        <p:spPr>
          <a:xfrm>
            <a:off x="4" y="3365171"/>
            <a:ext cx="4199969" cy="490801"/>
          </a:xfrm>
        </p:spPr>
        <p:txBody>
          <a:bodyPr wrap="square" lIns="306792" tIns="61358" rIns="214754" anchor="t" anchorCtr="0">
            <a:normAutofit/>
          </a:bodyPr>
          <a:lstStyle>
            <a:lvl1pPr>
              <a:lnSpc>
                <a:spcPct val="90000"/>
              </a:lnSpc>
              <a:spcBef>
                <a:spcPts val="0"/>
              </a:spcBef>
              <a:defRPr sz="1800">
                <a:latin typeface="+mn-lt"/>
                <a:sym typeface="+mn-lt"/>
              </a:defRPr>
            </a:lvl1pPr>
            <a:lvl2pPr>
              <a:lnSpc>
                <a:spcPct val="90000"/>
              </a:lnSpc>
              <a:spcBef>
                <a:spcPts val="0"/>
              </a:spcBef>
              <a:defRPr/>
            </a:lvl2pPr>
            <a:lvl3pPr>
              <a:lnSpc>
                <a:spcPct val="90000"/>
              </a:lnSpc>
              <a:spcBef>
                <a:spcPts val="0"/>
              </a:spcBef>
              <a:defRPr/>
            </a:lvl3pPr>
            <a:lvl4pPr>
              <a:lnSpc>
                <a:spcPct val="90000"/>
              </a:lnSpc>
              <a:spcBef>
                <a:spcPts val="0"/>
              </a:spcBef>
              <a:defRPr/>
            </a:lvl4pPr>
            <a:lvl5pPr>
              <a:lnSpc>
                <a:spcPct val="90000"/>
              </a:lnSpc>
              <a:spcBef>
                <a:spcPts val="0"/>
              </a:spcBef>
              <a:defRPr/>
            </a:lvl5pPr>
          </a:lstStyle>
          <a:p>
            <a:pPr lvl="0"/>
            <a:r>
              <a:rPr lang="en-US" dirty="0" smtClean="0"/>
              <a:t>Type of document</a:t>
            </a:r>
            <a:br>
              <a:rPr lang="en-US" dirty="0" smtClean="0"/>
            </a:br>
            <a:r>
              <a:rPr lang="en-US" dirty="0" smtClean="0"/>
              <a:t>(max. two lines)</a:t>
            </a:r>
          </a:p>
        </p:txBody>
      </p:sp>
      <p:sp>
        <p:nvSpPr>
          <p:cNvPr id="3" name="Location, date"/>
          <p:cNvSpPr>
            <a:spLocks noGrp="1"/>
          </p:cNvSpPr>
          <p:nvPr>
            <p:ph type="body" sz="quarter" idx="16" hasCustomPrompt="1"/>
          </p:nvPr>
        </p:nvSpPr>
        <p:spPr>
          <a:xfrm>
            <a:off x="4" y="4197216"/>
            <a:ext cx="4199969" cy="540148"/>
          </a:xfrm>
        </p:spPr>
        <p:txBody>
          <a:bodyPr lIns="306792" tIns="0" rIns="214754" anchor="b" anchorCtr="0">
            <a:noAutofit/>
          </a:bodyPr>
          <a:lstStyle>
            <a:lvl1pPr marL="0" marR="0" indent="0" algn="l" defTabSz="779252" rtl="0" eaLnBrk="1" fontAlgn="auto" latinLnBrk="0" hangingPunct="1">
              <a:lnSpc>
                <a:spcPct val="90000"/>
              </a:lnSpc>
              <a:spcBef>
                <a:spcPts val="0"/>
              </a:spcBef>
              <a:spcAft>
                <a:spcPts val="0"/>
              </a:spcAft>
              <a:buClrTx/>
              <a:buSzTx/>
              <a:buFont typeface="Arial Narrow" pitchFamily="34" charset="0"/>
              <a:buNone/>
              <a:tabLst/>
              <a:defRPr sz="1100" baseline="0">
                <a:latin typeface="+mn-lt"/>
                <a:sym typeface="+mn-lt"/>
              </a:defRPr>
            </a:lvl1pPr>
          </a:lstStyle>
          <a:p>
            <a:pPr marL="0" marR="0" lvl="0" indent="0" algn="l" defTabSz="779252" rtl="0" eaLnBrk="1" fontAlgn="auto" latinLnBrk="0" hangingPunct="1">
              <a:lnSpc>
                <a:spcPct val="90000"/>
              </a:lnSpc>
              <a:spcBef>
                <a:spcPts val="0"/>
              </a:spcBef>
              <a:spcAft>
                <a:spcPts val="0"/>
              </a:spcAft>
              <a:buClrTx/>
              <a:buSzTx/>
              <a:buFont typeface="Arial Narrow" pitchFamily="34" charset="0"/>
              <a:buNone/>
              <a:tabLst/>
              <a:defRPr/>
            </a:pPr>
            <a:r>
              <a:rPr lang="en-US" dirty="0" smtClean="0"/>
              <a:t>Location, date of presentation (month, day, year)</a:t>
            </a:r>
          </a:p>
        </p:txBody>
      </p:sp>
      <p:sp>
        <p:nvSpPr>
          <p:cNvPr id="4" name="Project name"/>
          <p:cNvSpPr>
            <a:spLocks noGrp="1"/>
          </p:cNvSpPr>
          <p:nvPr>
            <p:ph type="title" hasCustomPrompt="1"/>
          </p:nvPr>
        </p:nvSpPr>
        <p:spPr>
          <a:xfrm>
            <a:off x="4" y="2385808"/>
            <a:ext cx="4199969" cy="979333"/>
          </a:xfrm>
        </p:spPr>
        <p:txBody>
          <a:bodyPr wrap="square" lIns="306792" rIns="214754" bIns="92038" anchor="b" anchorCtr="0">
            <a:spAutoFit/>
          </a:bodyPr>
          <a:lstStyle>
            <a:lvl1pPr>
              <a:defRPr sz="3200" baseline="0">
                <a:latin typeface="+mj-lt"/>
                <a:sym typeface="+mn-lt"/>
              </a:defRPr>
            </a:lvl1pPr>
          </a:lstStyle>
          <a:p>
            <a:r>
              <a:rPr lang="en-US" dirty="0" smtClean="0"/>
              <a:t>Project name or document title</a:t>
            </a:r>
            <a:endParaRPr lang="en-US" dirty="0"/>
          </a:p>
        </p:txBody>
      </p:sp>
      <p:sp>
        <p:nvSpPr>
          <p:cNvPr id="19" name="Position Lines"/>
          <p:cNvSpPr>
            <a:spLocks noChangeShapeType="1"/>
          </p:cNvSpPr>
          <p:nvPr>
            <p:custDataLst>
              <p:tags r:id="rId3"/>
            </p:custDataLst>
          </p:nvPr>
        </p:nvSpPr>
        <p:spPr bwMode="auto">
          <a:xfrm>
            <a:off x="332308" y="5164931"/>
            <a:ext cx="0" cy="54000"/>
          </a:xfrm>
          <a:prstGeom prst="line">
            <a:avLst/>
          </a:prstGeom>
          <a:noFill/>
          <a:ln w="3175" cmpd="sng">
            <a:solidFill>
              <a:schemeClr val="accent1"/>
            </a:solidFill>
            <a:round/>
            <a:headEnd/>
            <a:tailEnd/>
          </a:ln>
          <a:effectLst/>
        </p:spPr>
        <p:txBody>
          <a:bodyPr lIns="77925" tIns="38963" rIns="77925" bIns="38963"/>
          <a:lstStyle/>
          <a:p>
            <a:pPr fontAlgn="base">
              <a:spcBef>
                <a:spcPct val="0"/>
              </a:spcBef>
              <a:spcAft>
                <a:spcPct val="0"/>
              </a:spcAft>
            </a:pPr>
            <a:endParaRPr lang="en-US" sz="1100" b="1" dirty="0">
              <a:solidFill>
                <a:srgbClr val="000000"/>
              </a:solidFill>
              <a:sym typeface="+mn-lt"/>
            </a:endParaRPr>
          </a:p>
        </p:txBody>
      </p:sp>
      <p:sp>
        <p:nvSpPr>
          <p:cNvPr id="5" name="Client name"/>
          <p:cNvSpPr>
            <a:spLocks noGrp="1"/>
          </p:cNvSpPr>
          <p:nvPr>
            <p:ph type="body" sz="quarter" idx="19" hasCustomPrompt="1"/>
          </p:nvPr>
        </p:nvSpPr>
        <p:spPr>
          <a:xfrm>
            <a:off x="332311" y="405001"/>
            <a:ext cx="3867661" cy="484748"/>
          </a:xfrm>
        </p:spPr>
        <p:txBody>
          <a:bodyPr>
            <a:noAutofit/>
          </a:bodyPr>
          <a:lstStyle>
            <a:lvl1pPr>
              <a:lnSpc>
                <a:spcPct val="100000"/>
              </a:lnSpc>
              <a:defRPr baseline="0">
                <a:latin typeface="+mn-lt"/>
                <a:sym typeface="+mn-lt"/>
              </a:defRPr>
            </a:lvl1pPr>
          </a:lstStyle>
          <a:p>
            <a:pPr lvl="0"/>
            <a:r>
              <a:rPr lang="en-US" dirty="0" smtClean="0"/>
              <a:t>Client logo/name</a:t>
            </a:r>
          </a:p>
        </p:txBody>
      </p:sp>
    </p:spTree>
    <p:extLst>
      <p:ext uri="{BB962C8B-B14F-4D97-AF65-F5344CB8AC3E}">
        <p14:creationId xmlns:p14="http://schemas.microsoft.com/office/powerpoint/2010/main" xmlns="" val="374908969"/>
      </p:ext>
    </p:extLst>
  </p:cSld>
  <p:clrMapOvr>
    <a:masterClrMapping/>
  </p:clrMapOvr>
  <p:timing>
    <p:tnLst>
      <p:par>
        <p:cTn id="1" dur="indefinite" restart="never" nodeType="tmRoot"/>
      </p:par>
    </p:tnLst>
  </p:timing>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Contents">
    <p:bg>
      <p:bgPr>
        <a:solidFill>
          <a:schemeClr val="bg1"/>
        </a:solidFill>
        <a:effectLst/>
      </p:bgPr>
    </p:bg>
    <p:spTree>
      <p:nvGrpSpPr>
        <p:cNvPr id="1" name=""/>
        <p:cNvGrpSpPr/>
        <p:nvPr/>
      </p:nvGrpSpPr>
      <p:grpSpPr>
        <a:xfrm>
          <a:off x="0" y="0"/>
          <a:ext cx="0" cy="0"/>
          <a:chOff x="0" y="0"/>
          <a:chExt cx="0" cy="0"/>
        </a:xfrm>
      </p:grpSpPr>
      <p:sp>
        <p:nvSpPr>
          <p:cNvPr id="15" name="Slide Number Placeholder" hidden="1"/>
          <p:cNvSpPr>
            <a:spLocks noGrp="1"/>
          </p:cNvSpPr>
          <p:nvPr>
            <p:ph type="sldNum" sz="quarter" idx="11"/>
            <p:custDataLst>
              <p:tags r:id="rId1"/>
            </p:custDataLst>
          </p:nvPr>
        </p:nvSpPr>
        <p:spPr>
          <a:xfrm>
            <a:off x="9204923" y="130135"/>
            <a:ext cx="24046" cy="30778"/>
          </a:xfrm>
          <a:prstGeom prst="rect">
            <a:avLst/>
          </a:prstGeom>
        </p:spPr>
        <p:txBody>
          <a:bodyPr vert="horz" wrap="none" lIns="0" tIns="0" rIns="0" bIns="0" rtlCol="0" anchor="ctr">
            <a:spAutoFit/>
          </a:bodyPr>
          <a:lstStyle>
            <a:lvl1pPr algn="l">
              <a:defRPr sz="200" b="0">
                <a:solidFill>
                  <a:schemeClr val="bg1">
                    <a:lumMod val="75000"/>
                  </a:schemeClr>
                </a:solidFill>
                <a:latin typeface="+mn-lt"/>
                <a:cs typeface="+mn-cs"/>
                <a:sym typeface="+mn-lt"/>
              </a:defRPr>
            </a:lvl1pPr>
          </a:lstStyle>
          <a:p>
            <a:pPr fontAlgn="base">
              <a:spcBef>
                <a:spcPct val="0"/>
              </a:spcBef>
              <a:spcAft>
                <a:spcPct val="0"/>
              </a:spcAft>
            </a:pPr>
            <a:fld id="{01940DDA-0656-452C-A408-68789653BD9B}" type="slidenum">
              <a:rPr lang="en-US" smtClean="0">
                <a:solidFill>
                  <a:srgbClr val="FFFFFF">
                    <a:lumMod val="75000"/>
                  </a:srgbClr>
                </a:solidFill>
              </a:rPr>
              <a:pPr fontAlgn="base">
                <a:spcBef>
                  <a:spcPct val="0"/>
                </a:spcBef>
                <a:spcAft>
                  <a:spcPct val="0"/>
                </a:spcAft>
              </a:pPr>
              <a:t>‹#›</a:t>
            </a:fld>
            <a:endParaRPr lang="en-US" dirty="0">
              <a:solidFill>
                <a:srgbClr val="FFFFFF">
                  <a:lumMod val="75000"/>
                </a:srgbClr>
              </a:solidFill>
            </a:endParaRPr>
          </a:p>
        </p:txBody>
      </p:sp>
      <p:sp>
        <p:nvSpPr>
          <p:cNvPr id="16" name="Footer Placeholder" hidden="1"/>
          <p:cNvSpPr>
            <a:spLocks noGrp="1"/>
          </p:cNvSpPr>
          <p:nvPr>
            <p:ph type="ftr" sz="quarter" idx="12"/>
            <p:custDataLst>
              <p:tags r:id="rId2"/>
            </p:custDataLst>
          </p:nvPr>
        </p:nvSpPr>
        <p:spPr>
          <a:xfrm>
            <a:off x="9204945" y="171487"/>
            <a:ext cx="65" cy="30778"/>
          </a:xfrm>
          <a:prstGeom prst="rect">
            <a:avLst/>
          </a:prstGeom>
        </p:spPr>
        <p:txBody>
          <a:bodyPr vert="horz" wrap="none" lIns="0" tIns="0" rIns="0" bIns="0" rtlCol="0" anchor="t" anchorCtr="0">
            <a:spAutoFit/>
          </a:bodyPr>
          <a:lstStyle>
            <a:lvl1pPr algn="l" rtl="0" fontAlgn="base">
              <a:lnSpc>
                <a:spcPct val="100000"/>
              </a:lnSpc>
              <a:spcBef>
                <a:spcPts val="0"/>
              </a:spcBef>
              <a:spcAft>
                <a:spcPct val="0"/>
              </a:spcAft>
              <a:defRPr lang="en-US" sz="200" b="0" kern="1200" smtClean="0">
                <a:solidFill>
                  <a:schemeClr val="bg1">
                    <a:lumMod val="75000"/>
                  </a:schemeClr>
                </a:solidFill>
                <a:latin typeface="+mn-lt"/>
                <a:ea typeface="+mn-ea"/>
                <a:cs typeface="+mn-cs"/>
                <a:sym typeface="+mn-lt"/>
              </a:defRPr>
            </a:lvl1pPr>
          </a:lstStyle>
          <a:p>
            <a:endParaRPr lang="de-DE" dirty="0">
              <a:solidFill>
                <a:srgbClr val="FFFFFF">
                  <a:lumMod val="75000"/>
                </a:srgbClr>
              </a:solidFill>
            </a:endParaRPr>
          </a:p>
        </p:txBody>
      </p:sp>
      <p:sp>
        <p:nvSpPr>
          <p:cNvPr id="7" name="Note: Exclusive dealing"/>
          <p:cNvSpPr txBox="1">
            <a:spLocks noChangeArrowheads="1"/>
          </p:cNvSpPr>
          <p:nvPr userDrawn="1">
            <p:custDataLst>
              <p:tags r:id="rId3"/>
            </p:custDataLst>
          </p:nvPr>
        </p:nvSpPr>
        <p:spPr bwMode="auto">
          <a:xfrm>
            <a:off x="681236" y="4387008"/>
            <a:ext cx="7879015" cy="738664"/>
          </a:xfrm>
          <a:prstGeom prst="rect">
            <a:avLst/>
          </a:prstGeom>
          <a:noFill/>
          <a:ln w="9525">
            <a:noFill/>
            <a:miter lim="800000"/>
            <a:headEnd/>
            <a:tailEnd/>
          </a:ln>
        </p:spPr>
        <p:txBody>
          <a:bodyPr lIns="0" tIns="0" rIns="0" bIns="0" anchor="b" anchorCtr="0">
            <a:spAutoFit/>
          </a:bodyPr>
          <a:lstStyle/>
          <a:p>
            <a:pPr eaLnBrk="0" fontAlgn="base" hangingPunct="0">
              <a:spcBef>
                <a:spcPct val="0"/>
              </a:spcBef>
              <a:spcAft>
                <a:spcPct val="0"/>
              </a:spcAft>
            </a:pPr>
            <a:r>
              <a:rPr kumimoji="1" lang="en-US" altLang="de-DE" sz="800" dirty="0" smtClean="0">
                <a:solidFill>
                  <a:srgbClr val="000000"/>
                </a:solidFill>
                <a:sym typeface="+mn-lt"/>
              </a:rPr>
              <a:t>This document shall be treated as confidential. It has been compiled for the exclusive, internal use by our client and is not complete without the underlying detail analyses and the oral presentation. It may not be passed on and/or may not be made available to third parties without prior written consent from Roland Berger Strategy Consultants. RBSC does not assume any responsibility for the completeness and accuracy of the statements made in this document.        </a:t>
            </a:r>
          </a:p>
          <a:p>
            <a:pPr eaLnBrk="0" fontAlgn="base" hangingPunct="0">
              <a:spcBef>
                <a:spcPct val="0"/>
              </a:spcBef>
              <a:spcAft>
                <a:spcPct val="0"/>
              </a:spcAft>
            </a:pPr>
            <a:endParaRPr kumimoji="1" lang="en-US" altLang="de-DE" sz="800" dirty="0" smtClean="0">
              <a:solidFill>
                <a:srgbClr val="000000"/>
              </a:solidFill>
              <a:sym typeface="+mn-lt"/>
            </a:endParaRPr>
          </a:p>
          <a:p>
            <a:pPr eaLnBrk="0" fontAlgn="base" hangingPunct="0">
              <a:spcBef>
                <a:spcPct val="0"/>
              </a:spcBef>
              <a:spcAft>
                <a:spcPct val="0"/>
              </a:spcAft>
            </a:pPr>
            <a:endParaRPr kumimoji="1" lang="en-US" altLang="de-DE" sz="800" dirty="0" smtClean="0">
              <a:solidFill>
                <a:srgbClr val="000000"/>
              </a:solidFill>
              <a:sym typeface="+mn-lt"/>
            </a:endParaRPr>
          </a:p>
          <a:p>
            <a:pPr eaLnBrk="0" fontAlgn="base" hangingPunct="0">
              <a:spcBef>
                <a:spcPct val="0"/>
              </a:spcBef>
              <a:spcAft>
                <a:spcPct val="0"/>
              </a:spcAft>
            </a:pPr>
            <a:r>
              <a:rPr kumimoji="1" lang="en-US" altLang="de-DE" sz="800" dirty="0" smtClean="0">
                <a:solidFill>
                  <a:srgbClr val="000000"/>
                </a:solidFill>
                <a:sym typeface="+mn-lt"/>
              </a:rPr>
              <a:t>©  Roland Berger Strategy Consultants</a:t>
            </a:r>
          </a:p>
        </p:txBody>
      </p:sp>
      <p:sp>
        <p:nvSpPr>
          <p:cNvPr id="5" name="Contents Text"/>
          <p:cNvSpPr>
            <a:spLocks noGrp="1"/>
          </p:cNvSpPr>
          <p:nvPr>
            <p:ph type="body" sz="quarter" idx="10" hasCustomPrompt="1"/>
            <p:custDataLst>
              <p:tags r:id="rId4"/>
            </p:custDataLst>
          </p:nvPr>
        </p:nvSpPr>
        <p:spPr>
          <a:xfrm>
            <a:off x="681236" y="1282500"/>
            <a:ext cx="7879015" cy="2872068"/>
          </a:xfrm>
        </p:spPr>
        <p:txBody>
          <a:bodyPr>
            <a:spAutoFit/>
          </a:bodyPr>
          <a:lstStyle>
            <a:lvl1pPr marL="306792" indent="-306792">
              <a:spcBef>
                <a:spcPts val="1704"/>
              </a:spcBef>
              <a:tabLst>
                <a:tab pos="7275721" algn="r"/>
              </a:tabLst>
              <a:defRPr>
                <a:solidFill>
                  <a:schemeClr val="tx1"/>
                </a:solidFill>
                <a:latin typeface="+mn-lt"/>
                <a:cs typeface="+mn-cs"/>
                <a:sym typeface="+mn-lt"/>
              </a:defRPr>
            </a:lvl1pPr>
            <a:lvl2pPr marL="613584" indent="-306792">
              <a:spcBef>
                <a:spcPts val="511"/>
              </a:spcBef>
              <a:buNone/>
              <a:tabLst>
                <a:tab pos="7275721" algn="r"/>
              </a:tabLst>
              <a:defRPr b="0">
                <a:solidFill>
                  <a:schemeClr val="tx1"/>
                </a:solidFill>
                <a:latin typeface="+mn-lt"/>
                <a:sym typeface="+mn-lt"/>
              </a:defRPr>
            </a:lvl2pPr>
            <a:lvl3pPr marL="1073772" indent="-460188">
              <a:spcBef>
                <a:spcPts val="0"/>
              </a:spcBef>
              <a:buNone/>
              <a:tabLst>
                <a:tab pos="7275721" algn="r"/>
              </a:tabLst>
              <a:defRPr>
                <a:solidFill>
                  <a:schemeClr val="tx1"/>
                </a:solidFill>
                <a:latin typeface="+mn-lt"/>
                <a:sym typeface="+mn-lt"/>
              </a:defRPr>
            </a:lvl3pPr>
            <a:lvl4pPr marL="1070119" indent="-455917">
              <a:buNone/>
              <a:tabLst>
                <a:tab pos="7262193" algn="r"/>
              </a:tabLst>
              <a:defRPr/>
            </a:lvl4pPr>
            <a:lvl5pPr>
              <a:buNone/>
              <a:defRPr/>
            </a:lvl5pPr>
          </a:lstStyle>
          <a:p>
            <a:pPr lvl="0"/>
            <a:r>
              <a:rPr lang="en-US" dirty="0" smtClean="0"/>
              <a:t>A.	xxx	xx</a:t>
            </a:r>
          </a:p>
          <a:p>
            <a:pPr lvl="0"/>
            <a:r>
              <a:rPr lang="en-US" dirty="0" smtClean="0"/>
              <a:t>B.	xxx	xx</a:t>
            </a:r>
          </a:p>
          <a:p>
            <a:pPr lvl="1"/>
            <a:r>
              <a:rPr lang="en-US" dirty="0" smtClean="0"/>
              <a:t>1.	xxx	xx</a:t>
            </a:r>
          </a:p>
          <a:p>
            <a:pPr lvl="1"/>
            <a:r>
              <a:rPr lang="en-US" dirty="0" smtClean="0"/>
              <a:t>2.	xxx	xx</a:t>
            </a:r>
          </a:p>
          <a:p>
            <a:pPr lvl="2"/>
            <a:r>
              <a:rPr lang="en-US" dirty="0" smtClean="0"/>
              <a:t>2.1	xxx	xx</a:t>
            </a:r>
          </a:p>
          <a:p>
            <a:pPr lvl="2"/>
            <a:r>
              <a:rPr lang="en-US" dirty="0" smtClean="0"/>
              <a:t>2.2	xxx	xx</a:t>
            </a:r>
          </a:p>
          <a:p>
            <a:pPr lvl="0"/>
            <a:r>
              <a:rPr lang="en-US" dirty="0" smtClean="0"/>
              <a:t>C.	xxx	xx</a:t>
            </a:r>
          </a:p>
          <a:p>
            <a:pPr lvl="1"/>
            <a:r>
              <a:rPr lang="en-US" dirty="0" smtClean="0"/>
              <a:t>1.	xxx	xx</a:t>
            </a:r>
          </a:p>
          <a:p>
            <a:pPr lvl="2"/>
            <a:r>
              <a:rPr lang="en-US" dirty="0" smtClean="0"/>
              <a:t>1.1	xxx	xx</a:t>
            </a:r>
          </a:p>
        </p:txBody>
      </p:sp>
      <p:sp>
        <p:nvSpPr>
          <p:cNvPr id="10" name="Contents Title"/>
          <p:cNvSpPr txBox="1">
            <a:spLocks/>
          </p:cNvSpPr>
          <p:nvPr>
            <p:custDataLst>
              <p:tags r:id="rId5"/>
            </p:custDataLst>
          </p:nvPr>
        </p:nvSpPr>
        <p:spPr>
          <a:xfrm>
            <a:off x="681236" y="780311"/>
            <a:ext cx="7879015" cy="257635"/>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lvl1pPr algn="l">
              <a:lnSpc>
                <a:spcPct val="93000"/>
              </a:lnSpc>
              <a:defRPr/>
            </a:lvl1pPr>
          </a:lstStyle>
          <a:p>
            <a:pPr defTabSz="779252">
              <a:spcBef>
                <a:spcPct val="0"/>
              </a:spcBef>
              <a:tabLst>
                <a:tab pos="7271663" algn="r"/>
              </a:tabLst>
              <a:defRPr/>
            </a:pPr>
            <a:r>
              <a:rPr lang="en-US" altLang="de-DE" sz="1800" noProof="1" smtClean="0">
                <a:solidFill>
                  <a:srgbClr val="716D6D"/>
                </a:solidFill>
                <a:sym typeface="+mn-lt"/>
              </a:rPr>
              <a:t>Contents	Page</a:t>
            </a:r>
            <a:endParaRPr lang="en-US" altLang="de-DE" sz="1800" noProof="1">
              <a:solidFill>
                <a:srgbClr val="716D6D"/>
              </a:solidFill>
              <a:sym typeface="+mn-lt"/>
            </a:endParaRPr>
          </a:p>
        </p:txBody>
      </p:sp>
      <p:sp>
        <p:nvSpPr>
          <p:cNvPr id="14" name="Title"/>
          <p:cNvSpPr>
            <a:spLocks noGrp="1"/>
          </p:cNvSpPr>
          <p:nvPr>
            <p:ph type="title" hasCustomPrompt="1"/>
            <p:custDataLst>
              <p:tags r:id="rId6"/>
            </p:custDataLst>
          </p:nvPr>
        </p:nvSpPr>
        <p:spPr>
          <a:xfrm>
            <a:off x="1213759" y="780305"/>
            <a:ext cx="731077" cy="225398"/>
          </a:xfrm>
        </p:spPr>
        <p:txBody>
          <a:bodyPr vert="horz" lIns="0" tIns="0" rIns="0" bIns="0" rtlCol="0" anchor="t" anchorCtr="0">
            <a:noAutofit/>
          </a:bodyPr>
          <a:lstStyle>
            <a:lvl1pPr marL="0" indent="0" algn="r" defTabSz="779252" rtl="0" eaLnBrk="1" latinLnBrk="0" hangingPunct="1">
              <a:lnSpc>
                <a:spcPct val="93000"/>
              </a:lnSpc>
              <a:spcBef>
                <a:spcPct val="0"/>
              </a:spcBef>
              <a:buNone/>
              <a:tabLst/>
              <a:defRPr lang="en-US" sz="1800" b="0" kern="1200" dirty="0">
                <a:solidFill>
                  <a:schemeClr val="tx2"/>
                </a:solidFill>
                <a:latin typeface="+mj-lt"/>
                <a:ea typeface="+mj-ea"/>
                <a:cs typeface="+mj-cs"/>
                <a:sym typeface="+mn-lt"/>
              </a:defRPr>
            </a:lvl1pPr>
          </a:lstStyle>
          <a:p>
            <a:r>
              <a:rPr lang="en-US" noProof="1" smtClean="0"/>
              <a:t>  </a:t>
            </a:r>
            <a:endParaRPr lang="en-US" noProof="1"/>
          </a:p>
        </p:txBody>
      </p:sp>
    </p:spTree>
    <p:extLst>
      <p:ext uri="{BB962C8B-B14F-4D97-AF65-F5344CB8AC3E}">
        <p14:creationId xmlns:p14="http://schemas.microsoft.com/office/powerpoint/2010/main" xmlns="" val="1422594415"/>
      </p:ext>
    </p:extLst>
  </p:cSld>
  <p:clrMapOvr>
    <a:masterClrMapping/>
  </p:clrMapOvr>
  <p:timing>
    <p:tnLst>
      <p:par>
        <p:cTn id="1" dur="indefinite" restart="never" nodeType="tmRoot"/>
      </p:par>
    </p:tnLst>
  </p:timing>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p:cSld name="LastSlide">
    <p:bg>
      <p:bgPr>
        <a:solidFill>
          <a:schemeClr val="accent2"/>
        </a:solidFill>
        <a:effectLst/>
      </p:bgPr>
    </p:bg>
    <p:spTree>
      <p:nvGrpSpPr>
        <p:cNvPr id="1" name=""/>
        <p:cNvGrpSpPr/>
        <p:nvPr/>
      </p:nvGrpSpPr>
      <p:grpSpPr>
        <a:xfrm>
          <a:off x="0" y="0"/>
          <a:ext cx="0" cy="0"/>
          <a:chOff x="0" y="0"/>
          <a:chExt cx="0" cy="0"/>
        </a:xfrm>
      </p:grpSpPr>
      <p:sp>
        <p:nvSpPr>
          <p:cNvPr id="10" name="Slide Number Placeholder" hidden="1"/>
          <p:cNvSpPr>
            <a:spLocks noGrp="1"/>
          </p:cNvSpPr>
          <p:nvPr>
            <p:ph type="sldNum" sz="quarter" idx="11"/>
            <p:custDataLst>
              <p:tags r:id="rId1"/>
            </p:custDataLst>
          </p:nvPr>
        </p:nvSpPr>
        <p:spPr>
          <a:xfrm>
            <a:off x="9204923" y="130135"/>
            <a:ext cx="24046" cy="30778"/>
          </a:xfrm>
          <a:prstGeom prst="rect">
            <a:avLst/>
          </a:prstGeom>
        </p:spPr>
        <p:txBody>
          <a:bodyPr vert="horz" wrap="none" lIns="0" tIns="0" rIns="0" bIns="0" rtlCol="0" anchor="ctr">
            <a:spAutoFit/>
          </a:bodyPr>
          <a:lstStyle>
            <a:lvl1pPr algn="l">
              <a:defRPr sz="200" b="0">
                <a:solidFill>
                  <a:schemeClr val="bg1">
                    <a:lumMod val="75000"/>
                  </a:schemeClr>
                </a:solidFill>
                <a:latin typeface="+mn-lt"/>
                <a:cs typeface="+mn-cs"/>
                <a:sym typeface="+mn-lt"/>
              </a:defRPr>
            </a:lvl1pPr>
          </a:lstStyle>
          <a:p>
            <a:pPr fontAlgn="base">
              <a:spcBef>
                <a:spcPct val="0"/>
              </a:spcBef>
              <a:spcAft>
                <a:spcPct val="0"/>
              </a:spcAft>
            </a:pPr>
            <a:fld id="{01940DDA-0656-452C-A408-68789653BD9B}" type="slidenum">
              <a:rPr lang="en-US" smtClean="0">
                <a:solidFill>
                  <a:srgbClr val="FFFFFF">
                    <a:lumMod val="75000"/>
                  </a:srgbClr>
                </a:solidFill>
              </a:rPr>
              <a:pPr fontAlgn="base">
                <a:spcBef>
                  <a:spcPct val="0"/>
                </a:spcBef>
                <a:spcAft>
                  <a:spcPct val="0"/>
                </a:spcAft>
              </a:pPr>
              <a:t>‹#›</a:t>
            </a:fld>
            <a:endParaRPr lang="en-US" dirty="0">
              <a:solidFill>
                <a:srgbClr val="FFFFFF">
                  <a:lumMod val="75000"/>
                </a:srgbClr>
              </a:solidFill>
            </a:endParaRPr>
          </a:p>
        </p:txBody>
      </p:sp>
      <p:sp>
        <p:nvSpPr>
          <p:cNvPr id="11" name="Footer Placeholder" hidden="1"/>
          <p:cNvSpPr>
            <a:spLocks noGrp="1"/>
          </p:cNvSpPr>
          <p:nvPr>
            <p:ph type="ftr" sz="quarter" idx="10"/>
            <p:custDataLst>
              <p:tags r:id="rId2"/>
            </p:custDataLst>
          </p:nvPr>
        </p:nvSpPr>
        <p:spPr>
          <a:xfrm>
            <a:off x="9204945" y="171487"/>
            <a:ext cx="65" cy="30778"/>
          </a:xfrm>
          <a:prstGeom prst="rect">
            <a:avLst/>
          </a:prstGeom>
        </p:spPr>
        <p:txBody>
          <a:bodyPr vert="horz" wrap="none" lIns="0" tIns="0" rIns="0" bIns="0" rtlCol="0" anchor="t" anchorCtr="0">
            <a:spAutoFit/>
          </a:bodyPr>
          <a:lstStyle>
            <a:lvl1pPr algn="l" rtl="0" fontAlgn="base">
              <a:lnSpc>
                <a:spcPct val="100000"/>
              </a:lnSpc>
              <a:spcBef>
                <a:spcPts val="0"/>
              </a:spcBef>
              <a:spcAft>
                <a:spcPct val="0"/>
              </a:spcAft>
              <a:defRPr lang="en-US" sz="200" b="0" kern="1200" smtClean="0">
                <a:solidFill>
                  <a:schemeClr val="bg1">
                    <a:lumMod val="75000"/>
                  </a:schemeClr>
                </a:solidFill>
                <a:latin typeface="+mn-lt"/>
                <a:ea typeface="+mn-ea"/>
                <a:cs typeface="+mn-cs"/>
                <a:sym typeface="+mn-lt"/>
              </a:defRPr>
            </a:lvl1pPr>
          </a:lstStyle>
          <a:p>
            <a:endParaRPr lang="de-DE" dirty="0">
              <a:solidFill>
                <a:srgbClr val="FFFFFF">
                  <a:lumMod val="75000"/>
                </a:srgbClr>
              </a:solidFill>
            </a:endParaRPr>
          </a:p>
        </p:txBody>
      </p:sp>
      <p:sp>
        <p:nvSpPr>
          <p:cNvPr id="5" name="Position Lines"/>
          <p:cNvSpPr>
            <a:spLocks noChangeShapeType="1"/>
          </p:cNvSpPr>
          <p:nvPr userDrawn="1">
            <p:custDataLst>
              <p:tags r:id="rId3"/>
            </p:custDataLst>
          </p:nvPr>
        </p:nvSpPr>
        <p:spPr bwMode="auto">
          <a:xfrm>
            <a:off x="4944031" y="5164931"/>
            <a:ext cx="0" cy="54000"/>
          </a:xfrm>
          <a:prstGeom prst="line">
            <a:avLst/>
          </a:prstGeom>
          <a:noFill/>
          <a:ln w="3175" cmpd="sng">
            <a:solidFill>
              <a:schemeClr val="accent1"/>
            </a:solidFill>
            <a:round/>
            <a:headEnd/>
            <a:tailEnd/>
          </a:ln>
          <a:effectLst/>
        </p:spPr>
        <p:txBody>
          <a:bodyPr lIns="77925" tIns="38963" rIns="77925" bIns="38963"/>
          <a:lstStyle/>
          <a:p>
            <a:pPr fontAlgn="base">
              <a:spcBef>
                <a:spcPct val="0"/>
              </a:spcBef>
              <a:spcAft>
                <a:spcPct val="0"/>
              </a:spcAft>
            </a:pPr>
            <a:endParaRPr lang="en-US" sz="1100" b="1" dirty="0">
              <a:solidFill>
                <a:srgbClr val="000000"/>
              </a:solidFill>
              <a:sym typeface="+mn-lt"/>
            </a:endParaRPr>
          </a:p>
        </p:txBody>
      </p:sp>
    </p:spTree>
    <p:extLst>
      <p:ext uri="{BB962C8B-B14F-4D97-AF65-F5344CB8AC3E}">
        <p14:creationId xmlns:p14="http://schemas.microsoft.com/office/powerpoint/2010/main" xmlns="" val="1833135767"/>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73CBC92F-A307-447D-8BA4-A0DC2E54DE44}" type="datetime1">
              <a:rPr lang="th-TH" smtClean="0">
                <a:solidFill>
                  <a:prstClr val="black">
                    <a:tint val="75000"/>
                  </a:prstClr>
                </a:solidFill>
              </a:rPr>
              <a:pPr/>
              <a:t>20/09/58</a:t>
            </a:fld>
            <a:endParaRPr lang="th-TH">
              <a:solidFill>
                <a:prstClr val="black">
                  <a:tint val="75000"/>
                </a:prstClr>
              </a:solidFill>
            </a:endParaRPr>
          </a:p>
        </p:txBody>
      </p:sp>
      <p:sp>
        <p:nvSpPr>
          <p:cNvPr id="3" name="Footer Placeholder 2"/>
          <p:cNvSpPr>
            <a:spLocks noGrp="1"/>
          </p:cNvSpPr>
          <p:nvPr>
            <p:ph type="ftr" sz="quarter" idx="11"/>
          </p:nvPr>
        </p:nvSpPr>
        <p:spPr/>
        <p:txBody>
          <a:bodyPr/>
          <a:lstStyle/>
          <a:p>
            <a:endParaRPr lang="th-TH">
              <a:solidFill>
                <a:prstClr val="black">
                  <a:tint val="75000"/>
                </a:prstClr>
              </a:solidFill>
            </a:endParaRPr>
          </a:p>
        </p:txBody>
      </p:sp>
      <p:sp>
        <p:nvSpPr>
          <p:cNvPr id="4" name="Slide Number Placeholder 3"/>
          <p:cNvSpPr>
            <a:spLocks noGrp="1"/>
          </p:cNvSpPr>
          <p:nvPr>
            <p:ph type="sldNum" sz="quarter" idx="12"/>
          </p:nvPr>
        </p:nvSpPr>
        <p:spPr/>
        <p:txBody>
          <a:bodyPr/>
          <a:lstStyle/>
          <a:p>
            <a:fld id="{50853BB3-C49D-4A79-8049-B0B6C5B1AD9A}" type="slidenum">
              <a:rPr lang="th-TH" smtClean="0">
                <a:solidFill>
                  <a:prstClr val="black">
                    <a:tint val="75000"/>
                  </a:prstClr>
                </a:solidFill>
              </a:rPr>
              <a:pPr/>
              <a:t>‹#›</a:t>
            </a:fld>
            <a:endParaRPr lang="th-TH">
              <a:solidFill>
                <a:prstClr val="black">
                  <a:tint val="75000"/>
                </a:prstClr>
              </a:solidFill>
            </a:endParaRPr>
          </a:p>
        </p:txBody>
      </p:sp>
    </p:spTree>
    <p:extLst>
      <p:ext uri="{BB962C8B-B14F-4D97-AF65-F5344CB8AC3E}">
        <p14:creationId xmlns:p14="http://schemas.microsoft.com/office/powerpoint/2010/main" xmlns="" val="2946024211"/>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DisclaimerPage">
    <p:spTree>
      <p:nvGrpSpPr>
        <p:cNvPr id="1" name=""/>
        <p:cNvGrpSpPr/>
        <p:nvPr/>
      </p:nvGrpSpPr>
      <p:grpSpPr>
        <a:xfrm>
          <a:off x="0" y="0"/>
          <a:ext cx="0" cy="0"/>
          <a:chOff x="0" y="0"/>
          <a:chExt cx="0" cy="0"/>
        </a:xfrm>
      </p:grpSpPr>
      <p:sp>
        <p:nvSpPr>
          <p:cNvPr id="12" name="Slide Number Placeholder" hidden="1"/>
          <p:cNvSpPr>
            <a:spLocks noGrp="1"/>
          </p:cNvSpPr>
          <p:nvPr>
            <p:ph type="sldNum" sz="quarter" idx="11"/>
            <p:custDataLst>
              <p:tags r:id="rId1"/>
            </p:custDataLst>
          </p:nvPr>
        </p:nvSpPr>
        <p:spPr>
          <a:xfrm>
            <a:off x="9204923" y="130135"/>
            <a:ext cx="24046" cy="30778"/>
          </a:xfrm>
          <a:prstGeom prst="rect">
            <a:avLst/>
          </a:prstGeom>
        </p:spPr>
        <p:txBody>
          <a:bodyPr vert="horz" wrap="none" lIns="0" tIns="0" rIns="0" bIns="0" rtlCol="0" anchor="ctr">
            <a:spAutoFit/>
          </a:bodyPr>
          <a:lstStyle>
            <a:lvl1pPr algn="l">
              <a:defRPr sz="200" b="0">
                <a:solidFill>
                  <a:schemeClr val="bg1">
                    <a:lumMod val="75000"/>
                  </a:schemeClr>
                </a:solidFill>
                <a:latin typeface="+mn-lt"/>
                <a:cs typeface="+mn-cs"/>
                <a:sym typeface="+mn-lt"/>
              </a:defRPr>
            </a:lvl1pPr>
          </a:lstStyle>
          <a:p>
            <a:pPr fontAlgn="base">
              <a:spcBef>
                <a:spcPct val="0"/>
              </a:spcBef>
              <a:spcAft>
                <a:spcPct val="0"/>
              </a:spcAft>
            </a:pPr>
            <a:fld id="{01940DDA-0656-452C-A408-68789653BD9B}" type="slidenum">
              <a:rPr lang="en-US" smtClean="0">
                <a:solidFill>
                  <a:srgbClr val="FFFFFF">
                    <a:lumMod val="75000"/>
                  </a:srgbClr>
                </a:solidFill>
              </a:rPr>
              <a:pPr fontAlgn="base">
                <a:spcBef>
                  <a:spcPct val="0"/>
                </a:spcBef>
                <a:spcAft>
                  <a:spcPct val="0"/>
                </a:spcAft>
              </a:pPr>
              <a:t>‹#›</a:t>
            </a:fld>
            <a:endParaRPr lang="en-US" dirty="0">
              <a:solidFill>
                <a:srgbClr val="FFFFFF">
                  <a:lumMod val="75000"/>
                </a:srgbClr>
              </a:solidFill>
            </a:endParaRPr>
          </a:p>
        </p:txBody>
      </p:sp>
      <p:sp>
        <p:nvSpPr>
          <p:cNvPr id="13" name="Footer Placeholder" hidden="1"/>
          <p:cNvSpPr>
            <a:spLocks noGrp="1"/>
          </p:cNvSpPr>
          <p:nvPr>
            <p:ph type="ftr" sz="quarter" idx="10"/>
            <p:custDataLst>
              <p:tags r:id="rId2"/>
            </p:custDataLst>
          </p:nvPr>
        </p:nvSpPr>
        <p:spPr>
          <a:xfrm>
            <a:off x="9204945" y="171487"/>
            <a:ext cx="65" cy="30778"/>
          </a:xfrm>
          <a:prstGeom prst="rect">
            <a:avLst/>
          </a:prstGeom>
        </p:spPr>
        <p:txBody>
          <a:bodyPr vert="horz" wrap="none" lIns="0" tIns="0" rIns="0" bIns="0" rtlCol="0" anchor="t" anchorCtr="0">
            <a:spAutoFit/>
          </a:bodyPr>
          <a:lstStyle>
            <a:lvl1pPr algn="l" rtl="0" fontAlgn="base">
              <a:lnSpc>
                <a:spcPct val="100000"/>
              </a:lnSpc>
              <a:spcBef>
                <a:spcPts val="0"/>
              </a:spcBef>
              <a:spcAft>
                <a:spcPct val="0"/>
              </a:spcAft>
              <a:defRPr lang="en-US" sz="200" b="0" kern="1200" smtClean="0">
                <a:solidFill>
                  <a:schemeClr val="bg1">
                    <a:lumMod val="75000"/>
                  </a:schemeClr>
                </a:solidFill>
                <a:latin typeface="+mn-lt"/>
                <a:ea typeface="+mn-ea"/>
                <a:cs typeface="+mn-cs"/>
                <a:sym typeface="+mn-lt"/>
              </a:defRPr>
            </a:lvl1pPr>
          </a:lstStyle>
          <a:p>
            <a:endParaRPr lang="de-DE" dirty="0">
              <a:solidFill>
                <a:srgbClr val="FFFFFF">
                  <a:lumMod val="75000"/>
                </a:srgbClr>
              </a:solidFill>
            </a:endParaRPr>
          </a:p>
        </p:txBody>
      </p:sp>
    </p:spTree>
    <p:extLst>
      <p:ext uri="{BB962C8B-B14F-4D97-AF65-F5344CB8AC3E}">
        <p14:creationId xmlns:p14="http://schemas.microsoft.com/office/powerpoint/2010/main" xmlns="" val="3557716726"/>
      </p:ext>
    </p:extLst>
  </p:cSld>
  <p:clrMapOvr>
    <a:masterClrMapping/>
  </p:clrMapOvr>
  <p:timing>
    <p:tnLst>
      <p:par>
        <p:cTn id="1" dur="indefinite" restart="never" nodeType="tmRoot"/>
      </p:par>
    </p:tnLst>
  </p:timing>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3" name="Slide Number Placeholder" hidden="1"/>
          <p:cNvSpPr>
            <a:spLocks noGrp="1"/>
          </p:cNvSpPr>
          <p:nvPr>
            <p:ph type="sldNum" sz="quarter" idx="11"/>
            <p:custDataLst>
              <p:tags r:id="rId1"/>
            </p:custDataLst>
          </p:nvPr>
        </p:nvSpPr>
        <p:spPr>
          <a:xfrm>
            <a:off x="9204923" y="130135"/>
            <a:ext cx="24046" cy="30778"/>
          </a:xfrm>
          <a:prstGeom prst="rect">
            <a:avLst/>
          </a:prstGeom>
        </p:spPr>
        <p:txBody>
          <a:bodyPr vert="horz" wrap="none" lIns="0" tIns="0" rIns="0" bIns="0" rtlCol="0" anchor="ctr">
            <a:spAutoFit/>
          </a:bodyPr>
          <a:lstStyle>
            <a:lvl1pPr algn="l">
              <a:defRPr sz="200" b="0">
                <a:solidFill>
                  <a:schemeClr val="bg1">
                    <a:lumMod val="75000"/>
                  </a:schemeClr>
                </a:solidFill>
                <a:latin typeface="+mn-lt"/>
                <a:cs typeface="+mn-cs"/>
                <a:sym typeface="+mn-lt"/>
              </a:defRPr>
            </a:lvl1pPr>
          </a:lstStyle>
          <a:p>
            <a:pPr fontAlgn="base">
              <a:spcBef>
                <a:spcPct val="0"/>
              </a:spcBef>
              <a:spcAft>
                <a:spcPct val="0"/>
              </a:spcAft>
            </a:pPr>
            <a:fld id="{01940DDA-0656-452C-A408-68789653BD9B}" type="slidenum">
              <a:rPr lang="en-US" smtClean="0">
                <a:solidFill>
                  <a:srgbClr val="FFFFFF">
                    <a:lumMod val="75000"/>
                  </a:srgbClr>
                </a:solidFill>
              </a:rPr>
              <a:pPr fontAlgn="base">
                <a:spcBef>
                  <a:spcPct val="0"/>
                </a:spcBef>
                <a:spcAft>
                  <a:spcPct val="0"/>
                </a:spcAft>
              </a:pPr>
              <a:t>‹#›</a:t>
            </a:fld>
            <a:endParaRPr lang="en-US" dirty="0">
              <a:solidFill>
                <a:srgbClr val="FFFFFF">
                  <a:lumMod val="75000"/>
                </a:srgbClr>
              </a:solidFill>
            </a:endParaRPr>
          </a:p>
        </p:txBody>
      </p:sp>
      <p:sp>
        <p:nvSpPr>
          <p:cNvPr id="4" name="Footer Placeholder" hidden="1"/>
          <p:cNvSpPr>
            <a:spLocks noGrp="1"/>
          </p:cNvSpPr>
          <p:nvPr>
            <p:ph type="ftr" sz="quarter" idx="12"/>
            <p:custDataLst>
              <p:tags r:id="rId2"/>
            </p:custDataLst>
          </p:nvPr>
        </p:nvSpPr>
        <p:spPr>
          <a:xfrm>
            <a:off x="9204945" y="171487"/>
            <a:ext cx="65" cy="30778"/>
          </a:xfrm>
          <a:prstGeom prst="rect">
            <a:avLst/>
          </a:prstGeom>
        </p:spPr>
        <p:txBody>
          <a:bodyPr vert="horz" wrap="none" lIns="0" tIns="0" rIns="0" bIns="0" rtlCol="0" anchor="t" anchorCtr="0">
            <a:spAutoFit/>
          </a:bodyPr>
          <a:lstStyle>
            <a:lvl1pPr algn="l" rtl="0" fontAlgn="base">
              <a:lnSpc>
                <a:spcPct val="100000"/>
              </a:lnSpc>
              <a:spcBef>
                <a:spcPts val="0"/>
              </a:spcBef>
              <a:spcAft>
                <a:spcPct val="0"/>
              </a:spcAft>
              <a:defRPr lang="en-US" sz="200" b="0" kern="1200" smtClean="0">
                <a:solidFill>
                  <a:schemeClr val="bg1">
                    <a:lumMod val="75000"/>
                  </a:schemeClr>
                </a:solidFill>
                <a:latin typeface="+mn-lt"/>
                <a:ea typeface="+mn-ea"/>
                <a:cs typeface="+mn-cs"/>
                <a:sym typeface="+mn-lt"/>
              </a:defRPr>
            </a:lvl1pPr>
          </a:lstStyle>
          <a:p>
            <a:endParaRPr lang="de-DE" dirty="0">
              <a:solidFill>
                <a:srgbClr val="FFFFFF">
                  <a:lumMod val="75000"/>
                </a:srgbClr>
              </a:solidFill>
            </a:endParaRPr>
          </a:p>
        </p:txBody>
      </p:sp>
    </p:spTree>
    <p:extLst>
      <p:ext uri="{BB962C8B-B14F-4D97-AF65-F5344CB8AC3E}">
        <p14:creationId xmlns:p14="http://schemas.microsoft.com/office/powerpoint/2010/main" xmlns="" val="2580159790"/>
      </p:ext>
    </p:extLst>
  </p:cSld>
  <p:clrMapOvr>
    <a:masterClrMapping/>
  </p:clrMapOvr>
  <p:timing>
    <p:tnLst>
      <p:par>
        <p:cTn id="1" dur="indefinite" restart="never" nodeType="tmRoot"/>
      </p:par>
    </p:tnLst>
  </p:timing>
</p:sldLayout>
</file>

<file path=ppt/slideLayouts/slideLayout72.xml><?xml version="1.0" encoding="utf-8"?>
<p:sldLayout xmlns:a="http://schemas.openxmlformats.org/drawingml/2006/main" xmlns:r="http://schemas.openxmlformats.org/officeDocument/2006/relationships" xmlns:p="http://schemas.openxmlformats.org/presentationml/2006/main" userDrawn="1">
  <p:cSld name="Fond blanc">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1495" y="1194"/>
          <a:ext cx="1465" cy="1190"/>
        </p:xfrm>
        <a:graphic>
          <a:graphicData uri="http://schemas.openxmlformats.org/presentationml/2006/ole">
            <p:oleObj spid="_x0000_s6163" name="think-cell Slide" r:id="rId4" imgW="360" imgH="360" progId="">
              <p:embed/>
            </p:oleObj>
          </a:graphicData>
        </a:graphic>
      </p:graphicFrame>
      <p:sp>
        <p:nvSpPr>
          <p:cNvPr id="3" name="Rectangle 53"/>
          <p:cNvSpPr>
            <a:spLocks noChangeArrowheads="1"/>
          </p:cNvSpPr>
          <p:nvPr userDrawn="1"/>
        </p:nvSpPr>
        <p:spPr bwMode="auto">
          <a:xfrm>
            <a:off x="0" y="0"/>
            <a:ext cx="266700" cy="5143500"/>
          </a:xfrm>
          <a:prstGeom prst="rect">
            <a:avLst/>
          </a:prstGeom>
          <a:solidFill>
            <a:srgbClr val="09BAFF"/>
          </a:solidFill>
          <a:ln w="9525">
            <a:noFill/>
            <a:miter lim="800000"/>
            <a:headEnd/>
            <a:tailEnd/>
          </a:ln>
          <a:effectLst/>
        </p:spPr>
        <p:txBody>
          <a:bodyPr wrap="none" lIns="0" tIns="0" rIns="0" bIns="0" anchor="ctr"/>
          <a:lstStyle/>
          <a:p>
            <a:pPr defTabSz="816251">
              <a:defRPr/>
            </a:pPr>
            <a:endParaRPr lang="fr-FR" sz="1600" dirty="0">
              <a:solidFill>
                <a:srgbClr val="000000"/>
              </a:solidFill>
              <a:ea typeface="MS PGothic"/>
              <a:sym typeface="Arial Narrow"/>
            </a:endParaRPr>
          </a:p>
        </p:txBody>
      </p:sp>
      <p:sp>
        <p:nvSpPr>
          <p:cNvPr id="4" name="Rectangle 53"/>
          <p:cNvSpPr>
            <a:spLocks noChangeArrowheads="1"/>
          </p:cNvSpPr>
          <p:nvPr userDrawn="1"/>
        </p:nvSpPr>
        <p:spPr bwMode="auto">
          <a:xfrm>
            <a:off x="6550271" y="4"/>
            <a:ext cx="2593730" cy="964406"/>
          </a:xfrm>
          <a:prstGeom prst="rect">
            <a:avLst/>
          </a:prstGeom>
          <a:solidFill>
            <a:srgbClr val="09BAFF"/>
          </a:solidFill>
          <a:ln w="9525">
            <a:noFill/>
            <a:miter lim="800000"/>
            <a:headEnd/>
            <a:tailEnd/>
          </a:ln>
          <a:effectLst/>
        </p:spPr>
        <p:txBody>
          <a:bodyPr wrap="none" lIns="0" tIns="0" rIns="0" bIns="0" anchor="ctr"/>
          <a:lstStyle/>
          <a:p>
            <a:pPr defTabSz="816251">
              <a:defRPr/>
            </a:pPr>
            <a:endParaRPr lang="fr-FR" sz="1600" dirty="0">
              <a:solidFill>
                <a:srgbClr val="000000"/>
              </a:solidFill>
              <a:ea typeface="MS PGothic"/>
              <a:sym typeface="Arial Narrow"/>
            </a:endParaRPr>
          </a:p>
        </p:txBody>
      </p:sp>
      <p:sp>
        <p:nvSpPr>
          <p:cNvPr id="5" name="Rectangle 53"/>
          <p:cNvSpPr>
            <a:spLocks noChangeArrowheads="1"/>
          </p:cNvSpPr>
          <p:nvPr userDrawn="1"/>
        </p:nvSpPr>
        <p:spPr bwMode="auto">
          <a:xfrm>
            <a:off x="256510" y="4"/>
            <a:ext cx="6293763" cy="964406"/>
          </a:xfrm>
          <a:prstGeom prst="rect">
            <a:avLst/>
          </a:prstGeom>
          <a:solidFill>
            <a:schemeClr val="bg2"/>
          </a:solidFill>
          <a:ln w="9525">
            <a:noFill/>
            <a:miter lim="800000"/>
            <a:headEnd/>
            <a:tailEnd/>
          </a:ln>
          <a:effectLst/>
        </p:spPr>
        <p:txBody>
          <a:bodyPr wrap="none" lIns="0" tIns="0" rIns="0" bIns="0" anchor="ctr"/>
          <a:lstStyle/>
          <a:p>
            <a:pPr defTabSz="816251">
              <a:defRPr/>
            </a:pPr>
            <a:endParaRPr lang="fr-FR" sz="1600" dirty="0">
              <a:solidFill>
                <a:srgbClr val="000000"/>
              </a:solidFill>
              <a:ea typeface="MS PGothic"/>
              <a:sym typeface="Arial Narrow"/>
            </a:endParaRPr>
          </a:p>
        </p:txBody>
      </p:sp>
      <p:sp>
        <p:nvSpPr>
          <p:cNvPr id="8" name="Title 7"/>
          <p:cNvSpPr>
            <a:spLocks noGrp="1"/>
          </p:cNvSpPr>
          <p:nvPr>
            <p:ph type="title"/>
          </p:nvPr>
        </p:nvSpPr>
        <p:spPr>
          <a:xfrm>
            <a:off x="422038" y="157166"/>
            <a:ext cx="6021415" cy="579835"/>
          </a:xfrm>
        </p:spPr>
        <p:txBody>
          <a:bodyPr/>
          <a:lstStyle>
            <a:lvl1pPr>
              <a:defRPr>
                <a:solidFill>
                  <a:schemeClr val="bg1"/>
                </a:solidFill>
              </a:defRPr>
            </a:lvl1pPr>
          </a:lstStyle>
          <a:p>
            <a:r>
              <a:rPr lang="en-US" dirty="0" smtClean="0"/>
              <a:t>Click to edit Master title style</a:t>
            </a:r>
            <a:endParaRPr lang="en-US" dirty="0"/>
          </a:p>
        </p:txBody>
      </p:sp>
      <p:sp>
        <p:nvSpPr>
          <p:cNvPr id="9" name="Slide Number"/>
          <p:cNvSpPr txBox="1">
            <a:spLocks noChangeArrowheads="1"/>
          </p:cNvSpPr>
          <p:nvPr userDrawn="1"/>
        </p:nvSpPr>
        <p:spPr bwMode="auto">
          <a:xfrm>
            <a:off x="55131" y="5020611"/>
            <a:ext cx="155492" cy="123111"/>
          </a:xfrm>
          <a:prstGeom prst="rect">
            <a:avLst/>
          </a:prstGeom>
          <a:noFill/>
          <a:ln w="9525">
            <a:noFill/>
            <a:miter lim="800000"/>
            <a:headEnd/>
            <a:tailEnd/>
          </a:ln>
          <a:effectLst/>
        </p:spPr>
        <p:txBody>
          <a:bodyPr vert="horz" wrap="none" lIns="0" tIns="0" rIns="0" bIns="0" numCol="1" anchor="t" anchorCtr="0" compatLnSpc="1">
            <a:prstTxWarp prst="textNoShape">
              <a:avLst/>
            </a:prstTxWarp>
            <a:spAutoFit/>
          </a:bodyPr>
          <a:lstStyle>
            <a:lvl1pPr>
              <a:defRPr sz="900" b="0" smtClean="0"/>
            </a:lvl1pPr>
          </a:lstStyle>
          <a:p>
            <a:pPr algn="ctr" defTabSz="779252" fontAlgn="base">
              <a:spcBef>
                <a:spcPct val="0"/>
              </a:spcBef>
              <a:spcAft>
                <a:spcPct val="0"/>
              </a:spcAft>
              <a:defRPr/>
            </a:pPr>
            <a:r>
              <a:rPr lang="en-US" sz="800" dirty="0">
                <a:solidFill>
                  <a:srgbClr val="FFFFFF"/>
                </a:solidFill>
                <a:cs typeface="Arial" pitchFamily="34" charset="0"/>
              </a:rPr>
              <a:t>-</a:t>
            </a:r>
            <a:fld id="{7AA7B471-74A3-4F5F-8955-6C99E2375CAC}" type="slidenum">
              <a:rPr lang="en-US" sz="800">
                <a:solidFill>
                  <a:srgbClr val="FFFFFF"/>
                </a:solidFill>
                <a:cs typeface="Arial" pitchFamily="34" charset="0"/>
              </a:rPr>
              <a:pPr algn="ctr" defTabSz="779252" fontAlgn="base">
                <a:spcBef>
                  <a:spcPct val="0"/>
                </a:spcBef>
                <a:spcAft>
                  <a:spcPct val="0"/>
                </a:spcAft>
                <a:defRPr/>
              </a:pPr>
              <a:t>‹#›</a:t>
            </a:fld>
            <a:r>
              <a:rPr lang="en-US" sz="800" dirty="0">
                <a:solidFill>
                  <a:srgbClr val="FFFFFF"/>
                </a:solidFill>
                <a:cs typeface="Arial" pitchFamily="34" charset="0"/>
              </a:rPr>
              <a:t>-</a:t>
            </a:r>
          </a:p>
        </p:txBody>
      </p:sp>
    </p:spTree>
    <p:extLst>
      <p:ext uri="{BB962C8B-B14F-4D97-AF65-F5344CB8AC3E}">
        <p14:creationId xmlns:p14="http://schemas.microsoft.com/office/powerpoint/2010/main" xmlns="" val="2827263381"/>
      </p:ext>
    </p:extLst>
  </p:cSld>
  <p:clrMapOvr>
    <a:masterClrMapping/>
  </p:clrMapOvr>
  <p:timing>
    <p:tnLst>
      <p:par>
        <p:cTn id="1" dur="indefinite" restart="never" nodeType="tmRoot"/>
      </p:par>
    </p:tnLst>
  </p:timing>
</p:sldLayout>
</file>

<file path=ppt/slideLayouts/slideLayout7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1597822"/>
            <a:ext cx="7772400" cy="1102519"/>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2914650"/>
            <a:ext cx="6400800" cy="131445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a:xfrm>
            <a:off x="0" y="4926807"/>
            <a:ext cx="2133600" cy="273844"/>
          </a:xfrm>
          <a:prstGeom prst="rect">
            <a:avLst/>
          </a:prstGeom>
        </p:spPr>
        <p:txBody>
          <a:bodyPr/>
          <a:lstStyle>
            <a:lvl1pPr>
              <a:defRPr>
                <a:latin typeface="TH SarabunPSK" pitchFamily="34" charset="-34"/>
                <a:cs typeface="TH SarabunPSK" pitchFamily="34" charset="-34"/>
              </a:defRPr>
            </a:lvl1pPr>
          </a:lstStyle>
          <a:p>
            <a:fld id="{9AD1DEDE-A8E2-443A-8984-27DBEE18883A}" type="datetime1">
              <a:rPr lang="en-US" smtClean="0">
                <a:solidFill>
                  <a:prstClr val="white"/>
                </a:solidFill>
              </a:rPr>
              <a:pPr/>
              <a:t>9/20/2015</a:t>
            </a:fld>
            <a:endParaRPr lang="en-US">
              <a:solidFill>
                <a:prstClr val="white"/>
              </a:solidFill>
            </a:endParaRPr>
          </a:p>
        </p:txBody>
      </p:sp>
      <p:sp>
        <p:nvSpPr>
          <p:cNvPr id="5" name="Footer Placeholder 4"/>
          <p:cNvSpPr>
            <a:spLocks noGrp="1"/>
          </p:cNvSpPr>
          <p:nvPr>
            <p:ph type="ftr" sz="quarter" idx="11"/>
          </p:nvPr>
        </p:nvSpPr>
        <p:spPr>
          <a:xfrm>
            <a:off x="3124200" y="4767264"/>
            <a:ext cx="2895600" cy="273844"/>
          </a:xfrm>
          <a:prstGeom prst="rect">
            <a:avLst/>
          </a:prstGeom>
        </p:spPr>
        <p:txBody>
          <a:bodyPr/>
          <a:lstStyle/>
          <a:p>
            <a:endParaRPr lang="en-US" sz="1800">
              <a:solidFill>
                <a:prstClr val="black"/>
              </a:solidFill>
            </a:endParaRPr>
          </a:p>
        </p:txBody>
      </p:sp>
      <p:sp>
        <p:nvSpPr>
          <p:cNvPr id="6" name="Slide Number Placeholder 5"/>
          <p:cNvSpPr>
            <a:spLocks noGrp="1"/>
          </p:cNvSpPr>
          <p:nvPr>
            <p:ph type="sldNum" sz="quarter" idx="12"/>
          </p:nvPr>
        </p:nvSpPr>
        <p:spPr>
          <a:xfrm>
            <a:off x="7010400" y="4926807"/>
            <a:ext cx="2133600" cy="273844"/>
          </a:xfrm>
          <a:prstGeom prst="rect">
            <a:avLst/>
          </a:prstGeom>
        </p:spPr>
        <p:txBody>
          <a:bodyPr/>
          <a:lstStyle>
            <a:lvl1pPr>
              <a:defRPr>
                <a:latin typeface="TH SarabunPSK" pitchFamily="34" charset="-34"/>
                <a:cs typeface="TH SarabunPSK" pitchFamily="34" charset="-34"/>
              </a:defRPr>
            </a:lvl1pPr>
          </a:lstStyle>
          <a:p>
            <a:fld id="{3149A960-9A85-47C9-BA01-92958F426FBD}" type="slidenum">
              <a:rPr lang="en-US" smtClean="0">
                <a:solidFill>
                  <a:prstClr val="white"/>
                </a:solidFill>
              </a:rPr>
              <a:pPr/>
              <a:t>‹#›</a:t>
            </a:fld>
            <a:endParaRPr lang="en-US">
              <a:solidFill>
                <a:prstClr val="white"/>
              </a:solidFill>
            </a:endParaRPr>
          </a:p>
        </p:txBody>
      </p:sp>
      <p:sp>
        <p:nvSpPr>
          <p:cNvPr id="7" name="Rectangle 6"/>
          <p:cNvSpPr txBox="1">
            <a:spLocks noChangeArrowheads="1"/>
          </p:cNvSpPr>
          <p:nvPr userDrawn="1"/>
        </p:nvSpPr>
        <p:spPr>
          <a:xfrm>
            <a:off x="6553200" y="4767264"/>
            <a:ext cx="2133600" cy="273844"/>
          </a:xfrm>
          <a:prstGeom prst="rect">
            <a:avLst/>
          </a:prstGeom>
          <a:ln/>
        </p:spPr>
        <p:txBody>
          <a:bodyPr/>
          <a:lstStyle>
            <a:lvl1pPr>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5E1DA084-CB5F-4A48-AAC8-22088C4791EB}" type="slidenum">
              <a:rPr kumimoji="0" lang="en-US" sz="1400" b="1" i="0" u="none" strike="noStrike" kern="1200" cap="none" spc="0" normalizeH="0" baseline="0" noProof="0" smtClean="0">
                <a:ln>
                  <a:noFill/>
                </a:ln>
                <a:solidFill>
                  <a:prstClr val="black">
                    <a:tint val="75000"/>
                  </a:prstClr>
                </a:solidFill>
                <a:effectLst/>
                <a:uLnTx/>
                <a:uFillTx/>
                <a:latin typeface="+mn-lt"/>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th-TH" sz="1400" b="1" i="0" u="none" strike="noStrike" kern="1200" cap="none" spc="0" normalizeH="0" baseline="0" noProof="0">
              <a:ln>
                <a:noFill/>
              </a:ln>
              <a:solidFill>
                <a:prstClr val="black">
                  <a:tint val="75000"/>
                </a:prstClr>
              </a:solidFill>
              <a:effectLst/>
              <a:uLnTx/>
              <a:uFillTx/>
              <a:latin typeface="+mn-lt"/>
              <a:ea typeface="+mn-ea"/>
              <a:cs typeface="+mn-cs"/>
            </a:endParaRPr>
          </a:p>
        </p:txBody>
      </p:sp>
    </p:spTree>
    <p:extLst>
      <p:ext uri="{BB962C8B-B14F-4D97-AF65-F5344CB8AC3E}">
        <p14:creationId xmlns:p14="http://schemas.microsoft.com/office/powerpoint/2010/main" xmlns="" val="4162233222"/>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1"/>
          </p:nvPr>
        </p:nvSpPr>
        <p:spPr>
          <a:xfrm>
            <a:off x="3124200" y="4767264"/>
            <a:ext cx="2895600" cy="273844"/>
          </a:xfrm>
          <a:prstGeom prst="rect">
            <a:avLst/>
          </a:prstGeom>
        </p:spPr>
        <p:txBody>
          <a:bodyPr/>
          <a:lstStyle/>
          <a:p>
            <a:endParaRPr lang="en-US" sz="1800">
              <a:solidFill>
                <a:prstClr val="black"/>
              </a:solidFill>
            </a:endParaRPr>
          </a:p>
        </p:txBody>
      </p:sp>
      <p:sp>
        <p:nvSpPr>
          <p:cNvPr id="7" name="Date Placeholder 3"/>
          <p:cNvSpPr>
            <a:spLocks noGrp="1"/>
          </p:cNvSpPr>
          <p:nvPr>
            <p:ph type="dt" sz="half" idx="10"/>
          </p:nvPr>
        </p:nvSpPr>
        <p:spPr>
          <a:xfrm>
            <a:off x="0" y="4926807"/>
            <a:ext cx="2133600" cy="273844"/>
          </a:xfrm>
          <a:prstGeom prst="rect">
            <a:avLst/>
          </a:prstGeom>
        </p:spPr>
        <p:txBody>
          <a:bodyPr/>
          <a:lstStyle>
            <a:lvl1pPr>
              <a:defRPr>
                <a:latin typeface="TH SarabunPSK" pitchFamily="34" charset="-34"/>
                <a:cs typeface="TH SarabunPSK" pitchFamily="34" charset="-34"/>
              </a:defRPr>
            </a:lvl1pPr>
          </a:lstStyle>
          <a:p>
            <a:fld id="{9AD1DEDE-A8E2-443A-8984-27DBEE18883A}" type="datetime1">
              <a:rPr lang="en-US" smtClean="0">
                <a:solidFill>
                  <a:prstClr val="white"/>
                </a:solidFill>
              </a:rPr>
              <a:pPr/>
              <a:t>9/20/2015</a:t>
            </a:fld>
            <a:endParaRPr lang="en-US">
              <a:solidFill>
                <a:prstClr val="white"/>
              </a:solidFill>
            </a:endParaRPr>
          </a:p>
        </p:txBody>
      </p:sp>
      <p:sp>
        <p:nvSpPr>
          <p:cNvPr id="8" name="Slide Number Placeholder 5"/>
          <p:cNvSpPr>
            <a:spLocks noGrp="1"/>
          </p:cNvSpPr>
          <p:nvPr>
            <p:ph type="sldNum" sz="quarter" idx="12"/>
          </p:nvPr>
        </p:nvSpPr>
        <p:spPr>
          <a:xfrm>
            <a:off x="7010400" y="4926807"/>
            <a:ext cx="2133600" cy="273844"/>
          </a:xfrm>
          <a:prstGeom prst="rect">
            <a:avLst/>
          </a:prstGeom>
        </p:spPr>
        <p:txBody>
          <a:bodyPr/>
          <a:lstStyle>
            <a:lvl1pPr>
              <a:defRPr>
                <a:latin typeface="TH SarabunPSK" pitchFamily="34" charset="-34"/>
                <a:cs typeface="TH SarabunPSK" pitchFamily="34" charset="-34"/>
              </a:defRPr>
            </a:lvl1pPr>
          </a:lstStyle>
          <a:p>
            <a:fld id="{3149A960-9A85-47C9-BA01-92958F426FBD}" type="slidenum">
              <a:rPr lang="en-US" smtClean="0">
                <a:solidFill>
                  <a:prstClr val="white"/>
                </a:solidFill>
              </a:rPr>
              <a:pPr/>
              <a:t>‹#›</a:t>
            </a:fld>
            <a:endParaRPr lang="en-US">
              <a:solidFill>
                <a:prstClr val="white"/>
              </a:solidFill>
            </a:endParaRPr>
          </a:p>
        </p:txBody>
      </p:sp>
      <p:sp>
        <p:nvSpPr>
          <p:cNvPr id="9" name="Rectangle 6"/>
          <p:cNvSpPr txBox="1">
            <a:spLocks noChangeArrowheads="1"/>
          </p:cNvSpPr>
          <p:nvPr userDrawn="1"/>
        </p:nvSpPr>
        <p:spPr>
          <a:xfrm>
            <a:off x="6553200" y="4767264"/>
            <a:ext cx="2133600" cy="273844"/>
          </a:xfrm>
          <a:prstGeom prst="rect">
            <a:avLst/>
          </a:prstGeom>
          <a:ln/>
        </p:spPr>
        <p:txBody>
          <a:bodyPr/>
          <a:lstStyle>
            <a:lvl1pPr>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5E1DA084-CB5F-4A48-AAC8-22088C4791EB}" type="slidenum">
              <a:rPr kumimoji="0" lang="en-US" sz="1400" b="1" i="0" u="none" strike="noStrike" kern="1200" cap="none" spc="0" normalizeH="0" baseline="0" noProof="0" smtClean="0">
                <a:ln>
                  <a:noFill/>
                </a:ln>
                <a:solidFill>
                  <a:prstClr val="black">
                    <a:tint val="75000"/>
                  </a:prstClr>
                </a:solidFill>
                <a:effectLst/>
                <a:uLnTx/>
                <a:uFillTx/>
                <a:latin typeface="+mn-lt"/>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th-TH" sz="1400" b="1" i="0" u="none" strike="noStrike" kern="1200" cap="none" spc="0" normalizeH="0" baseline="0" noProof="0">
              <a:ln>
                <a:noFill/>
              </a:ln>
              <a:solidFill>
                <a:prstClr val="black">
                  <a:tint val="75000"/>
                </a:prstClr>
              </a:solidFill>
              <a:effectLst/>
              <a:uLnTx/>
              <a:uFillTx/>
              <a:latin typeface="+mn-lt"/>
              <a:ea typeface="+mn-ea"/>
              <a:cs typeface="+mn-cs"/>
            </a:endParaRPr>
          </a:p>
        </p:txBody>
      </p:sp>
    </p:spTree>
    <p:extLst>
      <p:ext uri="{BB962C8B-B14F-4D97-AF65-F5344CB8AC3E}">
        <p14:creationId xmlns:p14="http://schemas.microsoft.com/office/powerpoint/2010/main" xmlns="" val="592118886"/>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3305176"/>
            <a:ext cx="7772400" cy="1021556"/>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180035"/>
            <a:ext cx="7772400" cy="1125140"/>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5" name="Footer Placeholder 4"/>
          <p:cNvSpPr>
            <a:spLocks noGrp="1"/>
          </p:cNvSpPr>
          <p:nvPr>
            <p:ph type="ftr" sz="quarter" idx="11"/>
          </p:nvPr>
        </p:nvSpPr>
        <p:spPr>
          <a:xfrm>
            <a:off x="3124200" y="4767264"/>
            <a:ext cx="2895600" cy="273844"/>
          </a:xfrm>
          <a:prstGeom prst="rect">
            <a:avLst/>
          </a:prstGeom>
        </p:spPr>
        <p:txBody>
          <a:bodyPr/>
          <a:lstStyle/>
          <a:p>
            <a:endParaRPr lang="en-US" sz="1800">
              <a:solidFill>
                <a:prstClr val="black"/>
              </a:solidFill>
            </a:endParaRPr>
          </a:p>
        </p:txBody>
      </p:sp>
      <p:sp>
        <p:nvSpPr>
          <p:cNvPr id="7" name="Date Placeholder 3"/>
          <p:cNvSpPr>
            <a:spLocks noGrp="1"/>
          </p:cNvSpPr>
          <p:nvPr>
            <p:ph type="dt" sz="half" idx="10"/>
          </p:nvPr>
        </p:nvSpPr>
        <p:spPr>
          <a:xfrm>
            <a:off x="0" y="4926807"/>
            <a:ext cx="2133600" cy="273844"/>
          </a:xfrm>
          <a:prstGeom prst="rect">
            <a:avLst/>
          </a:prstGeom>
        </p:spPr>
        <p:txBody>
          <a:bodyPr/>
          <a:lstStyle>
            <a:lvl1pPr>
              <a:defRPr>
                <a:latin typeface="TH SarabunPSK" pitchFamily="34" charset="-34"/>
                <a:cs typeface="TH SarabunPSK" pitchFamily="34" charset="-34"/>
              </a:defRPr>
            </a:lvl1pPr>
          </a:lstStyle>
          <a:p>
            <a:fld id="{9AD1DEDE-A8E2-443A-8984-27DBEE18883A}" type="datetime1">
              <a:rPr lang="en-US" smtClean="0">
                <a:solidFill>
                  <a:prstClr val="white"/>
                </a:solidFill>
              </a:rPr>
              <a:pPr/>
              <a:t>9/20/2015</a:t>
            </a:fld>
            <a:endParaRPr lang="en-US">
              <a:solidFill>
                <a:prstClr val="white"/>
              </a:solidFill>
            </a:endParaRPr>
          </a:p>
        </p:txBody>
      </p:sp>
      <p:sp>
        <p:nvSpPr>
          <p:cNvPr id="8" name="Slide Number Placeholder 5"/>
          <p:cNvSpPr>
            <a:spLocks noGrp="1"/>
          </p:cNvSpPr>
          <p:nvPr>
            <p:ph type="sldNum" sz="quarter" idx="12"/>
          </p:nvPr>
        </p:nvSpPr>
        <p:spPr>
          <a:xfrm>
            <a:off x="7010400" y="4926807"/>
            <a:ext cx="2133600" cy="273844"/>
          </a:xfrm>
          <a:prstGeom prst="rect">
            <a:avLst/>
          </a:prstGeom>
        </p:spPr>
        <p:txBody>
          <a:bodyPr/>
          <a:lstStyle>
            <a:lvl1pPr>
              <a:defRPr>
                <a:latin typeface="TH SarabunPSK" pitchFamily="34" charset="-34"/>
                <a:cs typeface="TH SarabunPSK" pitchFamily="34" charset="-34"/>
              </a:defRPr>
            </a:lvl1pPr>
          </a:lstStyle>
          <a:p>
            <a:fld id="{3149A960-9A85-47C9-BA01-92958F426FBD}" type="slidenum">
              <a:rPr lang="en-US" smtClean="0">
                <a:solidFill>
                  <a:prstClr val="white"/>
                </a:solidFill>
              </a:rPr>
              <a:pPr/>
              <a:t>‹#›</a:t>
            </a:fld>
            <a:endParaRPr lang="en-US">
              <a:solidFill>
                <a:prstClr val="white"/>
              </a:solidFill>
            </a:endParaRPr>
          </a:p>
        </p:txBody>
      </p:sp>
      <p:sp>
        <p:nvSpPr>
          <p:cNvPr id="9" name="Rectangle 6"/>
          <p:cNvSpPr txBox="1">
            <a:spLocks noChangeArrowheads="1"/>
          </p:cNvSpPr>
          <p:nvPr userDrawn="1"/>
        </p:nvSpPr>
        <p:spPr>
          <a:xfrm>
            <a:off x="6553200" y="4767264"/>
            <a:ext cx="2133600" cy="273844"/>
          </a:xfrm>
          <a:prstGeom prst="rect">
            <a:avLst/>
          </a:prstGeom>
          <a:ln/>
        </p:spPr>
        <p:txBody>
          <a:bodyPr/>
          <a:lstStyle>
            <a:lvl1pPr>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5E1DA084-CB5F-4A48-AAC8-22088C4791EB}" type="slidenum">
              <a:rPr kumimoji="0" lang="en-US" sz="1400" b="1" i="0" u="none" strike="noStrike" kern="1200" cap="none" spc="0" normalizeH="0" baseline="0" noProof="0" smtClean="0">
                <a:ln>
                  <a:noFill/>
                </a:ln>
                <a:solidFill>
                  <a:prstClr val="black">
                    <a:tint val="75000"/>
                  </a:prstClr>
                </a:solidFill>
                <a:effectLst/>
                <a:uLnTx/>
                <a:uFillTx/>
                <a:latin typeface="+mn-lt"/>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th-TH" sz="1400" b="1" i="0" u="none" strike="noStrike" kern="1200" cap="none" spc="0" normalizeH="0" baseline="0" noProof="0">
              <a:ln>
                <a:noFill/>
              </a:ln>
              <a:solidFill>
                <a:prstClr val="black">
                  <a:tint val="75000"/>
                </a:prstClr>
              </a:solidFill>
              <a:effectLst/>
              <a:uLnTx/>
              <a:uFillTx/>
              <a:latin typeface="+mn-lt"/>
              <a:ea typeface="+mn-ea"/>
              <a:cs typeface="+mn-cs"/>
            </a:endParaRPr>
          </a:p>
        </p:txBody>
      </p:sp>
    </p:spTree>
    <p:extLst>
      <p:ext uri="{BB962C8B-B14F-4D97-AF65-F5344CB8AC3E}">
        <p14:creationId xmlns:p14="http://schemas.microsoft.com/office/powerpoint/2010/main" xmlns="" val="2608867313"/>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200151"/>
            <a:ext cx="4038600" cy="339447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200151"/>
            <a:ext cx="4038600" cy="339447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11"/>
          </p:nvPr>
        </p:nvSpPr>
        <p:spPr>
          <a:xfrm>
            <a:off x="3124200" y="4767264"/>
            <a:ext cx="2895600" cy="273844"/>
          </a:xfrm>
          <a:prstGeom prst="rect">
            <a:avLst/>
          </a:prstGeom>
        </p:spPr>
        <p:txBody>
          <a:bodyPr/>
          <a:lstStyle/>
          <a:p>
            <a:endParaRPr lang="en-US" sz="1800">
              <a:solidFill>
                <a:prstClr val="black"/>
              </a:solidFill>
            </a:endParaRPr>
          </a:p>
        </p:txBody>
      </p:sp>
      <p:sp>
        <p:nvSpPr>
          <p:cNvPr id="8" name="Date Placeholder 3"/>
          <p:cNvSpPr>
            <a:spLocks noGrp="1"/>
          </p:cNvSpPr>
          <p:nvPr>
            <p:ph type="dt" sz="half" idx="10"/>
          </p:nvPr>
        </p:nvSpPr>
        <p:spPr>
          <a:xfrm>
            <a:off x="0" y="4926807"/>
            <a:ext cx="2133600" cy="273844"/>
          </a:xfrm>
          <a:prstGeom prst="rect">
            <a:avLst/>
          </a:prstGeom>
        </p:spPr>
        <p:txBody>
          <a:bodyPr/>
          <a:lstStyle>
            <a:lvl1pPr>
              <a:defRPr>
                <a:latin typeface="TH SarabunPSK" pitchFamily="34" charset="-34"/>
                <a:cs typeface="TH SarabunPSK" pitchFamily="34" charset="-34"/>
              </a:defRPr>
            </a:lvl1pPr>
          </a:lstStyle>
          <a:p>
            <a:fld id="{9AD1DEDE-A8E2-443A-8984-27DBEE18883A}" type="datetime1">
              <a:rPr lang="en-US" smtClean="0">
                <a:solidFill>
                  <a:prstClr val="white"/>
                </a:solidFill>
              </a:rPr>
              <a:pPr/>
              <a:t>9/20/2015</a:t>
            </a:fld>
            <a:endParaRPr lang="en-US">
              <a:solidFill>
                <a:prstClr val="white"/>
              </a:solidFill>
            </a:endParaRPr>
          </a:p>
        </p:txBody>
      </p:sp>
      <p:sp>
        <p:nvSpPr>
          <p:cNvPr id="9" name="Slide Number Placeholder 5"/>
          <p:cNvSpPr>
            <a:spLocks noGrp="1"/>
          </p:cNvSpPr>
          <p:nvPr>
            <p:ph type="sldNum" sz="quarter" idx="12"/>
          </p:nvPr>
        </p:nvSpPr>
        <p:spPr>
          <a:xfrm>
            <a:off x="7010400" y="4926807"/>
            <a:ext cx="2133600" cy="273844"/>
          </a:xfrm>
          <a:prstGeom prst="rect">
            <a:avLst/>
          </a:prstGeom>
        </p:spPr>
        <p:txBody>
          <a:bodyPr/>
          <a:lstStyle>
            <a:lvl1pPr>
              <a:defRPr>
                <a:latin typeface="TH SarabunPSK" pitchFamily="34" charset="-34"/>
                <a:cs typeface="TH SarabunPSK" pitchFamily="34" charset="-34"/>
              </a:defRPr>
            </a:lvl1pPr>
          </a:lstStyle>
          <a:p>
            <a:fld id="{3149A960-9A85-47C9-BA01-92958F426FBD}" type="slidenum">
              <a:rPr lang="en-US" smtClean="0">
                <a:solidFill>
                  <a:prstClr val="white"/>
                </a:solidFill>
              </a:rPr>
              <a:pPr/>
              <a:t>‹#›</a:t>
            </a:fld>
            <a:endParaRPr lang="en-US">
              <a:solidFill>
                <a:prstClr val="white"/>
              </a:solidFill>
            </a:endParaRPr>
          </a:p>
        </p:txBody>
      </p:sp>
      <p:sp>
        <p:nvSpPr>
          <p:cNvPr id="10" name="Rectangle 6"/>
          <p:cNvSpPr txBox="1">
            <a:spLocks noChangeArrowheads="1"/>
          </p:cNvSpPr>
          <p:nvPr userDrawn="1"/>
        </p:nvSpPr>
        <p:spPr>
          <a:xfrm>
            <a:off x="6553200" y="4767264"/>
            <a:ext cx="2133600" cy="273844"/>
          </a:xfrm>
          <a:prstGeom prst="rect">
            <a:avLst/>
          </a:prstGeom>
          <a:ln/>
        </p:spPr>
        <p:txBody>
          <a:bodyPr/>
          <a:lstStyle>
            <a:lvl1pPr>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5E1DA084-CB5F-4A48-AAC8-22088C4791EB}" type="slidenum">
              <a:rPr kumimoji="0" lang="en-US" sz="1400" b="1" i="0" u="none" strike="noStrike" kern="1200" cap="none" spc="0" normalizeH="0" baseline="0" noProof="0" smtClean="0">
                <a:ln>
                  <a:noFill/>
                </a:ln>
                <a:solidFill>
                  <a:prstClr val="black">
                    <a:tint val="75000"/>
                  </a:prstClr>
                </a:solidFill>
                <a:effectLst/>
                <a:uLnTx/>
                <a:uFillTx/>
                <a:latin typeface="+mn-lt"/>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th-TH" sz="1400" b="1" i="0" u="none" strike="noStrike" kern="1200" cap="none" spc="0" normalizeH="0" baseline="0" noProof="0">
              <a:ln>
                <a:noFill/>
              </a:ln>
              <a:solidFill>
                <a:prstClr val="black">
                  <a:tint val="75000"/>
                </a:prstClr>
              </a:solidFill>
              <a:effectLst/>
              <a:uLnTx/>
              <a:uFillTx/>
              <a:latin typeface="+mn-lt"/>
              <a:ea typeface="+mn-ea"/>
              <a:cs typeface="+mn-cs"/>
            </a:endParaRPr>
          </a:p>
        </p:txBody>
      </p:sp>
    </p:spTree>
    <p:extLst>
      <p:ext uri="{BB962C8B-B14F-4D97-AF65-F5344CB8AC3E}">
        <p14:creationId xmlns:p14="http://schemas.microsoft.com/office/powerpoint/2010/main" xmlns="" val="2990871713"/>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151335"/>
            <a:ext cx="4040188" cy="47982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1631156"/>
            <a:ext cx="4040188" cy="2963466"/>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32" y="1151335"/>
            <a:ext cx="4041775" cy="47982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32" y="1631156"/>
            <a:ext cx="4041775" cy="2963466"/>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a:xfrm>
            <a:off x="457200" y="4767264"/>
            <a:ext cx="2133600" cy="273844"/>
          </a:xfrm>
          <a:prstGeom prst="rect">
            <a:avLst/>
          </a:prstGeom>
        </p:spPr>
        <p:txBody>
          <a:bodyPr/>
          <a:lstStyle/>
          <a:p>
            <a:fld id="{27F8463C-4A8F-4D43-87A1-ED88F97BD6FF}" type="datetime1">
              <a:rPr lang="en-US" smtClean="0">
                <a:solidFill>
                  <a:prstClr val="white"/>
                </a:solidFill>
              </a:rPr>
              <a:pPr/>
              <a:t>9/20/2015</a:t>
            </a:fld>
            <a:endParaRPr lang="en-US">
              <a:solidFill>
                <a:prstClr val="white"/>
              </a:solidFill>
            </a:endParaRPr>
          </a:p>
        </p:txBody>
      </p:sp>
      <p:sp>
        <p:nvSpPr>
          <p:cNvPr id="8" name="Footer Placeholder 7"/>
          <p:cNvSpPr>
            <a:spLocks noGrp="1"/>
          </p:cNvSpPr>
          <p:nvPr>
            <p:ph type="ftr" sz="quarter" idx="11"/>
          </p:nvPr>
        </p:nvSpPr>
        <p:spPr>
          <a:xfrm>
            <a:off x="3124200" y="4767264"/>
            <a:ext cx="2895600" cy="273844"/>
          </a:xfrm>
          <a:prstGeom prst="rect">
            <a:avLst/>
          </a:prstGeom>
        </p:spPr>
        <p:txBody>
          <a:bodyPr/>
          <a:lstStyle/>
          <a:p>
            <a:endParaRPr lang="en-US" sz="1800">
              <a:solidFill>
                <a:prstClr val="black"/>
              </a:solidFill>
            </a:endParaRPr>
          </a:p>
        </p:txBody>
      </p:sp>
      <p:sp>
        <p:nvSpPr>
          <p:cNvPr id="9" name="Slide Number Placeholder 8"/>
          <p:cNvSpPr>
            <a:spLocks noGrp="1"/>
          </p:cNvSpPr>
          <p:nvPr>
            <p:ph type="sldNum" sz="quarter" idx="12"/>
          </p:nvPr>
        </p:nvSpPr>
        <p:spPr>
          <a:xfrm>
            <a:off x="6553200" y="4767264"/>
            <a:ext cx="2133600" cy="273844"/>
          </a:xfrm>
          <a:prstGeom prst="rect">
            <a:avLst/>
          </a:prstGeom>
        </p:spPr>
        <p:txBody>
          <a:bodyPr/>
          <a:lstStyle/>
          <a:p>
            <a:fld id="{3149A960-9A85-47C9-BA01-92958F426FBD}" type="slidenum">
              <a:rPr lang="en-US" smtClean="0">
                <a:solidFill>
                  <a:prstClr val="white"/>
                </a:solidFill>
              </a:rPr>
              <a:pPr/>
              <a:t>‹#›</a:t>
            </a:fld>
            <a:endParaRPr lang="en-US">
              <a:solidFill>
                <a:prstClr val="white"/>
              </a:solidFill>
            </a:endParaRPr>
          </a:p>
        </p:txBody>
      </p:sp>
      <p:sp>
        <p:nvSpPr>
          <p:cNvPr id="10" name="Rectangle 6"/>
          <p:cNvSpPr txBox="1">
            <a:spLocks noChangeArrowheads="1"/>
          </p:cNvSpPr>
          <p:nvPr userDrawn="1"/>
        </p:nvSpPr>
        <p:spPr>
          <a:xfrm>
            <a:off x="6705600" y="4919664"/>
            <a:ext cx="2133600" cy="273844"/>
          </a:xfrm>
          <a:prstGeom prst="rect">
            <a:avLst/>
          </a:prstGeom>
          <a:ln/>
        </p:spPr>
        <p:txBody>
          <a:bodyPr/>
          <a:lstStyle>
            <a:lvl1pPr>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5E1DA084-CB5F-4A48-AAC8-22088C4791EB}" type="slidenum">
              <a:rPr kumimoji="0" lang="en-US" sz="1400" b="1" i="0" u="none" strike="noStrike" kern="1200" cap="none" spc="0" normalizeH="0" baseline="0" noProof="0" smtClean="0">
                <a:ln>
                  <a:noFill/>
                </a:ln>
                <a:solidFill>
                  <a:prstClr val="black">
                    <a:tint val="75000"/>
                  </a:prstClr>
                </a:solidFill>
                <a:effectLst/>
                <a:uLnTx/>
                <a:uFillTx/>
                <a:latin typeface="+mn-lt"/>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th-TH" sz="1400" b="1" i="0" u="none" strike="noStrike" kern="1200" cap="none" spc="0" normalizeH="0" baseline="0" noProof="0">
              <a:ln>
                <a:noFill/>
              </a:ln>
              <a:solidFill>
                <a:prstClr val="black">
                  <a:tint val="75000"/>
                </a:prstClr>
              </a:solidFill>
              <a:effectLst/>
              <a:uLnTx/>
              <a:uFillTx/>
              <a:latin typeface="+mn-lt"/>
              <a:ea typeface="+mn-ea"/>
              <a:cs typeface="+mn-cs"/>
            </a:endParaRPr>
          </a:p>
        </p:txBody>
      </p:sp>
    </p:spTree>
    <p:extLst>
      <p:ext uri="{BB962C8B-B14F-4D97-AF65-F5344CB8AC3E}">
        <p14:creationId xmlns:p14="http://schemas.microsoft.com/office/powerpoint/2010/main" xmlns="" val="439995289"/>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a:xfrm>
            <a:off x="457200" y="4767264"/>
            <a:ext cx="2133600" cy="273844"/>
          </a:xfrm>
          <a:prstGeom prst="rect">
            <a:avLst/>
          </a:prstGeom>
        </p:spPr>
        <p:txBody>
          <a:bodyPr/>
          <a:lstStyle/>
          <a:p>
            <a:fld id="{7D7638F3-6FC0-4EFA-88AC-BD3DB884A909}" type="datetime1">
              <a:rPr lang="en-US" smtClean="0">
                <a:solidFill>
                  <a:prstClr val="white"/>
                </a:solidFill>
              </a:rPr>
              <a:pPr/>
              <a:t>9/20/2015</a:t>
            </a:fld>
            <a:endParaRPr lang="en-US">
              <a:solidFill>
                <a:prstClr val="white"/>
              </a:solidFill>
            </a:endParaRPr>
          </a:p>
        </p:txBody>
      </p:sp>
      <p:sp>
        <p:nvSpPr>
          <p:cNvPr id="4" name="Footer Placeholder 3"/>
          <p:cNvSpPr>
            <a:spLocks noGrp="1"/>
          </p:cNvSpPr>
          <p:nvPr>
            <p:ph type="ftr" sz="quarter" idx="11"/>
          </p:nvPr>
        </p:nvSpPr>
        <p:spPr>
          <a:xfrm>
            <a:off x="3124200" y="4767264"/>
            <a:ext cx="2895600" cy="273844"/>
          </a:xfrm>
          <a:prstGeom prst="rect">
            <a:avLst/>
          </a:prstGeom>
        </p:spPr>
        <p:txBody>
          <a:bodyPr/>
          <a:lstStyle/>
          <a:p>
            <a:endParaRPr lang="en-US" sz="1800">
              <a:solidFill>
                <a:prstClr val="black"/>
              </a:solidFill>
            </a:endParaRPr>
          </a:p>
        </p:txBody>
      </p:sp>
      <p:sp>
        <p:nvSpPr>
          <p:cNvPr id="5" name="Slide Number Placeholder 4"/>
          <p:cNvSpPr>
            <a:spLocks noGrp="1"/>
          </p:cNvSpPr>
          <p:nvPr>
            <p:ph type="sldNum" sz="quarter" idx="12"/>
          </p:nvPr>
        </p:nvSpPr>
        <p:spPr>
          <a:xfrm>
            <a:off x="6553200" y="4767264"/>
            <a:ext cx="2133600" cy="273844"/>
          </a:xfrm>
          <a:prstGeom prst="rect">
            <a:avLst/>
          </a:prstGeom>
        </p:spPr>
        <p:txBody>
          <a:bodyPr/>
          <a:lstStyle/>
          <a:p>
            <a:fld id="{3149A960-9A85-47C9-BA01-92958F426FBD}" type="slidenum">
              <a:rPr lang="en-US" smtClean="0">
                <a:solidFill>
                  <a:prstClr val="white"/>
                </a:solidFill>
              </a:rPr>
              <a:pPr/>
              <a:t>‹#›</a:t>
            </a:fld>
            <a:endParaRPr lang="en-US">
              <a:solidFill>
                <a:prstClr val="white"/>
              </a:solidFill>
            </a:endParaRPr>
          </a:p>
        </p:txBody>
      </p:sp>
      <p:sp>
        <p:nvSpPr>
          <p:cNvPr id="6" name="Rectangle 6"/>
          <p:cNvSpPr txBox="1">
            <a:spLocks noChangeArrowheads="1"/>
          </p:cNvSpPr>
          <p:nvPr userDrawn="1"/>
        </p:nvSpPr>
        <p:spPr>
          <a:xfrm>
            <a:off x="6705600" y="4919664"/>
            <a:ext cx="2133600" cy="273844"/>
          </a:xfrm>
          <a:prstGeom prst="rect">
            <a:avLst/>
          </a:prstGeom>
          <a:ln/>
        </p:spPr>
        <p:txBody>
          <a:bodyPr/>
          <a:lstStyle>
            <a:lvl1pPr>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5E1DA084-CB5F-4A48-AAC8-22088C4791EB}" type="slidenum">
              <a:rPr kumimoji="0" lang="en-US" sz="1400" b="1" i="0" u="none" strike="noStrike" kern="1200" cap="none" spc="0" normalizeH="0" baseline="0" noProof="0" smtClean="0">
                <a:ln>
                  <a:noFill/>
                </a:ln>
                <a:solidFill>
                  <a:prstClr val="black">
                    <a:tint val="75000"/>
                  </a:prstClr>
                </a:solidFill>
                <a:effectLst/>
                <a:uLnTx/>
                <a:uFillTx/>
                <a:latin typeface="+mn-lt"/>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th-TH" sz="1400" b="1" i="0" u="none" strike="noStrike" kern="1200" cap="none" spc="0" normalizeH="0" baseline="0" noProof="0">
              <a:ln>
                <a:noFill/>
              </a:ln>
              <a:solidFill>
                <a:prstClr val="black">
                  <a:tint val="75000"/>
                </a:prstClr>
              </a:solidFill>
              <a:effectLst/>
              <a:uLnTx/>
              <a:uFillTx/>
              <a:latin typeface="+mn-lt"/>
              <a:ea typeface="+mn-ea"/>
              <a:cs typeface="+mn-cs"/>
            </a:endParaRPr>
          </a:p>
        </p:txBody>
      </p:sp>
    </p:spTree>
    <p:extLst>
      <p:ext uri="{BB962C8B-B14F-4D97-AF65-F5344CB8AC3E}">
        <p14:creationId xmlns:p14="http://schemas.microsoft.com/office/powerpoint/2010/main" xmlns="" val="4168629503"/>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457200" y="4767264"/>
            <a:ext cx="2133600" cy="273844"/>
          </a:xfrm>
          <a:prstGeom prst="rect">
            <a:avLst/>
          </a:prstGeom>
        </p:spPr>
        <p:txBody>
          <a:bodyPr/>
          <a:lstStyle/>
          <a:p>
            <a:fld id="{0C0E5F9F-101F-48CF-A165-6E952805FB14}" type="datetime1">
              <a:rPr lang="en-US" smtClean="0">
                <a:solidFill>
                  <a:prstClr val="white"/>
                </a:solidFill>
              </a:rPr>
              <a:pPr/>
              <a:t>9/20/2015</a:t>
            </a:fld>
            <a:endParaRPr lang="en-US">
              <a:solidFill>
                <a:prstClr val="white"/>
              </a:solidFill>
            </a:endParaRPr>
          </a:p>
        </p:txBody>
      </p:sp>
      <p:sp>
        <p:nvSpPr>
          <p:cNvPr id="3" name="Footer Placeholder 2"/>
          <p:cNvSpPr>
            <a:spLocks noGrp="1"/>
          </p:cNvSpPr>
          <p:nvPr>
            <p:ph type="ftr" sz="quarter" idx="11"/>
          </p:nvPr>
        </p:nvSpPr>
        <p:spPr>
          <a:xfrm>
            <a:off x="3124200" y="4767264"/>
            <a:ext cx="2895600" cy="273844"/>
          </a:xfrm>
          <a:prstGeom prst="rect">
            <a:avLst/>
          </a:prstGeom>
        </p:spPr>
        <p:txBody>
          <a:bodyPr/>
          <a:lstStyle/>
          <a:p>
            <a:endParaRPr lang="en-US" sz="1800">
              <a:solidFill>
                <a:prstClr val="black"/>
              </a:solidFill>
            </a:endParaRPr>
          </a:p>
        </p:txBody>
      </p:sp>
      <p:sp>
        <p:nvSpPr>
          <p:cNvPr id="4" name="Slide Number Placeholder 3"/>
          <p:cNvSpPr>
            <a:spLocks noGrp="1"/>
          </p:cNvSpPr>
          <p:nvPr>
            <p:ph type="sldNum" sz="quarter" idx="12"/>
          </p:nvPr>
        </p:nvSpPr>
        <p:spPr>
          <a:xfrm>
            <a:off x="6553200" y="4767264"/>
            <a:ext cx="2133600" cy="273844"/>
          </a:xfrm>
          <a:prstGeom prst="rect">
            <a:avLst/>
          </a:prstGeom>
        </p:spPr>
        <p:txBody>
          <a:bodyPr/>
          <a:lstStyle/>
          <a:p>
            <a:fld id="{3149A960-9A85-47C9-BA01-92958F426FBD}" type="slidenum">
              <a:rPr lang="en-US" smtClean="0">
                <a:solidFill>
                  <a:prstClr val="white"/>
                </a:solidFill>
              </a:rPr>
              <a:pPr/>
              <a:t>‹#›</a:t>
            </a:fld>
            <a:endParaRPr lang="en-US">
              <a:solidFill>
                <a:prstClr val="white"/>
              </a:solidFill>
            </a:endParaRPr>
          </a:p>
        </p:txBody>
      </p:sp>
      <p:sp>
        <p:nvSpPr>
          <p:cNvPr id="5" name="Rectangle 6"/>
          <p:cNvSpPr txBox="1">
            <a:spLocks noChangeArrowheads="1"/>
          </p:cNvSpPr>
          <p:nvPr userDrawn="1"/>
        </p:nvSpPr>
        <p:spPr>
          <a:xfrm>
            <a:off x="6705600" y="4919664"/>
            <a:ext cx="2133600" cy="273844"/>
          </a:xfrm>
          <a:prstGeom prst="rect">
            <a:avLst/>
          </a:prstGeom>
          <a:ln/>
        </p:spPr>
        <p:txBody>
          <a:bodyPr/>
          <a:lstStyle>
            <a:lvl1pPr>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5E1DA084-CB5F-4A48-AAC8-22088C4791EB}" type="slidenum">
              <a:rPr kumimoji="0" lang="en-US" sz="1400" b="1" i="0" u="none" strike="noStrike" kern="1200" cap="none" spc="0" normalizeH="0" baseline="0" noProof="0" smtClean="0">
                <a:ln>
                  <a:noFill/>
                </a:ln>
                <a:solidFill>
                  <a:prstClr val="black">
                    <a:tint val="75000"/>
                  </a:prstClr>
                </a:solidFill>
                <a:effectLst/>
                <a:uLnTx/>
                <a:uFillTx/>
                <a:latin typeface="+mn-lt"/>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th-TH" sz="1400" b="1" i="0" u="none" strike="noStrike" kern="1200" cap="none" spc="0" normalizeH="0" baseline="0" noProof="0">
              <a:ln>
                <a:noFill/>
              </a:ln>
              <a:solidFill>
                <a:prstClr val="black">
                  <a:tint val="75000"/>
                </a:prstClr>
              </a:solidFill>
              <a:effectLst/>
              <a:uLnTx/>
              <a:uFillTx/>
              <a:latin typeface="+mn-lt"/>
              <a:ea typeface="+mn-ea"/>
              <a:cs typeface="+mn-cs"/>
            </a:endParaRPr>
          </a:p>
        </p:txBody>
      </p:sp>
    </p:spTree>
    <p:extLst>
      <p:ext uri="{BB962C8B-B14F-4D97-AF65-F5344CB8AC3E}">
        <p14:creationId xmlns:p14="http://schemas.microsoft.com/office/powerpoint/2010/main" xmlns="" val="70240855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2" y="204787"/>
            <a:ext cx="3008313" cy="871538"/>
          </a:xfrm>
        </p:spPr>
        <p:txBody>
          <a:bodyPr anchor="b"/>
          <a:lstStyle>
            <a:lvl1pPr algn="l">
              <a:defRPr sz="2000" b="1"/>
            </a:lvl1pPr>
          </a:lstStyle>
          <a:p>
            <a:r>
              <a:rPr lang="en-US" smtClean="0"/>
              <a:t>Click to edit Master title style</a:t>
            </a:r>
            <a:endParaRPr lang="th-TH"/>
          </a:p>
        </p:txBody>
      </p:sp>
      <p:sp>
        <p:nvSpPr>
          <p:cNvPr id="3" name="Content Placeholder 2"/>
          <p:cNvSpPr>
            <a:spLocks noGrp="1"/>
          </p:cNvSpPr>
          <p:nvPr>
            <p:ph idx="1"/>
          </p:nvPr>
        </p:nvSpPr>
        <p:spPr>
          <a:xfrm>
            <a:off x="3575050" y="204794"/>
            <a:ext cx="5111750" cy="438983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th-TH"/>
          </a:p>
        </p:txBody>
      </p:sp>
      <p:sp>
        <p:nvSpPr>
          <p:cNvPr id="4" name="Text Placeholder 3"/>
          <p:cNvSpPr>
            <a:spLocks noGrp="1"/>
          </p:cNvSpPr>
          <p:nvPr>
            <p:ph type="body" sz="half" idx="2"/>
          </p:nvPr>
        </p:nvSpPr>
        <p:spPr>
          <a:xfrm>
            <a:off x="457202" y="1076328"/>
            <a:ext cx="3008313" cy="3518297"/>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0C0D7A2D-61E2-4066-B0F8-6E75DF3C8829}" type="datetime1">
              <a:rPr lang="th-TH" smtClean="0">
                <a:solidFill>
                  <a:prstClr val="black">
                    <a:tint val="75000"/>
                  </a:prstClr>
                </a:solidFill>
              </a:rPr>
              <a:pPr/>
              <a:t>20/09/58</a:t>
            </a:fld>
            <a:endParaRPr lang="th-TH">
              <a:solidFill>
                <a:prstClr val="black">
                  <a:tint val="75000"/>
                </a:prstClr>
              </a:solidFill>
            </a:endParaRPr>
          </a:p>
        </p:txBody>
      </p:sp>
      <p:sp>
        <p:nvSpPr>
          <p:cNvPr id="6" name="Footer Placeholder 5"/>
          <p:cNvSpPr>
            <a:spLocks noGrp="1"/>
          </p:cNvSpPr>
          <p:nvPr>
            <p:ph type="ftr" sz="quarter" idx="11"/>
          </p:nvPr>
        </p:nvSpPr>
        <p:spPr/>
        <p:txBody>
          <a:bodyPr/>
          <a:lstStyle/>
          <a:p>
            <a:endParaRPr lang="th-TH">
              <a:solidFill>
                <a:prstClr val="black">
                  <a:tint val="75000"/>
                </a:prstClr>
              </a:solidFill>
            </a:endParaRPr>
          </a:p>
        </p:txBody>
      </p:sp>
      <p:sp>
        <p:nvSpPr>
          <p:cNvPr id="7" name="Slide Number Placeholder 6"/>
          <p:cNvSpPr>
            <a:spLocks noGrp="1"/>
          </p:cNvSpPr>
          <p:nvPr>
            <p:ph type="sldNum" sz="quarter" idx="12"/>
          </p:nvPr>
        </p:nvSpPr>
        <p:spPr/>
        <p:txBody>
          <a:bodyPr/>
          <a:lstStyle/>
          <a:p>
            <a:fld id="{50853BB3-C49D-4A79-8049-B0B6C5B1AD9A}" type="slidenum">
              <a:rPr lang="th-TH" smtClean="0">
                <a:solidFill>
                  <a:prstClr val="black">
                    <a:tint val="75000"/>
                  </a:prstClr>
                </a:solidFill>
              </a:rPr>
              <a:pPr/>
              <a:t>‹#›</a:t>
            </a:fld>
            <a:endParaRPr lang="th-TH">
              <a:solidFill>
                <a:prstClr val="black">
                  <a:tint val="75000"/>
                </a:prstClr>
              </a:solidFill>
            </a:endParaRPr>
          </a:p>
        </p:txBody>
      </p:sp>
    </p:spTree>
    <p:extLst>
      <p:ext uri="{BB962C8B-B14F-4D97-AF65-F5344CB8AC3E}">
        <p14:creationId xmlns:p14="http://schemas.microsoft.com/office/powerpoint/2010/main" xmlns="" val="2211333208"/>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2" y="204787"/>
            <a:ext cx="3008313" cy="871538"/>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04791"/>
            <a:ext cx="5111750" cy="438983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2" y="1076328"/>
            <a:ext cx="3008313" cy="3518297"/>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a:xfrm>
            <a:off x="457200" y="4767264"/>
            <a:ext cx="2133600" cy="273844"/>
          </a:xfrm>
          <a:prstGeom prst="rect">
            <a:avLst/>
          </a:prstGeom>
        </p:spPr>
        <p:txBody>
          <a:bodyPr/>
          <a:lstStyle/>
          <a:p>
            <a:fld id="{05990EB8-B1A3-4C00-BDC7-B6BE0989F00F}" type="datetime1">
              <a:rPr lang="en-US" smtClean="0">
                <a:solidFill>
                  <a:prstClr val="white"/>
                </a:solidFill>
              </a:rPr>
              <a:pPr/>
              <a:t>9/20/2015</a:t>
            </a:fld>
            <a:endParaRPr lang="en-US">
              <a:solidFill>
                <a:prstClr val="white"/>
              </a:solidFill>
            </a:endParaRPr>
          </a:p>
        </p:txBody>
      </p:sp>
      <p:sp>
        <p:nvSpPr>
          <p:cNvPr id="6" name="Footer Placeholder 5"/>
          <p:cNvSpPr>
            <a:spLocks noGrp="1"/>
          </p:cNvSpPr>
          <p:nvPr>
            <p:ph type="ftr" sz="quarter" idx="11"/>
          </p:nvPr>
        </p:nvSpPr>
        <p:spPr>
          <a:xfrm>
            <a:off x="3124200" y="4767264"/>
            <a:ext cx="2895600" cy="273844"/>
          </a:xfrm>
          <a:prstGeom prst="rect">
            <a:avLst/>
          </a:prstGeom>
        </p:spPr>
        <p:txBody>
          <a:bodyPr/>
          <a:lstStyle/>
          <a:p>
            <a:endParaRPr lang="en-US" sz="1800">
              <a:solidFill>
                <a:prstClr val="black"/>
              </a:solidFill>
            </a:endParaRPr>
          </a:p>
        </p:txBody>
      </p:sp>
      <p:sp>
        <p:nvSpPr>
          <p:cNvPr id="7" name="Slide Number Placeholder 6"/>
          <p:cNvSpPr>
            <a:spLocks noGrp="1"/>
          </p:cNvSpPr>
          <p:nvPr>
            <p:ph type="sldNum" sz="quarter" idx="12"/>
          </p:nvPr>
        </p:nvSpPr>
        <p:spPr>
          <a:xfrm>
            <a:off x="6553200" y="4767264"/>
            <a:ext cx="2133600" cy="273844"/>
          </a:xfrm>
          <a:prstGeom prst="rect">
            <a:avLst/>
          </a:prstGeom>
        </p:spPr>
        <p:txBody>
          <a:bodyPr/>
          <a:lstStyle/>
          <a:p>
            <a:fld id="{3149A960-9A85-47C9-BA01-92958F426FBD}" type="slidenum">
              <a:rPr lang="en-US" smtClean="0">
                <a:solidFill>
                  <a:prstClr val="white"/>
                </a:solidFill>
              </a:rPr>
              <a:pPr/>
              <a:t>‹#›</a:t>
            </a:fld>
            <a:endParaRPr lang="en-US">
              <a:solidFill>
                <a:prstClr val="white"/>
              </a:solidFill>
            </a:endParaRPr>
          </a:p>
        </p:txBody>
      </p:sp>
      <p:sp>
        <p:nvSpPr>
          <p:cNvPr id="8" name="Rectangle 6"/>
          <p:cNvSpPr txBox="1">
            <a:spLocks noChangeArrowheads="1"/>
          </p:cNvSpPr>
          <p:nvPr userDrawn="1"/>
        </p:nvSpPr>
        <p:spPr>
          <a:xfrm>
            <a:off x="6705600" y="4919664"/>
            <a:ext cx="2133600" cy="273844"/>
          </a:xfrm>
          <a:prstGeom prst="rect">
            <a:avLst/>
          </a:prstGeom>
          <a:ln/>
        </p:spPr>
        <p:txBody>
          <a:bodyPr/>
          <a:lstStyle>
            <a:lvl1pPr>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5E1DA084-CB5F-4A48-AAC8-22088C4791EB}" type="slidenum">
              <a:rPr kumimoji="0" lang="en-US" sz="1400" b="1" i="0" u="none" strike="noStrike" kern="1200" cap="none" spc="0" normalizeH="0" baseline="0" noProof="0" smtClean="0">
                <a:ln>
                  <a:noFill/>
                </a:ln>
                <a:solidFill>
                  <a:prstClr val="black">
                    <a:tint val="75000"/>
                  </a:prstClr>
                </a:solidFill>
                <a:effectLst/>
                <a:uLnTx/>
                <a:uFillTx/>
                <a:latin typeface="+mn-lt"/>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th-TH" sz="1400" b="1" i="0" u="none" strike="noStrike" kern="1200" cap="none" spc="0" normalizeH="0" baseline="0" noProof="0">
              <a:ln>
                <a:noFill/>
              </a:ln>
              <a:solidFill>
                <a:prstClr val="black">
                  <a:tint val="75000"/>
                </a:prstClr>
              </a:solidFill>
              <a:effectLst/>
              <a:uLnTx/>
              <a:uFillTx/>
              <a:latin typeface="+mn-lt"/>
              <a:ea typeface="+mn-ea"/>
              <a:cs typeface="+mn-cs"/>
            </a:endParaRPr>
          </a:p>
        </p:txBody>
      </p:sp>
    </p:spTree>
    <p:extLst>
      <p:ext uri="{BB962C8B-B14F-4D97-AF65-F5344CB8AC3E}">
        <p14:creationId xmlns:p14="http://schemas.microsoft.com/office/powerpoint/2010/main" xmlns="" val="155347097"/>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3600451"/>
            <a:ext cx="5486400" cy="425054"/>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459581"/>
            <a:ext cx="5486400" cy="30861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1792288" y="4025506"/>
            <a:ext cx="5486400" cy="603647"/>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a:xfrm>
            <a:off x="457200" y="4767264"/>
            <a:ext cx="2133600" cy="273844"/>
          </a:xfrm>
          <a:prstGeom prst="rect">
            <a:avLst/>
          </a:prstGeom>
        </p:spPr>
        <p:txBody>
          <a:bodyPr/>
          <a:lstStyle/>
          <a:p>
            <a:fld id="{470F26DF-D56D-4D4D-8D27-5713B08AC9B0}" type="datetime1">
              <a:rPr lang="en-US" smtClean="0">
                <a:solidFill>
                  <a:prstClr val="white"/>
                </a:solidFill>
              </a:rPr>
              <a:pPr/>
              <a:t>9/20/2015</a:t>
            </a:fld>
            <a:endParaRPr lang="en-US">
              <a:solidFill>
                <a:prstClr val="white"/>
              </a:solidFill>
            </a:endParaRPr>
          </a:p>
        </p:txBody>
      </p:sp>
      <p:sp>
        <p:nvSpPr>
          <p:cNvPr id="6" name="Footer Placeholder 5"/>
          <p:cNvSpPr>
            <a:spLocks noGrp="1"/>
          </p:cNvSpPr>
          <p:nvPr>
            <p:ph type="ftr" sz="quarter" idx="11"/>
          </p:nvPr>
        </p:nvSpPr>
        <p:spPr>
          <a:xfrm>
            <a:off x="3124200" y="4767264"/>
            <a:ext cx="2895600" cy="273844"/>
          </a:xfrm>
          <a:prstGeom prst="rect">
            <a:avLst/>
          </a:prstGeom>
        </p:spPr>
        <p:txBody>
          <a:bodyPr/>
          <a:lstStyle/>
          <a:p>
            <a:endParaRPr lang="en-US" sz="1800">
              <a:solidFill>
                <a:prstClr val="black"/>
              </a:solidFill>
            </a:endParaRPr>
          </a:p>
        </p:txBody>
      </p:sp>
      <p:sp>
        <p:nvSpPr>
          <p:cNvPr id="7" name="Slide Number Placeholder 6"/>
          <p:cNvSpPr>
            <a:spLocks noGrp="1"/>
          </p:cNvSpPr>
          <p:nvPr>
            <p:ph type="sldNum" sz="quarter" idx="12"/>
          </p:nvPr>
        </p:nvSpPr>
        <p:spPr>
          <a:xfrm>
            <a:off x="6553200" y="4767264"/>
            <a:ext cx="2133600" cy="273844"/>
          </a:xfrm>
          <a:prstGeom prst="rect">
            <a:avLst/>
          </a:prstGeom>
        </p:spPr>
        <p:txBody>
          <a:bodyPr/>
          <a:lstStyle/>
          <a:p>
            <a:fld id="{3149A960-9A85-47C9-BA01-92958F426FBD}" type="slidenum">
              <a:rPr lang="en-US" smtClean="0">
                <a:solidFill>
                  <a:prstClr val="white"/>
                </a:solidFill>
              </a:rPr>
              <a:pPr/>
              <a:t>‹#›</a:t>
            </a:fld>
            <a:endParaRPr lang="en-US">
              <a:solidFill>
                <a:prstClr val="white"/>
              </a:solidFill>
            </a:endParaRPr>
          </a:p>
        </p:txBody>
      </p:sp>
      <p:sp>
        <p:nvSpPr>
          <p:cNvPr id="8" name="Rectangle 6"/>
          <p:cNvSpPr txBox="1">
            <a:spLocks noChangeArrowheads="1"/>
          </p:cNvSpPr>
          <p:nvPr userDrawn="1"/>
        </p:nvSpPr>
        <p:spPr>
          <a:xfrm>
            <a:off x="6705600" y="4919664"/>
            <a:ext cx="2133600" cy="273844"/>
          </a:xfrm>
          <a:prstGeom prst="rect">
            <a:avLst/>
          </a:prstGeom>
          <a:ln/>
        </p:spPr>
        <p:txBody>
          <a:bodyPr/>
          <a:lstStyle>
            <a:lvl1pPr>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5E1DA084-CB5F-4A48-AAC8-22088C4791EB}" type="slidenum">
              <a:rPr kumimoji="0" lang="en-US" sz="1400" b="1" i="0" u="none" strike="noStrike" kern="1200" cap="none" spc="0" normalizeH="0" baseline="0" noProof="0" smtClean="0">
                <a:ln>
                  <a:noFill/>
                </a:ln>
                <a:solidFill>
                  <a:prstClr val="black">
                    <a:tint val="75000"/>
                  </a:prstClr>
                </a:solidFill>
                <a:effectLst/>
                <a:uLnTx/>
                <a:uFillTx/>
                <a:latin typeface="+mn-lt"/>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th-TH" sz="1400" b="1" i="0" u="none" strike="noStrike" kern="1200" cap="none" spc="0" normalizeH="0" baseline="0" noProof="0">
              <a:ln>
                <a:noFill/>
              </a:ln>
              <a:solidFill>
                <a:prstClr val="black">
                  <a:tint val="75000"/>
                </a:prstClr>
              </a:solidFill>
              <a:effectLst/>
              <a:uLnTx/>
              <a:uFillTx/>
              <a:latin typeface="+mn-lt"/>
              <a:ea typeface="+mn-ea"/>
              <a:cs typeface="+mn-cs"/>
            </a:endParaRPr>
          </a:p>
        </p:txBody>
      </p:sp>
    </p:spTree>
    <p:extLst>
      <p:ext uri="{BB962C8B-B14F-4D97-AF65-F5344CB8AC3E}">
        <p14:creationId xmlns:p14="http://schemas.microsoft.com/office/powerpoint/2010/main" xmlns="" val="3746387294"/>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457200" y="4767264"/>
            <a:ext cx="2133600" cy="273844"/>
          </a:xfrm>
          <a:prstGeom prst="rect">
            <a:avLst/>
          </a:prstGeom>
        </p:spPr>
        <p:txBody>
          <a:bodyPr/>
          <a:lstStyle/>
          <a:p>
            <a:fld id="{6528CCBA-055F-44B4-B9C8-3EC8BFB52C37}" type="datetime1">
              <a:rPr lang="en-US" smtClean="0">
                <a:solidFill>
                  <a:prstClr val="white"/>
                </a:solidFill>
              </a:rPr>
              <a:pPr/>
              <a:t>9/20/2015</a:t>
            </a:fld>
            <a:endParaRPr lang="en-US">
              <a:solidFill>
                <a:prstClr val="white"/>
              </a:solidFill>
            </a:endParaRPr>
          </a:p>
        </p:txBody>
      </p:sp>
      <p:sp>
        <p:nvSpPr>
          <p:cNvPr id="5" name="Footer Placeholder 4"/>
          <p:cNvSpPr>
            <a:spLocks noGrp="1"/>
          </p:cNvSpPr>
          <p:nvPr>
            <p:ph type="ftr" sz="quarter" idx="11"/>
          </p:nvPr>
        </p:nvSpPr>
        <p:spPr>
          <a:xfrm>
            <a:off x="3124200" y="4767264"/>
            <a:ext cx="2895600" cy="273844"/>
          </a:xfrm>
          <a:prstGeom prst="rect">
            <a:avLst/>
          </a:prstGeom>
        </p:spPr>
        <p:txBody>
          <a:bodyPr/>
          <a:lstStyle/>
          <a:p>
            <a:endParaRPr lang="en-US" sz="1800">
              <a:solidFill>
                <a:prstClr val="black"/>
              </a:solidFill>
            </a:endParaRPr>
          </a:p>
        </p:txBody>
      </p:sp>
      <p:sp>
        <p:nvSpPr>
          <p:cNvPr id="6" name="Slide Number Placeholder 5"/>
          <p:cNvSpPr>
            <a:spLocks noGrp="1"/>
          </p:cNvSpPr>
          <p:nvPr>
            <p:ph type="sldNum" sz="quarter" idx="12"/>
          </p:nvPr>
        </p:nvSpPr>
        <p:spPr>
          <a:xfrm>
            <a:off x="6553200" y="4767264"/>
            <a:ext cx="2133600" cy="273844"/>
          </a:xfrm>
          <a:prstGeom prst="rect">
            <a:avLst/>
          </a:prstGeom>
        </p:spPr>
        <p:txBody>
          <a:bodyPr/>
          <a:lstStyle/>
          <a:p>
            <a:fld id="{3149A960-9A85-47C9-BA01-92958F426FBD}" type="slidenum">
              <a:rPr lang="en-US" smtClean="0">
                <a:solidFill>
                  <a:prstClr val="white"/>
                </a:solidFill>
              </a:rPr>
              <a:pPr/>
              <a:t>‹#›</a:t>
            </a:fld>
            <a:endParaRPr lang="en-US">
              <a:solidFill>
                <a:prstClr val="white"/>
              </a:solidFill>
            </a:endParaRPr>
          </a:p>
        </p:txBody>
      </p:sp>
      <p:sp>
        <p:nvSpPr>
          <p:cNvPr id="7" name="Rectangle 6"/>
          <p:cNvSpPr txBox="1">
            <a:spLocks noChangeArrowheads="1"/>
          </p:cNvSpPr>
          <p:nvPr userDrawn="1"/>
        </p:nvSpPr>
        <p:spPr>
          <a:xfrm>
            <a:off x="6705600" y="4919664"/>
            <a:ext cx="2133600" cy="273844"/>
          </a:xfrm>
          <a:prstGeom prst="rect">
            <a:avLst/>
          </a:prstGeom>
          <a:ln/>
        </p:spPr>
        <p:txBody>
          <a:bodyPr/>
          <a:lstStyle>
            <a:lvl1pPr>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5E1DA084-CB5F-4A48-AAC8-22088C4791EB}" type="slidenum">
              <a:rPr kumimoji="0" lang="en-US" sz="1400" b="1" i="0" u="none" strike="noStrike" kern="1200" cap="none" spc="0" normalizeH="0" baseline="0" noProof="0" smtClean="0">
                <a:ln>
                  <a:noFill/>
                </a:ln>
                <a:solidFill>
                  <a:prstClr val="black">
                    <a:tint val="75000"/>
                  </a:prstClr>
                </a:solidFill>
                <a:effectLst/>
                <a:uLnTx/>
                <a:uFillTx/>
                <a:latin typeface="+mn-lt"/>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th-TH" sz="1400" b="1" i="0" u="none" strike="noStrike" kern="1200" cap="none" spc="0" normalizeH="0" baseline="0" noProof="0">
              <a:ln>
                <a:noFill/>
              </a:ln>
              <a:solidFill>
                <a:prstClr val="black">
                  <a:tint val="75000"/>
                </a:prstClr>
              </a:solidFill>
              <a:effectLst/>
              <a:uLnTx/>
              <a:uFillTx/>
              <a:latin typeface="+mn-lt"/>
              <a:ea typeface="+mn-ea"/>
              <a:cs typeface="+mn-cs"/>
            </a:endParaRPr>
          </a:p>
        </p:txBody>
      </p:sp>
    </p:spTree>
    <p:extLst>
      <p:ext uri="{BB962C8B-B14F-4D97-AF65-F5344CB8AC3E}">
        <p14:creationId xmlns:p14="http://schemas.microsoft.com/office/powerpoint/2010/main" xmlns="" val="3441278767"/>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05979"/>
            <a:ext cx="2057400" cy="4388644"/>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205979"/>
            <a:ext cx="6019800" cy="4388644"/>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457200" y="4767264"/>
            <a:ext cx="2133600" cy="273844"/>
          </a:xfrm>
          <a:prstGeom prst="rect">
            <a:avLst/>
          </a:prstGeom>
        </p:spPr>
        <p:txBody>
          <a:bodyPr/>
          <a:lstStyle/>
          <a:p>
            <a:fld id="{8A5D13E5-7B61-435F-9364-75F59D635904}" type="datetime1">
              <a:rPr lang="en-US" smtClean="0">
                <a:solidFill>
                  <a:prstClr val="white"/>
                </a:solidFill>
              </a:rPr>
              <a:pPr/>
              <a:t>9/20/2015</a:t>
            </a:fld>
            <a:endParaRPr lang="en-US">
              <a:solidFill>
                <a:prstClr val="white"/>
              </a:solidFill>
            </a:endParaRPr>
          </a:p>
        </p:txBody>
      </p:sp>
      <p:sp>
        <p:nvSpPr>
          <p:cNvPr id="5" name="Footer Placeholder 4"/>
          <p:cNvSpPr>
            <a:spLocks noGrp="1"/>
          </p:cNvSpPr>
          <p:nvPr>
            <p:ph type="ftr" sz="quarter" idx="11"/>
          </p:nvPr>
        </p:nvSpPr>
        <p:spPr>
          <a:xfrm>
            <a:off x="3124200" y="4767264"/>
            <a:ext cx="2895600" cy="273844"/>
          </a:xfrm>
          <a:prstGeom prst="rect">
            <a:avLst/>
          </a:prstGeom>
        </p:spPr>
        <p:txBody>
          <a:bodyPr/>
          <a:lstStyle/>
          <a:p>
            <a:endParaRPr lang="en-US" sz="1800">
              <a:solidFill>
                <a:prstClr val="black"/>
              </a:solidFill>
            </a:endParaRPr>
          </a:p>
        </p:txBody>
      </p:sp>
      <p:sp>
        <p:nvSpPr>
          <p:cNvPr id="6" name="Slide Number Placeholder 5"/>
          <p:cNvSpPr>
            <a:spLocks noGrp="1"/>
          </p:cNvSpPr>
          <p:nvPr>
            <p:ph type="sldNum" sz="quarter" idx="12"/>
          </p:nvPr>
        </p:nvSpPr>
        <p:spPr>
          <a:xfrm>
            <a:off x="6643702" y="4714890"/>
            <a:ext cx="2133600" cy="273844"/>
          </a:xfrm>
          <a:prstGeom prst="rect">
            <a:avLst/>
          </a:prstGeom>
        </p:spPr>
        <p:txBody>
          <a:bodyPr/>
          <a:lstStyle/>
          <a:p>
            <a:fld id="{3149A960-9A85-47C9-BA01-92958F426FBD}" type="slidenum">
              <a:rPr lang="en-US" smtClean="0">
                <a:solidFill>
                  <a:prstClr val="white"/>
                </a:solidFill>
              </a:rPr>
              <a:pPr/>
              <a:t>‹#›</a:t>
            </a:fld>
            <a:endParaRPr lang="en-US" dirty="0">
              <a:solidFill>
                <a:prstClr val="white"/>
              </a:solidFill>
            </a:endParaRPr>
          </a:p>
        </p:txBody>
      </p:sp>
      <p:sp>
        <p:nvSpPr>
          <p:cNvPr id="7" name="Rectangle 6"/>
          <p:cNvSpPr txBox="1">
            <a:spLocks noChangeArrowheads="1"/>
          </p:cNvSpPr>
          <p:nvPr userDrawn="1"/>
        </p:nvSpPr>
        <p:spPr>
          <a:xfrm>
            <a:off x="6705600" y="4919664"/>
            <a:ext cx="2133600" cy="273844"/>
          </a:xfrm>
          <a:prstGeom prst="rect">
            <a:avLst/>
          </a:prstGeom>
          <a:ln/>
        </p:spPr>
        <p:txBody>
          <a:bodyPr/>
          <a:lstStyle>
            <a:lvl1pPr>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5E1DA084-CB5F-4A48-AAC8-22088C4791EB}" type="slidenum">
              <a:rPr kumimoji="0" lang="en-US" sz="1400" b="1" i="0" u="none" strike="noStrike" kern="1200" cap="none" spc="0" normalizeH="0" baseline="0" noProof="0" smtClean="0">
                <a:ln>
                  <a:noFill/>
                </a:ln>
                <a:solidFill>
                  <a:prstClr val="black">
                    <a:tint val="75000"/>
                  </a:prstClr>
                </a:solidFill>
                <a:effectLst/>
                <a:uLnTx/>
                <a:uFillTx/>
                <a:latin typeface="+mn-lt"/>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th-TH" sz="1400" b="1" i="0" u="none" strike="noStrike" kern="1200" cap="none" spc="0" normalizeH="0" baseline="0" noProof="0">
              <a:ln>
                <a:noFill/>
              </a:ln>
              <a:solidFill>
                <a:prstClr val="black">
                  <a:tint val="75000"/>
                </a:prstClr>
              </a:solidFill>
              <a:effectLst/>
              <a:uLnTx/>
              <a:uFillTx/>
              <a:latin typeface="+mn-lt"/>
              <a:ea typeface="+mn-ea"/>
              <a:cs typeface="+mn-cs"/>
            </a:endParaRPr>
          </a:p>
        </p:txBody>
      </p:sp>
    </p:spTree>
    <p:extLst>
      <p:ext uri="{BB962C8B-B14F-4D97-AF65-F5344CB8AC3E}">
        <p14:creationId xmlns:p14="http://schemas.microsoft.com/office/powerpoint/2010/main" xmlns="" val="242623081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3600451"/>
            <a:ext cx="5486400" cy="425054"/>
          </a:xfrm>
        </p:spPr>
        <p:txBody>
          <a:bodyPr anchor="b"/>
          <a:lstStyle>
            <a:lvl1pPr algn="l">
              <a:defRPr sz="2000" b="1"/>
            </a:lvl1pPr>
          </a:lstStyle>
          <a:p>
            <a:r>
              <a:rPr lang="en-US" smtClean="0"/>
              <a:t>Click to edit Master title style</a:t>
            </a:r>
            <a:endParaRPr lang="th-TH"/>
          </a:p>
        </p:txBody>
      </p:sp>
      <p:sp>
        <p:nvSpPr>
          <p:cNvPr id="3" name="Picture Placeholder 2"/>
          <p:cNvSpPr>
            <a:spLocks noGrp="1"/>
          </p:cNvSpPr>
          <p:nvPr>
            <p:ph type="pic" idx="1"/>
          </p:nvPr>
        </p:nvSpPr>
        <p:spPr>
          <a:xfrm>
            <a:off x="1792288" y="459581"/>
            <a:ext cx="5486400" cy="30861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th-TH"/>
          </a:p>
        </p:txBody>
      </p:sp>
      <p:sp>
        <p:nvSpPr>
          <p:cNvPr id="4" name="Text Placeholder 3"/>
          <p:cNvSpPr>
            <a:spLocks noGrp="1"/>
          </p:cNvSpPr>
          <p:nvPr>
            <p:ph type="body" sz="half" idx="2"/>
          </p:nvPr>
        </p:nvSpPr>
        <p:spPr>
          <a:xfrm>
            <a:off x="1792288" y="4025550"/>
            <a:ext cx="5486400" cy="603647"/>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BD6D3670-35A9-4133-8C16-119A23F37F29}" type="datetime1">
              <a:rPr lang="th-TH" smtClean="0">
                <a:solidFill>
                  <a:prstClr val="black">
                    <a:tint val="75000"/>
                  </a:prstClr>
                </a:solidFill>
              </a:rPr>
              <a:pPr/>
              <a:t>20/09/58</a:t>
            </a:fld>
            <a:endParaRPr lang="th-TH">
              <a:solidFill>
                <a:prstClr val="black">
                  <a:tint val="75000"/>
                </a:prstClr>
              </a:solidFill>
            </a:endParaRPr>
          </a:p>
        </p:txBody>
      </p:sp>
      <p:sp>
        <p:nvSpPr>
          <p:cNvPr id="6" name="Footer Placeholder 5"/>
          <p:cNvSpPr>
            <a:spLocks noGrp="1"/>
          </p:cNvSpPr>
          <p:nvPr>
            <p:ph type="ftr" sz="quarter" idx="11"/>
          </p:nvPr>
        </p:nvSpPr>
        <p:spPr/>
        <p:txBody>
          <a:bodyPr/>
          <a:lstStyle/>
          <a:p>
            <a:endParaRPr lang="th-TH">
              <a:solidFill>
                <a:prstClr val="black">
                  <a:tint val="75000"/>
                </a:prstClr>
              </a:solidFill>
            </a:endParaRPr>
          </a:p>
        </p:txBody>
      </p:sp>
      <p:sp>
        <p:nvSpPr>
          <p:cNvPr id="7" name="Slide Number Placeholder 6"/>
          <p:cNvSpPr>
            <a:spLocks noGrp="1"/>
          </p:cNvSpPr>
          <p:nvPr>
            <p:ph type="sldNum" sz="quarter" idx="12"/>
          </p:nvPr>
        </p:nvSpPr>
        <p:spPr/>
        <p:txBody>
          <a:bodyPr/>
          <a:lstStyle/>
          <a:p>
            <a:fld id="{50853BB3-C49D-4A79-8049-B0B6C5B1AD9A}" type="slidenum">
              <a:rPr lang="th-TH" smtClean="0">
                <a:solidFill>
                  <a:prstClr val="black">
                    <a:tint val="75000"/>
                  </a:prstClr>
                </a:solidFill>
              </a:rPr>
              <a:pPr/>
              <a:t>‹#›</a:t>
            </a:fld>
            <a:endParaRPr lang="th-TH">
              <a:solidFill>
                <a:prstClr val="black">
                  <a:tint val="75000"/>
                </a:prstClr>
              </a:solidFill>
            </a:endParaRPr>
          </a:p>
        </p:txBody>
      </p:sp>
    </p:spTree>
    <p:extLst>
      <p:ext uri="{BB962C8B-B14F-4D97-AF65-F5344CB8AC3E}">
        <p14:creationId xmlns:p14="http://schemas.microsoft.com/office/powerpoint/2010/main" xmlns="" val="112332327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7.xml"/><Relationship Id="rId13" Type="http://schemas.openxmlformats.org/officeDocument/2006/relationships/slideLayout" Target="../slideLayouts/slideLayout32.xml"/><Relationship Id="rId18" Type="http://schemas.openxmlformats.org/officeDocument/2006/relationships/slideLayout" Target="../slideLayouts/slideLayout37.xml"/><Relationship Id="rId3" Type="http://schemas.openxmlformats.org/officeDocument/2006/relationships/slideLayout" Target="../slideLayouts/slideLayout22.xml"/><Relationship Id="rId21" Type="http://schemas.openxmlformats.org/officeDocument/2006/relationships/slideLayout" Target="../slideLayouts/slideLayout40.xml"/><Relationship Id="rId7" Type="http://schemas.openxmlformats.org/officeDocument/2006/relationships/slideLayout" Target="../slideLayouts/slideLayout26.xml"/><Relationship Id="rId12" Type="http://schemas.openxmlformats.org/officeDocument/2006/relationships/slideLayout" Target="../slideLayouts/slideLayout31.xml"/><Relationship Id="rId17" Type="http://schemas.openxmlformats.org/officeDocument/2006/relationships/slideLayout" Target="../slideLayouts/slideLayout36.xml"/><Relationship Id="rId25" Type="http://schemas.openxmlformats.org/officeDocument/2006/relationships/theme" Target="../theme/theme2.xml"/><Relationship Id="rId2" Type="http://schemas.openxmlformats.org/officeDocument/2006/relationships/slideLayout" Target="../slideLayouts/slideLayout21.xml"/><Relationship Id="rId16" Type="http://schemas.openxmlformats.org/officeDocument/2006/relationships/slideLayout" Target="../slideLayouts/slideLayout35.xml"/><Relationship Id="rId20" Type="http://schemas.openxmlformats.org/officeDocument/2006/relationships/slideLayout" Target="../slideLayouts/slideLayout39.xml"/><Relationship Id="rId1" Type="http://schemas.openxmlformats.org/officeDocument/2006/relationships/slideLayout" Target="../slideLayouts/slideLayout20.xml"/><Relationship Id="rId6" Type="http://schemas.openxmlformats.org/officeDocument/2006/relationships/slideLayout" Target="../slideLayouts/slideLayout25.xml"/><Relationship Id="rId11" Type="http://schemas.openxmlformats.org/officeDocument/2006/relationships/slideLayout" Target="../slideLayouts/slideLayout30.xml"/><Relationship Id="rId24" Type="http://schemas.openxmlformats.org/officeDocument/2006/relationships/slideLayout" Target="../slideLayouts/slideLayout43.xml"/><Relationship Id="rId5" Type="http://schemas.openxmlformats.org/officeDocument/2006/relationships/slideLayout" Target="../slideLayouts/slideLayout24.xml"/><Relationship Id="rId15" Type="http://schemas.openxmlformats.org/officeDocument/2006/relationships/slideLayout" Target="../slideLayouts/slideLayout34.xml"/><Relationship Id="rId23" Type="http://schemas.openxmlformats.org/officeDocument/2006/relationships/slideLayout" Target="../slideLayouts/slideLayout42.xml"/><Relationship Id="rId10" Type="http://schemas.openxmlformats.org/officeDocument/2006/relationships/slideLayout" Target="../slideLayouts/slideLayout29.xml"/><Relationship Id="rId19" Type="http://schemas.openxmlformats.org/officeDocument/2006/relationships/slideLayout" Target="../slideLayouts/slideLayout38.xml"/><Relationship Id="rId4" Type="http://schemas.openxmlformats.org/officeDocument/2006/relationships/slideLayout" Target="../slideLayouts/slideLayout23.xml"/><Relationship Id="rId9" Type="http://schemas.openxmlformats.org/officeDocument/2006/relationships/slideLayout" Target="../slideLayouts/slideLayout28.xml"/><Relationship Id="rId14" Type="http://schemas.openxmlformats.org/officeDocument/2006/relationships/slideLayout" Target="../slideLayouts/slideLayout33.xml"/><Relationship Id="rId22" Type="http://schemas.openxmlformats.org/officeDocument/2006/relationships/slideLayout" Target="../slideLayouts/slideLayout41.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1.xml"/><Relationship Id="rId13" Type="http://schemas.openxmlformats.org/officeDocument/2006/relationships/tags" Target="../tags/tag1.xml"/><Relationship Id="rId3" Type="http://schemas.openxmlformats.org/officeDocument/2006/relationships/slideLayout" Target="../slideLayouts/slideLayout46.xml"/><Relationship Id="rId7" Type="http://schemas.openxmlformats.org/officeDocument/2006/relationships/slideLayout" Target="../slideLayouts/slideLayout50.xml"/><Relationship Id="rId12" Type="http://schemas.openxmlformats.org/officeDocument/2006/relationships/vmlDrawing" Target="../drawings/vmlDrawing1.vml"/><Relationship Id="rId2" Type="http://schemas.openxmlformats.org/officeDocument/2006/relationships/slideLayout" Target="../slideLayouts/slideLayout45.xml"/><Relationship Id="rId1" Type="http://schemas.openxmlformats.org/officeDocument/2006/relationships/slideLayout" Target="../slideLayouts/slideLayout44.xml"/><Relationship Id="rId6" Type="http://schemas.openxmlformats.org/officeDocument/2006/relationships/slideLayout" Target="../slideLayouts/slideLayout49.xml"/><Relationship Id="rId11" Type="http://schemas.openxmlformats.org/officeDocument/2006/relationships/theme" Target="../theme/theme3.xml"/><Relationship Id="rId5" Type="http://schemas.openxmlformats.org/officeDocument/2006/relationships/slideLayout" Target="../slideLayouts/slideLayout48.xml"/><Relationship Id="rId10" Type="http://schemas.openxmlformats.org/officeDocument/2006/relationships/slideLayout" Target="../slideLayouts/slideLayout53.xml"/><Relationship Id="rId4" Type="http://schemas.openxmlformats.org/officeDocument/2006/relationships/slideLayout" Target="../slideLayouts/slideLayout47.xml"/><Relationship Id="rId9" Type="http://schemas.openxmlformats.org/officeDocument/2006/relationships/slideLayout" Target="../slideLayouts/slideLayout52.xml"/><Relationship Id="rId14" Type="http://schemas.openxmlformats.org/officeDocument/2006/relationships/oleObject" Target="../embeddings/oleObject1.bin"/></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61.xml"/><Relationship Id="rId13" Type="http://schemas.openxmlformats.org/officeDocument/2006/relationships/tags" Target="../tags/tag30.xml"/><Relationship Id="rId3" Type="http://schemas.openxmlformats.org/officeDocument/2006/relationships/slideLayout" Target="../slideLayouts/slideLayout56.xml"/><Relationship Id="rId7" Type="http://schemas.openxmlformats.org/officeDocument/2006/relationships/slideLayout" Target="../slideLayouts/slideLayout60.xml"/><Relationship Id="rId12" Type="http://schemas.openxmlformats.org/officeDocument/2006/relationships/vmlDrawing" Target="../drawings/vmlDrawing3.vml"/><Relationship Id="rId2" Type="http://schemas.openxmlformats.org/officeDocument/2006/relationships/slideLayout" Target="../slideLayouts/slideLayout55.xml"/><Relationship Id="rId1" Type="http://schemas.openxmlformats.org/officeDocument/2006/relationships/slideLayout" Target="../slideLayouts/slideLayout54.xml"/><Relationship Id="rId6" Type="http://schemas.openxmlformats.org/officeDocument/2006/relationships/slideLayout" Target="../slideLayouts/slideLayout59.xml"/><Relationship Id="rId11" Type="http://schemas.openxmlformats.org/officeDocument/2006/relationships/theme" Target="../theme/theme4.xml"/><Relationship Id="rId5" Type="http://schemas.openxmlformats.org/officeDocument/2006/relationships/slideLayout" Target="../slideLayouts/slideLayout58.xml"/><Relationship Id="rId10" Type="http://schemas.openxmlformats.org/officeDocument/2006/relationships/slideLayout" Target="../slideLayouts/slideLayout63.xml"/><Relationship Id="rId4" Type="http://schemas.openxmlformats.org/officeDocument/2006/relationships/slideLayout" Target="../slideLayouts/slideLayout57.xml"/><Relationship Id="rId9" Type="http://schemas.openxmlformats.org/officeDocument/2006/relationships/slideLayout" Target="../slideLayouts/slideLayout62.xml"/><Relationship Id="rId14" Type="http://schemas.openxmlformats.org/officeDocument/2006/relationships/oleObject" Target="../embeddings/oleObject3.bin"/></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71.xml"/><Relationship Id="rId13" Type="http://schemas.openxmlformats.org/officeDocument/2006/relationships/oleObject" Target="../embeddings/oleObject5.bin"/><Relationship Id="rId3" Type="http://schemas.openxmlformats.org/officeDocument/2006/relationships/slideLayout" Target="../slideLayouts/slideLayout66.xml"/><Relationship Id="rId7" Type="http://schemas.openxmlformats.org/officeDocument/2006/relationships/slideLayout" Target="../slideLayouts/slideLayout70.xml"/><Relationship Id="rId12" Type="http://schemas.openxmlformats.org/officeDocument/2006/relationships/tags" Target="../tags/tag59.xml"/><Relationship Id="rId2" Type="http://schemas.openxmlformats.org/officeDocument/2006/relationships/slideLayout" Target="../slideLayouts/slideLayout65.xml"/><Relationship Id="rId1" Type="http://schemas.openxmlformats.org/officeDocument/2006/relationships/slideLayout" Target="../slideLayouts/slideLayout64.xml"/><Relationship Id="rId6" Type="http://schemas.openxmlformats.org/officeDocument/2006/relationships/slideLayout" Target="../slideLayouts/slideLayout69.xml"/><Relationship Id="rId11" Type="http://schemas.openxmlformats.org/officeDocument/2006/relationships/vmlDrawing" Target="../drawings/vmlDrawing5.vml"/><Relationship Id="rId5" Type="http://schemas.openxmlformats.org/officeDocument/2006/relationships/slideLayout" Target="../slideLayouts/slideLayout68.xml"/><Relationship Id="rId10" Type="http://schemas.openxmlformats.org/officeDocument/2006/relationships/theme" Target="../theme/theme5.xml"/><Relationship Id="rId4" Type="http://schemas.openxmlformats.org/officeDocument/2006/relationships/slideLayout" Target="../slideLayouts/slideLayout67.xml"/><Relationship Id="rId9" Type="http://schemas.openxmlformats.org/officeDocument/2006/relationships/slideLayout" Target="../slideLayouts/slideLayout72.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80.xml"/><Relationship Id="rId3" Type="http://schemas.openxmlformats.org/officeDocument/2006/relationships/slideLayout" Target="../slideLayouts/slideLayout75.xml"/><Relationship Id="rId7" Type="http://schemas.openxmlformats.org/officeDocument/2006/relationships/slideLayout" Target="../slideLayouts/slideLayout79.xml"/><Relationship Id="rId12" Type="http://schemas.openxmlformats.org/officeDocument/2006/relationships/theme" Target="../theme/theme6.xml"/><Relationship Id="rId2" Type="http://schemas.openxmlformats.org/officeDocument/2006/relationships/slideLayout" Target="../slideLayouts/slideLayout74.xml"/><Relationship Id="rId1" Type="http://schemas.openxmlformats.org/officeDocument/2006/relationships/slideLayout" Target="../slideLayouts/slideLayout73.xml"/><Relationship Id="rId6" Type="http://schemas.openxmlformats.org/officeDocument/2006/relationships/slideLayout" Target="../slideLayouts/slideLayout78.xml"/><Relationship Id="rId11" Type="http://schemas.openxmlformats.org/officeDocument/2006/relationships/slideLayout" Target="../slideLayouts/slideLayout83.xml"/><Relationship Id="rId5" Type="http://schemas.openxmlformats.org/officeDocument/2006/relationships/slideLayout" Target="../slideLayouts/slideLayout77.xml"/><Relationship Id="rId10" Type="http://schemas.openxmlformats.org/officeDocument/2006/relationships/slideLayout" Target="../slideLayouts/slideLayout82.xml"/><Relationship Id="rId4" Type="http://schemas.openxmlformats.org/officeDocument/2006/relationships/slideLayout" Target="../slideLayouts/slideLayout76.xml"/><Relationship Id="rId9" Type="http://schemas.openxmlformats.org/officeDocument/2006/relationships/slideLayout" Target="../slideLayouts/slideLayout8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05978"/>
            <a:ext cx="8229600" cy="857250"/>
          </a:xfrm>
          <a:prstGeom prst="rect">
            <a:avLst/>
          </a:prstGeom>
        </p:spPr>
        <p:txBody>
          <a:bodyPr vert="horz" lIns="91440" tIns="45720" rIns="91440" bIns="45720" rtlCol="0" anchor="ctr">
            <a:normAutofit/>
          </a:bodyPr>
          <a:lstStyle/>
          <a:p>
            <a:r>
              <a:rPr lang="en-US" dirty="0" smtClean="0"/>
              <a:t>Click to edit Master title style</a:t>
            </a:r>
            <a:endParaRPr lang="th-TH" dirty="0"/>
          </a:p>
        </p:txBody>
      </p:sp>
      <p:sp>
        <p:nvSpPr>
          <p:cNvPr id="3" name="Text Placeholder 2"/>
          <p:cNvSpPr>
            <a:spLocks noGrp="1"/>
          </p:cNvSpPr>
          <p:nvPr>
            <p:ph type="body" idx="1"/>
          </p:nvPr>
        </p:nvSpPr>
        <p:spPr>
          <a:xfrm>
            <a:off x="457200" y="1200151"/>
            <a:ext cx="8229600" cy="3394472"/>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th-TH"/>
          </a:p>
        </p:txBody>
      </p:sp>
      <p:sp>
        <p:nvSpPr>
          <p:cNvPr id="4" name="Date Placeholder 3"/>
          <p:cNvSpPr>
            <a:spLocks noGrp="1"/>
          </p:cNvSpPr>
          <p:nvPr>
            <p:ph type="dt" sz="half" idx="2"/>
          </p:nvPr>
        </p:nvSpPr>
        <p:spPr>
          <a:xfrm>
            <a:off x="457200" y="4767264"/>
            <a:ext cx="2133600" cy="273844"/>
          </a:xfrm>
          <a:prstGeom prst="rect">
            <a:avLst/>
          </a:prstGeom>
        </p:spPr>
        <p:txBody>
          <a:bodyPr vert="horz" lIns="91440" tIns="45720" rIns="91440" bIns="45720" rtlCol="0" anchor="ctr"/>
          <a:lstStyle>
            <a:lvl1pPr algn="l">
              <a:defRPr sz="1200">
                <a:solidFill>
                  <a:schemeClr val="tx1">
                    <a:tint val="75000"/>
                  </a:schemeClr>
                </a:solidFill>
              </a:defRPr>
            </a:lvl1pPr>
          </a:lstStyle>
          <a:p>
            <a:fld id="{9CB9C24C-AE78-48E4-ABC7-B1B876A24255}" type="datetime1">
              <a:rPr lang="th-TH" smtClean="0">
                <a:solidFill>
                  <a:prstClr val="black">
                    <a:tint val="75000"/>
                  </a:prstClr>
                </a:solidFill>
              </a:rPr>
              <a:pPr/>
              <a:t>20/09/58</a:t>
            </a:fld>
            <a:endParaRPr lang="th-TH">
              <a:solidFill>
                <a:prstClr val="black">
                  <a:tint val="75000"/>
                </a:prstClr>
              </a:solidFill>
            </a:endParaRPr>
          </a:p>
        </p:txBody>
      </p:sp>
      <p:sp>
        <p:nvSpPr>
          <p:cNvPr id="5" name="Footer Placeholder 4"/>
          <p:cNvSpPr>
            <a:spLocks noGrp="1"/>
          </p:cNvSpPr>
          <p:nvPr>
            <p:ph type="ftr" sz="quarter" idx="3"/>
          </p:nvPr>
        </p:nvSpPr>
        <p:spPr>
          <a:xfrm>
            <a:off x="3124200" y="4767264"/>
            <a:ext cx="2895600" cy="273844"/>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th-TH">
              <a:solidFill>
                <a:prstClr val="black">
                  <a:tint val="75000"/>
                </a:prstClr>
              </a:solidFill>
            </a:endParaRPr>
          </a:p>
        </p:txBody>
      </p:sp>
      <p:sp>
        <p:nvSpPr>
          <p:cNvPr id="6" name="Slide Number Placeholder 5"/>
          <p:cNvSpPr>
            <a:spLocks noGrp="1"/>
          </p:cNvSpPr>
          <p:nvPr>
            <p:ph type="sldNum" sz="quarter" idx="4"/>
          </p:nvPr>
        </p:nvSpPr>
        <p:spPr>
          <a:xfrm>
            <a:off x="6553200" y="4767264"/>
            <a:ext cx="2133600" cy="273844"/>
          </a:xfrm>
          <a:prstGeom prst="rect">
            <a:avLst/>
          </a:prstGeom>
        </p:spPr>
        <p:txBody>
          <a:bodyPr vert="horz" lIns="91440" tIns="45720" rIns="91440" bIns="45720" rtlCol="0" anchor="ctr"/>
          <a:lstStyle>
            <a:lvl1pPr algn="r">
              <a:defRPr sz="1200">
                <a:solidFill>
                  <a:schemeClr val="tx1">
                    <a:tint val="75000"/>
                  </a:schemeClr>
                </a:solidFill>
              </a:defRPr>
            </a:lvl1pPr>
          </a:lstStyle>
          <a:p>
            <a:fld id="{50853BB3-C49D-4A79-8049-B0B6C5B1AD9A}" type="slidenum">
              <a:rPr lang="th-TH" smtClean="0">
                <a:solidFill>
                  <a:prstClr val="black">
                    <a:tint val="75000"/>
                  </a:prstClr>
                </a:solidFill>
              </a:rPr>
              <a:pPr/>
              <a:t>‹#›</a:t>
            </a:fld>
            <a:endParaRPr lang="th-TH">
              <a:solidFill>
                <a:prstClr val="black">
                  <a:tint val="75000"/>
                </a:prstClr>
              </a:solidFill>
            </a:endParaRPr>
          </a:p>
        </p:txBody>
      </p:sp>
    </p:spTree>
    <p:extLst>
      <p:ext uri="{BB962C8B-B14F-4D97-AF65-F5344CB8AC3E}">
        <p14:creationId xmlns:p14="http://schemas.microsoft.com/office/powerpoint/2010/main" xmlns="" val="2380033145"/>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4" r:id="rId12"/>
    <p:sldLayoutId id="2147483675" r:id="rId13"/>
    <p:sldLayoutId id="2147483676" r:id="rId14"/>
    <p:sldLayoutId id="2147483677" r:id="rId15"/>
    <p:sldLayoutId id="2147483678" r:id="rId16"/>
    <p:sldLayoutId id="2147483704" r:id="rId17"/>
    <p:sldLayoutId id="2147483997" r:id="rId18"/>
    <p:sldLayoutId id="2147484091" r:id="rId19"/>
  </p:sldLayoutIdLst>
  <p:hf hdr="0" ftr="0" dt="0"/>
  <p:txStyles>
    <p:titleStyle>
      <a:lvl1pPr algn="ctr" defTabSz="914400" rtl="0" eaLnBrk="1" latinLnBrk="0" hangingPunct="1">
        <a:spcBef>
          <a:spcPct val="0"/>
        </a:spcBef>
        <a:buNone/>
        <a:defRPr sz="4400" kern="1200">
          <a:solidFill>
            <a:schemeClr val="tx1"/>
          </a:solidFill>
          <a:latin typeface="+mj-lt"/>
          <a:ea typeface="+mj-ea"/>
          <a:cs typeface="TH SarabunPSK" pitchFamily="34" charset="-34"/>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th-TH"/>
      </a:defPPr>
      <a:lvl1pPr marL="0" algn="l" defTabSz="914400" rtl="0" eaLnBrk="1" latinLnBrk="0" hangingPunct="1">
        <a:defRPr sz="2800" kern="1200">
          <a:solidFill>
            <a:schemeClr val="tx1"/>
          </a:solidFill>
          <a:latin typeface="+mn-lt"/>
          <a:ea typeface="+mn-ea"/>
          <a:cs typeface="+mn-cs"/>
        </a:defRPr>
      </a:lvl1pPr>
      <a:lvl2pPr marL="457200" algn="l" defTabSz="914400" rtl="0" eaLnBrk="1" latinLnBrk="0" hangingPunct="1">
        <a:defRPr sz="2800" kern="1200">
          <a:solidFill>
            <a:schemeClr val="tx1"/>
          </a:solidFill>
          <a:latin typeface="+mn-lt"/>
          <a:ea typeface="+mn-ea"/>
          <a:cs typeface="+mn-cs"/>
        </a:defRPr>
      </a:lvl2pPr>
      <a:lvl3pPr marL="914400" algn="l" defTabSz="914400" rtl="0" eaLnBrk="1" latinLnBrk="0" hangingPunct="1">
        <a:defRPr sz="2800" kern="1200">
          <a:solidFill>
            <a:schemeClr val="tx1"/>
          </a:solidFill>
          <a:latin typeface="+mn-lt"/>
          <a:ea typeface="+mn-ea"/>
          <a:cs typeface="+mn-cs"/>
        </a:defRPr>
      </a:lvl3pPr>
      <a:lvl4pPr marL="1371600" algn="l" defTabSz="914400" rtl="0" eaLnBrk="1" latinLnBrk="0" hangingPunct="1">
        <a:defRPr sz="2800" kern="1200">
          <a:solidFill>
            <a:schemeClr val="tx1"/>
          </a:solidFill>
          <a:latin typeface="+mn-lt"/>
          <a:ea typeface="+mn-ea"/>
          <a:cs typeface="+mn-cs"/>
        </a:defRPr>
      </a:lvl4pPr>
      <a:lvl5pPr marL="1828800" algn="l" defTabSz="914400" rtl="0" eaLnBrk="1" latinLnBrk="0" hangingPunct="1">
        <a:defRPr sz="2800" kern="1200">
          <a:solidFill>
            <a:schemeClr val="tx1"/>
          </a:solidFill>
          <a:latin typeface="+mn-lt"/>
          <a:ea typeface="+mn-ea"/>
          <a:cs typeface="+mn-cs"/>
        </a:defRPr>
      </a:lvl5pPr>
      <a:lvl6pPr marL="2286000" algn="l" defTabSz="914400" rtl="0" eaLnBrk="1" latinLnBrk="0" hangingPunct="1">
        <a:defRPr sz="2800" kern="1200">
          <a:solidFill>
            <a:schemeClr val="tx1"/>
          </a:solidFill>
          <a:latin typeface="+mn-lt"/>
          <a:ea typeface="+mn-ea"/>
          <a:cs typeface="+mn-cs"/>
        </a:defRPr>
      </a:lvl6pPr>
      <a:lvl7pPr marL="2743200" algn="l" defTabSz="914400" rtl="0" eaLnBrk="1" latinLnBrk="0" hangingPunct="1">
        <a:defRPr sz="2800" kern="1200">
          <a:solidFill>
            <a:schemeClr val="tx1"/>
          </a:solidFill>
          <a:latin typeface="+mn-lt"/>
          <a:ea typeface="+mn-ea"/>
          <a:cs typeface="+mn-cs"/>
        </a:defRPr>
      </a:lvl7pPr>
      <a:lvl8pPr marL="3200400" algn="l" defTabSz="914400" rtl="0" eaLnBrk="1" latinLnBrk="0" hangingPunct="1">
        <a:defRPr sz="2800" kern="1200">
          <a:solidFill>
            <a:schemeClr val="tx1"/>
          </a:solidFill>
          <a:latin typeface="+mn-lt"/>
          <a:ea typeface="+mn-ea"/>
          <a:cs typeface="+mn-cs"/>
        </a:defRPr>
      </a:lvl8pPr>
      <a:lvl9pPr marL="3657600" algn="l" defTabSz="914400" rtl="0" eaLnBrk="1" latinLnBrk="0" hangingPunct="1">
        <a:defRPr sz="2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05978"/>
            <a:ext cx="8229600" cy="857250"/>
          </a:xfrm>
          <a:prstGeom prst="rect">
            <a:avLst/>
          </a:prstGeom>
        </p:spPr>
        <p:txBody>
          <a:bodyPr vert="horz" lIns="91440" tIns="45720" rIns="91440" bIns="45720"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457200" y="1200151"/>
            <a:ext cx="8229600" cy="3394472"/>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2"/>
          </p:nvPr>
        </p:nvSpPr>
        <p:spPr>
          <a:xfrm>
            <a:off x="457200" y="4767276"/>
            <a:ext cx="2133600" cy="273844"/>
          </a:xfrm>
          <a:prstGeom prst="rect">
            <a:avLst/>
          </a:prstGeom>
        </p:spPr>
        <p:txBody>
          <a:bodyPr vert="horz" lIns="91440" tIns="45720" rIns="91440" bIns="45720" rtlCol="0" anchor="ctr"/>
          <a:lstStyle>
            <a:lvl1pPr algn="l">
              <a:defRPr sz="1200">
                <a:solidFill>
                  <a:schemeClr val="tx1">
                    <a:tint val="75000"/>
                  </a:schemeClr>
                </a:solidFill>
              </a:defRPr>
            </a:lvl1pPr>
          </a:lstStyle>
          <a:p>
            <a:fld id="{27C0B5E5-0641-44F8-B7BE-893AB74943F8}" type="datetimeFigureOut">
              <a:rPr lang="en-US" smtClean="0">
                <a:solidFill>
                  <a:prstClr val="black">
                    <a:tint val="75000"/>
                  </a:prstClr>
                </a:solidFill>
              </a:rPr>
              <a:pPr/>
              <a:t>9/20/2015</a:t>
            </a:fld>
            <a:endParaRPr lang="en-US">
              <a:solidFill>
                <a:prstClr val="black">
                  <a:tint val="75000"/>
                </a:prstClr>
              </a:solidFill>
            </a:endParaRPr>
          </a:p>
        </p:txBody>
      </p:sp>
      <p:sp>
        <p:nvSpPr>
          <p:cNvPr id="5" name="Footer Placeholder 4"/>
          <p:cNvSpPr>
            <a:spLocks noGrp="1"/>
          </p:cNvSpPr>
          <p:nvPr>
            <p:ph type="ftr" sz="quarter" idx="3"/>
          </p:nvPr>
        </p:nvSpPr>
        <p:spPr>
          <a:xfrm>
            <a:off x="3124200" y="4767276"/>
            <a:ext cx="2895600" cy="273844"/>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solidFill>
                <a:prstClr val="black">
                  <a:tint val="75000"/>
                </a:prstClr>
              </a:solidFill>
            </a:endParaRPr>
          </a:p>
        </p:txBody>
      </p:sp>
      <p:sp>
        <p:nvSpPr>
          <p:cNvPr id="6" name="Slide Number Placeholder 5"/>
          <p:cNvSpPr>
            <a:spLocks noGrp="1"/>
          </p:cNvSpPr>
          <p:nvPr>
            <p:ph type="sldNum" sz="quarter" idx="4"/>
          </p:nvPr>
        </p:nvSpPr>
        <p:spPr>
          <a:xfrm>
            <a:off x="6553200" y="4767276"/>
            <a:ext cx="2133600" cy="273844"/>
          </a:xfrm>
          <a:prstGeom prst="rect">
            <a:avLst/>
          </a:prstGeom>
        </p:spPr>
        <p:txBody>
          <a:bodyPr vert="horz" lIns="91440" tIns="45720" rIns="91440" bIns="45720" rtlCol="0" anchor="ctr"/>
          <a:lstStyle>
            <a:lvl1pPr algn="r">
              <a:defRPr sz="1200">
                <a:solidFill>
                  <a:schemeClr val="tx1">
                    <a:tint val="75000"/>
                  </a:schemeClr>
                </a:solidFill>
              </a:defRPr>
            </a:lvl1pPr>
          </a:lstStyle>
          <a:p>
            <a:fld id="{9E5D5249-8C42-4A20-AC34-58DA0E1B61ED}" type="slidenum">
              <a:rPr lang="en-US" smtClean="0">
                <a:solidFill>
                  <a:prstClr val="black">
                    <a:tint val="75000"/>
                  </a:prstClr>
                </a:solidFill>
              </a:rPr>
              <a:pPr/>
              <a:t>‹#›</a:t>
            </a:fld>
            <a:endParaRPr lang="en-US">
              <a:solidFill>
                <a:prstClr val="black">
                  <a:tint val="75000"/>
                </a:prstClr>
              </a:solidFill>
            </a:endParaRPr>
          </a:p>
        </p:txBody>
      </p:sp>
      <p:sp>
        <p:nvSpPr>
          <p:cNvPr id="7" name="Text Box 5"/>
          <p:cNvSpPr txBox="1">
            <a:spLocks noChangeArrowheads="1"/>
          </p:cNvSpPr>
          <p:nvPr/>
        </p:nvSpPr>
        <p:spPr bwMode="auto">
          <a:xfrm>
            <a:off x="6908165" y="4845939"/>
            <a:ext cx="2232025" cy="307777"/>
          </a:xfrm>
          <a:prstGeom prst="rect">
            <a:avLst/>
          </a:prstGeom>
          <a:noFill/>
          <a:ln w="9525">
            <a:noFill/>
            <a:miter lim="800000"/>
            <a:headEnd/>
            <a:tailEnd/>
          </a:ln>
          <a:effectLst/>
        </p:spPr>
        <p:txBody>
          <a:bodyPr>
            <a:spAutoFit/>
          </a:bodyPr>
          <a:lstStyle/>
          <a:p>
            <a:pPr algn="r">
              <a:spcBef>
                <a:spcPct val="50000"/>
              </a:spcBef>
              <a:defRPr/>
            </a:pPr>
            <a:fld id="{DB6A1EEC-BB6A-4F2D-BEB6-E77C44046A70}" type="slidenum">
              <a:rPr lang="en-US" sz="1400">
                <a:solidFill>
                  <a:prstClr val="black"/>
                </a:solidFill>
                <a:latin typeface="TH SarabunPSK" pitchFamily="34" charset="-34"/>
                <a:cs typeface="TH SarabunPSK" pitchFamily="34" charset="-34"/>
              </a:rPr>
              <a:pPr algn="r">
                <a:spcBef>
                  <a:spcPct val="50000"/>
                </a:spcBef>
                <a:defRPr/>
              </a:pPr>
              <a:t>‹#›</a:t>
            </a:fld>
            <a:endParaRPr lang="th-TH" sz="1400" dirty="0">
              <a:solidFill>
                <a:prstClr val="black"/>
              </a:solidFill>
              <a:latin typeface="TH SarabunPSK" pitchFamily="34" charset="-34"/>
              <a:cs typeface="TH SarabunPSK" pitchFamily="34" charset="-34"/>
            </a:endParaRPr>
          </a:p>
        </p:txBody>
      </p:sp>
    </p:spTree>
    <p:extLst>
      <p:ext uri="{BB962C8B-B14F-4D97-AF65-F5344CB8AC3E}">
        <p14:creationId xmlns:p14="http://schemas.microsoft.com/office/powerpoint/2010/main" xmlns="" val="3769253599"/>
      </p:ext>
    </p:extLst>
  </p:cSld>
  <p:clrMap bg1="lt1" tx1="dk1" bg2="lt2" tx2="dk2" accent1="accent1" accent2="accent2" accent3="accent3" accent4="accent4" accent5="accent5" accent6="accent6" hlink="hlink" folHlink="folHlink"/>
  <p:sldLayoutIdLst>
    <p:sldLayoutId id="2147483680" r:id="rId1"/>
    <p:sldLayoutId id="2147483681" r:id="rId2"/>
    <p:sldLayoutId id="2147483682" r:id="rId3"/>
    <p:sldLayoutId id="2147483683" r:id="rId4"/>
    <p:sldLayoutId id="2147483684" r:id="rId5"/>
    <p:sldLayoutId id="2147483685" r:id="rId6"/>
    <p:sldLayoutId id="2147483686" r:id="rId7"/>
    <p:sldLayoutId id="2147483687" r:id="rId8"/>
    <p:sldLayoutId id="2147483688" r:id="rId9"/>
    <p:sldLayoutId id="2147483689" r:id="rId10"/>
    <p:sldLayoutId id="2147483690" r:id="rId11"/>
    <p:sldLayoutId id="2147483691" r:id="rId12"/>
    <p:sldLayoutId id="2147483692" r:id="rId13"/>
    <p:sldLayoutId id="2147483693" r:id="rId14"/>
    <p:sldLayoutId id="2147483694" r:id="rId15"/>
    <p:sldLayoutId id="2147483696" r:id="rId16"/>
    <p:sldLayoutId id="2147483697" r:id="rId17"/>
    <p:sldLayoutId id="2147483698" r:id="rId18"/>
    <p:sldLayoutId id="2147483699" r:id="rId19"/>
    <p:sldLayoutId id="2147483700" r:id="rId20"/>
    <p:sldLayoutId id="2147483701" r:id="rId21"/>
    <p:sldLayoutId id="2147483702" r:id="rId22"/>
    <p:sldLayoutId id="2147483703" r:id="rId23"/>
    <p:sldLayoutId id="2147484127" r:id="rId24"/>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Do not delete this th-style object!!!!" hidden="1"/>
          <p:cNvGraphicFramePr>
            <a:graphicFrameLocks noChangeAspect="1"/>
          </p:cNvGraphicFramePr>
          <p:nvPr>
            <p:custDataLst>
              <p:tags r:id="rId13"/>
            </p:custDataLst>
            <p:extLst>
              <p:ext uri="{D42A27DB-BD31-4B8C-83A1-F6EECF244321}">
                <p14:modId xmlns:p14="http://schemas.microsoft.com/office/powerpoint/2010/main" xmlns="" val="3596415187"/>
              </p:ext>
            </p:extLst>
          </p:nvPr>
        </p:nvGraphicFramePr>
        <p:xfrm>
          <a:off x="1495" y="1194"/>
          <a:ext cx="1465" cy="1190"/>
        </p:xfrm>
        <a:graphic>
          <a:graphicData uri="http://schemas.openxmlformats.org/presentationml/2006/ole">
            <p:oleObj spid="_x0000_s1042" name="think-cell Slide" r:id="rId14" imgW="360" imgH="360" progId="">
              <p:embed/>
            </p:oleObj>
          </a:graphicData>
        </a:graphic>
      </p:graphicFrame>
      <p:sp>
        <p:nvSpPr>
          <p:cNvPr id="42" name="!!!Do not delete this text object!!!!_2" hidden="1"/>
          <p:cNvSpPr/>
          <p:nvPr/>
        </p:nvSpPr>
        <p:spPr>
          <a:xfrm>
            <a:off x="9204923" y="43466"/>
            <a:ext cx="29908" cy="24300"/>
          </a:xfrm>
          <a:prstGeom prst="ellipse">
            <a:avLst/>
          </a:prstGeom>
          <a:solidFill>
            <a:schemeClr val="bg1">
              <a:lumMod val="75000"/>
            </a:schemeClr>
          </a:solidFill>
          <a:ln w="9525" cmpd="sng">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ctr" fontAlgn="base">
              <a:lnSpc>
                <a:spcPct val="93000"/>
              </a:lnSpc>
              <a:spcBef>
                <a:spcPts val="256"/>
              </a:spcBef>
              <a:spcAft>
                <a:spcPct val="0"/>
              </a:spcAft>
            </a:pPr>
            <a:r>
              <a:rPr lang="en-US" sz="200" b="1" dirty="0" smtClean="0">
                <a:solidFill>
                  <a:srgbClr val="FFFFFF"/>
                </a:solidFill>
                <a:sym typeface="+mn-lt"/>
              </a:rPr>
              <a:t>1</a:t>
            </a:r>
          </a:p>
        </p:txBody>
      </p:sp>
      <p:sp>
        <p:nvSpPr>
          <p:cNvPr id="43" name="!!!Do not delete this text object!!!!" hidden="1"/>
          <p:cNvSpPr txBox="1"/>
          <p:nvPr/>
        </p:nvSpPr>
        <p:spPr>
          <a:xfrm>
            <a:off x="9204943" y="69553"/>
            <a:ext cx="585097" cy="30778"/>
          </a:xfrm>
          <a:prstGeom prst="rect">
            <a:avLst/>
          </a:prstGeom>
          <a:noFill/>
        </p:spPr>
        <p:txBody>
          <a:bodyPr vert="horz" wrap="none" lIns="0" tIns="0" rIns="0" bIns="0" rtlCol="0">
            <a:spAutoFit/>
          </a:bodyPr>
          <a:lstStyle>
            <a:defPPr>
              <a:defRPr lang="de-DE"/>
            </a:defPPr>
            <a:lvl1pPr algn="l" rtl="0" fontAlgn="base">
              <a:spcBef>
                <a:spcPct val="0"/>
              </a:spcBef>
              <a:spcAft>
                <a:spcPct val="0"/>
              </a:spcAft>
              <a:defRPr sz="1300" b="1" kern="1200">
                <a:solidFill>
                  <a:schemeClr val="tx1"/>
                </a:solidFill>
                <a:latin typeface="Arial Narrow" charset="0"/>
                <a:ea typeface="+mn-ea"/>
                <a:cs typeface="+mn-cs"/>
              </a:defRPr>
            </a:lvl1pPr>
            <a:lvl2pPr marL="457200" algn="l" rtl="0" fontAlgn="base">
              <a:spcBef>
                <a:spcPct val="0"/>
              </a:spcBef>
              <a:spcAft>
                <a:spcPct val="0"/>
              </a:spcAft>
              <a:defRPr sz="1300" b="1" kern="1200">
                <a:solidFill>
                  <a:schemeClr val="tx1"/>
                </a:solidFill>
                <a:latin typeface="Arial Narrow" charset="0"/>
                <a:ea typeface="+mn-ea"/>
                <a:cs typeface="+mn-cs"/>
              </a:defRPr>
            </a:lvl2pPr>
            <a:lvl3pPr marL="914400" algn="l" rtl="0" fontAlgn="base">
              <a:spcBef>
                <a:spcPct val="0"/>
              </a:spcBef>
              <a:spcAft>
                <a:spcPct val="0"/>
              </a:spcAft>
              <a:defRPr sz="1300" b="1" kern="1200">
                <a:solidFill>
                  <a:schemeClr val="tx1"/>
                </a:solidFill>
                <a:latin typeface="Arial Narrow" charset="0"/>
                <a:ea typeface="+mn-ea"/>
                <a:cs typeface="+mn-cs"/>
              </a:defRPr>
            </a:lvl3pPr>
            <a:lvl4pPr marL="1371600" algn="l" rtl="0" fontAlgn="base">
              <a:spcBef>
                <a:spcPct val="0"/>
              </a:spcBef>
              <a:spcAft>
                <a:spcPct val="0"/>
              </a:spcAft>
              <a:defRPr sz="1300" b="1" kern="1200">
                <a:solidFill>
                  <a:schemeClr val="tx1"/>
                </a:solidFill>
                <a:latin typeface="Arial Narrow" charset="0"/>
                <a:ea typeface="+mn-ea"/>
                <a:cs typeface="+mn-cs"/>
              </a:defRPr>
            </a:lvl4pPr>
            <a:lvl5pPr marL="1828800" algn="l" rtl="0" fontAlgn="base">
              <a:spcBef>
                <a:spcPct val="0"/>
              </a:spcBef>
              <a:spcAft>
                <a:spcPct val="0"/>
              </a:spcAft>
              <a:defRPr sz="1300" b="1" kern="1200">
                <a:solidFill>
                  <a:schemeClr val="tx1"/>
                </a:solidFill>
                <a:latin typeface="Arial Narrow" charset="0"/>
                <a:ea typeface="+mn-ea"/>
                <a:cs typeface="+mn-cs"/>
              </a:defRPr>
            </a:lvl5pPr>
            <a:lvl6pPr marL="2286000" algn="l" defTabSz="914400" rtl="0" eaLnBrk="1" latinLnBrk="0" hangingPunct="1">
              <a:defRPr sz="1300" b="1" kern="1200">
                <a:solidFill>
                  <a:schemeClr val="tx1"/>
                </a:solidFill>
                <a:latin typeface="Arial Narrow" charset="0"/>
                <a:ea typeface="+mn-ea"/>
                <a:cs typeface="+mn-cs"/>
              </a:defRPr>
            </a:lvl6pPr>
            <a:lvl7pPr marL="2743200" algn="l" defTabSz="914400" rtl="0" eaLnBrk="1" latinLnBrk="0" hangingPunct="1">
              <a:defRPr sz="1300" b="1" kern="1200">
                <a:solidFill>
                  <a:schemeClr val="tx1"/>
                </a:solidFill>
                <a:latin typeface="Arial Narrow" charset="0"/>
                <a:ea typeface="+mn-ea"/>
                <a:cs typeface="+mn-cs"/>
              </a:defRPr>
            </a:lvl7pPr>
            <a:lvl8pPr marL="3200400" algn="l" defTabSz="914400" rtl="0" eaLnBrk="1" latinLnBrk="0" hangingPunct="1">
              <a:defRPr sz="1300" b="1" kern="1200">
                <a:solidFill>
                  <a:schemeClr val="tx1"/>
                </a:solidFill>
                <a:latin typeface="Arial Narrow" charset="0"/>
                <a:ea typeface="+mn-ea"/>
                <a:cs typeface="+mn-cs"/>
              </a:defRPr>
            </a:lvl8pPr>
            <a:lvl9pPr marL="3657600" algn="l" defTabSz="914400" rtl="0" eaLnBrk="1" latinLnBrk="0" hangingPunct="1">
              <a:defRPr sz="1300" b="1" kern="1200">
                <a:solidFill>
                  <a:schemeClr val="tx1"/>
                </a:solidFill>
                <a:latin typeface="Arial Narrow" charset="0"/>
                <a:ea typeface="+mn-ea"/>
                <a:cs typeface="+mn-cs"/>
              </a:defRPr>
            </a:lvl9pPr>
          </a:lstStyle>
          <a:p>
            <a:pPr defTabSz="779252">
              <a:buClr>
                <a:srgbClr val="000000"/>
              </a:buClr>
              <a:buSzPct val="100000"/>
              <a:defRPr/>
            </a:pPr>
            <a:r>
              <a:rPr lang="en-US" sz="200" b="0" noProof="1" smtClean="0">
                <a:solidFill>
                  <a:srgbClr val="FFFFFF">
                    <a:lumMod val="75000"/>
                  </a:srgbClr>
                </a:solidFill>
                <a:latin typeface="Arial Narrow"/>
                <a:sym typeface="+mn-lt"/>
              </a:rPr>
              <a:t>A4_RBSC_PPT– 2013-10_v01 – do not delete this text object! </a:t>
            </a:r>
          </a:p>
        </p:txBody>
      </p:sp>
      <p:sp>
        <p:nvSpPr>
          <p:cNvPr id="52" name="Slide Number"/>
          <p:cNvSpPr txBox="1">
            <a:spLocks noChangeArrowheads="1"/>
          </p:cNvSpPr>
          <p:nvPr/>
        </p:nvSpPr>
        <p:spPr bwMode="auto">
          <a:xfrm>
            <a:off x="8663354" y="5032800"/>
            <a:ext cx="100990" cy="110800"/>
          </a:xfrm>
          <a:prstGeom prst="rect">
            <a:avLst/>
          </a:prstGeom>
          <a:noFill/>
          <a:ln w="9525">
            <a:noFill/>
            <a:miter lim="800000"/>
            <a:headEnd/>
            <a:tailEnd/>
          </a:ln>
          <a:effectLst/>
        </p:spPr>
        <p:txBody>
          <a:bodyPr vert="horz" wrap="none" lIns="0" tIns="0" rIns="0" bIns="0" numCol="1" anchor="t" anchorCtr="0" compatLnSpc="1">
            <a:prstTxWarp prst="textNoShape">
              <a:avLst/>
            </a:prstTxWarp>
            <a:spAutoFit/>
          </a:bodyPr>
          <a:lstStyle>
            <a:lvl1pPr>
              <a:defRPr sz="900" b="0" smtClean="0"/>
            </a:lvl1pPr>
          </a:lstStyle>
          <a:p>
            <a:pPr defTabSz="779252" fontAlgn="base">
              <a:lnSpc>
                <a:spcPct val="90000"/>
              </a:lnSpc>
              <a:spcBef>
                <a:spcPct val="0"/>
              </a:spcBef>
              <a:spcAft>
                <a:spcPct val="0"/>
              </a:spcAft>
              <a:defRPr/>
            </a:pPr>
            <a:fld id="{7AA7B471-74A3-4F5F-8955-6C99E2375CAC}" type="slidenum">
              <a:rPr lang="en-US" sz="800" noProof="1" dirty="0">
                <a:solidFill>
                  <a:srgbClr val="716D6D"/>
                </a:solidFill>
                <a:sym typeface="+mn-lt"/>
              </a:rPr>
              <a:pPr defTabSz="779252" fontAlgn="base">
                <a:lnSpc>
                  <a:spcPct val="90000"/>
                </a:lnSpc>
                <a:spcBef>
                  <a:spcPct val="0"/>
                </a:spcBef>
                <a:spcAft>
                  <a:spcPct val="0"/>
                </a:spcAft>
                <a:defRPr/>
              </a:pPr>
              <a:t>‹#›</a:t>
            </a:fld>
            <a:endParaRPr lang="en-US" sz="800" noProof="1">
              <a:solidFill>
                <a:srgbClr val="716D6D"/>
              </a:solidFill>
              <a:sym typeface="+mn-lt"/>
            </a:endParaRPr>
          </a:p>
        </p:txBody>
      </p:sp>
      <p:sp>
        <p:nvSpPr>
          <p:cNvPr id="53" name="Slide Number Line"/>
          <p:cNvSpPr>
            <a:spLocks noChangeShapeType="1"/>
          </p:cNvSpPr>
          <p:nvPr/>
        </p:nvSpPr>
        <p:spPr bwMode="auto">
          <a:xfrm>
            <a:off x="8556381" y="5032835"/>
            <a:ext cx="0" cy="92869"/>
          </a:xfrm>
          <a:prstGeom prst="line">
            <a:avLst/>
          </a:prstGeom>
          <a:noFill/>
          <a:ln w="9525">
            <a:solidFill>
              <a:schemeClr val="tx2"/>
            </a:solidFill>
            <a:round/>
            <a:headEnd/>
            <a:tailEnd/>
          </a:ln>
          <a:effectLst/>
        </p:spPr>
        <p:txBody>
          <a:bodyPr wrap="none" lIns="0" tIns="0" rIns="0" bIns="0" anchor="ctr">
            <a:spAutoFit/>
          </a:bodyPr>
          <a:lstStyle/>
          <a:p>
            <a:pPr fontAlgn="base">
              <a:lnSpc>
                <a:spcPct val="90000"/>
              </a:lnSpc>
              <a:spcBef>
                <a:spcPct val="0"/>
              </a:spcBef>
              <a:spcAft>
                <a:spcPct val="0"/>
              </a:spcAft>
              <a:defRPr/>
            </a:pPr>
            <a:endParaRPr lang="en-US" sz="800" b="1" noProof="1">
              <a:solidFill>
                <a:srgbClr val="716D6D"/>
              </a:solidFill>
              <a:sym typeface="+mn-lt"/>
            </a:endParaRPr>
          </a:p>
        </p:txBody>
      </p:sp>
      <p:sp>
        <p:nvSpPr>
          <p:cNvPr id="57" name="Source" hidden="1"/>
          <p:cNvSpPr txBox="1"/>
          <p:nvPr/>
        </p:nvSpPr>
        <p:spPr>
          <a:xfrm>
            <a:off x="681405" y="5015279"/>
            <a:ext cx="437620" cy="110800"/>
          </a:xfrm>
          <a:prstGeom prst="rect">
            <a:avLst/>
          </a:prstGeom>
          <a:noFill/>
          <a:ln w="9525">
            <a:noFill/>
          </a:ln>
        </p:spPr>
        <p:txBody>
          <a:bodyPr vert="horz" wrap="none" lIns="0" tIns="0" rIns="0" bIns="0" rtlCol="0" anchor="b" anchorCtr="0">
            <a:spAutoFit/>
          </a:bodyPr>
          <a:lstStyle/>
          <a:p>
            <a:pPr fontAlgn="base">
              <a:lnSpc>
                <a:spcPct val="90000"/>
              </a:lnSpc>
              <a:spcBef>
                <a:spcPct val="0"/>
              </a:spcBef>
              <a:spcAft>
                <a:spcPct val="0"/>
              </a:spcAft>
              <a:buSzPct val="100000"/>
            </a:pPr>
            <a:r>
              <a:rPr lang="en-US" sz="800" dirty="0" smtClean="0">
                <a:solidFill>
                  <a:srgbClr val="000000"/>
                </a:solidFill>
                <a:sym typeface="+mn-lt"/>
              </a:rPr>
              <a:t>Source: xxx</a:t>
            </a:r>
          </a:p>
        </p:txBody>
      </p:sp>
      <p:sp>
        <p:nvSpPr>
          <p:cNvPr id="56" name="Notes" hidden="1"/>
          <p:cNvSpPr txBox="1"/>
          <p:nvPr/>
        </p:nvSpPr>
        <p:spPr>
          <a:xfrm>
            <a:off x="681405" y="4792360"/>
            <a:ext cx="254878" cy="124650"/>
          </a:xfrm>
          <a:prstGeom prst="rect">
            <a:avLst/>
          </a:prstGeom>
          <a:noFill/>
          <a:ln w="9525">
            <a:noFill/>
          </a:ln>
        </p:spPr>
        <p:txBody>
          <a:bodyPr vert="horz" wrap="none" lIns="0" tIns="0" rIns="0" bIns="0" rtlCol="0" anchor="b" anchorCtr="0">
            <a:spAutoFit/>
          </a:bodyPr>
          <a:lstStyle/>
          <a:p>
            <a:pPr fontAlgn="base">
              <a:lnSpc>
                <a:spcPct val="90000"/>
              </a:lnSpc>
              <a:spcBef>
                <a:spcPct val="0"/>
              </a:spcBef>
              <a:spcAft>
                <a:spcPct val="0"/>
              </a:spcAft>
              <a:buSzPct val="100000"/>
            </a:pPr>
            <a:r>
              <a:rPr lang="en-US" sz="900" dirty="0" smtClean="0">
                <a:solidFill>
                  <a:srgbClr val="000000"/>
                </a:solidFill>
                <a:sym typeface="+mn-lt"/>
              </a:rPr>
              <a:t>1) xxx</a:t>
            </a:r>
          </a:p>
        </p:txBody>
      </p:sp>
      <p:grpSp>
        <p:nvGrpSpPr>
          <p:cNvPr id="13" name="Legend" hidden="1"/>
          <p:cNvGrpSpPr/>
          <p:nvPr/>
        </p:nvGrpSpPr>
        <p:grpSpPr>
          <a:xfrm>
            <a:off x="681407" y="4646449"/>
            <a:ext cx="592887" cy="125750"/>
            <a:chOff x="738189" y="6195259"/>
            <a:chExt cx="642294" cy="167666"/>
          </a:xfrm>
        </p:grpSpPr>
        <p:sp>
          <p:nvSpPr>
            <p:cNvPr id="49" name="LegendIcon"/>
            <p:cNvSpPr/>
            <p:nvPr/>
          </p:nvSpPr>
          <p:spPr>
            <a:xfrm>
              <a:off x="738189" y="6195259"/>
              <a:ext cx="215900" cy="146050"/>
            </a:xfrm>
            <a:prstGeom prst="rect">
              <a:avLst/>
            </a:prstGeom>
            <a:noFill/>
            <a:ln w="9525" cap="flat" cmpd="sng" algn="ctr">
              <a:solidFill>
                <a:schemeClr val="accent3"/>
              </a:solidFill>
              <a:prstDash val="solid"/>
            </a:ln>
            <a:effectLst/>
          </p:spPr>
          <p:txBody>
            <a:bodyPr lIns="0" tIns="0" rIns="0" bIns="0" rtlCol="0" anchor="ctr"/>
            <a:lstStyle/>
            <a:p>
              <a:pPr algn="ctr" defTabSz="779252">
                <a:lnSpc>
                  <a:spcPct val="90000"/>
                </a:lnSpc>
                <a:defRPr/>
              </a:pPr>
              <a:endParaRPr lang="en-US" sz="1100" kern="0" dirty="0" smtClean="0">
                <a:solidFill>
                  <a:srgbClr val="000000"/>
                </a:solidFill>
                <a:sym typeface="+mn-lt"/>
              </a:endParaRPr>
            </a:p>
          </p:txBody>
        </p:sp>
        <p:sp>
          <p:nvSpPr>
            <p:cNvPr id="50" name="LegendText"/>
            <p:cNvSpPr txBox="1"/>
            <p:nvPr/>
          </p:nvSpPr>
          <p:spPr>
            <a:xfrm>
              <a:off x="1036639" y="6196726"/>
              <a:ext cx="343844" cy="166199"/>
            </a:xfrm>
            <a:prstGeom prst="rect">
              <a:avLst/>
            </a:prstGeom>
            <a:noFill/>
            <a:ln w="9525">
              <a:noFill/>
            </a:ln>
          </p:spPr>
          <p:txBody>
            <a:bodyPr vert="horz" wrap="none" lIns="0" tIns="0" rIns="0" bIns="0" rtlCol="0" anchor="t" anchorCtr="0">
              <a:spAutoFit/>
            </a:bodyPr>
            <a:lstStyle/>
            <a:p>
              <a:pPr defTabSz="779252">
                <a:lnSpc>
                  <a:spcPct val="90000"/>
                </a:lnSpc>
                <a:buClr>
                  <a:srgbClr val="000000"/>
                </a:buClr>
                <a:buSzPct val="100000"/>
                <a:defRPr/>
              </a:pPr>
              <a:r>
                <a:rPr lang="en-US" sz="900" kern="0" dirty="0" smtClean="0">
                  <a:solidFill>
                    <a:sysClr val="windowText" lastClr="000000"/>
                  </a:solidFill>
                  <a:sym typeface="+mn-lt"/>
                </a:rPr>
                <a:t>Legend</a:t>
              </a:r>
            </a:p>
          </p:txBody>
        </p:sp>
      </p:grpSp>
      <p:sp>
        <p:nvSpPr>
          <p:cNvPr id="45" name="Formatted_text" hidden="1"/>
          <p:cNvSpPr txBox="1">
            <a:spLocks/>
          </p:cNvSpPr>
          <p:nvPr/>
        </p:nvSpPr>
        <p:spPr>
          <a:xfrm>
            <a:off x="681405" y="1619249"/>
            <a:ext cx="1827692" cy="874085"/>
          </a:xfrm>
          <a:prstGeom prst="rect">
            <a:avLst/>
          </a:prstGeom>
          <a:noFill/>
          <a:ln w="9525">
            <a:noFill/>
          </a:ln>
        </p:spPr>
        <p:txBody>
          <a:bodyPr vert="horz" wrap="square" lIns="0" tIns="0" rIns="0" bIns="0" rtlCol="0">
            <a:spAutoFit/>
          </a:bodyPr>
          <a:lstStyle/>
          <a:p>
            <a:pPr fontAlgn="base">
              <a:lnSpc>
                <a:spcPct val="90000"/>
              </a:lnSpc>
              <a:spcBef>
                <a:spcPct val="0"/>
              </a:spcBef>
              <a:spcAft>
                <a:spcPct val="0"/>
              </a:spcAft>
              <a:buClr>
                <a:srgbClr val="000000"/>
              </a:buClr>
              <a:buSzPct val="100000"/>
            </a:pPr>
            <a:r>
              <a:rPr lang="en-US" sz="1300" b="1" dirty="0" smtClean="0">
                <a:solidFill>
                  <a:srgbClr val="000000"/>
                </a:solidFill>
                <a:sym typeface="+mn-lt"/>
              </a:rPr>
              <a:t>15 Point Text: Level 0</a:t>
            </a:r>
            <a:endParaRPr lang="en-US" sz="1300" dirty="0" smtClean="0">
              <a:solidFill>
                <a:srgbClr val="000000"/>
              </a:solidFill>
              <a:sym typeface="+mn-lt"/>
            </a:endParaRPr>
          </a:p>
          <a:p>
            <a:pPr marL="140247" lvl="1" indent="-140247" fontAlgn="base">
              <a:lnSpc>
                <a:spcPct val="90000"/>
              </a:lnSpc>
              <a:spcBef>
                <a:spcPts val="682"/>
              </a:spcBef>
              <a:spcAft>
                <a:spcPct val="0"/>
              </a:spcAft>
              <a:buClr>
                <a:srgbClr val="000000"/>
              </a:buClr>
              <a:buSzPct val="100000"/>
              <a:buFont typeface="Arial Narrow"/>
              <a:buChar char="&gt;"/>
            </a:pPr>
            <a:r>
              <a:rPr lang="en-US" sz="1300" dirty="0" smtClean="0">
                <a:solidFill>
                  <a:srgbClr val="000000"/>
                </a:solidFill>
                <a:sym typeface="+mn-lt"/>
              </a:rPr>
              <a:t>Level 1</a:t>
            </a:r>
          </a:p>
          <a:p>
            <a:pPr marL="293643" lvl="2" indent="-142438" fontAlgn="base">
              <a:lnSpc>
                <a:spcPct val="90000"/>
              </a:lnSpc>
              <a:spcBef>
                <a:spcPts val="341"/>
              </a:spcBef>
              <a:spcAft>
                <a:spcPct val="0"/>
              </a:spcAft>
              <a:buClr>
                <a:srgbClr val="000000"/>
              </a:buClr>
              <a:buSzPct val="100000"/>
              <a:buFont typeface="Arial Narrow"/>
              <a:buChar char="–"/>
            </a:pPr>
            <a:r>
              <a:rPr lang="en-US" sz="1300" dirty="0" smtClean="0">
                <a:solidFill>
                  <a:srgbClr val="000000"/>
                </a:solidFill>
                <a:sym typeface="+mn-lt"/>
              </a:rPr>
              <a:t>Level 2</a:t>
            </a:r>
          </a:p>
          <a:p>
            <a:pPr marL="425126" lvl="3" indent="-122717" fontAlgn="base">
              <a:lnSpc>
                <a:spcPct val="90000"/>
              </a:lnSpc>
              <a:spcBef>
                <a:spcPts val="170"/>
              </a:spcBef>
              <a:spcAft>
                <a:spcPct val="0"/>
              </a:spcAft>
              <a:buClr>
                <a:srgbClr val="000000"/>
              </a:buClr>
              <a:buSzPct val="100000"/>
              <a:buFont typeface="Arial Narrow"/>
              <a:buChar char="-"/>
            </a:pPr>
            <a:r>
              <a:rPr lang="en-US" sz="1300" dirty="0" smtClean="0">
                <a:solidFill>
                  <a:srgbClr val="000000"/>
                </a:solidFill>
                <a:sym typeface="+mn-lt"/>
              </a:rPr>
              <a:t>Level 3</a:t>
            </a:r>
          </a:p>
        </p:txBody>
      </p:sp>
      <p:sp>
        <p:nvSpPr>
          <p:cNvPr id="51" name="Subtitle" hidden="1"/>
          <p:cNvSpPr txBox="1">
            <a:spLocks/>
          </p:cNvSpPr>
          <p:nvPr/>
        </p:nvSpPr>
        <p:spPr>
          <a:xfrm>
            <a:off x="681231" y="1282507"/>
            <a:ext cx="7879374" cy="249299"/>
          </a:xfrm>
          <a:prstGeom prst="rect">
            <a:avLst/>
          </a:prstGeom>
          <a:noFill/>
          <a:ln w="9525">
            <a:noFill/>
          </a:ln>
        </p:spPr>
        <p:txBody>
          <a:bodyPr vert="horz" wrap="square" lIns="0" tIns="0" rIns="0" bIns="0" rtlCol="0">
            <a:spAutoFit/>
          </a:bodyPr>
          <a:lstStyle/>
          <a:p>
            <a:pPr fontAlgn="base">
              <a:lnSpc>
                <a:spcPct val="90000"/>
              </a:lnSpc>
              <a:spcBef>
                <a:spcPct val="0"/>
              </a:spcBef>
              <a:spcAft>
                <a:spcPct val="0"/>
              </a:spcAft>
              <a:buClr>
                <a:srgbClr val="000000"/>
              </a:buClr>
              <a:buSzPct val="100000"/>
            </a:pPr>
            <a:r>
              <a:rPr lang="en-US" sz="1800" dirty="0" smtClean="0">
                <a:solidFill>
                  <a:srgbClr val="716D6D"/>
                </a:solidFill>
                <a:sym typeface="+mn-lt"/>
              </a:rPr>
              <a:t>Subtitle</a:t>
            </a:r>
          </a:p>
        </p:txBody>
      </p:sp>
      <p:sp>
        <p:nvSpPr>
          <p:cNvPr id="3" name="Text Placeholder"/>
          <p:cNvSpPr>
            <a:spLocks noGrp="1"/>
          </p:cNvSpPr>
          <p:nvPr>
            <p:ph type="body" idx="1"/>
          </p:nvPr>
        </p:nvSpPr>
        <p:spPr>
          <a:xfrm>
            <a:off x="681231" y="1282500"/>
            <a:ext cx="7879374" cy="1189556"/>
          </a:xfrm>
          <a:prstGeom prst="rect">
            <a:avLst/>
          </a:prstGeom>
        </p:spPr>
        <p:txBody>
          <a:bodyPr vert="horz" lIns="0" tIns="0" rIns="0" bIns="0" rtlCol="0">
            <a:spAutoFit/>
          </a:bodyPr>
          <a:lstStyle/>
          <a:p>
            <a:pPr lvl="0"/>
            <a:r>
              <a:rPr lang="en-US" dirty="0" smtClean="0"/>
              <a:t>Click to edit Master text styles – Level 0</a:t>
            </a:r>
          </a:p>
          <a:p>
            <a:pPr lvl="1"/>
            <a:r>
              <a:rPr lang="en-US" dirty="0" smtClean="0"/>
              <a:t>Level 1</a:t>
            </a:r>
          </a:p>
          <a:p>
            <a:pPr lvl="2"/>
            <a:r>
              <a:rPr lang="en-US" dirty="0" smtClean="0"/>
              <a:t>Level 2</a:t>
            </a:r>
          </a:p>
          <a:p>
            <a:pPr lvl="3"/>
            <a:r>
              <a:rPr lang="en-US" dirty="0" smtClean="0"/>
              <a:t>Level 3</a:t>
            </a:r>
            <a:endParaRPr lang="en-US" dirty="0"/>
          </a:p>
        </p:txBody>
      </p:sp>
      <p:sp>
        <p:nvSpPr>
          <p:cNvPr id="2" name="Title Placeholder"/>
          <p:cNvSpPr>
            <a:spLocks noGrp="1"/>
          </p:cNvSpPr>
          <p:nvPr>
            <p:ph type="title"/>
          </p:nvPr>
        </p:nvSpPr>
        <p:spPr>
          <a:xfrm>
            <a:off x="681231" y="540008"/>
            <a:ext cx="7879374" cy="560923"/>
          </a:xfrm>
          <a:prstGeom prst="rect">
            <a:avLst/>
          </a:prstGeom>
        </p:spPr>
        <p:txBody>
          <a:bodyPr vert="horz" lIns="0" tIns="0" rIns="0" bIns="0" rtlCol="0" anchor="t" anchorCtr="0">
            <a:noAutofit/>
          </a:bodyPr>
          <a:lstStyle/>
          <a:p>
            <a:r>
              <a:rPr lang="en-US" noProof="0" smtClean="0"/>
              <a:t>Click to edit Master title style</a:t>
            </a:r>
            <a:endParaRPr lang="en-US" noProof="0" dirty="0"/>
          </a:p>
        </p:txBody>
      </p:sp>
      <p:grpSp>
        <p:nvGrpSpPr>
          <p:cNvPr id="12" name="Drawing grid" hidden="1"/>
          <p:cNvGrpSpPr/>
          <p:nvPr/>
        </p:nvGrpSpPr>
        <p:grpSpPr>
          <a:xfrm>
            <a:off x="0" y="0"/>
            <a:ext cx="9144000" cy="5143500"/>
            <a:chOff x="0" y="0"/>
            <a:chExt cx="9906000" cy="6858000"/>
          </a:xfrm>
        </p:grpSpPr>
        <p:cxnSp>
          <p:nvCxnSpPr>
            <p:cNvPr id="27" name="!!!Do not delete!!!" hidden="1"/>
            <p:cNvCxnSpPr/>
            <p:nvPr/>
          </p:nvCxnSpPr>
          <p:spPr>
            <a:xfrm>
              <a:off x="738000" y="0"/>
              <a:ext cx="0" cy="6858000"/>
            </a:xfrm>
            <a:prstGeom prst="line">
              <a:avLst/>
            </a:prstGeom>
            <a:ln w="3175" cap="sq">
              <a:solidFill>
                <a:schemeClr val="accent2">
                  <a:lumMod val="90000"/>
                </a:schemeClr>
              </a:solidFill>
              <a:prstDash val="sysDot"/>
            </a:ln>
            <a:effectLst/>
          </p:spPr>
          <p:style>
            <a:lnRef idx="1">
              <a:schemeClr val="accent1"/>
            </a:lnRef>
            <a:fillRef idx="0">
              <a:schemeClr val="accent1"/>
            </a:fillRef>
            <a:effectRef idx="0">
              <a:schemeClr val="accent1"/>
            </a:effectRef>
            <a:fontRef idx="minor">
              <a:schemeClr val="tx1"/>
            </a:fontRef>
          </p:style>
        </p:cxnSp>
        <p:cxnSp>
          <p:nvCxnSpPr>
            <p:cNvPr id="28" name="!!!Do not delete!!!" hidden="1"/>
            <p:cNvCxnSpPr/>
            <p:nvPr/>
          </p:nvCxnSpPr>
          <p:spPr>
            <a:xfrm>
              <a:off x="1083600" y="0"/>
              <a:ext cx="0" cy="720000"/>
            </a:xfrm>
            <a:prstGeom prst="line">
              <a:avLst/>
            </a:prstGeom>
            <a:ln w="3175" cap="sq">
              <a:solidFill>
                <a:schemeClr val="accent2">
                  <a:lumMod val="90000"/>
                </a:schemeClr>
              </a:solidFill>
              <a:prstDash val="sysDot"/>
            </a:ln>
            <a:effectLst/>
          </p:spPr>
          <p:style>
            <a:lnRef idx="1">
              <a:schemeClr val="accent1"/>
            </a:lnRef>
            <a:fillRef idx="0">
              <a:schemeClr val="accent1"/>
            </a:fillRef>
            <a:effectRef idx="0">
              <a:schemeClr val="accent1"/>
            </a:effectRef>
            <a:fontRef idx="minor">
              <a:schemeClr val="tx1"/>
            </a:fontRef>
          </p:style>
        </p:cxnSp>
        <p:cxnSp>
          <p:nvCxnSpPr>
            <p:cNvPr id="31" name="!!!Do not delete!!!" hidden="1"/>
            <p:cNvCxnSpPr/>
            <p:nvPr/>
          </p:nvCxnSpPr>
          <p:spPr>
            <a:xfrm>
              <a:off x="9271000" y="0"/>
              <a:ext cx="0" cy="6858000"/>
            </a:xfrm>
            <a:prstGeom prst="line">
              <a:avLst/>
            </a:prstGeom>
            <a:ln w="3175" cap="sq">
              <a:solidFill>
                <a:schemeClr val="accent2">
                  <a:lumMod val="90000"/>
                </a:schemeClr>
              </a:solidFill>
              <a:prstDash val="sysDot"/>
            </a:ln>
            <a:effectLst/>
          </p:spPr>
          <p:style>
            <a:lnRef idx="1">
              <a:schemeClr val="accent1"/>
            </a:lnRef>
            <a:fillRef idx="0">
              <a:schemeClr val="accent1"/>
            </a:fillRef>
            <a:effectRef idx="0">
              <a:schemeClr val="accent1"/>
            </a:effectRef>
            <a:fontRef idx="minor">
              <a:schemeClr val="tx1"/>
            </a:fontRef>
          </p:style>
        </p:cxnSp>
        <p:cxnSp>
          <p:nvCxnSpPr>
            <p:cNvPr id="32" name="!!!Do not delete!!!" hidden="1"/>
            <p:cNvCxnSpPr/>
            <p:nvPr/>
          </p:nvCxnSpPr>
          <p:spPr>
            <a:xfrm>
              <a:off x="0" y="221454"/>
              <a:ext cx="9906000" cy="0"/>
            </a:xfrm>
            <a:prstGeom prst="line">
              <a:avLst/>
            </a:prstGeom>
            <a:ln w="3175" cap="sq">
              <a:solidFill>
                <a:schemeClr val="accent2">
                  <a:lumMod val="90000"/>
                </a:schemeClr>
              </a:solidFill>
              <a:prstDash val="sysDot"/>
            </a:ln>
            <a:effectLst/>
          </p:spPr>
          <p:style>
            <a:lnRef idx="1">
              <a:schemeClr val="accent1"/>
            </a:lnRef>
            <a:fillRef idx="0">
              <a:schemeClr val="accent1"/>
            </a:fillRef>
            <a:effectRef idx="0">
              <a:schemeClr val="accent1"/>
            </a:effectRef>
            <a:fontRef idx="minor">
              <a:schemeClr val="tx1"/>
            </a:fontRef>
          </p:style>
        </p:cxnSp>
        <p:cxnSp>
          <p:nvCxnSpPr>
            <p:cNvPr id="33" name="!!!Do not delete!!!" hidden="1"/>
            <p:cNvCxnSpPr/>
            <p:nvPr/>
          </p:nvCxnSpPr>
          <p:spPr>
            <a:xfrm>
              <a:off x="0" y="496092"/>
              <a:ext cx="9906000" cy="0"/>
            </a:xfrm>
            <a:prstGeom prst="line">
              <a:avLst/>
            </a:prstGeom>
            <a:ln w="3175" cap="sq">
              <a:solidFill>
                <a:schemeClr val="accent2">
                  <a:lumMod val="90000"/>
                </a:schemeClr>
              </a:solidFill>
              <a:prstDash val="sysDot"/>
            </a:ln>
            <a:effectLst/>
          </p:spPr>
          <p:style>
            <a:lnRef idx="1">
              <a:schemeClr val="accent1"/>
            </a:lnRef>
            <a:fillRef idx="0">
              <a:schemeClr val="accent1"/>
            </a:fillRef>
            <a:effectRef idx="0">
              <a:schemeClr val="accent1"/>
            </a:effectRef>
            <a:fontRef idx="minor">
              <a:schemeClr val="tx1"/>
            </a:fontRef>
          </p:style>
        </p:cxnSp>
        <p:cxnSp>
          <p:nvCxnSpPr>
            <p:cNvPr id="34" name="!!!Do not delete!!!" hidden="1"/>
            <p:cNvCxnSpPr/>
            <p:nvPr/>
          </p:nvCxnSpPr>
          <p:spPr>
            <a:xfrm>
              <a:off x="0" y="720000"/>
              <a:ext cx="9906000" cy="0"/>
            </a:xfrm>
            <a:prstGeom prst="line">
              <a:avLst/>
            </a:prstGeom>
            <a:ln w="3175" cap="sq">
              <a:solidFill>
                <a:schemeClr val="accent2">
                  <a:lumMod val="90000"/>
                </a:schemeClr>
              </a:solidFill>
              <a:prstDash val="sysDot"/>
            </a:ln>
            <a:effectLst/>
          </p:spPr>
          <p:style>
            <a:lnRef idx="1">
              <a:schemeClr val="accent1"/>
            </a:lnRef>
            <a:fillRef idx="0">
              <a:schemeClr val="accent1"/>
            </a:fillRef>
            <a:effectRef idx="0">
              <a:schemeClr val="accent1"/>
            </a:effectRef>
            <a:fontRef idx="minor">
              <a:schemeClr val="tx1"/>
            </a:fontRef>
          </p:style>
        </p:cxnSp>
        <p:cxnSp>
          <p:nvCxnSpPr>
            <p:cNvPr id="36" name="!!!Do not delete!!!" hidden="1"/>
            <p:cNvCxnSpPr/>
            <p:nvPr/>
          </p:nvCxnSpPr>
          <p:spPr>
            <a:xfrm>
              <a:off x="0" y="6418800"/>
              <a:ext cx="9906000" cy="0"/>
            </a:xfrm>
            <a:prstGeom prst="line">
              <a:avLst/>
            </a:prstGeom>
            <a:ln w="3175" cap="sq">
              <a:solidFill>
                <a:schemeClr val="accent2">
                  <a:lumMod val="90000"/>
                </a:schemeClr>
              </a:solidFill>
              <a:prstDash val="sysDot"/>
            </a:ln>
            <a:effectLst/>
          </p:spPr>
          <p:style>
            <a:lnRef idx="1">
              <a:schemeClr val="accent1"/>
            </a:lnRef>
            <a:fillRef idx="0">
              <a:schemeClr val="accent1"/>
            </a:fillRef>
            <a:effectRef idx="0">
              <a:schemeClr val="accent1"/>
            </a:effectRef>
            <a:fontRef idx="minor">
              <a:schemeClr val="tx1"/>
            </a:fontRef>
          </p:style>
        </p:cxnSp>
        <p:cxnSp>
          <p:nvCxnSpPr>
            <p:cNvPr id="37" name="!!!Do not delete!!!" hidden="1"/>
            <p:cNvCxnSpPr/>
            <p:nvPr/>
          </p:nvCxnSpPr>
          <p:spPr>
            <a:xfrm>
              <a:off x="0" y="6708775"/>
              <a:ext cx="9906000" cy="0"/>
            </a:xfrm>
            <a:prstGeom prst="line">
              <a:avLst/>
            </a:prstGeom>
            <a:ln w="3175" cap="sq">
              <a:solidFill>
                <a:schemeClr val="accent2">
                  <a:lumMod val="90000"/>
                </a:schemeClr>
              </a:solidFill>
              <a:prstDash val="sysDot"/>
            </a:ln>
            <a:effectLst/>
          </p:spPr>
          <p:style>
            <a:lnRef idx="1">
              <a:schemeClr val="accent1"/>
            </a:lnRef>
            <a:fillRef idx="0">
              <a:schemeClr val="accent1"/>
            </a:fillRef>
            <a:effectRef idx="0">
              <a:schemeClr val="accent1"/>
            </a:effectRef>
            <a:fontRef idx="minor">
              <a:schemeClr val="tx1"/>
            </a:fontRef>
          </p:style>
        </p:cxnSp>
        <p:cxnSp>
          <p:nvCxnSpPr>
            <p:cNvPr id="38" name="!!!Do not delete!!!" hidden="1"/>
            <p:cNvCxnSpPr/>
            <p:nvPr/>
          </p:nvCxnSpPr>
          <p:spPr>
            <a:xfrm>
              <a:off x="0" y="1710000"/>
              <a:ext cx="9906000" cy="0"/>
            </a:xfrm>
            <a:prstGeom prst="line">
              <a:avLst/>
            </a:prstGeom>
            <a:ln w="3175" cap="sq">
              <a:solidFill>
                <a:schemeClr val="accent2">
                  <a:lumMod val="90000"/>
                </a:schemeClr>
              </a:solidFill>
              <a:prstDash val="sysDot"/>
            </a:ln>
            <a:effectLst/>
          </p:spPr>
          <p:style>
            <a:lnRef idx="1">
              <a:schemeClr val="accent1"/>
            </a:lnRef>
            <a:fillRef idx="0">
              <a:schemeClr val="accent1"/>
            </a:fillRef>
            <a:effectRef idx="0">
              <a:schemeClr val="accent1"/>
            </a:effectRef>
            <a:fontRef idx="minor">
              <a:schemeClr val="tx1"/>
            </a:fontRef>
          </p:style>
        </p:cxnSp>
        <p:cxnSp>
          <p:nvCxnSpPr>
            <p:cNvPr id="39" name="!!!Do not delete!!!" hidden="1"/>
            <p:cNvCxnSpPr/>
            <p:nvPr/>
          </p:nvCxnSpPr>
          <p:spPr>
            <a:xfrm>
              <a:off x="548711" y="2178000"/>
              <a:ext cx="8939211" cy="0"/>
            </a:xfrm>
            <a:prstGeom prst="line">
              <a:avLst/>
            </a:prstGeom>
            <a:ln w="3175" cap="sq">
              <a:solidFill>
                <a:schemeClr val="accent2"/>
              </a:solidFill>
              <a:prstDash val="sysDot"/>
            </a:ln>
            <a:effectLst/>
          </p:spPr>
          <p:style>
            <a:lnRef idx="1">
              <a:schemeClr val="accent1"/>
            </a:lnRef>
            <a:fillRef idx="0">
              <a:schemeClr val="accent1"/>
            </a:fillRef>
            <a:effectRef idx="0">
              <a:schemeClr val="accent1"/>
            </a:effectRef>
            <a:fontRef idx="minor">
              <a:schemeClr val="tx1"/>
            </a:fontRef>
          </p:style>
        </p:cxnSp>
        <p:cxnSp>
          <p:nvCxnSpPr>
            <p:cNvPr id="44" name="!!!Do not delete!!!" hidden="1"/>
            <p:cNvCxnSpPr>
              <a:cxnSpLocks/>
            </p:cNvCxnSpPr>
            <p:nvPr userDrawn="1"/>
          </p:nvCxnSpPr>
          <p:spPr>
            <a:xfrm>
              <a:off x="7867969" y="0"/>
              <a:ext cx="0" cy="719149"/>
            </a:xfrm>
            <a:prstGeom prst="line">
              <a:avLst/>
            </a:prstGeom>
            <a:ln w="3175" cap="sq">
              <a:solidFill>
                <a:schemeClr val="accent2">
                  <a:lumMod val="90000"/>
                </a:schemeClr>
              </a:solidFill>
              <a:prstDash val="sysDot"/>
            </a:ln>
            <a:effectLst/>
          </p:spPr>
          <p:style>
            <a:lnRef idx="1">
              <a:schemeClr val="accent1"/>
            </a:lnRef>
            <a:fillRef idx="0">
              <a:schemeClr val="accent1"/>
            </a:fillRef>
            <a:effectRef idx="0">
              <a:schemeClr val="accent1"/>
            </a:effectRef>
            <a:fontRef idx="minor">
              <a:schemeClr val="tx1"/>
            </a:fontRef>
          </p:style>
        </p:cxnSp>
        <p:cxnSp>
          <p:nvCxnSpPr>
            <p:cNvPr id="48" name="!!!Do not delete!!!" hidden="1"/>
            <p:cNvCxnSpPr>
              <a:cxnSpLocks/>
            </p:cNvCxnSpPr>
            <p:nvPr userDrawn="1"/>
          </p:nvCxnSpPr>
          <p:spPr>
            <a:xfrm>
              <a:off x="8276816" y="0"/>
              <a:ext cx="0" cy="719149"/>
            </a:xfrm>
            <a:prstGeom prst="line">
              <a:avLst/>
            </a:prstGeom>
            <a:ln w="3175" cap="sq">
              <a:solidFill>
                <a:schemeClr val="accent2">
                  <a:lumMod val="90000"/>
                </a:schemeClr>
              </a:solidFill>
              <a:prstDash val="sysDot"/>
            </a:ln>
            <a:effectLst/>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xmlns="" val="2837603080"/>
      </p:ext>
    </p:extLst>
  </p:cSld>
  <p:clrMap bg1="lt1" tx1="dk1" bg2="lt2" tx2="dk2" accent1="accent1" accent2="accent2" accent3="accent3" accent4="accent4" accent5="accent5" accent6="accent6" hlink="hlink" folHlink="folHlink"/>
  <p:sldLayoutIdLst>
    <p:sldLayoutId id="2147484130" r:id="rId1"/>
    <p:sldLayoutId id="2147484131" r:id="rId2"/>
    <p:sldLayoutId id="2147484132" r:id="rId3"/>
    <p:sldLayoutId id="2147484133" r:id="rId4"/>
    <p:sldLayoutId id="2147484134" r:id="rId5"/>
    <p:sldLayoutId id="2147484135" r:id="rId6"/>
    <p:sldLayoutId id="2147484136" r:id="rId7"/>
    <p:sldLayoutId id="2147484137" r:id="rId8"/>
    <p:sldLayoutId id="2147484138" r:id="rId9"/>
    <p:sldLayoutId id="2147484139" r:id="rId10"/>
  </p:sldLayoutIdLst>
  <p:timing>
    <p:tnLst>
      <p:par>
        <p:cTn id="1" dur="indefinite" restart="never" nodeType="tmRoot"/>
      </p:par>
    </p:tnLst>
  </p:timing>
  <p:hf sldNum="0" hdr="0" ftr="0" dt="0"/>
  <p:txStyles>
    <p:titleStyle>
      <a:lvl1pPr algn="l" defTabSz="779252" rtl="0" eaLnBrk="1" latinLnBrk="0" hangingPunct="1">
        <a:lnSpc>
          <a:spcPct val="90000"/>
        </a:lnSpc>
        <a:spcBef>
          <a:spcPct val="0"/>
        </a:spcBef>
        <a:buNone/>
        <a:defRPr lang="en-US" sz="2300" b="0" kern="1200" baseline="0" dirty="0">
          <a:solidFill>
            <a:schemeClr val="tx1"/>
          </a:solidFill>
          <a:latin typeface="+mj-lt"/>
          <a:ea typeface="+mj-ea"/>
          <a:cs typeface="+mj-cs"/>
          <a:sym typeface="+mn-lt"/>
        </a:defRPr>
      </a:lvl1pPr>
    </p:titleStyle>
    <p:bodyStyle>
      <a:lvl1pPr marL="0" indent="0" algn="l" defTabSz="779252" rtl="0" eaLnBrk="1" latinLnBrk="0" hangingPunct="1">
        <a:lnSpc>
          <a:spcPct val="90000"/>
        </a:lnSpc>
        <a:spcBef>
          <a:spcPts val="0"/>
        </a:spcBef>
        <a:buFont typeface="Arial Narrow" pitchFamily="34" charset="0"/>
        <a:buNone/>
        <a:defRPr lang="en-US" sz="1800" b="0" i="0" kern="1200" baseline="0" dirty="0" smtClean="0">
          <a:solidFill>
            <a:schemeClr val="tx1"/>
          </a:solidFill>
          <a:latin typeface="+mn-lt"/>
          <a:ea typeface="+mn-ea"/>
          <a:cs typeface="+mn-cs"/>
          <a:sym typeface="+mn-lt"/>
        </a:defRPr>
      </a:lvl1pPr>
      <a:lvl2pPr marL="196347" indent="-196347" algn="l" defTabSz="779252" rtl="0" eaLnBrk="1" latinLnBrk="0" hangingPunct="1">
        <a:lnSpc>
          <a:spcPct val="90000"/>
        </a:lnSpc>
        <a:spcBef>
          <a:spcPts val="1023"/>
        </a:spcBef>
        <a:buFont typeface="Arial Narrow" pitchFamily="34" charset="0"/>
        <a:buChar char="&gt;"/>
        <a:defRPr lang="en-US" sz="1800" b="0" kern="1200" dirty="0" smtClean="0">
          <a:solidFill>
            <a:schemeClr val="tx1"/>
          </a:solidFill>
          <a:latin typeface="+mn-lt"/>
          <a:ea typeface="+mn-ea"/>
          <a:cs typeface="+mn-cs"/>
          <a:sym typeface="+mn-lt"/>
        </a:defRPr>
      </a:lvl2pPr>
      <a:lvl3pPr marL="411101" indent="-199415" algn="l" defTabSz="779252" rtl="0" eaLnBrk="1" latinLnBrk="0" hangingPunct="1">
        <a:lnSpc>
          <a:spcPct val="90000"/>
        </a:lnSpc>
        <a:spcBef>
          <a:spcPts val="341"/>
        </a:spcBef>
        <a:buFont typeface="Arial Narrow" pitchFamily="34" charset="0"/>
        <a:buChar char="–"/>
        <a:defRPr lang="en-US" sz="1800" b="0" kern="1200" dirty="0" smtClean="0">
          <a:solidFill>
            <a:schemeClr val="tx1"/>
          </a:solidFill>
          <a:latin typeface="+mn-lt"/>
          <a:ea typeface="+mn-ea"/>
          <a:cs typeface="+mn-cs"/>
          <a:sym typeface="+mn-lt"/>
        </a:defRPr>
      </a:lvl3pPr>
      <a:lvl4pPr marL="595176" indent="-171804" algn="l" defTabSz="779252" rtl="0" eaLnBrk="1" latinLnBrk="0" hangingPunct="1">
        <a:lnSpc>
          <a:spcPct val="90000"/>
        </a:lnSpc>
        <a:spcBef>
          <a:spcPts val="170"/>
        </a:spcBef>
        <a:buFont typeface="Arial Narrow" pitchFamily="34" charset="0"/>
        <a:buChar char="-"/>
        <a:defRPr lang="en-US" sz="1800" b="0" kern="1200" dirty="0">
          <a:solidFill>
            <a:schemeClr val="tx1"/>
          </a:solidFill>
          <a:latin typeface="+mn-lt"/>
          <a:ea typeface="+mn-ea"/>
          <a:cs typeface="+mn-cs"/>
          <a:sym typeface="+mn-lt"/>
        </a:defRPr>
      </a:lvl4pPr>
      <a:lvl5pPr marL="595176" indent="0" algn="l" defTabSz="779252" rtl="0" eaLnBrk="1" latinLnBrk="0" hangingPunct="1">
        <a:lnSpc>
          <a:spcPct val="93000"/>
        </a:lnSpc>
        <a:spcBef>
          <a:spcPts val="0"/>
        </a:spcBef>
        <a:buFont typeface="Arial Narrow" pitchFamily="34" charset="0"/>
        <a:buNone/>
        <a:defRPr sz="1400" kern="1200">
          <a:solidFill>
            <a:schemeClr val="tx1"/>
          </a:solidFill>
          <a:latin typeface="Arial Narrow" pitchFamily="34" charset="0"/>
          <a:ea typeface="+mn-ea"/>
          <a:cs typeface="+mn-cs"/>
        </a:defRPr>
      </a:lvl5pPr>
      <a:lvl6pPr marL="2142942" indent="-194813" algn="l" defTabSz="779252" rtl="0" eaLnBrk="1" latinLnBrk="0" hangingPunct="1">
        <a:spcBef>
          <a:spcPct val="20000"/>
        </a:spcBef>
        <a:buFont typeface="Arial Narrow" pitchFamily="34" charset="0"/>
        <a:buChar char="•"/>
        <a:defRPr sz="1700" kern="1200">
          <a:solidFill>
            <a:schemeClr val="tx1"/>
          </a:solidFill>
          <a:latin typeface="+mn-lt"/>
          <a:ea typeface="+mn-ea"/>
          <a:cs typeface="+mn-cs"/>
        </a:defRPr>
      </a:lvl6pPr>
      <a:lvl7pPr marL="2532568" indent="-194813" algn="l" defTabSz="779252" rtl="0" eaLnBrk="1" latinLnBrk="0" hangingPunct="1">
        <a:spcBef>
          <a:spcPct val="20000"/>
        </a:spcBef>
        <a:buFont typeface="Arial Narrow" pitchFamily="34" charset="0"/>
        <a:buChar char="•"/>
        <a:defRPr sz="1700" kern="1200">
          <a:solidFill>
            <a:schemeClr val="tx1"/>
          </a:solidFill>
          <a:latin typeface="+mn-lt"/>
          <a:ea typeface="+mn-ea"/>
          <a:cs typeface="+mn-cs"/>
        </a:defRPr>
      </a:lvl7pPr>
      <a:lvl8pPr marL="2922194" indent="-194813" algn="l" defTabSz="779252" rtl="0" eaLnBrk="1" latinLnBrk="0" hangingPunct="1">
        <a:spcBef>
          <a:spcPct val="20000"/>
        </a:spcBef>
        <a:buFont typeface="Arial Narrow" pitchFamily="34" charset="0"/>
        <a:buChar char="•"/>
        <a:defRPr sz="1700" kern="1200">
          <a:solidFill>
            <a:schemeClr val="tx1"/>
          </a:solidFill>
          <a:latin typeface="+mn-lt"/>
          <a:ea typeface="+mn-ea"/>
          <a:cs typeface="+mn-cs"/>
        </a:defRPr>
      </a:lvl8pPr>
      <a:lvl9pPr marL="3311820" indent="-194813" algn="l" defTabSz="779252" rtl="0" eaLnBrk="1" latinLnBrk="0" hangingPunct="1">
        <a:spcBef>
          <a:spcPct val="20000"/>
        </a:spcBef>
        <a:buFont typeface="Arial Narrow" pitchFamily="34" charset="0"/>
        <a:buChar char="•"/>
        <a:defRPr sz="1700" kern="1200">
          <a:solidFill>
            <a:schemeClr val="tx1"/>
          </a:solidFill>
          <a:latin typeface="+mn-lt"/>
          <a:ea typeface="+mn-ea"/>
          <a:cs typeface="+mn-cs"/>
        </a:defRPr>
      </a:lvl9pPr>
    </p:bodyStyle>
    <p:otherStyle>
      <a:defPPr>
        <a:defRPr lang="en-US"/>
      </a:defPPr>
      <a:lvl1pPr marL="0" algn="l" defTabSz="779252" rtl="0" eaLnBrk="1" latinLnBrk="0" hangingPunct="1">
        <a:defRPr sz="1500" kern="1200">
          <a:solidFill>
            <a:schemeClr val="tx1"/>
          </a:solidFill>
          <a:latin typeface="+mn-lt"/>
          <a:ea typeface="+mn-ea"/>
          <a:cs typeface="+mn-cs"/>
        </a:defRPr>
      </a:lvl1pPr>
      <a:lvl2pPr marL="389626" algn="l" defTabSz="779252" rtl="0" eaLnBrk="1" latinLnBrk="0" hangingPunct="1">
        <a:defRPr sz="1500" kern="1200">
          <a:solidFill>
            <a:schemeClr val="tx1"/>
          </a:solidFill>
          <a:latin typeface="+mn-lt"/>
          <a:ea typeface="+mn-ea"/>
          <a:cs typeface="+mn-cs"/>
        </a:defRPr>
      </a:lvl2pPr>
      <a:lvl3pPr marL="779252" algn="l" defTabSz="779252" rtl="0" eaLnBrk="1" latinLnBrk="0" hangingPunct="1">
        <a:defRPr sz="1500" kern="1200">
          <a:solidFill>
            <a:schemeClr val="tx1"/>
          </a:solidFill>
          <a:latin typeface="+mn-lt"/>
          <a:ea typeface="+mn-ea"/>
          <a:cs typeface="+mn-cs"/>
        </a:defRPr>
      </a:lvl3pPr>
      <a:lvl4pPr marL="1168878" algn="l" defTabSz="779252" rtl="0" eaLnBrk="1" latinLnBrk="0" hangingPunct="1">
        <a:defRPr sz="1500" kern="1200">
          <a:solidFill>
            <a:schemeClr val="tx1"/>
          </a:solidFill>
          <a:latin typeface="+mn-lt"/>
          <a:ea typeface="+mn-ea"/>
          <a:cs typeface="+mn-cs"/>
        </a:defRPr>
      </a:lvl4pPr>
      <a:lvl5pPr marL="1558503" algn="l" defTabSz="779252" rtl="0" eaLnBrk="1" latinLnBrk="0" hangingPunct="1">
        <a:defRPr sz="1500" kern="1200">
          <a:solidFill>
            <a:schemeClr val="tx1"/>
          </a:solidFill>
          <a:latin typeface="+mn-lt"/>
          <a:ea typeface="+mn-ea"/>
          <a:cs typeface="+mn-cs"/>
        </a:defRPr>
      </a:lvl5pPr>
      <a:lvl6pPr marL="1948129" algn="l" defTabSz="779252" rtl="0" eaLnBrk="1" latinLnBrk="0" hangingPunct="1">
        <a:defRPr sz="1500" kern="1200">
          <a:solidFill>
            <a:schemeClr val="tx1"/>
          </a:solidFill>
          <a:latin typeface="+mn-lt"/>
          <a:ea typeface="+mn-ea"/>
          <a:cs typeface="+mn-cs"/>
        </a:defRPr>
      </a:lvl6pPr>
      <a:lvl7pPr marL="2337755" algn="l" defTabSz="779252" rtl="0" eaLnBrk="1" latinLnBrk="0" hangingPunct="1">
        <a:defRPr sz="1500" kern="1200">
          <a:solidFill>
            <a:schemeClr val="tx1"/>
          </a:solidFill>
          <a:latin typeface="+mn-lt"/>
          <a:ea typeface="+mn-ea"/>
          <a:cs typeface="+mn-cs"/>
        </a:defRPr>
      </a:lvl7pPr>
      <a:lvl8pPr marL="2727381" algn="l" defTabSz="779252" rtl="0" eaLnBrk="1" latinLnBrk="0" hangingPunct="1">
        <a:defRPr sz="1500" kern="1200">
          <a:solidFill>
            <a:schemeClr val="tx1"/>
          </a:solidFill>
          <a:latin typeface="+mn-lt"/>
          <a:ea typeface="+mn-ea"/>
          <a:cs typeface="+mn-cs"/>
        </a:defRPr>
      </a:lvl8pPr>
      <a:lvl9pPr marL="3117007" algn="l" defTabSz="779252" rtl="0" eaLnBrk="1" latinLnBrk="0" hangingPunct="1">
        <a:defRPr sz="15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Do not delete this th-style object!!!!" hidden="1"/>
          <p:cNvGraphicFramePr>
            <a:graphicFrameLocks noChangeAspect="1"/>
          </p:cNvGraphicFramePr>
          <p:nvPr>
            <p:custDataLst>
              <p:tags r:id="rId13"/>
            </p:custDataLst>
            <p:extLst>
              <p:ext uri="{D42A27DB-BD31-4B8C-83A1-F6EECF244321}">
                <p14:modId xmlns:p14="http://schemas.microsoft.com/office/powerpoint/2010/main" xmlns="" val="2927735506"/>
              </p:ext>
            </p:extLst>
          </p:nvPr>
        </p:nvGraphicFramePr>
        <p:xfrm>
          <a:off x="1495" y="1194"/>
          <a:ext cx="1465" cy="1190"/>
        </p:xfrm>
        <a:graphic>
          <a:graphicData uri="http://schemas.openxmlformats.org/presentationml/2006/ole">
            <p:oleObj spid="_x0000_s3090" name="think-cell Slide" r:id="rId14" imgW="360" imgH="360" progId="">
              <p:embed/>
            </p:oleObj>
          </a:graphicData>
        </a:graphic>
      </p:graphicFrame>
      <p:sp>
        <p:nvSpPr>
          <p:cNvPr id="42" name="!!!Do not delete this text object!!!!_2" hidden="1"/>
          <p:cNvSpPr/>
          <p:nvPr/>
        </p:nvSpPr>
        <p:spPr>
          <a:xfrm>
            <a:off x="9204923" y="43466"/>
            <a:ext cx="29908" cy="24300"/>
          </a:xfrm>
          <a:prstGeom prst="ellipse">
            <a:avLst/>
          </a:prstGeom>
          <a:solidFill>
            <a:schemeClr val="bg1">
              <a:lumMod val="75000"/>
            </a:schemeClr>
          </a:solidFill>
          <a:ln w="9525" cmpd="sng">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ctr" fontAlgn="base">
              <a:lnSpc>
                <a:spcPct val="93000"/>
              </a:lnSpc>
              <a:spcBef>
                <a:spcPts val="256"/>
              </a:spcBef>
              <a:spcAft>
                <a:spcPct val="0"/>
              </a:spcAft>
            </a:pPr>
            <a:r>
              <a:rPr lang="en-US" sz="200" b="1" dirty="0" smtClean="0">
                <a:solidFill>
                  <a:srgbClr val="FFFFFF"/>
                </a:solidFill>
                <a:sym typeface="+mn-lt"/>
              </a:rPr>
              <a:t>1</a:t>
            </a:r>
          </a:p>
        </p:txBody>
      </p:sp>
      <p:sp>
        <p:nvSpPr>
          <p:cNvPr id="43" name="!!!Do not delete this text object!!!!" hidden="1"/>
          <p:cNvSpPr txBox="1"/>
          <p:nvPr/>
        </p:nvSpPr>
        <p:spPr>
          <a:xfrm>
            <a:off x="9204943" y="69553"/>
            <a:ext cx="585097" cy="30778"/>
          </a:xfrm>
          <a:prstGeom prst="rect">
            <a:avLst/>
          </a:prstGeom>
          <a:noFill/>
        </p:spPr>
        <p:txBody>
          <a:bodyPr vert="horz" wrap="none" lIns="0" tIns="0" rIns="0" bIns="0" rtlCol="0">
            <a:spAutoFit/>
          </a:bodyPr>
          <a:lstStyle>
            <a:defPPr>
              <a:defRPr lang="de-DE"/>
            </a:defPPr>
            <a:lvl1pPr algn="l" rtl="0" fontAlgn="base">
              <a:spcBef>
                <a:spcPct val="0"/>
              </a:spcBef>
              <a:spcAft>
                <a:spcPct val="0"/>
              </a:spcAft>
              <a:defRPr sz="1300" b="1" kern="1200">
                <a:solidFill>
                  <a:schemeClr val="tx1"/>
                </a:solidFill>
                <a:latin typeface="Arial Narrow" charset="0"/>
                <a:ea typeface="+mn-ea"/>
                <a:cs typeface="+mn-cs"/>
              </a:defRPr>
            </a:lvl1pPr>
            <a:lvl2pPr marL="457200" algn="l" rtl="0" fontAlgn="base">
              <a:spcBef>
                <a:spcPct val="0"/>
              </a:spcBef>
              <a:spcAft>
                <a:spcPct val="0"/>
              </a:spcAft>
              <a:defRPr sz="1300" b="1" kern="1200">
                <a:solidFill>
                  <a:schemeClr val="tx1"/>
                </a:solidFill>
                <a:latin typeface="Arial Narrow" charset="0"/>
                <a:ea typeface="+mn-ea"/>
                <a:cs typeface="+mn-cs"/>
              </a:defRPr>
            </a:lvl2pPr>
            <a:lvl3pPr marL="914400" algn="l" rtl="0" fontAlgn="base">
              <a:spcBef>
                <a:spcPct val="0"/>
              </a:spcBef>
              <a:spcAft>
                <a:spcPct val="0"/>
              </a:spcAft>
              <a:defRPr sz="1300" b="1" kern="1200">
                <a:solidFill>
                  <a:schemeClr val="tx1"/>
                </a:solidFill>
                <a:latin typeface="Arial Narrow" charset="0"/>
                <a:ea typeface="+mn-ea"/>
                <a:cs typeface="+mn-cs"/>
              </a:defRPr>
            </a:lvl3pPr>
            <a:lvl4pPr marL="1371600" algn="l" rtl="0" fontAlgn="base">
              <a:spcBef>
                <a:spcPct val="0"/>
              </a:spcBef>
              <a:spcAft>
                <a:spcPct val="0"/>
              </a:spcAft>
              <a:defRPr sz="1300" b="1" kern="1200">
                <a:solidFill>
                  <a:schemeClr val="tx1"/>
                </a:solidFill>
                <a:latin typeface="Arial Narrow" charset="0"/>
                <a:ea typeface="+mn-ea"/>
                <a:cs typeface="+mn-cs"/>
              </a:defRPr>
            </a:lvl4pPr>
            <a:lvl5pPr marL="1828800" algn="l" rtl="0" fontAlgn="base">
              <a:spcBef>
                <a:spcPct val="0"/>
              </a:spcBef>
              <a:spcAft>
                <a:spcPct val="0"/>
              </a:spcAft>
              <a:defRPr sz="1300" b="1" kern="1200">
                <a:solidFill>
                  <a:schemeClr val="tx1"/>
                </a:solidFill>
                <a:latin typeface="Arial Narrow" charset="0"/>
                <a:ea typeface="+mn-ea"/>
                <a:cs typeface="+mn-cs"/>
              </a:defRPr>
            </a:lvl5pPr>
            <a:lvl6pPr marL="2286000" algn="l" defTabSz="914400" rtl="0" eaLnBrk="1" latinLnBrk="0" hangingPunct="1">
              <a:defRPr sz="1300" b="1" kern="1200">
                <a:solidFill>
                  <a:schemeClr val="tx1"/>
                </a:solidFill>
                <a:latin typeface="Arial Narrow" charset="0"/>
                <a:ea typeface="+mn-ea"/>
                <a:cs typeface="+mn-cs"/>
              </a:defRPr>
            </a:lvl6pPr>
            <a:lvl7pPr marL="2743200" algn="l" defTabSz="914400" rtl="0" eaLnBrk="1" latinLnBrk="0" hangingPunct="1">
              <a:defRPr sz="1300" b="1" kern="1200">
                <a:solidFill>
                  <a:schemeClr val="tx1"/>
                </a:solidFill>
                <a:latin typeface="Arial Narrow" charset="0"/>
                <a:ea typeface="+mn-ea"/>
                <a:cs typeface="+mn-cs"/>
              </a:defRPr>
            </a:lvl7pPr>
            <a:lvl8pPr marL="3200400" algn="l" defTabSz="914400" rtl="0" eaLnBrk="1" latinLnBrk="0" hangingPunct="1">
              <a:defRPr sz="1300" b="1" kern="1200">
                <a:solidFill>
                  <a:schemeClr val="tx1"/>
                </a:solidFill>
                <a:latin typeface="Arial Narrow" charset="0"/>
                <a:ea typeface="+mn-ea"/>
                <a:cs typeface="+mn-cs"/>
              </a:defRPr>
            </a:lvl8pPr>
            <a:lvl9pPr marL="3657600" algn="l" defTabSz="914400" rtl="0" eaLnBrk="1" latinLnBrk="0" hangingPunct="1">
              <a:defRPr sz="1300" b="1" kern="1200">
                <a:solidFill>
                  <a:schemeClr val="tx1"/>
                </a:solidFill>
                <a:latin typeface="Arial Narrow" charset="0"/>
                <a:ea typeface="+mn-ea"/>
                <a:cs typeface="+mn-cs"/>
              </a:defRPr>
            </a:lvl9pPr>
          </a:lstStyle>
          <a:p>
            <a:pPr defTabSz="779252">
              <a:buClr>
                <a:srgbClr val="000000"/>
              </a:buClr>
              <a:buSzPct val="100000"/>
              <a:defRPr/>
            </a:pPr>
            <a:r>
              <a:rPr lang="en-US" sz="200" b="0" noProof="1" smtClean="0">
                <a:solidFill>
                  <a:srgbClr val="FFFFFF">
                    <a:lumMod val="75000"/>
                  </a:srgbClr>
                </a:solidFill>
                <a:latin typeface="Arial Narrow"/>
                <a:sym typeface="+mn-lt"/>
              </a:rPr>
              <a:t>A4_RBSC_PPT– 2013-10_v01 – do not delete this text object! </a:t>
            </a:r>
          </a:p>
        </p:txBody>
      </p:sp>
      <p:sp>
        <p:nvSpPr>
          <p:cNvPr id="52" name="Slide Number"/>
          <p:cNvSpPr txBox="1">
            <a:spLocks noChangeArrowheads="1"/>
          </p:cNvSpPr>
          <p:nvPr/>
        </p:nvSpPr>
        <p:spPr bwMode="auto">
          <a:xfrm>
            <a:off x="8663354" y="5032800"/>
            <a:ext cx="100990" cy="110800"/>
          </a:xfrm>
          <a:prstGeom prst="rect">
            <a:avLst/>
          </a:prstGeom>
          <a:noFill/>
          <a:ln w="9525">
            <a:noFill/>
            <a:miter lim="800000"/>
            <a:headEnd/>
            <a:tailEnd/>
          </a:ln>
          <a:effectLst/>
        </p:spPr>
        <p:txBody>
          <a:bodyPr vert="horz" wrap="none" lIns="0" tIns="0" rIns="0" bIns="0" numCol="1" anchor="t" anchorCtr="0" compatLnSpc="1">
            <a:prstTxWarp prst="textNoShape">
              <a:avLst/>
            </a:prstTxWarp>
            <a:spAutoFit/>
          </a:bodyPr>
          <a:lstStyle>
            <a:lvl1pPr>
              <a:defRPr sz="900" b="0" smtClean="0"/>
            </a:lvl1pPr>
          </a:lstStyle>
          <a:p>
            <a:pPr defTabSz="779252" fontAlgn="base">
              <a:lnSpc>
                <a:spcPct val="90000"/>
              </a:lnSpc>
              <a:spcBef>
                <a:spcPct val="0"/>
              </a:spcBef>
              <a:spcAft>
                <a:spcPct val="0"/>
              </a:spcAft>
              <a:defRPr/>
            </a:pPr>
            <a:fld id="{7AA7B471-74A3-4F5F-8955-6C99E2375CAC}" type="slidenum">
              <a:rPr lang="en-US" sz="800" noProof="1" dirty="0">
                <a:solidFill>
                  <a:srgbClr val="716D6D"/>
                </a:solidFill>
                <a:sym typeface="+mn-lt"/>
              </a:rPr>
              <a:pPr defTabSz="779252" fontAlgn="base">
                <a:lnSpc>
                  <a:spcPct val="90000"/>
                </a:lnSpc>
                <a:spcBef>
                  <a:spcPct val="0"/>
                </a:spcBef>
                <a:spcAft>
                  <a:spcPct val="0"/>
                </a:spcAft>
                <a:defRPr/>
              </a:pPr>
              <a:t>‹#›</a:t>
            </a:fld>
            <a:endParaRPr lang="en-US" sz="800" noProof="1">
              <a:solidFill>
                <a:srgbClr val="716D6D"/>
              </a:solidFill>
              <a:sym typeface="+mn-lt"/>
            </a:endParaRPr>
          </a:p>
        </p:txBody>
      </p:sp>
      <p:sp>
        <p:nvSpPr>
          <p:cNvPr id="53" name="Slide Number Line"/>
          <p:cNvSpPr>
            <a:spLocks noChangeShapeType="1"/>
          </p:cNvSpPr>
          <p:nvPr/>
        </p:nvSpPr>
        <p:spPr bwMode="auto">
          <a:xfrm>
            <a:off x="8556381" y="5032835"/>
            <a:ext cx="0" cy="92869"/>
          </a:xfrm>
          <a:prstGeom prst="line">
            <a:avLst/>
          </a:prstGeom>
          <a:noFill/>
          <a:ln w="9525">
            <a:solidFill>
              <a:schemeClr val="tx2"/>
            </a:solidFill>
            <a:round/>
            <a:headEnd/>
            <a:tailEnd/>
          </a:ln>
          <a:effectLst/>
        </p:spPr>
        <p:txBody>
          <a:bodyPr wrap="none" lIns="0" tIns="0" rIns="0" bIns="0" anchor="ctr">
            <a:spAutoFit/>
          </a:bodyPr>
          <a:lstStyle/>
          <a:p>
            <a:pPr fontAlgn="base">
              <a:lnSpc>
                <a:spcPct val="90000"/>
              </a:lnSpc>
              <a:spcBef>
                <a:spcPct val="0"/>
              </a:spcBef>
              <a:spcAft>
                <a:spcPct val="0"/>
              </a:spcAft>
              <a:defRPr/>
            </a:pPr>
            <a:endParaRPr lang="en-US" sz="800" b="1" noProof="1">
              <a:solidFill>
                <a:srgbClr val="716D6D"/>
              </a:solidFill>
              <a:sym typeface="+mn-lt"/>
            </a:endParaRPr>
          </a:p>
        </p:txBody>
      </p:sp>
      <p:sp>
        <p:nvSpPr>
          <p:cNvPr id="57" name="Source" hidden="1"/>
          <p:cNvSpPr txBox="1"/>
          <p:nvPr/>
        </p:nvSpPr>
        <p:spPr>
          <a:xfrm>
            <a:off x="681405" y="5015279"/>
            <a:ext cx="437620" cy="110800"/>
          </a:xfrm>
          <a:prstGeom prst="rect">
            <a:avLst/>
          </a:prstGeom>
          <a:noFill/>
          <a:ln w="9525">
            <a:noFill/>
          </a:ln>
        </p:spPr>
        <p:txBody>
          <a:bodyPr vert="horz" wrap="none" lIns="0" tIns="0" rIns="0" bIns="0" rtlCol="0" anchor="b" anchorCtr="0">
            <a:spAutoFit/>
          </a:bodyPr>
          <a:lstStyle/>
          <a:p>
            <a:pPr fontAlgn="base">
              <a:lnSpc>
                <a:spcPct val="90000"/>
              </a:lnSpc>
              <a:spcBef>
                <a:spcPct val="0"/>
              </a:spcBef>
              <a:spcAft>
                <a:spcPct val="0"/>
              </a:spcAft>
              <a:buSzPct val="100000"/>
            </a:pPr>
            <a:r>
              <a:rPr lang="en-US" sz="800" dirty="0" smtClean="0">
                <a:solidFill>
                  <a:srgbClr val="000000"/>
                </a:solidFill>
                <a:sym typeface="+mn-lt"/>
              </a:rPr>
              <a:t>Source: xxx</a:t>
            </a:r>
          </a:p>
        </p:txBody>
      </p:sp>
      <p:sp>
        <p:nvSpPr>
          <p:cNvPr id="56" name="Notes" hidden="1"/>
          <p:cNvSpPr txBox="1"/>
          <p:nvPr/>
        </p:nvSpPr>
        <p:spPr>
          <a:xfrm>
            <a:off x="681405" y="4792360"/>
            <a:ext cx="254878" cy="124650"/>
          </a:xfrm>
          <a:prstGeom prst="rect">
            <a:avLst/>
          </a:prstGeom>
          <a:noFill/>
          <a:ln w="9525">
            <a:noFill/>
          </a:ln>
        </p:spPr>
        <p:txBody>
          <a:bodyPr vert="horz" wrap="none" lIns="0" tIns="0" rIns="0" bIns="0" rtlCol="0" anchor="b" anchorCtr="0">
            <a:spAutoFit/>
          </a:bodyPr>
          <a:lstStyle/>
          <a:p>
            <a:pPr fontAlgn="base">
              <a:lnSpc>
                <a:spcPct val="90000"/>
              </a:lnSpc>
              <a:spcBef>
                <a:spcPct val="0"/>
              </a:spcBef>
              <a:spcAft>
                <a:spcPct val="0"/>
              </a:spcAft>
              <a:buSzPct val="100000"/>
            </a:pPr>
            <a:r>
              <a:rPr lang="en-US" sz="900" dirty="0" smtClean="0">
                <a:solidFill>
                  <a:srgbClr val="000000"/>
                </a:solidFill>
                <a:sym typeface="+mn-lt"/>
              </a:rPr>
              <a:t>1) xxx</a:t>
            </a:r>
          </a:p>
        </p:txBody>
      </p:sp>
      <p:grpSp>
        <p:nvGrpSpPr>
          <p:cNvPr id="13" name="Legend" hidden="1"/>
          <p:cNvGrpSpPr/>
          <p:nvPr/>
        </p:nvGrpSpPr>
        <p:grpSpPr>
          <a:xfrm>
            <a:off x="681407" y="4646449"/>
            <a:ext cx="592887" cy="125750"/>
            <a:chOff x="738189" y="6195259"/>
            <a:chExt cx="642294" cy="167666"/>
          </a:xfrm>
        </p:grpSpPr>
        <p:sp>
          <p:nvSpPr>
            <p:cNvPr id="49" name="LegendIcon"/>
            <p:cNvSpPr/>
            <p:nvPr/>
          </p:nvSpPr>
          <p:spPr>
            <a:xfrm>
              <a:off x="738189" y="6195259"/>
              <a:ext cx="215900" cy="146050"/>
            </a:xfrm>
            <a:prstGeom prst="rect">
              <a:avLst/>
            </a:prstGeom>
            <a:noFill/>
            <a:ln w="9525" cap="flat" cmpd="sng" algn="ctr">
              <a:solidFill>
                <a:schemeClr val="accent3"/>
              </a:solidFill>
              <a:prstDash val="solid"/>
            </a:ln>
            <a:effectLst/>
          </p:spPr>
          <p:txBody>
            <a:bodyPr lIns="0" tIns="0" rIns="0" bIns="0" rtlCol="0" anchor="ctr"/>
            <a:lstStyle/>
            <a:p>
              <a:pPr algn="ctr" defTabSz="779252">
                <a:lnSpc>
                  <a:spcPct val="90000"/>
                </a:lnSpc>
                <a:defRPr/>
              </a:pPr>
              <a:endParaRPr lang="en-US" sz="1100" kern="0" dirty="0" smtClean="0">
                <a:solidFill>
                  <a:srgbClr val="000000"/>
                </a:solidFill>
                <a:sym typeface="+mn-lt"/>
              </a:endParaRPr>
            </a:p>
          </p:txBody>
        </p:sp>
        <p:sp>
          <p:nvSpPr>
            <p:cNvPr id="50" name="LegendText"/>
            <p:cNvSpPr txBox="1"/>
            <p:nvPr/>
          </p:nvSpPr>
          <p:spPr>
            <a:xfrm>
              <a:off x="1036639" y="6196726"/>
              <a:ext cx="343844" cy="166199"/>
            </a:xfrm>
            <a:prstGeom prst="rect">
              <a:avLst/>
            </a:prstGeom>
            <a:noFill/>
            <a:ln w="9525">
              <a:noFill/>
            </a:ln>
          </p:spPr>
          <p:txBody>
            <a:bodyPr vert="horz" wrap="none" lIns="0" tIns="0" rIns="0" bIns="0" rtlCol="0" anchor="t" anchorCtr="0">
              <a:spAutoFit/>
            </a:bodyPr>
            <a:lstStyle/>
            <a:p>
              <a:pPr defTabSz="779252">
                <a:lnSpc>
                  <a:spcPct val="90000"/>
                </a:lnSpc>
                <a:buClr>
                  <a:srgbClr val="000000"/>
                </a:buClr>
                <a:buSzPct val="100000"/>
                <a:defRPr/>
              </a:pPr>
              <a:r>
                <a:rPr lang="en-US" sz="900" kern="0" dirty="0" smtClean="0">
                  <a:solidFill>
                    <a:sysClr val="windowText" lastClr="000000"/>
                  </a:solidFill>
                  <a:sym typeface="+mn-lt"/>
                </a:rPr>
                <a:t>Legend</a:t>
              </a:r>
            </a:p>
          </p:txBody>
        </p:sp>
      </p:grpSp>
      <p:sp>
        <p:nvSpPr>
          <p:cNvPr id="45" name="Formatted_text" hidden="1"/>
          <p:cNvSpPr txBox="1">
            <a:spLocks/>
          </p:cNvSpPr>
          <p:nvPr/>
        </p:nvSpPr>
        <p:spPr>
          <a:xfrm>
            <a:off x="681405" y="1619249"/>
            <a:ext cx="1827692" cy="874085"/>
          </a:xfrm>
          <a:prstGeom prst="rect">
            <a:avLst/>
          </a:prstGeom>
          <a:noFill/>
          <a:ln w="9525">
            <a:noFill/>
          </a:ln>
        </p:spPr>
        <p:txBody>
          <a:bodyPr vert="horz" wrap="square" lIns="0" tIns="0" rIns="0" bIns="0" rtlCol="0">
            <a:spAutoFit/>
          </a:bodyPr>
          <a:lstStyle/>
          <a:p>
            <a:pPr fontAlgn="base">
              <a:lnSpc>
                <a:spcPct val="90000"/>
              </a:lnSpc>
              <a:spcBef>
                <a:spcPct val="0"/>
              </a:spcBef>
              <a:spcAft>
                <a:spcPct val="0"/>
              </a:spcAft>
              <a:buClr>
                <a:srgbClr val="000000"/>
              </a:buClr>
              <a:buSzPct val="100000"/>
            </a:pPr>
            <a:r>
              <a:rPr lang="en-US" sz="1300" b="1" dirty="0" smtClean="0">
                <a:solidFill>
                  <a:srgbClr val="000000"/>
                </a:solidFill>
                <a:sym typeface="+mn-lt"/>
              </a:rPr>
              <a:t>15 Point Text: Level 0</a:t>
            </a:r>
            <a:endParaRPr lang="en-US" sz="1300" dirty="0" smtClean="0">
              <a:solidFill>
                <a:srgbClr val="000000"/>
              </a:solidFill>
              <a:sym typeface="+mn-lt"/>
            </a:endParaRPr>
          </a:p>
          <a:p>
            <a:pPr marL="140247" lvl="1" indent="-140247" fontAlgn="base">
              <a:lnSpc>
                <a:spcPct val="90000"/>
              </a:lnSpc>
              <a:spcBef>
                <a:spcPts val="682"/>
              </a:spcBef>
              <a:spcAft>
                <a:spcPct val="0"/>
              </a:spcAft>
              <a:buClr>
                <a:srgbClr val="000000"/>
              </a:buClr>
              <a:buSzPct val="100000"/>
              <a:buFont typeface="Arial Narrow"/>
              <a:buChar char="&gt;"/>
            </a:pPr>
            <a:r>
              <a:rPr lang="en-US" sz="1300" dirty="0" smtClean="0">
                <a:solidFill>
                  <a:srgbClr val="000000"/>
                </a:solidFill>
                <a:sym typeface="+mn-lt"/>
              </a:rPr>
              <a:t>Level 1</a:t>
            </a:r>
          </a:p>
          <a:p>
            <a:pPr marL="293643" lvl="2" indent="-142438" fontAlgn="base">
              <a:lnSpc>
                <a:spcPct val="90000"/>
              </a:lnSpc>
              <a:spcBef>
                <a:spcPts val="341"/>
              </a:spcBef>
              <a:spcAft>
                <a:spcPct val="0"/>
              </a:spcAft>
              <a:buClr>
                <a:srgbClr val="000000"/>
              </a:buClr>
              <a:buSzPct val="100000"/>
              <a:buFont typeface="Arial Narrow"/>
              <a:buChar char="–"/>
            </a:pPr>
            <a:r>
              <a:rPr lang="en-US" sz="1300" dirty="0" smtClean="0">
                <a:solidFill>
                  <a:srgbClr val="000000"/>
                </a:solidFill>
                <a:sym typeface="+mn-lt"/>
              </a:rPr>
              <a:t>Level 2</a:t>
            </a:r>
          </a:p>
          <a:p>
            <a:pPr marL="425126" lvl="3" indent="-122717" fontAlgn="base">
              <a:lnSpc>
                <a:spcPct val="90000"/>
              </a:lnSpc>
              <a:spcBef>
                <a:spcPts val="170"/>
              </a:spcBef>
              <a:spcAft>
                <a:spcPct val="0"/>
              </a:spcAft>
              <a:buClr>
                <a:srgbClr val="000000"/>
              </a:buClr>
              <a:buSzPct val="100000"/>
              <a:buFont typeface="Arial Narrow"/>
              <a:buChar char="-"/>
            </a:pPr>
            <a:r>
              <a:rPr lang="en-US" sz="1300" dirty="0" smtClean="0">
                <a:solidFill>
                  <a:srgbClr val="000000"/>
                </a:solidFill>
                <a:sym typeface="+mn-lt"/>
              </a:rPr>
              <a:t>Level 3</a:t>
            </a:r>
          </a:p>
        </p:txBody>
      </p:sp>
      <p:sp>
        <p:nvSpPr>
          <p:cNvPr id="51" name="Subtitle" hidden="1"/>
          <p:cNvSpPr txBox="1">
            <a:spLocks/>
          </p:cNvSpPr>
          <p:nvPr/>
        </p:nvSpPr>
        <p:spPr>
          <a:xfrm>
            <a:off x="681231" y="1282507"/>
            <a:ext cx="7879374" cy="249299"/>
          </a:xfrm>
          <a:prstGeom prst="rect">
            <a:avLst/>
          </a:prstGeom>
          <a:noFill/>
          <a:ln w="9525">
            <a:noFill/>
          </a:ln>
        </p:spPr>
        <p:txBody>
          <a:bodyPr vert="horz" wrap="square" lIns="0" tIns="0" rIns="0" bIns="0" rtlCol="0">
            <a:spAutoFit/>
          </a:bodyPr>
          <a:lstStyle/>
          <a:p>
            <a:pPr fontAlgn="base">
              <a:lnSpc>
                <a:spcPct val="90000"/>
              </a:lnSpc>
              <a:spcBef>
                <a:spcPct val="0"/>
              </a:spcBef>
              <a:spcAft>
                <a:spcPct val="0"/>
              </a:spcAft>
              <a:buClr>
                <a:srgbClr val="000000"/>
              </a:buClr>
              <a:buSzPct val="100000"/>
            </a:pPr>
            <a:r>
              <a:rPr lang="en-US" sz="1800" dirty="0" smtClean="0">
                <a:solidFill>
                  <a:srgbClr val="716D6D"/>
                </a:solidFill>
                <a:sym typeface="+mn-lt"/>
              </a:rPr>
              <a:t>Subtitle</a:t>
            </a:r>
          </a:p>
        </p:txBody>
      </p:sp>
      <p:sp>
        <p:nvSpPr>
          <p:cNvPr id="3" name="Text Placeholder"/>
          <p:cNvSpPr>
            <a:spLocks noGrp="1"/>
          </p:cNvSpPr>
          <p:nvPr>
            <p:ph type="body" idx="1"/>
          </p:nvPr>
        </p:nvSpPr>
        <p:spPr>
          <a:xfrm>
            <a:off x="681231" y="1282500"/>
            <a:ext cx="7879374" cy="1189556"/>
          </a:xfrm>
          <a:prstGeom prst="rect">
            <a:avLst/>
          </a:prstGeom>
        </p:spPr>
        <p:txBody>
          <a:bodyPr vert="horz" lIns="0" tIns="0" rIns="0" bIns="0" rtlCol="0">
            <a:spAutoFit/>
          </a:bodyPr>
          <a:lstStyle/>
          <a:p>
            <a:pPr lvl="0"/>
            <a:r>
              <a:rPr lang="en-US" dirty="0" smtClean="0"/>
              <a:t>Click to edit Master text styles – Level 0</a:t>
            </a:r>
          </a:p>
          <a:p>
            <a:pPr lvl="1"/>
            <a:r>
              <a:rPr lang="en-US" dirty="0" smtClean="0"/>
              <a:t>Level 1</a:t>
            </a:r>
          </a:p>
          <a:p>
            <a:pPr lvl="2"/>
            <a:r>
              <a:rPr lang="en-US" dirty="0" smtClean="0"/>
              <a:t>Level 2</a:t>
            </a:r>
          </a:p>
          <a:p>
            <a:pPr lvl="3"/>
            <a:r>
              <a:rPr lang="en-US" dirty="0" smtClean="0"/>
              <a:t>Level 3</a:t>
            </a:r>
            <a:endParaRPr lang="en-US" dirty="0"/>
          </a:p>
        </p:txBody>
      </p:sp>
      <p:sp>
        <p:nvSpPr>
          <p:cNvPr id="2" name="Title Placeholder"/>
          <p:cNvSpPr>
            <a:spLocks noGrp="1"/>
          </p:cNvSpPr>
          <p:nvPr>
            <p:ph type="title"/>
          </p:nvPr>
        </p:nvSpPr>
        <p:spPr>
          <a:xfrm>
            <a:off x="681231" y="540008"/>
            <a:ext cx="7879374" cy="560923"/>
          </a:xfrm>
          <a:prstGeom prst="rect">
            <a:avLst/>
          </a:prstGeom>
        </p:spPr>
        <p:txBody>
          <a:bodyPr vert="horz" lIns="0" tIns="0" rIns="0" bIns="0" rtlCol="0" anchor="t" anchorCtr="0">
            <a:noAutofit/>
          </a:bodyPr>
          <a:lstStyle/>
          <a:p>
            <a:r>
              <a:rPr lang="en-US" noProof="0" smtClean="0"/>
              <a:t>Click to edit Master title style</a:t>
            </a:r>
            <a:endParaRPr lang="en-US" noProof="0" dirty="0"/>
          </a:p>
        </p:txBody>
      </p:sp>
      <p:grpSp>
        <p:nvGrpSpPr>
          <p:cNvPr id="12" name="Drawing grid" hidden="1"/>
          <p:cNvGrpSpPr/>
          <p:nvPr/>
        </p:nvGrpSpPr>
        <p:grpSpPr>
          <a:xfrm>
            <a:off x="0" y="0"/>
            <a:ext cx="9144000" cy="5143500"/>
            <a:chOff x="0" y="0"/>
            <a:chExt cx="9906000" cy="6858000"/>
          </a:xfrm>
        </p:grpSpPr>
        <p:cxnSp>
          <p:nvCxnSpPr>
            <p:cNvPr id="27" name="!!!Do not delete!!!" hidden="1"/>
            <p:cNvCxnSpPr/>
            <p:nvPr/>
          </p:nvCxnSpPr>
          <p:spPr>
            <a:xfrm>
              <a:off x="738000" y="0"/>
              <a:ext cx="0" cy="6858000"/>
            </a:xfrm>
            <a:prstGeom prst="line">
              <a:avLst/>
            </a:prstGeom>
            <a:ln w="3175" cap="sq">
              <a:solidFill>
                <a:schemeClr val="accent2">
                  <a:lumMod val="90000"/>
                </a:schemeClr>
              </a:solidFill>
              <a:prstDash val="sysDot"/>
            </a:ln>
            <a:effectLst/>
          </p:spPr>
          <p:style>
            <a:lnRef idx="1">
              <a:schemeClr val="accent1"/>
            </a:lnRef>
            <a:fillRef idx="0">
              <a:schemeClr val="accent1"/>
            </a:fillRef>
            <a:effectRef idx="0">
              <a:schemeClr val="accent1"/>
            </a:effectRef>
            <a:fontRef idx="minor">
              <a:schemeClr val="tx1"/>
            </a:fontRef>
          </p:style>
        </p:cxnSp>
        <p:cxnSp>
          <p:nvCxnSpPr>
            <p:cNvPr id="28" name="!!!Do not delete!!!" hidden="1"/>
            <p:cNvCxnSpPr/>
            <p:nvPr/>
          </p:nvCxnSpPr>
          <p:spPr>
            <a:xfrm>
              <a:off x="1083600" y="0"/>
              <a:ext cx="0" cy="720000"/>
            </a:xfrm>
            <a:prstGeom prst="line">
              <a:avLst/>
            </a:prstGeom>
            <a:ln w="3175" cap="sq">
              <a:solidFill>
                <a:schemeClr val="accent2">
                  <a:lumMod val="90000"/>
                </a:schemeClr>
              </a:solidFill>
              <a:prstDash val="sysDot"/>
            </a:ln>
            <a:effectLst/>
          </p:spPr>
          <p:style>
            <a:lnRef idx="1">
              <a:schemeClr val="accent1"/>
            </a:lnRef>
            <a:fillRef idx="0">
              <a:schemeClr val="accent1"/>
            </a:fillRef>
            <a:effectRef idx="0">
              <a:schemeClr val="accent1"/>
            </a:effectRef>
            <a:fontRef idx="minor">
              <a:schemeClr val="tx1"/>
            </a:fontRef>
          </p:style>
        </p:cxnSp>
        <p:cxnSp>
          <p:nvCxnSpPr>
            <p:cNvPr id="31" name="!!!Do not delete!!!" hidden="1"/>
            <p:cNvCxnSpPr/>
            <p:nvPr/>
          </p:nvCxnSpPr>
          <p:spPr>
            <a:xfrm>
              <a:off x="9271000" y="0"/>
              <a:ext cx="0" cy="6858000"/>
            </a:xfrm>
            <a:prstGeom prst="line">
              <a:avLst/>
            </a:prstGeom>
            <a:ln w="3175" cap="sq">
              <a:solidFill>
                <a:schemeClr val="accent2">
                  <a:lumMod val="90000"/>
                </a:schemeClr>
              </a:solidFill>
              <a:prstDash val="sysDot"/>
            </a:ln>
            <a:effectLst/>
          </p:spPr>
          <p:style>
            <a:lnRef idx="1">
              <a:schemeClr val="accent1"/>
            </a:lnRef>
            <a:fillRef idx="0">
              <a:schemeClr val="accent1"/>
            </a:fillRef>
            <a:effectRef idx="0">
              <a:schemeClr val="accent1"/>
            </a:effectRef>
            <a:fontRef idx="minor">
              <a:schemeClr val="tx1"/>
            </a:fontRef>
          </p:style>
        </p:cxnSp>
        <p:cxnSp>
          <p:nvCxnSpPr>
            <p:cNvPr id="32" name="!!!Do not delete!!!" hidden="1"/>
            <p:cNvCxnSpPr/>
            <p:nvPr/>
          </p:nvCxnSpPr>
          <p:spPr>
            <a:xfrm>
              <a:off x="0" y="221454"/>
              <a:ext cx="9906000" cy="0"/>
            </a:xfrm>
            <a:prstGeom prst="line">
              <a:avLst/>
            </a:prstGeom>
            <a:ln w="3175" cap="sq">
              <a:solidFill>
                <a:schemeClr val="accent2">
                  <a:lumMod val="90000"/>
                </a:schemeClr>
              </a:solidFill>
              <a:prstDash val="sysDot"/>
            </a:ln>
            <a:effectLst/>
          </p:spPr>
          <p:style>
            <a:lnRef idx="1">
              <a:schemeClr val="accent1"/>
            </a:lnRef>
            <a:fillRef idx="0">
              <a:schemeClr val="accent1"/>
            </a:fillRef>
            <a:effectRef idx="0">
              <a:schemeClr val="accent1"/>
            </a:effectRef>
            <a:fontRef idx="minor">
              <a:schemeClr val="tx1"/>
            </a:fontRef>
          </p:style>
        </p:cxnSp>
        <p:cxnSp>
          <p:nvCxnSpPr>
            <p:cNvPr id="33" name="!!!Do not delete!!!" hidden="1"/>
            <p:cNvCxnSpPr/>
            <p:nvPr/>
          </p:nvCxnSpPr>
          <p:spPr>
            <a:xfrm>
              <a:off x="0" y="496092"/>
              <a:ext cx="9906000" cy="0"/>
            </a:xfrm>
            <a:prstGeom prst="line">
              <a:avLst/>
            </a:prstGeom>
            <a:ln w="3175" cap="sq">
              <a:solidFill>
                <a:schemeClr val="accent2">
                  <a:lumMod val="90000"/>
                </a:schemeClr>
              </a:solidFill>
              <a:prstDash val="sysDot"/>
            </a:ln>
            <a:effectLst/>
          </p:spPr>
          <p:style>
            <a:lnRef idx="1">
              <a:schemeClr val="accent1"/>
            </a:lnRef>
            <a:fillRef idx="0">
              <a:schemeClr val="accent1"/>
            </a:fillRef>
            <a:effectRef idx="0">
              <a:schemeClr val="accent1"/>
            </a:effectRef>
            <a:fontRef idx="minor">
              <a:schemeClr val="tx1"/>
            </a:fontRef>
          </p:style>
        </p:cxnSp>
        <p:cxnSp>
          <p:nvCxnSpPr>
            <p:cNvPr id="34" name="!!!Do not delete!!!" hidden="1"/>
            <p:cNvCxnSpPr/>
            <p:nvPr/>
          </p:nvCxnSpPr>
          <p:spPr>
            <a:xfrm>
              <a:off x="0" y="720000"/>
              <a:ext cx="9906000" cy="0"/>
            </a:xfrm>
            <a:prstGeom prst="line">
              <a:avLst/>
            </a:prstGeom>
            <a:ln w="3175" cap="sq">
              <a:solidFill>
                <a:schemeClr val="accent2">
                  <a:lumMod val="90000"/>
                </a:schemeClr>
              </a:solidFill>
              <a:prstDash val="sysDot"/>
            </a:ln>
            <a:effectLst/>
          </p:spPr>
          <p:style>
            <a:lnRef idx="1">
              <a:schemeClr val="accent1"/>
            </a:lnRef>
            <a:fillRef idx="0">
              <a:schemeClr val="accent1"/>
            </a:fillRef>
            <a:effectRef idx="0">
              <a:schemeClr val="accent1"/>
            </a:effectRef>
            <a:fontRef idx="minor">
              <a:schemeClr val="tx1"/>
            </a:fontRef>
          </p:style>
        </p:cxnSp>
        <p:cxnSp>
          <p:nvCxnSpPr>
            <p:cNvPr id="36" name="!!!Do not delete!!!" hidden="1"/>
            <p:cNvCxnSpPr/>
            <p:nvPr/>
          </p:nvCxnSpPr>
          <p:spPr>
            <a:xfrm>
              <a:off x="0" y="6418800"/>
              <a:ext cx="9906000" cy="0"/>
            </a:xfrm>
            <a:prstGeom prst="line">
              <a:avLst/>
            </a:prstGeom>
            <a:ln w="3175" cap="sq">
              <a:solidFill>
                <a:schemeClr val="accent2">
                  <a:lumMod val="90000"/>
                </a:schemeClr>
              </a:solidFill>
              <a:prstDash val="sysDot"/>
            </a:ln>
            <a:effectLst/>
          </p:spPr>
          <p:style>
            <a:lnRef idx="1">
              <a:schemeClr val="accent1"/>
            </a:lnRef>
            <a:fillRef idx="0">
              <a:schemeClr val="accent1"/>
            </a:fillRef>
            <a:effectRef idx="0">
              <a:schemeClr val="accent1"/>
            </a:effectRef>
            <a:fontRef idx="minor">
              <a:schemeClr val="tx1"/>
            </a:fontRef>
          </p:style>
        </p:cxnSp>
        <p:cxnSp>
          <p:nvCxnSpPr>
            <p:cNvPr id="37" name="!!!Do not delete!!!" hidden="1"/>
            <p:cNvCxnSpPr/>
            <p:nvPr/>
          </p:nvCxnSpPr>
          <p:spPr>
            <a:xfrm>
              <a:off x="0" y="6708775"/>
              <a:ext cx="9906000" cy="0"/>
            </a:xfrm>
            <a:prstGeom prst="line">
              <a:avLst/>
            </a:prstGeom>
            <a:ln w="3175" cap="sq">
              <a:solidFill>
                <a:schemeClr val="accent2">
                  <a:lumMod val="90000"/>
                </a:schemeClr>
              </a:solidFill>
              <a:prstDash val="sysDot"/>
            </a:ln>
            <a:effectLst/>
          </p:spPr>
          <p:style>
            <a:lnRef idx="1">
              <a:schemeClr val="accent1"/>
            </a:lnRef>
            <a:fillRef idx="0">
              <a:schemeClr val="accent1"/>
            </a:fillRef>
            <a:effectRef idx="0">
              <a:schemeClr val="accent1"/>
            </a:effectRef>
            <a:fontRef idx="minor">
              <a:schemeClr val="tx1"/>
            </a:fontRef>
          </p:style>
        </p:cxnSp>
        <p:cxnSp>
          <p:nvCxnSpPr>
            <p:cNvPr id="38" name="!!!Do not delete!!!" hidden="1"/>
            <p:cNvCxnSpPr/>
            <p:nvPr/>
          </p:nvCxnSpPr>
          <p:spPr>
            <a:xfrm>
              <a:off x="0" y="1710000"/>
              <a:ext cx="9906000" cy="0"/>
            </a:xfrm>
            <a:prstGeom prst="line">
              <a:avLst/>
            </a:prstGeom>
            <a:ln w="3175" cap="sq">
              <a:solidFill>
                <a:schemeClr val="accent2">
                  <a:lumMod val="90000"/>
                </a:schemeClr>
              </a:solidFill>
              <a:prstDash val="sysDot"/>
            </a:ln>
            <a:effectLst/>
          </p:spPr>
          <p:style>
            <a:lnRef idx="1">
              <a:schemeClr val="accent1"/>
            </a:lnRef>
            <a:fillRef idx="0">
              <a:schemeClr val="accent1"/>
            </a:fillRef>
            <a:effectRef idx="0">
              <a:schemeClr val="accent1"/>
            </a:effectRef>
            <a:fontRef idx="minor">
              <a:schemeClr val="tx1"/>
            </a:fontRef>
          </p:style>
        </p:cxnSp>
        <p:cxnSp>
          <p:nvCxnSpPr>
            <p:cNvPr id="39" name="!!!Do not delete!!!" hidden="1"/>
            <p:cNvCxnSpPr/>
            <p:nvPr/>
          </p:nvCxnSpPr>
          <p:spPr>
            <a:xfrm>
              <a:off x="548711" y="2178000"/>
              <a:ext cx="8939211" cy="0"/>
            </a:xfrm>
            <a:prstGeom prst="line">
              <a:avLst/>
            </a:prstGeom>
            <a:ln w="3175" cap="sq">
              <a:solidFill>
                <a:schemeClr val="accent2"/>
              </a:solidFill>
              <a:prstDash val="sysDot"/>
            </a:ln>
            <a:effectLst/>
          </p:spPr>
          <p:style>
            <a:lnRef idx="1">
              <a:schemeClr val="accent1"/>
            </a:lnRef>
            <a:fillRef idx="0">
              <a:schemeClr val="accent1"/>
            </a:fillRef>
            <a:effectRef idx="0">
              <a:schemeClr val="accent1"/>
            </a:effectRef>
            <a:fontRef idx="minor">
              <a:schemeClr val="tx1"/>
            </a:fontRef>
          </p:style>
        </p:cxnSp>
        <p:cxnSp>
          <p:nvCxnSpPr>
            <p:cNvPr id="44" name="!!!Do not delete!!!" hidden="1"/>
            <p:cNvCxnSpPr>
              <a:cxnSpLocks/>
            </p:cNvCxnSpPr>
            <p:nvPr userDrawn="1"/>
          </p:nvCxnSpPr>
          <p:spPr>
            <a:xfrm>
              <a:off x="7867969" y="0"/>
              <a:ext cx="0" cy="719149"/>
            </a:xfrm>
            <a:prstGeom prst="line">
              <a:avLst/>
            </a:prstGeom>
            <a:ln w="3175" cap="sq">
              <a:solidFill>
                <a:schemeClr val="accent2">
                  <a:lumMod val="90000"/>
                </a:schemeClr>
              </a:solidFill>
              <a:prstDash val="sysDot"/>
            </a:ln>
            <a:effectLst/>
          </p:spPr>
          <p:style>
            <a:lnRef idx="1">
              <a:schemeClr val="accent1"/>
            </a:lnRef>
            <a:fillRef idx="0">
              <a:schemeClr val="accent1"/>
            </a:fillRef>
            <a:effectRef idx="0">
              <a:schemeClr val="accent1"/>
            </a:effectRef>
            <a:fontRef idx="minor">
              <a:schemeClr val="tx1"/>
            </a:fontRef>
          </p:style>
        </p:cxnSp>
        <p:cxnSp>
          <p:nvCxnSpPr>
            <p:cNvPr id="48" name="!!!Do not delete!!!" hidden="1"/>
            <p:cNvCxnSpPr>
              <a:cxnSpLocks/>
            </p:cNvCxnSpPr>
            <p:nvPr userDrawn="1"/>
          </p:nvCxnSpPr>
          <p:spPr>
            <a:xfrm>
              <a:off x="8276816" y="0"/>
              <a:ext cx="0" cy="719149"/>
            </a:xfrm>
            <a:prstGeom prst="line">
              <a:avLst/>
            </a:prstGeom>
            <a:ln w="3175" cap="sq">
              <a:solidFill>
                <a:schemeClr val="accent2">
                  <a:lumMod val="90000"/>
                </a:schemeClr>
              </a:solidFill>
              <a:prstDash val="sysDot"/>
            </a:ln>
            <a:effectLst/>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xmlns="" val="3702400202"/>
      </p:ext>
    </p:extLst>
  </p:cSld>
  <p:clrMap bg1="lt1" tx1="dk1" bg2="lt2" tx2="dk2" accent1="accent1" accent2="accent2" accent3="accent3" accent4="accent4" accent5="accent5" accent6="accent6" hlink="hlink" folHlink="folHlink"/>
  <p:sldLayoutIdLst>
    <p:sldLayoutId id="2147484141" r:id="rId1"/>
    <p:sldLayoutId id="2147484142" r:id="rId2"/>
    <p:sldLayoutId id="2147484143" r:id="rId3"/>
    <p:sldLayoutId id="2147484144" r:id="rId4"/>
    <p:sldLayoutId id="2147484145" r:id="rId5"/>
    <p:sldLayoutId id="2147484146" r:id="rId6"/>
    <p:sldLayoutId id="2147484147" r:id="rId7"/>
    <p:sldLayoutId id="2147484148" r:id="rId8"/>
    <p:sldLayoutId id="2147484149" r:id="rId9"/>
    <p:sldLayoutId id="2147484150" r:id="rId10"/>
  </p:sldLayoutIdLst>
  <p:timing>
    <p:tnLst>
      <p:par>
        <p:cTn id="1" dur="indefinite" restart="never" nodeType="tmRoot"/>
      </p:par>
    </p:tnLst>
  </p:timing>
  <p:hf sldNum="0" hdr="0" ftr="0" dt="0"/>
  <p:txStyles>
    <p:titleStyle>
      <a:lvl1pPr algn="l" defTabSz="779252" rtl="0" eaLnBrk="1" latinLnBrk="0" hangingPunct="1">
        <a:lnSpc>
          <a:spcPct val="90000"/>
        </a:lnSpc>
        <a:spcBef>
          <a:spcPct val="0"/>
        </a:spcBef>
        <a:buNone/>
        <a:defRPr lang="en-US" sz="2300" b="0" kern="1200" baseline="0" dirty="0">
          <a:solidFill>
            <a:schemeClr val="tx1"/>
          </a:solidFill>
          <a:latin typeface="+mj-lt"/>
          <a:ea typeface="+mj-ea"/>
          <a:cs typeface="+mj-cs"/>
          <a:sym typeface="+mn-lt"/>
        </a:defRPr>
      </a:lvl1pPr>
    </p:titleStyle>
    <p:bodyStyle>
      <a:lvl1pPr marL="0" indent="0" algn="l" defTabSz="779252" rtl="0" eaLnBrk="1" latinLnBrk="0" hangingPunct="1">
        <a:lnSpc>
          <a:spcPct val="90000"/>
        </a:lnSpc>
        <a:spcBef>
          <a:spcPts val="0"/>
        </a:spcBef>
        <a:buFont typeface="Arial Narrow" pitchFamily="34" charset="0"/>
        <a:buNone/>
        <a:defRPr lang="en-US" sz="1800" b="0" i="0" kern="1200" baseline="0" dirty="0" smtClean="0">
          <a:solidFill>
            <a:schemeClr val="tx1"/>
          </a:solidFill>
          <a:latin typeface="+mn-lt"/>
          <a:ea typeface="+mn-ea"/>
          <a:cs typeface="+mn-cs"/>
          <a:sym typeface="+mn-lt"/>
        </a:defRPr>
      </a:lvl1pPr>
      <a:lvl2pPr marL="196347" indent="-196347" algn="l" defTabSz="779252" rtl="0" eaLnBrk="1" latinLnBrk="0" hangingPunct="1">
        <a:lnSpc>
          <a:spcPct val="90000"/>
        </a:lnSpc>
        <a:spcBef>
          <a:spcPts val="1023"/>
        </a:spcBef>
        <a:buFont typeface="Arial Narrow" pitchFamily="34" charset="0"/>
        <a:buChar char="&gt;"/>
        <a:defRPr lang="en-US" sz="1800" b="0" kern="1200" dirty="0" smtClean="0">
          <a:solidFill>
            <a:schemeClr val="tx1"/>
          </a:solidFill>
          <a:latin typeface="+mn-lt"/>
          <a:ea typeface="+mn-ea"/>
          <a:cs typeface="+mn-cs"/>
          <a:sym typeface="+mn-lt"/>
        </a:defRPr>
      </a:lvl2pPr>
      <a:lvl3pPr marL="411101" indent="-199415" algn="l" defTabSz="779252" rtl="0" eaLnBrk="1" latinLnBrk="0" hangingPunct="1">
        <a:lnSpc>
          <a:spcPct val="90000"/>
        </a:lnSpc>
        <a:spcBef>
          <a:spcPts val="341"/>
        </a:spcBef>
        <a:buFont typeface="Arial Narrow" pitchFamily="34" charset="0"/>
        <a:buChar char="–"/>
        <a:defRPr lang="en-US" sz="1800" b="0" kern="1200" dirty="0" smtClean="0">
          <a:solidFill>
            <a:schemeClr val="tx1"/>
          </a:solidFill>
          <a:latin typeface="+mn-lt"/>
          <a:ea typeface="+mn-ea"/>
          <a:cs typeface="+mn-cs"/>
          <a:sym typeface="+mn-lt"/>
        </a:defRPr>
      </a:lvl3pPr>
      <a:lvl4pPr marL="595176" indent="-171804" algn="l" defTabSz="779252" rtl="0" eaLnBrk="1" latinLnBrk="0" hangingPunct="1">
        <a:lnSpc>
          <a:spcPct val="90000"/>
        </a:lnSpc>
        <a:spcBef>
          <a:spcPts val="170"/>
        </a:spcBef>
        <a:buFont typeface="Arial Narrow" pitchFamily="34" charset="0"/>
        <a:buChar char="-"/>
        <a:defRPr lang="en-US" sz="1800" b="0" kern="1200" dirty="0">
          <a:solidFill>
            <a:schemeClr val="tx1"/>
          </a:solidFill>
          <a:latin typeface="+mn-lt"/>
          <a:ea typeface="+mn-ea"/>
          <a:cs typeface="+mn-cs"/>
          <a:sym typeface="+mn-lt"/>
        </a:defRPr>
      </a:lvl4pPr>
      <a:lvl5pPr marL="595176" indent="0" algn="l" defTabSz="779252" rtl="0" eaLnBrk="1" latinLnBrk="0" hangingPunct="1">
        <a:lnSpc>
          <a:spcPct val="93000"/>
        </a:lnSpc>
        <a:spcBef>
          <a:spcPts val="0"/>
        </a:spcBef>
        <a:buFont typeface="Arial Narrow" pitchFamily="34" charset="0"/>
        <a:buNone/>
        <a:defRPr sz="1400" kern="1200">
          <a:solidFill>
            <a:schemeClr val="tx1"/>
          </a:solidFill>
          <a:latin typeface="Arial Narrow" pitchFamily="34" charset="0"/>
          <a:ea typeface="+mn-ea"/>
          <a:cs typeface="+mn-cs"/>
        </a:defRPr>
      </a:lvl5pPr>
      <a:lvl6pPr marL="2142942" indent="-194813" algn="l" defTabSz="779252" rtl="0" eaLnBrk="1" latinLnBrk="0" hangingPunct="1">
        <a:spcBef>
          <a:spcPct val="20000"/>
        </a:spcBef>
        <a:buFont typeface="Arial Narrow" pitchFamily="34" charset="0"/>
        <a:buChar char="•"/>
        <a:defRPr sz="1700" kern="1200">
          <a:solidFill>
            <a:schemeClr val="tx1"/>
          </a:solidFill>
          <a:latin typeface="+mn-lt"/>
          <a:ea typeface="+mn-ea"/>
          <a:cs typeface="+mn-cs"/>
        </a:defRPr>
      </a:lvl6pPr>
      <a:lvl7pPr marL="2532568" indent="-194813" algn="l" defTabSz="779252" rtl="0" eaLnBrk="1" latinLnBrk="0" hangingPunct="1">
        <a:spcBef>
          <a:spcPct val="20000"/>
        </a:spcBef>
        <a:buFont typeface="Arial Narrow" pitchFamily="34" charset="0"/>
        <a:buChar char="•"/>
        <a:defRPr sz="1700" kern="1200">
          <a:solidFill>
            <a:schemeClr val="tx1"/>
          </a:solidFill>
          <a:latin typeface="+mn-lt"/>
          <a:ea typeface="+mn-ea"/>
          <a:cs typeface="+mn-cs"/>
        </a:defRPr>
      </a:lvl7pPr>
      <a:lvl8pPr marL="2922194" indent="-194813" algn="l" defTabSz="779252" rtl="0" eaLnBrk="1" latinLnBrk="0" hangingPunct="1">
        <a:spcBef>
          <a:spcPct val="20000"/>
        </a:spcBef>
        <a:buFont typeface="Arial Narrow" pitchFamily="34" charset="0"/>
        <a:buChar char="•"/>
        <a:defRPr sz="1700" kern="1200">
          <a:solidFill>
            <a:schemeClr val="tx1"/>
          </a:solidFill>
          <a:latin typeface="+mn-lt"/>
          <a:ea typeface="+mn-ea"/>
          <a:cs typeface="+mn-cs"/>
        </a:defRPr>
      </a:lvl8pPr>
      <a:lvl9pPr marL="3311820" indent="-194813" algn="l" defTabSz="779252" rtl="0" eaLnBrk="1" latinLnBrk="0" hangingPunct="1">
        <a:spcBef>
          <a:spcPct val="20000"/>
        </a:spcBef>
        <a:buFont typeface="Arial Narrow" pitchFamily="34" charset="0"/>
        <a:buChar char="•"/>
        <a:defRPr sz="1700" kern="1200">
          <a:solidFill>
            <a:schemeClr val="tx1"/>
          </a:solidFill>
          <a:latin typeface="+mn-lt"/>
          <a:ea typeface="+mn-ea"/>
          <a:cs typeface="+mn-cs"/>
        </a:defRPr>
      </a:lvl9pPr>
    </p:bodyStyle>
    <p:otherStyle>
      <a:defPPr>
        <a:defRPr lang="en-US"/>
      </a:defPPr>
      <a:lvl1pPr marL="0" algn="l" defTabSz="779252" rtl="0" eaLnBrk="1" latinLnBrk="0" hangingPunct="1">
        <a:defRPr sz="1500" kern="1200">
          <a:solidFill>
            <a:schemeClr val="tx1"/>
          </a:solidFill>
          <a:latin typeface="+mn-lt"/>
          <a:ea typeface="+mn-ea"/>
          <a:cs typeface="+mn-cs"/>
        </a:defRPr>
      </a:lvl1pPr>
      <a:lvl2pPr marL="389626" algn="l" defTabSz="779252" rtl="0" eaLnBrk="1" latinLnBrk="0" hangingPunct="1">
        <a:defRPr sz="1500" kern="1200">
          <a:solidFill>
            <a:schemeClr val="tx1"/>
          </a:solidFill>
          <a:latin typeface="+mn-lt"/>
          <a:ea typeface="+mn-ea"/>
          <a:cs typeface="+mn-cs"/>
        </a:defRPr>
      </a:lvl2pPr>
      <a:lvl3pPr marL="779252" algn="l" defTabSz="779252" rtl="0" eaLnBrk="1" latinLnBrk="0" hangingPunct="1">
        <a:defRPr sz="1500" kern="1200">
          <a:solidFill>
            <a:schemeClr val="tx1"/>
          </a:solidFill>
          <a:latin typeface="+mn-lt"/>
          <a:ea typeface="+mn-ea"/>
          <a:cs typeface="+mn-cs"/>
        </a:defRPr>
      </a:lvl3pPr>
      <a:lvl4pPr marL="1168878" algn="l" defTabSz="779252" rtl="0" eaLnBrk="1" latinLnBrk="0" hangingPunct="1">
        <a:defRPr sz="1500" kern="1200">
          <a:solidFill>
            <a:schemeClr val="tx1"/>
          </a:solidFill>
          <a:latin typeface="+mn-lt"/>
          <a:ea typeface="+mn-ea"/>
          <a:cs typeface="+mn-cs"/>
        </a:defRPr>
      </a:lvl4pPr>
      <a:lvl5pPr marL="1558503" algn="l" defTabSz="779252" rtl="0" eaLnBrk="1" latinLnBrk="0" hangingPunct="1">
        <a:defRPr sz="1500" kern="1200">
          <a:solidFill>
            <a:schemeClr val="tx1"/>
          </a:solidFill>
          <a:latin typeface="+mn-lt"/>
          <a:ea typeface="+mn-ea"/>
          <a:cs typeface="+mn-cs"/>
        </a:defRPr>
      </a:lvl5pPr>
      <a:lvl6pPr marL="1948129" algn="l" defTabSz="779252" rtl="0" eaLnBrk="1" latinLnBrk="0" hangingPunct="1">
        <a:defRPr sz="1500" kern="1200">
          <a:solidFill>
            <a:schemeClr val="tx1"/>
          </a:solidFill>
          <a:latin typeface="+mn-lt"/>
          <a:ea typeface="+mn-ea"/>
          <a:cs typeface="+mn-cs"/>
        </a:defRPr>
      </a:lvl6pPr>
      <a:lvl7pPr marL="2337755" algn="l" defTabSz="779252" rtl="0" eaLnBrk="1" latinLnBrk="0" hangingPunct="1">
        <a:defRPr sz="1500" kern="1200">
          <a:solidFill>
            <a:schemeClr val="tx1"/>
          </a:solidFill>
          <a:latin typeface="+mn-lt"/>
          <a:ea typeface="+mn-ea"/>
          <a:cs typeface="+mn-cs"/>
        </a:defRPr>
      </a:lvl7pPr>
      <a:lvl8pPr marL="2727381" algn="l" defTabSz="779252" rtl="0" eaLnBrk="1" latinLnBrk="0" hangingPunct="1">
        <a:defRPr sz="1500" kern="1200">
          <a:solidFill>
            <a:schemeClr val="tx1"/>
          </a:solidFill>
          <a:latin typeface="+mn-lt"/>
          <a:ea typeface="+mn-ea"/>
          <a:cs typeface="+mn-cs"/>
        </a:defRPr>
      </a:lvl8pPr>
      <a:lvl9pPr marL="3117007" algn="l" defTabSz="779252" rtl="0" eaLnBrk="1" latinLnBrk="0" hangingPunct="1">
        <a:defRPr sz="15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Do not delete this th-style object!!!!" hidden="1"/>
          <p:cNvGraphicFramePr>
            <a:graphicFrameLocks noChangeAspect="1"/>
          </p:cNvGraphicFramePr>
          <p:nvPr>
            <p:custDataLst>
              <p:tags r:id="rId12"/>
            </p:custDataLst>
            <p:extLst>
              <p:ext uri="{D42A27DB-BD31-4B8C-83A1-F6EECF244321}">
                <p14:modId xmlns:p14="http://schemas.microsoft.com/office/powerpoint/2010/main" xmlns="" val="2437333504"/>
              </p:ext>
            </p:extLst>
          </p:nvPr>
        </p:nvGraphicFramePr>
        <p:xfrm>
          <a:off x="1495" y="1194"/>
          <a:ext cx="1465" cy="1190"/>
        </p:xfrm>
        <a:graphic>
          <a:graphicData uri="http://schemas.openxmlformats.org/presentationml/2006/ole">
            <p:oleObj spid="_x0000_s5138" name="think-cell Slide" r:id="rId13" imgW="360" imgH="360" progId="">
              <p:embed/>
            </p:oleObj>
          </a:graphicData>
        </a:graphic>
      </p:graphicFrame>
      <p:sp>
        <p:nvSpPr>
          <p:cNvPr id="42" name="!!!Do not delete this text object!!!!_2" hidden="1"/>
          <p:cNvSpPr/>
          <p:nvPr/>
        </p:nvSpPr>
        <p:spPr>
          <a:xfrm>
            <a:off x="9204923" y="43466"/>
            <a:ext cx="29908" cy="24300"/>
          </a:xfrm>
          <a:prstGeom prst="ellipse">
            <a:avLst/>
          </a:prstGeom>
          <a:solidFill>
            <a:schemeClr val="bg1">
              <a:lumMod val="75000"/>
            </a:schemeClr>
          </a:solidFill>
          <a:ln w="9525" cmpd="sng">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ctr" fontAlgn="base">
              <a:lnSpc>
                <a:spcPct val="93000"/>
              </a:lnSpc>
              <a:spcBef>
                <a:spcPts val="256"/>
              </a:spcBef>
              <a:spcAft>
                <a:spcPct val="0"/>
              </a:spcAft>
            </a:pPr>
            <a:r>
              <a:rPr lang="en-US" sz="200" b="1" dirty="0" smtClean="0">
                <a:solidFill>
                  <a:srgbClr val="FFFFFF"/>
                </a:solidFill>
                <a:sym typeface="+mn-lt"/>
              </a:rPr>
              <a:t>1</a:t>
            </a:r>
          </a:p>
        </p:txBody>
      </p:sp>
      <p:sp>
        <p:nvSpPr>
          <p:cNvPr id="43" name="!!!Do not delete this text object!!!!" hidden="1"/>
          <p:cNvSpPr txBox="1"/>
          <p:nvPr/>
        </p:nvSpPr>
        <p:spPr>
          <a:xfrm>
            <a:off x="9204943" y="69553"/>
            <a:ext cx="585097" cy="30778"/>
          </a:xfrm>
          <a:prstGeom prst="rect">
            <a:avLst/>
          </a:prstGeom>
          <a:noFill/>
        </p:spPr>
        <p:txBody>
          <a:bodyPr vert="horz" wrap="none" lIns="0" tIns="0" rIns="0" bIns="0" rtlCol="0">
            <a:spAutoFit/>
          </a:bodyPr>
          <a:lstStyle>
            <a:defPPr>
              <a:defRPr lang="de-DE"/>
            </a:defPPr>
            <a:lvl1pPr algn="l" rtl="0" fontAlgn="base">
              <a:spcBef>
                <a:spcPct val="0"/>
              </a:spcBef>
              <a:spcAft>
                <a:spcPct val="0"/>
              </a:spcAft>
              <a:defRPr sz="1300" b="1" kern="1200">
                <a:solidFill>
                  <a:schemeClr val="tx1"/>
                </a:solidFill>
                <a:latin typeface="Arial Narrow" charset="0"/>
                <a:ea typeface="+mn-ea"/>
                <a:cs typeface="+mn-cs"/>
              </a:defRPr>
            </a:lvl1pPr>
            <a:lvl2pPr marL="457200" algn="l" rtl="0" fontAlgn="base">
              <a:spcBef>
                <a:spcPct val="0"/>
              </a:spcBef>
              <a:spcAft>
                <a:spcPct val="0"/>
              </a:spcAft>
              <a:defRPr sz="1300" b="1" kern="1200">
                <a:solidFill>
                  <a:schemeClr val="tx1"/>
                </a:solidFill>
                <a:latin typeface="Arial Narrow" charset="0"/>
                <a:ea typeface="+mn-ea"/>
                <a:cs typeface="+mn-cs"/>
              </a:defRPr>
            </a:lvl2pPr>
            <a:lvl3pPr marL="914400" algn="l" rtl="0" fontAlgn="base">
              <a:spcBef>
                <a:spcPct val="0"/>
              </a:spcBef>
              <a:spcAft>
                <a:spcPct val="0"/>
              </a:spcAft>
              <a:defRPr sz="1300" b="1" kern="1200">
                <a:solidFill>
                  <a:schemeClr val="tx1"/>
                </a:solidFill>
                <a:latin typeface="Arial Narrow" charset="0"/>
                <a:ea typeface="+mn-ea"/>
                <a:cs typeface="+mn-cs"/>
              </a:defRPr>
            </a:lvl3pPr>
            <a:lvl4pPr marL="1371600" algn="l" rtl="0" fontAlgn="base">
              <a:spcBef>
                <a:spcPct val="0"/>
              </a:spcBef>
              <a:spcAft>
                <a:spcPct val="0"/>
              </a:spcAft>
              <a:defRPr sz="1300" b="1" kern="1200">
                <a:solidFill>
                  <a:schemeClr val="tx1"/>
                </a:solidFill>
                <a:latin typeface="Arial Narrow" charset="0"/>
                <a:ea typeface="+mn-ea"/>
                <a:cs typeface="+mn-cs"/>
              </a:defRPr>
            </a:lvl4pPr>
            <a:lvl5pPr marL="1828800" algn="l" rtl="0" fontAlgn="base">
              <a:spcBef>
                <a:spcPct val="0"/>
              </a:spcBef>
              <a:spcAft>
                <a:spcPct val="0"/>
              </a:spcAft>
              <a:defRPr sz="1300" b="1" kern="1200">
                <a:solidFill>
                  <a:schemeClr val="tx1"/>
                </a:solidFill>
                <a:latin typeface="Arial Narrow" charset="0"/>
                <a:ea typeface="+mn-ea"/>
                <a:cs typeface="+mn-cs"/>
              </a:defRPr>
            </a:lvl5pPr>
            <a:lvl6pPr marL="2286000" algn="l" defTabSz="914400" rtl="0" eaLnBrk="1" latinLnBrk="0" hangingPunct="1">
              <a:defRPr sz="1300" b="1" kern="1200">
                <a:solidFill>
                  <a:schemeClr val="tx1"/>
                </a:solidFill>
                <a:latin typeface="Arial Narrow" charset="0"/>
                <a:ea typeface="+mn-ea"/>
                <a:cs typeface="+mn-cs"/>
              </a:defRPr>
            </a:lvl6pPr>
            <a:lvl7pPr marL="2743200" algn="l" defTabSz="914400" rtl="0" eaLnBrk="1" latinLnBrk="0" hangingPunct="1">
              <a:defRPr sz="1300" b="1" kern="1200">
                <a:solidFill>
                  <a:schemeClr val="tx1"/>
                </a:solidFill>
                <a:latin typeface="Arial Narrow" charset="0"/>
                <a:ea typeface="+mn-ea"/>
                <a:cs typeface="+mn-cs"/>
              </a:defRPr>
            </a:lvl7pPr>
            <a:lvl8pPr marL="3200400" algn="l" defTabSz="914400" rtl="0" eaLnBrk="1" latinLnBrk="0" hangingPunct="1">
              <a:defRPr sz="1300" b="1" kern="1200">
                <a:solidFill>
                  <a:schemeClr val="tx1"/>
                </a:solidFill>
                <a:latin typeface="Arial Narrow" charset="0"/>
                <a:ea typeface="+mn-ea"/>
                <a:cs typeface="+mn-cs"/>
              </a:defRPr>
            </a:lvl8pPr>
            <a:lvl9pPr marL="3657600" algn="l" defTabSz="914400" rtl="0" eaLnBrk="1" latinLnBrk="0" hangingPunct="1">
              <a:defRPr sz="1300" b="1" kern="1200">
                <a:solidFill>
                  <a:schemeClr val="tx1"/>
                </a:solidFill>
                <a:latin typeface="Arial Narrow" charset="0"/>
                <a:ea typeface="+mn-ea"/>
                <a:cs typeface="+mn-cs"/>
              </a:defRPr>
            </a:lvl9pPr>
          </a:lstStyle>
          <a:p>
            <a:pPr defTabSz="779252">
              <a:buClr>
                <a:srgbClr val="000000"/>
              </a:buClr>
              <a:buSzPct val="100000"/>
              <a:defRPr/>
            </a:pPr>
            <a:r>
              <a:rPr lang="en-US" sz="200" b="0" noProof="1" smtClean="0">
                <a:solidFill>
                  <a:srgbClr val="FFFFFF">
                    <a:lumMod val="75000"/>
                  </a:srgbClr>
                </a:solidFill>
                <a:latin typeface="Arial Narrow"/>
                <a:sym typeface="+mn-lt"/>
              </a:rPr>
              <a:t>A4_RBSC_PPT– 2013-10_v01 – do not delete this text object! </a:t>
            </a:r>
          </a:p>
        </p:txBody>
      </p:sp>
      <p:sp>
        <p:nvSpPr>
          <p:cNvPr id="52" name="Slide Number"/>
          <p:cNvSpPr txBox="1">
            <a:spLocks noChangeArrowheads="1"/>
          </p:cNvSpPr>
          <p:nvPr/>
        </p:nvSpPr>
        <p:spPr bwMode="auto">
          <a:xfrm>
            <a:off x="8663354" y="5032800"/>
            <a:ext cx="100990" cy="110800"/>
          </a:xfrm>
          <a:prstGeom prst="rect">
            <a:avLst/>
          </a:prstGeom>
          <a:noFill/>
          <a:ln w="9525">
            <a:noFill/>
            <a:miter lim="800000"/>
            <a:headEnd/>
            <a:tailEnd/>
          </a:ln>
          <a:effectLst/>
        </p:spPr>
        <p:txBody>
          <a:bodyPr vert="horz" wrap="none" lIns="0" tIns="0" rIns="0" bIns="0" numCol="1" anchor="t" anchorCtr="0" compatLnSpc="1">
            <a:prstTxWarp prst="textNoShape">
              <a:avLst/>
            </a:prstTxWarp>
            <a:spAutoFit/>
          </a:bodyPr>
          <a:lstStyle>
            <a:lvl1pPr>
              <a:defRPr sz="900" b="0" smtClean="0"/>
            </a:lvl1pPr>
          </a:lstStyle>
          <a:p>
            <a:pPr defTabSz="779252" fontAlgn="base">
              <a:lnSpc>
                <a:spcPct val="90000"/>
              </a:lnSpc>
              <a:spcBef>
                <a:spcPct val="0"/>
              </a:spcBef>
              <a:spcAft>
                <a:spcPct val="0"/>
              </a:spcAft>
              <a:defRPr/>
            </a:pPr>
            <a:fld id="{7AA7B471-74A3-4F5F-8955-6C99E2375CAC}" type="slidenum">
              <a:rPr lang="en-US" sz="800" noProof="1" dirty="0">
                <a:solidFill>
                  <a:srgbClr val="716D6D"/>
                </a:solidFill>
                <a:sym typeface="+mn-lt"/>
              </a:rPr>
              <a:pPr defTabSz="779252" fontAlgn="base">
                <a:lnSpc>
                  <a:spcPct val="90000"/>
                </a:lnSpc>
                <a:spcBef>
                  <a:spcPct val="0"/>
                </a:spcBef>
                <a:spcAft>
                  <a:spcPct val="0"/>
                </a:spcAft>
                <a:defRPr/>
              </a:pPr>
              <a:t>‹#›</a:t>
            </a:fld>
            <a:endParaRPr lang="en-US" sz="800" noProof="1">
              <a:solidFill>
                <a:srgbClr val="716D6D"/>
              </a:solidFill>
              <a:sym typeface="+mn-lt"/>
            </a:endParaRPr>
          </a:p>
        </p:txBody>
      </p:sp>
      <p:sp>
        <p:nvSpPr>
          <p:cNvPr id="53" name="Slide Number Line"/>
          <p:cNvSpPr>
            <a:spLocks noChangeShapeType="1"/>
          </p:cNvSpPr>
          <p:nvPr/>
        </p:nvSpPr>
        <p:spPr bwMode="auto">
          <a:xfrm>
            <a:off x="8556381" y="5032835"/>
            <a:ext cx="0" cy="92869"/>
          </a:xfrm>
          <a:prstGeom prst="line">
            <a:avLst/>
          </a:prstGeom>
          <a:noFill/>
          <a:ln w="9525">
            <a:solidFill>
              <a:schemeClr val="tx2"/>
            </a:solidFill>
            <a:round/>
            <a:headEnd/>
            <a:tailEnd/>
          </a:ln>
          <a:effectLst/>
        </p:spPr>
        <p:txBody>
          <a:bodyPr wrap="none" lIns="0" tIns="0" rIns="0" bIns="0" anchor="ctr">
            <a:spAutoFit/>
          </a:bodyPr>
          <a:lstStyle/>
          <a:p>
            <a:pPr fontAlgn="base">
              <a:lnSpc>
                <a:spcPct val="90000"/>
              </a:lnSpc>
              <a:spcBef>
                <a:spcPct val="0"/>
              </a:spcBef>
              <a:spcAft>
                <a:spcPct val="0"/>
              </a:spcAft>
              <a:defRPr/>
            </a:pPr>
            <a:endParaRPr lang="en-US" sz="800" b="1" noProof="1">
              <a:solidFill>
                <a:srgbClr val="716D6D"/>
              </a:solidFill>
              <a:sym typeface="+mn-lt"/>
            </a:endParaRPr>
          </a:p>
        </p:txBody>
      </p:sp>
      <p:sp>
        <p:nvSpPr>
          <p:cNvPr id="57" name="Source" hidden="1"/>
          <p:cNvSpPr txBox="1"/>
          <p:nvPr/>
        </p:nvSpPr>
        <p:spPr>
          <a:xfrm>
            <a:off x="681405" y="5015279"/>
            <a:ext cx="437620" cy="110800"/>
          </a:xfrm>
          <a:prstGeom prst="rect">
            <a:avLst/>
          </a:prstGeom>
          <a:noFill/>
          <a:ln w="9525">
            <a:noFill/>
          </a:ln>
        </p:spPr>
        <p:txBody>
          <a:bodyPr vert="horz" wrap="none" lIns="0" tIns="0" rIns="0" bIns="0" rtlCol="0" anchor="b" anchorCtr="0">
            <a:spAutoFit/>
          </a:bodyPr>
          <a:lstStyle/>
          <a:p>
            <a:pPr fontAlgn="base">
              <a:lnSpc>
                <a:spcPct val="90000"/>
              </a:lnSpc>
              <a:spcBef>
                <a:spcPct val="0"/>
              </a:spcBef>
              <a:spcAft>
                <a:spcPct val="0"/>
              </a:spcAft>
              <a:buSzPct val="100000"/>
            </a:pPr>
            <a:r>
              <a:rPr lang="en-US" sz="800" dirty="0" smtClean="0">
                <a:solidFill>
                  <a:srgbClr val="000000"/>
                </a:solidFill>
                <a:sym typeface="+mn-lt"/>
              </a:rPr>
              <a:t>Source: xxx</a:t>
            </a:r>
          </a:p>
        </p:txBody>
      </p:sp>
      <p:sp>
        <p:nvSpPr>
          <p:cNvPr id="56" name="Notes" hidden="1"/>
          <p:cNvSpPr txBox="1"/>
          <p:nvPr/>
        </p:nvSpPr>
        <p:spPr>
          <a:xfrm>
            <a:off x="681405" y="4792360"/>
            <a:ext cx="254878" cy="124650"/>
          </a:xfrm>
          <a:prstGeom prst="rect">
            <a:avLst/>
          </a:prstGeom>
          <a:noFill/>
          <a:ln w="9525">
            <a:noFill/>
          </a:ln>
        </p:spPr>
        <p:txBody>
          <a:bodyPr vert="horz" wrap="none" lIns="0" tIns="0" rIns="0" bIns="0" rtlCol="0" anchor="b" anchorCtr="0">
            <a:spAutoFit/>
          </a:bodyPr>
          <a:lstStyle/>
          <a:p>
            <a:pPr fontAlgn="base">
              <a:lnSpc>
                <a:spcPct val="90000"/>
              </a:lnSpc>
              <a:spcBef>
                <a:spcPct val="0"/>
              </a:spcBef>
              <a:spcAft>
                <a:spcPct val="0"/>
              </a:spcAft>
              <a:buSzPct val="100000"/>
            </a:pPr>
            <a:r>
              <a:rPr lang="en-US" sz="900" dirty="0" smtClean="0">
                <a:solidFill>
                  <a:srgbClr val="000000"/>
                </a:solidFill>
                <a:sym typeface="+mn-lt"/>
              </a:rPr>
              <a:t>1) xxx</a:t>
            </a:r>
          </a:p>
        </p:txBody>
      </p:sp>
      <p:grpSp>
        <p:nvGrpSpPr>
          <p:cNvPr id="13" name="Legend" hidden="1"/>
          <p:cNvGrpSpPr/>
          <p:nvPr/>
        </p:nvGrpSpPr>
        <p:grpSpPr>
          <a:xfrm>
            <a:off x="681407" y="4646449"/>
            <a:ext cx="592887" cy="125750"/>
            <a:chOff x="738189" y="6195259"/>
            <a:chExt cx="642294" cy="167666"/>
          </a:xfrm>
        </p:grpSpPr>
        <p:sp>
          <p:nvSpPr>
            <p:cNvPr id="49" name="LegendIcon"/>
            <p:cNvSpPr/>
            <p:nvPr/>
          </p:nvSpPr>
          <p:spPr>
            <a:xfrm>
              <a:off x="738189" y="6195259"/>
              <a:ext cx="215900" cy="146050"/>
            </a:xfrm>
            <a:prstGeom prst="rect">
              <a:avLst/>
            </a:prstGeom>
            <a:noFill/>
            <a:ln w="9525" cap="flat" cmpd="sng" algn="ctr">
              <a:solidFill>
                <a:schemeClr val="accent3"/>
              </a:solidFill>
              <a:prstDash val="solid"/>
            </a:ln>
            <a:effectLst/>
          </p:spPr>
          <p:txBody>
            <a:bodyPr lIns="0" tIns="0" rIns="0" bIns="0" rtlCol="0" anchor="ctr"/>
            <a:lstStyle/>
            <a:p>
              <a:pPr algn="ctr" defTabSz="779252">
                <a:lnSpc>
                  <a:spcPct val="90000"/>
                </a:lnSpc>
                <a:defRPr/>
              </a:pPr>
              <a:endParaRPr lang="en-US" sz="1100" kern="0" dirty="0" smtClean="0">
                <a:solidFill>
                  <a:srgbClr val="000000"/>
                </a:solidFill>
                <a:sym typeface="+mn-lt"/>
              </a:endParaRPr>
            </a:p>
          </p:txBody>
        </p:sp>
        <p:sp>
          <p:nvSpPr>
            <p:cNvPr id="50" name="LegendText"/>
            <p:cNvSpPr txBox="1"/>
            <p:nvPr/>
          </p:nvSpPr>
          <p:spPr>
            <a:xfrm>
              <a:off x="1036639" y="6196726"/>
              <a:ext cx="343844" cy="166199"/>
            </a:xfrm>
            <a:prstGeom prst="rect">
              <a:avLst/>
            </a:prstGeom>
            <a:noFill/>
            <a:ln w="9525">
              <a:noFill/>
            </a:ln>
          </p:spPr>
          <p:txBody>
            <a:bodyPr vert="horz" wrap="none" lIns="0" tIns="0" rIns="0" bIns="0" rtlCol="0" anchor="t" anchorCtr="0">
              <a:spAutoFit/>
            </a:bodyPr>
            <a:lstStyle/>
            <a:p>
              <a:pPr defTabSz="779252">
                <a:lnSpc>
                  <a:spcPct val="90000"/>
                </a:lnSpc>
                <a:buClr>
                  <a:srgbClr val="000000"/>
                </a:buClr>
                <a:buSzPct val="100000"/>
                <a:defRPr/>
              </a:pPr>
              <a:r>
                <a:rPr lang="en-US" sz="900" kern="0" dirty="0" smtClean="0">
                  <a:solidFill>
                    <a:sysClr val="windowText" lastClr="000000"/>
                  </a:solidFill>
                  <a:sym typeface="+mn-lt"/>
                </a:rPr>
                <a:t>Legend</a:t>
              </a:r>
            </a:p>
          </p:txBody>
        </p:sp>
      </p:grpSp>
      <p:sp>
        <p:nvSpPr>
          <p:cNvPr id="45" name="Formatted_text" hidden="1"/>
          <p:cNvSpPr txBox="1">
            <a:spLocks/>
          </p:cNvSpPr>
          <p:nvPr/>
        </p:nvSpPr>
        <p:spPr>
          <a:xfrm>
            <a:off x="681405" y="1619249"/>
            <a:ext cx="1827692" cy="874085"/>
          </a:xfrm>
          <a:prstGeom prst="rect">
            <a:avLst/>
          </a:prstGeom>
          <a:noFill/>
          <a:ln w="9525">
            <a:noFill/>
          </a:ln>
        </p:spPr>
        <p:txBody>
          <a:bodyPr vert="horz" wrap="square" lIns="0" tIns="0" rIns="0" bIns="0" rtlCol="0">
            <a:spAutoFit/>
          </a:bodyPr>
          <a:lstStyle/>
          <a:p>
            <a:pPr fontAlgn="base">
              <a:lnSpc>
                <a:spcPct val="90000"/>
              </a:lnSpc>
              <a:spcBef>
                <a:spcPct val="0"/>
              </a:spcBef>
              <a:spcAft>
                <a:spcPct val="0"/>
              </a:spcAft>
              <a:buClr>
                <a:srgbClr val="000000"/>
              </a:buClr>
              <a:buSzPct val="100000"/>
            </a:pPr>
            <a:r>
              <a:rPr lang="en-US" sz="1300" b="1" dirty="0" smtClean="0">
                <a:solidFill>
                  <a:srgbClr val="000000"/>
                </a:solidFill>
                <a:sym typeface="+mn-lt"/>
              </a:rPr>
              <a:t>15 Point Text: Level 0</a:t>
            </a:r>
            <a:endParaRPr lang="en-US" sz="1300" dirty="0" smtClean="0">
              <a:solidFill>
                <a:srgbClr val="000000"/>
              </a:solidFill>
              <a:sym typeface="+mn-lt"/>
            </a:endParaRPr>
          </a:p>
          <a:p>
            <a:pPr marL="140247" lvl="1" indent="-140247" fontAlgn="base">
              <a:lnSpc>
                <a:spcPct val="90000"/>
              </a:lnSpc>
              <a:spcBef>
                <a:spcPts val="682"/>
              </a:spcBef>
              <a:spcAft>
                <a:spcPct val="0"/>
              </a:spcAft>
              <a:buClr>
                <a:srgbClr val="000000"/>
              </a:buClr>
              <a:buSzPct val="100000"/>
              <a:buFont typeface="Arial Narrow"/>
              <a:buChar char="&gt;"/>
            </a:pPr>
            <a:r>
              <a:rPr lang="en-US" sz="1300" dirty="0" smtClean="0">
                <a:solidFill>
                  <a:srgbClr val="000000"/>
                </a:solidFill>
                <a:sym typeface="+mn-lt"/>
              </a:rPr>
              <a:t>Level 1</a:t>
            </a:r>
          </a:p>
          <a:p>
            <a:pPr marL="293643" lvl="2" indent="-142438" fontAlgn="base">
              <a:lnSpc>
                <a:spcPct val="90000"/>
              </a:lnSpc>
              <a:spcBef>
                <a:spcPts val="341"/>
              </a:spcBef>
              <a:spcAft>
                <a:spcPct val="0"/>
              </a:spcAft>
              <a:buClr>
                <a:srgbClr val="000000"/>
              </a:buClr>
              <a:buSzPct val="100000"/>
              <a:buFont typeface="Arial Narrow"/>
              <a:buChar char="–"/>
            </a:pPr>
            <a:r>
              <a:rPr lang="en-US" sz="1300" dirty="0" smtClean="0">
                <a:solidFill>
                  <a:srgbClr val="000000"/>
                </a:solidFill>
                <a:sym typeface="+mn-lt"/>
              </a:rPr>
              <a:t>Level 2</a:t>
            </a:r>
          </a:p>
          <a:p>
            <a:pPr marL="425126" lvl="3" indent="-122717" fontAlgn="base">
              <a:lnSpc>
                <a:spcPct val="90000"/>
              </a:lnSpc>
              <a:spcBef>
                <a:spcPts val="170"/>
              </a:spcBef>
              <a:spcAft>
                <a:spcPct val="0"/>
              </a:spcAft>
              <a:buClr>
                <a:srgbClr val="000000"/>
              </a:buClr>
              <a:buSzPct val="100000"/>
              <a:buFont typeface="Arial Narrow"/>
              <a:buChar char="-"/>
            </a:pPr>
            <a:r>
              <a:rPr lang="en-US" sz="1300" dirty="0" smtClean="0">
                <a:solidFill>
                  <a:srgbClr val="000000"/>
                </a:solidFill>
                <a:sym typeface="+mn-lt"/>
              </a:rPr>
              <a:t>Level 3</a:t>
            </a:r>
          </a:p>
        </p:txBody>
      </p:sp>
      <p:sp>
        <p:nvSpPr>
          <p:cNvPr id="51" name="Subtitle" hidden="1"/>
          <p:cNvSpPr txBox="1">
            <a:spLocks/>
          </p:cNvSpPr>
          <p:nvPr/>
        </p:nvSpPr>
        <p:spPr>
          <a:xfrm>
            <a:off x="681231" y="1282507"/>
            <a:ext cx="7879374" cy="249299"/>
          </a:xfrm>
          <a:prstGeom prst="rect">
            <a:avLst/>
          </a:prstGeom>
          <a:noFill/>
          <a:ln w="9525">
            <a:noFill/>
          </a:ln>
        </p:spPr>
        <p:txBody>
          <a:bodyPr vert="horz" wrap="square" lIns="0" tIns="0" rIns="0" bIns="0" rtlCol="0">
            <a:spAutoFit/>
          </a:bodyPr>
          <a:lstStyle/>
          <a:p>
            <a:pPr fontAlgn="base">
              <a:lnSpc>
                <a:spcPct val="90000"/>
              </a:lnSpc>
              <a:spcBef>
                <a:spcPct val="0"/>
              </a:spcBef>
              <a:spcAft>
                <a:spcPct val="0"/>
              </a:spcAft>
              <a:buClr>
                <a:srgbClr val="000000"/>
              </a:buClr>
              <a:buSzPct val="100000"/>
            </a:pPr>
            <a:r>
              <a:rPr lang="en-US" sz="1800" dirty="0" smtClean="0">
                <a:solidFill>
                  <a:srgbClr val="716D6D"/>
                </a:solidFill>
                <a:sym typeface="+mn-lt"/>
              </a:rPr>
              <a:t>Subtitle</a:t>
            </a:r>
          </a:p>
        </p:txBody>
      </p:sp>
      <p:sp>
        <p:nvSpPr>
          <p:cNvPr id="3" name="Text Placeholder"/>
          <p:cNvSpPr>
            <a:spLocks noGrp="1"/>
          </p:cNvSpPr>
          <p:nvPr>
            <p:ph type="body" idx="1"/>
          </p:nvPr>
        </p:nvSpPr>
        <p:spPr>
          <a:xfrm>
            <a:off x="681231" y="1282500"/>
            <a:ext cx="7879374" cy="1189556"/>
          </a:xfrm>
          <a:prstGeom prst="rect">
            <a:avLst/>
          </a:prstGeom>
        </p:spPr>
        <p:txBody>
          <a:bodyPr vert="horz" lIns="0" tIns="0" rIns="0" bIns="0" rtlCol="0">
            <a:spAutoFit/>
          </a:bodyPr>
          <a:lstStyle/>
          <a:p>
            <a:pPr lvl="0"/>
            <a:r>
              <a:rPr lang="en-US" dirty="0" smtClean="0"/>
              <a:t>Click to edit Master text styles – Level 0</a:t>
            </a:r>
          </a:p>
          <a:p>
            <a:pPr lvl="1"/>
            <a:r>
              <a:rPr lang="en-US" dirty="0" smtClean="0"/>
              <a:t>Level 1</a:t>
            </a:r>
          </a:p>
          <a:p>
            <a:pPr lvl="2"/>
            <a:r>
              <a:rPr lang="en-US" dirty="0" smtClean="0"/>
              <a:t>Level 2</a:t>
            </a:r>
          </a:p>
          <a:p>
            <a:pPr lvl="3"/>
            <a:r>
              <a:rPr lang="en-US" dirty="0" smtClean="0"/>
              <a:t>Level 3</a:t>
            </a:r>
            <a:endParaRPr lang="en-US" dirty="0"/>
          </a:p>
        </p:txBody>
      </p:sp>
      <p:sp>
        <p:nvSpPr>
          <p:cNvPr id="2" name="Title Placeholder"/>
          <p:cNvSpPr>
            <a:spLocks noGrp="1"/>
          </p:cNvSpPr>
          <p:nvPr>
            <p:ph type="title"/>
          </p:nvPr>
        </p:nvSpPr>
        <p:spPr>
          <a:xfrm>
            <a:off x="681231" y="540008"/>
            <a:ext cx="7879374" cy="560923"/>
          </a:xfrm>
          <a:prstGeom prst="rect">
            <a:avLst/>
          </a:prstGeom>
        </p:spPr>
        <p:txBody>
          <a:bodyPr vert="horz" lIns="0" tIns="0" rIns="0" bIns="0" rtlCol="0" anchor="t" anchorCtr="0">
            <a:noAutofit/>
          </a:bodyPr>
          <a:lstStyle/>
          <a:p>
            <a:r>
              <a:rPr lang="en-US" noProof="0" smtClean="0"/>
              <a:t>Click to edit Master title style</a:t>
            </a:r>
            <a:endParaRPr lang="en-US" noProof="0" dirty="0"/>
          </a:p>
        </p:txBody>
      </p:sp>
      <p:grpSp>
        <p:nvGrpSpPr>
          <p:cNvPr id="12" name="Drawing grid" hidden="1"/>
          <p:cNvGrpSpPr/>
          <p:nvPr/>
        </p:nvGrpSpPr>
        <p:grpSpPr>
          <a:xfrm>
            <a:off x="0" y="0"/>
            <a:ext cx="9144000" cy="5143500"/>
            <a:chOff x="0" y="0"/>
            <a:chExt cx="9906000" cy="6858000"/>
          </a:xfrm>
        </p:grpSpPr>
        <p:cxnSp>
          <p:nvCxnSpPr>
            <p:cNvPr id="27" name="!!!Do not delete!!!" hidden="1"/>
            <p:cNvCxnSpPr/>
            <p:nvPr/>
          </p:nvCxnSpPr>
          <p:spPr>
            <a:xfrm>
              <a:off x="738000" y="0"/>
              <a:ext cx="0" cy="6858000"/>
            </a:xfrm>
            <a:prstGeom prst="line">
              <a:avLst/>
            </a:prstGeom>
            <a:ln w="3175" cap="sq">
              <a:solidFill>
                <a:schemeClr val="accent2">
                  <a:lumMod val="90000"/>
                </a:schemeClr>
              </a:solidFill>
              <a:prstDash val="sysDot"/>
            </a:ln>
            <a:effectLst/>
          </p:spPr>
          <p:style>
            <a:lnRef idx="1">
              <a:schemeClr val="accent1"/>
            </a:lnRef>
            <a:fillRef idx="0">
              <a:schemeClr val="accent1"/>
            </a:fillRef>
            <a:effectRef idx="0">
              <a:schemeClr val="accent1"/>
            </a:effectRef>
            <a:fontRef idx="minor">
              <a:schemeClr val="tx1"/>
            </a:fontRef>
          </p:style>
        </p:cxnSp>
        <p:cxnSp>
          <p:nvCxnSpPr>
            <p:cNvPr id="28" name="!!!Do not delete!!!" hidden="1"/>
            <p:cNvCxnSpPr/>
            <p:nvPr/>
          </p:nvCxnSpPr>
          <p:spPr>
            <a:xfrm>
              <a:off x="1083600" y="0"/>
              <a:ext cx="0" cy="720000"/>
            </a:xfrm>
            <a:prstGeom prst="line">
              <a:avLst/>
            </a:prstGeom>
            <a:ln w="3175" cap="sq">
              <a:solidFill>
                <a:schemeClr val="accent2">
                  <a:lumMod val="90000"/>
                </a:schemeClr>
              </a:solidFill>
              <a:prstDash val="sysDot"/>
            </a:ln>
            <a:effectLst/>
          </p:spPr>
          <p:style>
            <a:lnRef idx="1">
              <a:schemeClr val="accent1"/>
            </a:lnRef>
            <a:fillRef idx="0">
              <a:schemeClr val="accent1"/>
            </a:fillRef>
            <a:effectRef idx="0">
              <a:schemeClr val="accent1"/>
            </a:effectRef>
            <a:fontRef idx="minor">
              <a:schemeClr val="tx1"/>
            </a:fontRef>
          </p:style>
        </p:cxnSp>
        <p:cxnSp>
          <p:nvCxnSpPr>
            <p:cNvPr id="31" name="!!!Do not delete!!!" hidden="1"/>
            <p:cNvCxnSpPr/>
            <p:nvPr/>
          </p:nvCxnSpPr>
          <p:spPr>
            <a:xfrm>
              <a:off x="9271000" y="0"/>
              <a:ext cx="0" cy="6858000"/>
            </a:xfrm>
            <a:prstGeom prst="line">
              <a:avLst/>
            </a:prstGeom>
            <a:ln w="3175" cap="sq">
              <a:solidFill>
                <a:schemeClr val="accent2">
                  <a:lumMod val="90000"/>
                </a:schemeClr>
              </a:solidFill>
              <a:prstDash val="sysDot"/>
            </a:ln>
            <a:effectLst/>
          </p:spPr>
          <p:style>
            <a:lnRef idx="1">
              <a:schemeClr val="accent1"/>
            </a:lnRef>
            <a:fillRef idx="0">
              <a:schemeClr val="accent1"/>
            </a:fillRef>
            <a:effectRef idx="0">
              <a:schemeClr val="accent1"/>
            </a:effectRef>
            <a:fontRef idx="minor">
              <a:schemeClr val="tx1"/>
            </a:fontRef>
          </p:style>
        </p:cxnSp>
        <p:cxnSp>
          <p:nvCxnSpPr>
            <p:cNvPr id="32" name="!!!Do not delete!!!" hidden="1"/>
            <p:cNvCxnSpPr/>
            <p:nvPr/>
          </p:nvCxnSpPr>
          <p:spPr>
            <a:xfrm>
              <a:off x="0" y="221454"/>
              <a:ext cx="9906000" cy="0"/>
            </a:xfrm>
            <a:prstGeom prst="line">
              <a:avLst/>
            </a:prstGeom>
            <a:ln w="3175" cap="sq">
              <a:solidFill>
                <a:schemeClr val="accent2">
                  <a:lumMod val="90000"/>
                </a:schemeClr>
              </a:solidFill>
              <a:prstDash val="sysDot"/>
            </a:ln>
            <a:effectLst/>
          </p:spPr>
          <p:style>
            <a:lnRef idx="1">
              <a:schemeClr val="accent1"/>
            </a:lnRef>
            <a:fillRef idx="0">
              <a:schemeClr val="accent1"/>
            </a:fillRef>
            <a:effectRef idx="0">
              <a:schemeClr val="accent1"/>
            </a:effectRef>
            <a:fontRef idx="minor">
              <a:schemeClr val="tx1"/>
            </a:fontRef>
          </p:style>
        </p:cxnSp>
        <p:cxnSp>
          <p:nvCxnSpPr>
            <p:cNvPr id="33" name="!!!Do not delete!!!" hidden="1"/>
            <p:cNvCxnSpPr/>
            <p:nvPr/>
          </p:nvCxnSpPr>
          <p:spPr>
            <a:xfrm>
              <a:off x="0" y="496092"/>
              <a:ext cx="9906000" cy="0"/>
            </a:xfrm>
            <a:prstGeom prst="line">
              <a:avLst/>
            </a:prstGeom>
            <a:ln w="3175" cap="sq">
              <a:solidFill>
                <a:schemeClr val="accent2">
                  <a:lumMod val="90000"/>
                </a:schemeClr>
              </a:solidFill>
              <a:prstDash val="sysDot"/>
            </a:ln>
            <a:effectLst/>
          </p:spPr>
          <p:style>
            <a:lnRef idx="1">
              <a:schemeClr val="accent1"/>
            </a:lnRef>
            <a:fillRef idx="0">
              <a:schemeClr val="accent1"/>
            </a:fillRef>
            <a:effectRef idx="0">
              <a:schemeClr val="accent1"/>
            </a:effectRef>
            <a:fontRef idx="minor">
              <a:schemeClr val="tx1"/>
            </a:fontRef>
          </p:style>
        </p:cxnSp>
        <p:cxnSp>
          <p:nvCxnSpPr>
            <p:cNvPr id="34" name="!!!Do not delete!!!" hidden="1"/>
            <p:cNvCxnSpPr/>
            <p:nvPr/>
          </p:nvCxnSpPr>
          <p:spPr>
            <a:xfrm>
              <a:off x="0" y="720000"/>
              <a:ext cx="9906000" cy="0"/>
            </a:xfrm>
            <a:prstGeom prst="line">
              <a:avLst/>
            </a:prstGeom>
            <a:ln w="3175" cap="sq">
              <a:solidFill>
                <a:schemeClr val="accent2">
                  <a:lumMod val="90000"/>
                </a:schemeClr>
              </a:solidFill>
              <a:prstDash val="sysDot"/>
            </a:ln>
            <a:effectLst/>
          </p:spPr>
          <p:style>
            <a:lnRef idx="1">
              <a:schemeClr val="accent1"/>
            </a:lnRef>
            <a:fillRef idx="0">
              <a:schemeClr val="accent1"/>
            </a:fillRef>
            <a:effectRef idx="0">
              <a:schemeClr val="accent1"/>
            </a:effectRef>
            <a:fontRef idx="minor">
              <a:schemeClr val="tx1"/>
            </a:fontRef>
          </p:style>
        </p:cxnSp>
        <p:cxnSp>
          <p:nvCxnSpPr>
            <p:cNvPr id="36" name="!!!Do not delete!!!" hidden="1"/>
            <p:cNvCxnSpPr/>
            <p:nvPr/>
          </p:nvCxnSpPr>
          <p:spPr>
            <a:xfrm>
              <a:off x="0" y="6418800"/>
              <a:ext cx="9906000" cy="0"/>
            </a:xfrm>
            <a:prstGeom prst="line">
              <a:avLst/>
            </a:prstGeom>
            <a:ln w="3175" cap="sq">
              <a:solidFill>
                <a:schemeClr val="accent2">
                  <a:lumMod val="90000"/>
                </a:schemeClr>
              </a:solidFill>
              <a:prstDash val="sysDot"/>
            </a:ln>
            <a:effectLst/>
          </p:spPr>
          <p:style>
            <a:lnRef idx="1">
              <a:schemeClr val="accent1"/>
            </a:lnRef>
            <a:fillRef idx="0">
              <a:schemeClr val="accent1"/>
            </a:fillRef>
            <a:effectRef idx="0">
              <a:schemeClr val="accent1"/>
            </a:effectRef>
            <a:fontRef idx="minor">
              <a:schemeClr val="tx1"/>
            </a:fontRef>
          </p:style>
        </p:cxnSp>
        <p:cxnSp>
          <p:nvCxnSpPr>
            <p:cNvPr id="37" name="!!!Do not delete!!!" hidden="1"/>
            <p:cNvCxnSpPr/>
            <p:nvPr/>
          </p:nvCxnSpPr>
          <p:spPr>
            <a:xfrm>
              <a:off x="0" y="6708775"/>
              <a:ext cx="9906000" cy="0"/>
            </a:xfrm>
            <a:prstGeom prst="line">
              <a:avLst/>
            </a:prstGeom>
            <a:ln w="3175" cap="sq">
              <a:solidFill>
                <a:schemeClr val="accent2">
                  <a:lumMod val="90000"/>
                </a:schemeClr>
              </a:solidFill>
              <a:prstDash val="sysDot"/>
            </a:ln>
            <a:effectLst/>
          </p:spPr>
          <p:style>
            <a:lnRef idx="1">
              <a:schemeClr val="accent1"/>
            </a:lnRef>
            <a:fillRef idx="0">
              <a:schemeClr val="accent1"/>
            </a:fillRef>
            <a:effectRef idx="0">
              <a:schemeClr val="accent1"/>
            </a:effectRef>
            <a:fontRef idx="minor">
              <a:schemeClr val="tx1"/>
            </a:fontRef>
          </p:style>
        </p:cxnSp>
        <p:cxnSp>
          <p:nvCxnSpPr>
            <p:cNvPr id="38" name="!!!Do not delete!!!" hidden="1"/>
            <p:cNvCxnSpPr/>
            <p:nvPr/>
          </p:nvCxnSpPr>
          <p:spPr>
            <a:xfrm>
              <a:off x="0" y="1710000"/>
              <a:ext cx="9906000" cy="0"/>
            </a:xfrm>
            <a:prstGeom prst="line">
              <a:avLst/>
            </a:prstGeom>
            <a:ln w="3175" cap="sq">
              <a:solidFill>
                <a:schemeClr val="accent2">
                  <a:lumMod val="90000"/>
                </a:schemeClr>
              </a:solidFill>
              <a:prstDash val="sysDot"/>
            </a:ln>
            <a:effectLst/>
          </p:spPr>
          <p:style>
            <a:lnRef idx="1">
              <a:schemeClr val="accent1"/>
            </a:lnRef>
            <a:fillRef idx="0">
              <a:schemeClr val="accent1"/>
            </a:fillRef>
            <a:effectRef idx="0">
              <a:schemeClr val="accent1"/>
            </a:effectRef>
            <a:fontRef idx="minor">
              <a:schemeClr val="tx1"/>
            </a:fontRef>
          </p:style>
        </p:cxnSp>
        <p:cxnSp>
          <p:nvCxnSpPr>
            <p:cNvPr id="39" name="!!!Do not delete!!!" hidden="1"/>
            <p:cNvCxnSpPr/>
            <p:nvPr/>
          </p:nvCxnSpPr>
          <p:spPr>
            <a:xfrm>
              <a:off x="548711" y="2178000"/>
              <a:ext cx="8939211" cy="0"/>
            </a:xfrm>
            <a:prstGeom prst="line">
              <a:avLst/>
            </a:prstGeom>
            <a:ln w="3175" cap="sq">
              <a:solidFill>
                <a:schemeClr val="accent2"/>
              </a:solidFill>
              <a:prstDash val="sysDot"/>
            </a:ln>
            <a:effectLst/>
          </p:spPr>
          <p:style>
            <a:lnRef idx="1">
              <a:schemeClr val="accent1"/>
            </a:lnRef>
            <a:fillRef idx="0">
              <a:schemeClr val="accent1"/>
            </a:fillRef>
            <a:effectRef idx="0">
              <a:schemeClr val="accent1"/>
            </a:effectRef>
            <a:fontRef idx="minor">
              <a:schemeClr val="tx1"/>
            </a:fontRef>
          </p:style>
        </p:cxnSp>
        <p:cxnSp>
          <p:nvCxnSpPr>
            <p:cNvPr id="44" name="!!!Do not delete!!!" hidden="1"/>
            <p:cNvCxnSpPr>
              <a:cxnSpLocks/>
            </p:cNvCxnSpPr>
            <p:nvPr userDrawn="1"/>
          </p:nvCxnSpPr>
          <p:spPr>
            <a:xfrm>
              <a:off x="7867969" y="0"/>
              <a:ext cx="0" cy="719149"/>
            </a:xfrm>
            <a:prstGeom prst="line">
              <a:avLst/>
            </a:prstGeom>
            <a:ln w="3175" cap="sq">
              <a:solidFill>
                <a:schemeClr val="accent2">
                  <a:lumMod val="90000"/>
                </a:schemeClr>
              </a:solidFill>
              <a:prstDash val="sysDot"/>
            </a:ln>
            <a:effectLst/>
          </p:spPr>
          <p:style>
            <a:lnRef idx="1">
              <a:schemeClr val="accent1"/>
            </a:lnRef>
            <a:fillRef idx="0">
              <a:schemeClr val="accent1"/>
            </a:fillRef>
            <a:effectRef idx="0">
              <a:schemeClr val="accent1"/>
            </a:effectRef>
            <a:fontRef idx="minor">
              <a:schemeClr val="tx1"/>
            </a:fontRef>
          </p:style>
        </p:cxnSp>
        <p:cxnSp>
          <p:nvCxnSpPr>
            <p:cNvPr id="48" name="!!!Do not delete!!!" hidden="1"/>
            <p:cNvCxnSpPr>
              <a:cxnSpLocks/>
            </p:cNvCxnSpPr>
            <p:nvPr userDrawn="1"/>
          </p:nvCxnSpPr>
          <p:spPr>
            <a:xfrm>
              <a:off x="8276816" y="0"/>
              <a:ext cx="0" cy="719149"/>
            </a:xfrm>
            <a:prstGeom prst="line">
              <a:avLst/>
            </a:prstGeom>
            <a:ln w="3175" cap="sq">
              <a:solidFill>
                <a:schemeClr val="accent2">
                  <a:lumMod val="90000"/>
                </a:schemeClr>
              </a:solidFill>
              <a:prstDash val="sysDot"/>
            </a:ln>
            <a:effectLst/>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xmlns="" val="1660650919"/>
      </p:ext>
    </p:extLst>
  </p:cSld>
  <p:clrMap bg1="lt1" tx1="dk1" bg2="lt2" tx2="dk2" accent1="accent1" accent2="accent2" accent3="accent3" accent4="accent4" accent5="accent5" accent6="accent6" hlink="hlink" folHlink="folHlink"/>
  <p:sldLayoutIdLst>
    <p:sldLayoutId id="2147484152" r:id="rId1"/>
    <p:sldLayoutId id="2147484153" r:id="rId2"/>
    <p:sldLayoutId id="2147484154" r:id="rId3"/>
    <p:sldLayoutId id="2147484155" r:id="rId4"/>
    <p:sldLayoutId id="2147484156" r:id="rId5"/>
    <p:sldLayoutId id="2147484157" r:id="rId6"/>
    <p:sldLayoutId id="2147484158" r:id="rId7"/>
    <p:sldLayoutId id="2147484159" r:id="rId8"/>
    <p:sldLayoutId id="2147484160" r:id="rId9"/>
  </p:sldLayoutIdLst>
  <p:timing>
    <p:tnLst>
      <p:par>
        <p:cTn id="1" dur="indefinite" restart="never" nodeType="tmRoot"/>
      </p:par>
    </p:tnLst>
  </p:timing>
  <p:hf sldNum="0" hdr="0" ftr="0" dt="0"/>
  <p:txStyles>
    <p:titleStyle>
      <a:lvl1pPr algn="l" defTabSz="779252" rtl="0" eaLnBrk="1" latinLnBrk="0" hangingPunct="1">
        <a:lnSpc>
          <a:spcPct val="90000"/>
        </a:lnSpc>
        <a:spcBef>
          <a:spcPct val="0"/>
        </a:spcBef>
        <a:buNone/>
        <a:defRPr lang="en-US" sz="2300" b="0" kern="1200" baseline="0" dirty="0">
          <a:solidFill>
            <a:schemeClr val="tx1"/>
          </a:solidFill>
          <a:latin typeface="+mj-lt"/>
          <a:ea typeface="+mj-ea"/>
          <a:cs typeface="+mj-cs"/>
          <a:sym typeface="+mn-lt"/>
        </a:defRPr>
      </a:lvl1pPr>
    </p:titleStyle>
    <p:bodyStyle>
      <a:lvl1pPr marL="0" indent="0" algn="l" defTabSz="779252" rtl="0" eaLnBrk="1" latinLnBrk="0" hangingPunct="1">
        <a:lnSpc>
          <a:spcPct val="90000"/>
        </a:lnSpc>
        <a:spcBef>
          <a:spcPts val="0"/>
        </a:spcBef>
        <a:buFont typeface="Arial Narrow" pitchFamily="34" charset="0"/>
        <a:buNone/>
        <a:defRPr lang="en-US" sz="1800" b="0" i="0" kern="1200" baseline="0" dirty="0" smtClean="0">
          <a:solidFill>
            <a:schemeClr val="tx1"/>
          </a:solidFill>
          <a:latin typeface="+mn-lt"/>
          <a:ea typeface="+mn-ea"/>
          <a:cs typeface="+mn-cs"/>
          <a:sym typeface="+mn-lt"/>
        </a:defRPr>
      </a:lvl1pPr>
      <a:lvl2pPr marL="196347" indent="-196347" algn="l" defTabSz="779252" rtl="0" eaLnBrk="1" latinLnBrk="0" hangingPunct="1">
        <a:lnSpc>
          <a:spcPct val="90000"/>
        </a:lnSpc>
        <a:spcBef>
          <a:spcPts val="1023"/>
        </a:spcBef>
        <a:buFont typeface="Arial Narrow" pitchFamily="34" charset="0"/>
        <a:buChar char="&gt;"/>
        <a:defRPr lang="en-US" sz="1800" b="0" kern="1200" dirty="0" smtClean="0">
          <a:solidFill>
            <a:schemeClr val="tx1"/>
          </a:solidFill>
          <a:latin typeface="+mn-lt"/>
          <a:ea typeface="+mn-ea"/>
          <a:cs typeface="+mn-cs"/>
          <a:sym typeface="+mn-lt"/>
        </a:defRPr>
      </a:lvl2pPr>
      <a:lvl3pPr marL="411101" indent="-199415" algn="l" defTabSz="779252" rtl="0" eaLnBrk="1" latinLnBrk="0" hangingPunct="1">
        <a:lnSpc>
          <a:spcPct val="90000"/>
        </a:lnSpc>
        <a:spcBef>
          <a:spcPts val="341"/>
        </a:spcBef>
        <a:buFont typeface="Arial Narrow" pitchFamily="34" charset="0"/>
        <a:buChar char="–"/>
        <a:defRPr lang="en-US" sz="1800" b="0" kern="1200" dirty="0" smtClean="0">
          <a:solidFill>
            <a:schemeClr val="tx1"/>
          </a:solidFill>
          <a:latin typeface="+mn-lt"/>
          <a:ea typeface="+mn-ea"/>
          <a:cs typeface="+mn-cs"/>
          <a:sym typeface="+mn-lt"/>
        </a:defRPr>
      </a:lvl3pPr>
      <a:lvl4pPr marL="595176" indent="-171804" algn="l" defTabSz="779252" rtl="0" eaLnBrk="1" latinLnBrk="0" hangingPunct="1">
        <a:lnSpc>
          <a:spcPct val="90000"/>
        </a:lnSpc>
        <a:spcBef>
          <a:spcPts val="170"/>
        </a:spcBef>
        <a:buFont typeface="Arial Narrow" pitchFamily="34" charset="0"/>
        <a:buChar char="-"/>
        <a:defRPr lang="en-US" sz="1800" b="0" kern="1200" dirty="0">
          <a:solidFill>
            <a:schemeClr val="tx1"/>
          </a:solidFill>
          <a:latin typeface="+mn-lt"/>
          <a:ea typeface="+mn-ea"/>
          <a:cs typeface="+mn-cs"/>
          <a:sym typeface="+mn-lt"/>
        </a:defRPr>
      </a:lvl4pPr>
      <a:lvl5pPr marL="595176" indent="0" algn="l" defTabSz="779252" rtl="0" eaLnBrk="1" latinLnBrk="0" hangingPunct="1">
        <a:lnSpc>
          <a:spcPct val="93000"/>
        </a:lnSpc>
        <a:spcBef>
          <a:spcPts val="0"/>
        </a:spcBef>
        <a:buFont typeface="Arial Narrow" pitchFamily="34" charset="0"/>
        <a:buNone/>
        <a:defRPr sz="1400" kern="1200">
          <a:solidFill>
            <a:schemeClr val="tx1"/>
          </a:solidFill>
          <a:latin typeface="Arial Narrow" pitchFamily="34" charset="0"/>
          <a:ea typeface="+mn-ea"/>
          <a:cs typeface="+mn-cs"/>
        </a:defRPr>
      </a:lvl5pPr>
      <a:lvl6pPr marL="2142942" indent="-194813" algn="l" defTabSz="779252" rtl="0" eaLnBrk="1" latinLnBrk="0" hangingPunct="1">
        <a:spcBef>
          <a:spcPct val="20000"/>
        </a:spcBef>
        <a:buFont typeface="Arial Narrow" pitchFamily="34" charset="0"/>
        <a:buChar char="•"/>
        <a:defRPr sz="1700" kern="1200">
          <a:solidFill>
            <a:schemeClr val="tx1"/>
          </a:solidFill>
          <a:latin typeface="+mn-lt"/>
          <a:ea typeface="+mn-ea"/>
          <a:cs typeface="+mn-cs"/>
        </a:defRPr>
      </a:lvl6pPr>
      <a:lvl7pPr marL="2532568" indent="-194813" algn="l" defTabSz="779252" rtl="0" eaLnBrk="1" latinLnBrk="0" hangingPunct="1">
        <a:spcBef>
          <a:spcPct val="20000"/>
        </a:spcBef>
        <a:buFont typeface="Arial Narrow" pitchFamily="34" charset="0"/>
        <a:buChar char="•"/>
        <a:defRPr sz="1700" kern="1200">
          <a:solidFill>
            <a:schemeClr val="tx1"/>
          </a:solidFill>
          <a:latin typeface="+mn-lt"/>
          <a:ea typeface="+mn-ea"/>
          <a:cs typeface="+mn-cs"/>
        </a:defRPr>
      </a:lvl7pPr>
      <a:lvl8pPr marL="2922194" indent="-194813" algn="l" defTabSz="779252" rtl="0" eaLnBrk="1" latinLnBrk="0" hangingPunct="1">
        <a:spcBef>
          <a:spcPct val="20000"/>
        </a:spcBef>
        <a:buFont typeface="Arial Narrow" pitchFamily="34" charset="0"/>
        <a:buChar char="•"/>
        <a:defRPr sz="1700" kern="1200">
          <a:solidFill>
            <a:schemeClr val="tx1"/>
          </a:solidFill>
          <a:latin typeface="+mn-lt"/>
          <a:ea typeface="+mn-ea"/>
          <a:cs typeface="+mn-cs"/>
        </a:defRPr>
      </a:lvl8pPr>
      <a:lvl9pPr marL="3311820" indent="-194813" algn="l" defTabSz="779252" rtl="0" eaLnBrk="1" latinLnBrk="0" hangingPunct="1">
        <a:spcBef>
          <a:spcPct val="20000"/>
        </a:spcBef>
        <a:buFont typeface="Arial Narrow" pitchFamily="34" charset="0"/>
        <a:buChar char="•"/>
        <a:defRPr sz="1700" kern="1200">
          <a:solidFill>
            <a:schemeClr val="tx1"/>
          </a:solidFill>
          <a:latin typeface="+mn-lt"/>
          <a:ea typeface="+mn-ea"/>
          <a:cs typeface="+mn-cs"/>
        </a:defRPr>
      </a:lvl9pPr>
    </p:bodyStyle>
    <p:otherStyle>
      <a:defPPr>
        <a:defRPr lang="en-US"/>
      </a:defPPr>
      <a:lvl1pPr marL="0" algn="l" defTabSz="779252" rtl="0" eaLnBrk="1" latinLnBrk="0" hangingPunct="1">
        <a:defRPr sz="1500" kern="1200">
          <a:solidFill>
            <a:schemeClr val="tx1"/>
          </a:solidFill>
          <a:latin typeface="+mn-lt"/>
          <a:ea typeface="+mn-ea"/>
          <a:cs typeface="+mn-cs"/>
        </a:defRPr>
      </a:lvl1pPr>
      <a:lvl2pPr marL="389626" algn="l" defTabSz="779252" rtl="0" eaLnBrk="1" latinLnBrk="0" hangingPunct="1">
        <a:defRPr sz="1500" kern="1200">
          <a:solidFill>
            <a:schemeClr val="tx1"/>
          </a:solidFill>
          <a:latin typeface="+mn-lt"/>
          <a:ea typeface="+mn-ea"/>
          <a:cs typeface="+mn-cs"/>
        </a:defRPr>
      </a:lvl2pPr>
      <a:lvl3pPr marL="779252" algn="l" defTabSz="779252" rtl="0" eaLnBrk="1" latinLnBrk="0" hangingPunct="1">
        <a:defRPr sz="1500" kern="1200">
          <a:solidFill>
            <a:schemeClr val="tx1"/>
          </a:solidFill>
          <a:latin typeface="+mn-lt"/>
          <a:ea typeface="+mn-ea"/>
          <a:cs typeface="+mn-cs"/>
        </a:defRPr>
      </a:lvl3pPr>
      <a:lvl4pPr marL="1168878" algn="l" defTabSz="779252" rtl="0" eaLnBrk="1" latinLnBrk="0" hangingPunct="1">
        <a:defRPr sz="1500" kern="1200">
          <a:solidFill>
            <a:schemeClr val="tx1"/>
          </a:solidFill>
          <a:latin typeface="+mn-lt"/>
          <a:ea typeface="+mn-ea"/>
          <a:cs typeface="+mn-cs"/>
        </a:defRPr>
      </a:lvl4pPr>
      <a:lvl5pPr marL="1558503" algn="l" defTabSz="779252" rtl="0" eaLnBrk="1" latinLnBrk="0" hangingPunct="1">
        <a:defRPr sz="1500" kern="1200">
          <a:solidFill>
            <a:schemeClr val="tx1"/>
          </a:solidFill>
          <a:latin typeface="+mn-lt"/>
          <a:ea typeface="+mn-ea"/>
          <a:cs typeface="+mn-cs"/>
        </a:defRPr>
      </a:lvl5pPr>
      <a:lvl6pPr marL="1948129" algn="l" defTabSz="779252" rtl="0" eaLnBrk="1" latinLnBrk="0" hangingPunct="1">
        <a:defRPr sz="1500" kern="1200">
          <a:solidFill>
            <a:schemeClr val="tx1"/>
          </a:solidFill>
          <a:latin typeface="+mn-lt"/>
          <a:ea typeface="+mn-ea"/>
          <a:cs typeface="+mn-cs"/>
        </a:defRPr>
      </a:lvl6pPr>
      <a:lvl7pPr marL="2337755" algn="l" defTabSz="779252" rtl="0" eaLnBrk="1" latinLnBrk="0" hangingPunct="1">
        <a:defRPr sz="1500" kern="1200">
          <a:solidFill>
            <a:schemeClr val="tx1"/>
          </a:solidFill>
          <a:latin typeface="+mn-lt"/>
          <a:ea typeface="+mn-ea"/>
          <a:cs typeface="+mn-cs"/>
        </a:defRPr>
      </a:lvl7pPr>
      <a:lvl8pPr marL="2727381" algn="l" defTabSz="779252" rtl="0" eaLnBrk="1" latinLnBrk="0" hangingPunct="1">
        <a:defRPr sz="1500" kern="1200">
          <a:solidFill>
            <a:schemeClr val="tx1"/>
          </a:solidFill>
          <a:latin typeface="+mn-lt"/>
          <a:ea typeface="+mn-ea"/>
          <a:cs typeface="+mn-cs"/>
        </a:defRPr>
      </a:lvl8pPr>
      <a:lvl9pPr marL="3117007" algn="l" defTabSz="779252" rtl="0" eaLnBrk="1" latinLnBrk="0" hangingPunct="1">
        <a:defRPr sz="15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05978"/>
            <a:ext cx="8229600" cy="857250"/>
          </a:xfrm>
          <a:prstGeom prst="rect">
            <a:avLst/>
          </a:prstGeom>
        </p:spPr>
        <p:txBody>
          <a:bodyPr vert="horz" lIns="91440" tIns="45720" rIns="91440" bIns="45720"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457200" y="1200151"/>
            <a:ext cx="8229600" cy="3394472"/>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Slide Number Placeholder 13"/>
          <p:cNvSpPr>
            <a:spLocks noGrp="1"/>
          </p:cNvSpPr>
          <p:nvPr userDrawn="1">
            <p:ph type="sldNum" sz="quarter" idx="4"/>
          </p:nvPr>
        </p:nvSpPr>
        <p:spPr>
          <a:xfrm>
            <a:off x="7010400" y="4918125"/>
            <a:ext cx="2133600" cy="273844"/>
          </a:xfrm>
          <a:prstGeom prst="rect">
            <a:avLst/>
          </a:prstGeom>
        </p:spPr>
        <p:txBody>
          <a:bodyPr/>
          <a:lstStyle>
            <a:lvl1pPr algn="r">
              <a:defRPr sz="1400" b="1">
                <a:solidFill>
                  <a:schemeClr val="bg1"/>
                </a:solidFill>
              </a:defRPr>
            </a:lvl1pPr>
          </a:lstStyle>
          <a:p>
            <a:fld id="{3149A960-9A85-47C9-BA01-92958F426FBD}" type="slidenum">
              <a:rPr lang="en-US" smtClean="0">
                <a:solidFill>
                  <a:prstClr val="white"/>
                </a:solidFill>
                <a:latin typeface="TH SarabunPSK" pitchFamily="34" charset="-34"/>
                <a:cs typeface="TH SarabunPSK" pitchFamily="34" charset="-34"/>
              </a:rPr>
              <a:pPr/>
              <a:t>‹#›</a:t>
            </a:fld>
            <a:endParaRPr lang="en-US">
              <a:solidFill>
                <a:prstClr val="white"/>
              </a:solidFill>
              <a:latin typeface="TH SarabunPSK" pitchFamily="34" charset="-34"/>
              <a:cs typeface="TH SarabunPSK" pitchFamily="34" charset="-34"/>
            </a:endParaRPr>
          </a:p>
        </p:txBody>
      </p:sp>
      <p:sp>
        <p:nvSpPr>
          <p:cNvPr id="8" name="Date Placeholder 15"/>
          <p:cNvSpPr>
            <a:spLocks noGrp="1"/>
          </p:cNvSpPr>
          <p:nvPr userDrawn="1">
            <p:ph type="dt" sz="half" idx="2"/>
          </p:nvPr>
        </p:nvSpPr>
        <p:spPr>
          <a:xfrm>
            <a:off x="0" y="4923582"/>
            <a:ext cx="2133600" cy="273844"/>
          </a:xfrm>
          <a:prstGeom prst="rect">
            <a:avLst/>
          </a:prstGeom>
        </p:spPr>
        <p:txBody>
          <a:bodyPr/>
          <a:lstStyle>
            <a:lvl1pPr>
              <a:defRPr sz="1400" b="1">
                <a:solidFill>
                  <a:schemeClr val="bg1"/>
                </a:solidFill>
              </a:defRPr>
            </a:lvl1pPr>
          </a:lstStyle>
          <a:p>
            <a:fld id="{159DC1D5-A6D6-4CE7-B914-1A0D3CFB2661}" type="datetime1">
              <a:rPr lang="en-US" smtClean="0">
                <a:solidFill>
                  <a:prstClr val="white"/>
                </a:solidFill>
                <a:latin typeface="TH SarabunPSK" pitchFamily="34" charset="-34"/>
                <a:cs typeface="TH SarabunPSK" pitchFamily="34" charset="-34"/>
              </a:rPr>
              <a:pPr/>
              <a:t>9/20/2015</a:t>
            </a:fld>
            <a:endParaRPr lang="en-US" dirty="0">
              <a:solidFill>
                <a:prstClr val="white"/>
              </a:solidFill>
              <a:latin typeface="TH SarabunPSK" pitchFamily="34" charset="-34"/>
              <a:cs typeface="TH SarabunPSK" pitchFamily="34" charset="-34"/>
            </a:endParaRPr>
          </a:p>
        </p:txBody>
      </p:sp>
      <p:sp>
        <p:nvSpPr>
          <p:cNvPr id="9" name="Date Placeholder 15"/>
          <p:cNvSpPr txBox="1">
            <a:spLocks/>
          </p:cNvSpPr>
          <p:nvPr userDrawn="1"/>
        </p:nvSpPr>
        <p:spPr>
          <a:xfrm>
            <a:off x="3048000" y="4918125"/>
            <a:ext cx="3352800" cy="273844"/>
          </a:xfrm>
          <a:prstGeom prst="rect">
            <a:avLst/>
          </a:prstGeom>
        </p:spPr>
        <p:txBody>
          <a:bodyPr vert="horz" lIns="91440" tIns="45720" rIns="91440" bIns="45720" rtlCol="0" anchor="ctr"/>
          <a:lstStyle/>
          <a:p>
            <a:pPr algn="ctr">
              <a:defRPr/>
            </a:pPr>
            <a:r>
              <a:rPr lang="th-TH" sz="1400" b="1" dirty="0" smtClean="0">
                <a:solidFill>
                  <a:prstClr val="white"/>
                </a:solidFill>
                <a:latin typeface="TH SarabunPSK" pitchFamily="34" charset="-34"/>
                <a:cs typeface="TH SarabunPSK" pitchFamily="34" charset="-34"/>
              </a:rPr>
              <a:t>สำนักยุทธศาสตร์และการวางแผนพัฒนาพื้นที่ </a:t>
            </a:r>
            <a:endParaRPr lang="en-US" sz="1400" b="1" dirty="0" smtClean="0">
              <a:solidFill>
                <a:prstClr val="white"/>
              </a:solidFill>
              <a:latin typeface="TH SarabunPSK" pitchFamily="34" charset="-34"/>
              <a:cs typeface="TH SarabunPSK" pitchFamily="34" charset="-34"/>
            </a:endParaRPr>
          </a:p>
        </p:txBody>
      </p:sp>
    </p:spTree>
    <p:extLst>
      <p:ext uri="{BB962C8B-B14F-4D97-AF65-F5344CB8AC3E}">
        <p14:creationId xmlns:p14="http://schemas.microsoft.com/office/powerpoint/2010/main" xmlns="" val="100912203"/>
      </p:ext>
    </p:extLst>
  </p:cSld>
  <p:clrMap bg1="lt1" tx1="dk1" bg2="lt2" tx2="dk2" accent1="accent1" accent2="accent2" accent3="accent3" accent4="accent4" accent5="accent5" accent6="accent6" hlink="hlink" folHlink="folHlink"/>
  <p:sldLayoutIdLst>
    <p:sldLayoutId id="2147484163" r:id="rId1"/>
    <p:sldLayoutId id="2147484164" r:id="rId2"/>
    <p:sldLayoutId id="2147484165" r:id="rId3"/>
    <p:sldLayoutId id="2147484166" r:id="rId4"/>
    <p:sldLayoutId id="2147484167" r:id="rId5"/>
    <p:sldLayoutId id="2147484168" r:id="rId6"/>
    <p:sldLayoutId id="2147484169" r:id="rId7"/>
    <p:sldLayoutId id="2147484170" r:id="rId8"/>
    <p:sldLayoutId id="2147484171" r:id="rId9"/>
    <p:sldLayoutId id="2147484172" r:id="rId10"/>
    <p:sldLayoutId id="2147484173" r:id="rId11"/>
  </p:sldLayoutIdLst>
  <p:hf hdr="0" ftr="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6.gif"/><Relationship Id="rId3" Type="http://schemas.openxmlformats.org/officeDocument/2006/relationships/slideLayout" Target="../slideLayouts/slideLayout47.xml"/><Relationship Id="rId7" Type="http://schemas.openxmlformats.org/officeDocument/2006/relationships/image" Target="../media/image5.png"/><Relationship Id="rId2" Type="http://schemas.openxmlformats.org/officeDocument/2006/relationships/tags" Target="../tags/tag88.xml"/><Relationship Id="rId1" Type="http://schemas.openxmlformats.org/officeDocument/2006/relationships/vmlDrawing" Target="../drawings/vmlDrawing7.vml"/><Relationship Id="rId6" Type="http://schemas.openxmlformats.org/officeDocument/2006/relationships/oleObject" Target="../embeddings/oleObject7.bin"/><Relationship Id="rId5" Type="http://schemas.openxmlformats.org/officeDocument/2006/relationships/image" Target="../media/image4.jpeg"/><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55.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55.xml"/></Relationships>
</file>

<file path=ppt/slides/_rels/slide12.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7.xml"/><Relationship Id="rId1" Type="http://schemas.openxmlformats.org/officeDocument/2006/relationships/slideLayout" Target="../slideLayouts/slideLayout18.xml"/></Relationships>
</file>

<file path=ppt/slides/_rels/slide13.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8.xml"/><Relationship Id="rId1" Type="http://schemas.openxmlformats.org/officeDocument/2006/relationships/slideLayout" Target="../slideLayouts/slideLayout61.xml"/><Relationship Id="rId4" Type="http://schemas.openxmlformats.org/officeDocument/2006/relationships/image" Target="../media/image41.png"/></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61.xml"/><Relationship Id="rId1" Type="http://schemas.openxmlformats.org/officeDocument/2006/relationships/tags" Target="../tags/tag89.xml"/><Relationship Id="rId4" Type="http://schemas.openxmlformats.org/officeDocument/2006/relationships/image" Target="../media/image42.jpeg"/></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61.xml"/><Relationship Id="rId1" Type="http://schemas.openxmlformats.org/officeDocument/2006/relationships/tags" Target="../tags/tag90.xml"/><Relationship Id="rId4" Type="http://schemas.openxmlformats.org/officeDocument/2006/relationships/image" Target="../media/image43.png"/></Relationships>
</file>

<file path=ppt/slides/_rels/slide16.xml.rels><?xml version="1.0" encoding="UTF-8" standalone="yes"?>
<Relationships xmlns="http://schemas.openxmlformats.org/package/2006/relationships"><Relationship Id="rId8" Type="http://schemas.openxmlformats.org/officeDocument/2006/relationships/image" Target="../media/image48.png"/><Relationship Id="rId3" Type="http://schemas.openxmlformats.org/officeDocument/2006/relationships/notesSlide" Target="../notesSlides/notesSlide11.xml"/><Relationship Id="rId7" Type="http://schemas.openxmlformats.org/officeDocument/2006/relationships/image" Target="../media/image47.png"/><Relationship Id="rId2" Type="http://schemas.openxmlformats.org/officeDocument/2006/relationships/slideLayout" Target="../slideLayouts/slideLayout61.xml"/><Relationship Id="rId1" Type="http://schemas.openxmlformats.org/officeDocument/2006/relationships/tags" Target="../tags/tag91.xml"/><Relationship Id="rId6" Type="http://schemas.openxmlformats.org/officeDocument/2006/relationships/image" Target="../media/image46.png"/><Relationship Id="rId11" Type="http://schemas.openxmlformats.org/officeDocument/2006/relationships/image" Target="../media/image51.png"/><Relationship Id="rId5" Type="http://schemas.openxmlformats.org/officeDocument/2006/relationships/image" Target="../media/image45.jpeg"/><Relationship Id="rId10" Type="http://schemas.openxmlformats.org/officeDocument/2006/relationships/image" Target="../media/image50.png"/><Relationship Id="rId4" Type="http://schemas.openxmlformats.org/officeDocument/2006/relationships/image" Target="../media/image44.jpeg"/><Relationship Id="rId9" Type="http://schemas.openxmlformats.org/officeDocument/2006/relationships/image" Target="../media/image49.png"/></Relationships>
</file>

<file path=ppt/slides/_rels/slide17.xml.rels><?xml version="1.0" encoding="UTF-8" standalone="yes"?>
<Relationships xmlns="http://schemas.openxmlformats.org/package/2006/relationships"><Relationship Id="rId2" Type="http://schemas.openxmlformats.org/officeDocument/2006/relationships/image" Target="../media/image52.png"/><Relationship Id="rId1" Type="http://schemas.openxmlformats.org/officeDocument/2006/relationships/slideLayout" Target="../slideLayouts/slideLayout61.xml"/></Relationships>
</file>

<file path=ppt/slides/_rels/slide18.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notesSlide" Target="../notesSlides/notesSlide12.xml"/><Relationship Id="rId1" Type="http://schemas.openxmlformats.org/officeDocument/2006/relationships/slideLayout" Target="../slideLayouts/slideLayout61.xml"/><Relationship Id="rId6" Type="http://schemas.openxmlformats.org/officeDocument/2006/relationships/image" Target="../media/image56.png"/><Relationship Id="rId5" Type="http://schemas.openxmlformats.org/officeDocument/2006/relationships/image" Target="../media/image55.png"/><Relationship Id="rId4" Type="http://schemas.openxmlformats.org/officeDocument/2006/relationships/image" Target="../media/image54.png"/></Relationships>
</file>

<file path=ppt/slides/_rels/slide19.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notesSlide" Target="../notesSlides/notesSlide13.xml"/><Relationship Id="rId1" Type="http://schemas.openxmlformats.org/officeDocument/2006/relationships/slideLayout" Target="../slideLayouts/slideLayout61.xml"/><Relationship Id="rId5" Type="http://schemas.openxmlformats.org/officeDocument/2006/relationships/image" Target="../media/image59.png"/><Relationship Id="rId4" Type="http://schemas.openxmlformats.org/officeDocument/2006/relationships/image" Target="../media/image58.pn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44.xml"/></Relationships>
</file>

<file path=ppt/slides/_rels/slide20.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notesSlide" Target="../notesSlides/notesSlide14.xml"/><Relationship Id="rId1" Type="http://schemas.openxmlformats.org/officeDocument/2006/relationships/slideLayout" Target="../slideLayouts/slideLayout61.xml"/><Relationship Id="rId4" Type="http://schemas.openxmlformats.org/officeDocument/2006/relationships/image" Target="../media/image61.png"/></Relationships>
</file>

<file path=ppt/slides/_rels/slide21.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image" Target="../media/image62.png"/><Relationship Id="rId1" Type="http://schemas.openxmlformats.org/officeDocument/2006/relationships/slideLayout" Target="../slideLayouts/slideLayout61.xml"/><Relationship Id="rId4" Type="http://schemas.openxmlformats.org/officeDocument/2006/relationships/image" Target="../media/image64.png"/></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64.xml"/></Relationships>
</file>

<file path=ppt/slides/_rels/slide23.xml.rels><?xml version="1.0" encoding="UTF-8" standalone="yes"?>
<Relationships xmlns="http://schemas.openxmlformats.org/package/2006/relationships"><Relationship Id="rId8" Type="http://schemas.openxmlformats.org/officeDocument/2006/relationships/image" Target="../media/image70.png"/><Relationship Id="rId3" Type="http://schemas.openxmlformats.org/officeDocument/2006/relationships/image" Target="../media/image66.jpeg"/><Relationship Id="rId7" Type="http://schemas.openxmlformats.org/officeDocument/2006/relationships/image" Target="../media/image69.jpeg"/><Relationship Id="rId2" Type="http://schemas.openxmlformats.org/officeDocument/2006/relationships/image" Target="../media/image65.png"/><Relationship Id="rId1" Type="http://schemas.openxmlformats.org/officeDocument/2006/relationships/slideLayout" Target="../slideLayouts/slideLayout71.xml"/><Relationship Id="rId6" Type="http://schemas.openxmlformats.org/officeDocument/2006/relationships/image" Target="../media/image68.png"/><Relationship Id="rId5" Type="http://schemas.openxmlformats.org/officeDocument/2006/relationships/hyperlink" Target="http://www.google.co.th/url?sa=i&amp;rct=j&amp;q=&amp;esrc=s&amp;source=images&amp;cd=&amp;cad=rja&amp;uact=8&amp;ved=0CAcQjRxqFQoTCP6s3Yfp_ccCFU8JjgodVuMNAg&amp;url=http://www.laserfocusworld.com/blogs/photon-focus/2013/03/nlia-and-clusters-advance-china-s-domestic-laser-industry.html&amp;bvm=bv.102829193,d.c2E&amp;psig=AFQjCNGOBmbmtjWFOeKf72Cuq3reJuJJkQ&amp;ust=1442570718441146" TargetMode="External"/><Relationship Id="rId4" Type="http://schemas.openxmlformats.org/officeDocument/2006/relationships/image" Target="../media/image67.jpeg"/></Relationships>
</file>

<file path=ppt/slides/_rels/slide24.xml.rels><?xml version="1.0" encoding="UTF-8" standalone="yes"?>
<Relationships xmlns="http://schemas.openxmlformats.org/package/2006/relationships"><Relationship Id="rId3" Type="http://schemas.openxmlformats.org/officeDocument/2006/relationships/image" Target="../media/image69.jpeg"/><Relationship Id="rId7" Type="http://schemas.openxmlformats.org/officeDocument/2006/relationships/image" Target="../media/image74.png"/><Relationship Id="rId2" Type="http://schemas.openxmlformats.org/officeDocument/2006/relationships/image" Target="../media/image71.jpeg"/><Relationship Id="rId1" Type="http://schemas.openxmlformats.org/officeDocument/2006/relationships/slideLayout" Target="../slideLayouts/slideLayout65.xml"/><Relationship Id="rId6" Type="http://schemas.openxmlformats.org/officeDocument/2006/relationships/image" Target="../media/image73.jpeg"/><Relationship Id="rId5" Type="http://schemas.openxmlformats.org/officeDocument/2006/relationships/hyperlink" Target="http://www.google.co.th/url?url=http://www.tnews.co.th/html/content/61476/&amp;rct=j&amp;frm=1&amp;q=&amp;esrc=s&amp;sa=U&amp;ved=0CBcQwW4wAGoVChMI9r7w-bG3xwIVzgeOCh3QqAdH&amp;usg=AFQjCNHmhwOw6LUnoFq4rMgTL45WvCEl3Q" TargetMode="External"/><Relationship Id="rId4" Type="http://schemas.openxmlformats.org/officeDocument/2006/relationships/image" Target="../media/image72.jpeg"/></Relationships>
</file>

<file path=ppt/slides/_rels/slide25.xml.rels><?xml version="1.0" encoding="UTF-8" standalone="yes"?>
<Relationships xmlns="http://schemas.openxmlformats.org/package/2006/relationships"><Relationship Id="rId2" Type="http://schemas.openxmlformats.org/officeDocument/2006/relationships/image" Target="../media/image75.png"/><Relationship Id="rId1" Type="http://schemas.openxmlformats.org/officeDocument/2006/relationships/slideLayout" Target="../slideLayouts/slideLayout65.xml"/></Relationships>
</file>

<file path=ppt/slides/_rels/slide26.xml.rels><?xml version="1.0" encoding="UTF-8" standalone="yes"?>
<Relationships xmlns="http://schemas.openxmlformats.org/package/2006/relationships"><Relationship Id="rId13" Type="http://schemas.microsoft.com/office/2007/relationships/hdphoto" Target="../media/hdphoto10.wdp"/><Relationship Id="rId18" Type="http://schemas.microsoft.com/office/2007/relationships/diagramDrawing" Target="../diagrams/drawing1.xml"/><Relationship Id="rId3" Type="http://schemas.openxmlformats.org/officeDocument/2006/relationships/diagramData" Target="../diagrams/data1.xml"/><Relationship Id="rId7" Type="http://schemas.openxmlformats.org/officeDocument/2006/relationships/image" Target="../media/image77.jpeg"/><Relationship Id="rId12" Type="http://schemas.openxmlformats.org/officeDocument/2006/relationships/image" Target="../media/image79.png"/><Relationship Id="rId17" Type="http://schemas.openxmlformats.org/officeDocument/2006/relationships/image" Target="../media/image82.png"/><Relationship Id="rId2" Type="http://schemas.openxmlformats.org/officeDocument/2006/relationships/image" Target="../media/image76.jpeg"/><Relationship Id="rId16" Type="http://schemas.openxmlformats.org/officeDocument/2006/relationships/image" Target="../media/image81.png"/><Relationship Id="rId1" Type="http://schemas.openxmlformats.org/officeDocument/2006/relationships/slideLayout" Target="../slideLayouts/slideLayout70.xml"/><Relationship Id="rId6" Type="http://schemas.openxmlformats.org/officeDocument/2006/relationships/diagramColors" Target="../diagrams/colors1.xml"/><Relationship Id="rId11" Type="http://schemas.microsoft.com/office/2007/relationships/hdphoto" Target="../media/hdphoto9.wdp"/><Relationship Id="rId5" Type="http://schemas.openxmlformats.org/officeDocument/2006/relationships/diagramQuickStyle" Target="../diagrams/quickStyle1.xml"/><Relationship Id="rId15" Type="http://schemas.microsoft.com/office/2007/relationships/hdphoto" Target="../media/hdphoto11.wdp"/><Relationship Id="rId10" Type="http://schemas.openxmlformats.org/officeDocument/2006/relationships/image" Target="../media/image78.png"/><Relationship Id="rId4" Type="http://schemas.openxmlformats.org/officeDocument/2006/relationships/diagramLayout" Target="../diagrams/layout1.xml"/><Relationship Id="rId9" Type="http://schemas.microsoft.com/office/2007/relationships/hdphoto" Target="../media/hdphoto8.wdp"/><Relationship Id="rId14" Type="http://schemas.openxmlformats.org/officeDocument/2006/relationships/image" Target="../media/image80.png"/></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65.xml"/></Relationships>
</file>

<file path=ppt/slides/_rels/slide28.xml.rels><?xml version="1.0" encoding="UTF-8" standalone="yes"?>
<Relationships xmlns="http://schemas.openxmlformats.org/package/2006/relationships"><Relationship Id="rId3" Type="http://schemas.openxmlformats.org/officeDocument/2006/relationships/image" Target="../media/image83.jpeg"/><Relationship Id="rId2" Type="http://schemas.openxmlformats.org/officeDocument/2006/relationships/notesSlide" Target="../notesSlides/notesSlide16.xml"/><Relationship Id="rId1" Type="http://schemas.openxmlformats.org/officeDocument/2006/relationships/slideLayout" Target="../slideLayouts/slideLayout65.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65.xml"/></Relationships>
</file>

<file path=ppt/slides/_rels/slide3.xml.rels><?xml version="1.0" encoding="UTF-8" standalone="yes"?>
<Relationships xmlns="http://schemas.openxmlformats.org/package/2006/relationships"><Relationship Id="rId8" Type="http://schemas.openxmlformats.org/officeDocument/2006/relationships/image" Target="../media/image11.png"/><Relationship Id="rId13" Type="http://schemas.openxmlformats.org/officeDocument/2006/relationships/image" Target="../media/image14.png"/><Relationship Id="rId3" Type="http://schemas.microsoft.com/office/2007/relationships/hdphoto" Target="../media/hdphoto1.wdp"/><Relationship Id="rId7" Type="http://schemas.microsoft.com/office/2007/relationships/hdphoto" Target="../media/hdphoto2.wdp"/><Relationship Id="rId12" Type="http://schemas.microsoft.com/office/2007/relationships/hdphoto" Target="../media/hdphoto4.wdp"/><Relationship Id="rId17" Type="http://schemas.openxmlformats.org/officeDocument/2006/relationships/image" Target="../media/image16.png"/><Relationship Id="rId2" Type="http://schemas.openxmlformats.org/officeDocument/2006/relationships/image" Target="../media/image7.png"/><Relationship Id="rId16" Type="http://schemas.microsoft.com/office/2007/relationships/hdphoto" Target="../media/hdphoto6.wdp"/><Relationship Id="rId1" Type="http://schemas.openxmlformats.org/officeDocument/2006/relationships/slideLayout" Target="../slideLayouts/slideLayout18.xml"/><Relationship Id="rId6" Type="http://schemas.openxmlformats.org/officeDocument/2006/relationships/image" Target="../media/image10.png"/><Relationship Id="rId11" Type="http://schemas.openxmlformats.org/officeDocument/2006/relationships/image" Target="../media/image13.png"/><Relationship Id="rId5" Type="http://schemas.openxmlformats.org/officeDocument/2006/relationships/image" Target="../media/image9.png"/><Relationship Id="rId15" Type="http://schemas.openxmlformats.org/officeDocument/2006/relationships/image" Target="../media/image15.png"/><Relationship Id="rId10" Type="http://schemas.microsoft.com/office/2007/relationships/hdphoto" Target="../media/hdphoto3.wdp"/><Relationship Id="rId4" Type="http://schemas.openxmlformats.org/officeDocument/2006/relationships/image" Target="../media/image8.png"/><Relationship Id="rId9" Type="http://schemas.openxmlformats.org/officeDocument/2006/relationships/image" Target="../media/image12.png"/><Relationship Id="rId14" Type="http://schemas.microsoft.com/office/2007/relationships/hdphoto" Target="../media/hdphoto5.wdp"/></Relationships>
</file>

<file path=ppt/slides/_rels/slide30.xml.rels><?xml version="1.0" encoding="UTF-8" standalone="yes"?>
<Relationships xmlns="http://schemas.openxmlformats.org/package/2006/relationships"><Relationship Id="rId3" Type="http://schemas.openxmlformats.org/officeDocument/2006/relationships/slideLayout" Target="../slideLayouts/slideLayout65.xml"/><Relationship Id="rId2" Type="http://schemas.openxmlformats.org/officeDocument/2006/relationships/tags" Target="../tags/tag92.xml"/><Relationship Id="rId1" Type="http://schemas.openxmlformats.org/officeDocument/2006/relationships/vmlDrawing" Target="../drawings/vmlDrawing8.vml"/><Relationship Id="rId6" Type="http://schemas.openxmlformats.org/officeDocument/2006/relationships/image" Target="../media/image84.emf"/><Relationship Id="rId5" Type="http://schemas.openxmlformats.org/officeDocument/2006/relationships/oleObject" Target="../embeddings/oleObject8.bin"/><Relationship Id="rId4" Type="http://schemas.openxmlformats.org/officeDocument/2006/relationships/notesSlide" Target="../notesSlides/notesSlide18.xml"/></Relationships>
</file>

<file path=ppt/slides/_rels/slide31.xml.rels><?xml version="1.0" encoding="UTF-8" standalone="yes"?>
<Relationships xmlns="http://schemas.openxmlformats.org/package/2006/relationships"><Relationship Id="rId3" Type="http://schemas.openxmlformats.org/officeDocument/2006/relationships/image" Target="../media/image86.jpeg"/><Relationship Id="rId2" Type="http://schemas.openxmlformats.org/officeDocument/2006/relationships/image" Target="../media/image85.jpeg"/><Relationship Id="rId1" Type="http://schemas.openxmlformats.org/officeDocument/2006/relationships/slideLayout" Target="../slideLayouts/slideLayout65.xml"/><Relationship Id="rId4" Type="http://schemas.openxmlformats.org/officeDocument/2006/relationships/image" Target="../media/image87.jpeg"/></Relationships>
</file>

<file path=ppt/slides/_rels/slide32.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notesSlide" Target="../notesSlides/notesSlide19.xml"/><Relationship Id="rId1" Type="http://schemas.openxmlformats.org/officeDocument/2006/relationships/slideLayout" Target="../slideLayouts/slideLayout65.xml"/><Relationship Id="rId5" Type="http://schemas.openxmlformats.org/officeDocument/2006/relationships/image" Target="../media/image89.jpeg"/><Relationship Id="rId4" Type="http://schemas.openxmlformats.org/officeDocument/2006/relationships/image" Target="../media/image88.jpeg"/></Relationships>
</file>

<file path=ppt/slides/_rels/slide33.xml.rels><?xml version="1.0" encoding="UTF-8" standalone="yes"?>
<Relationships xmlns="http://schemas.openxmlformats.org/package/2006/relationships"><Relationship Id="rId8" Type="http://schemas.openxmlformats.org/officeDocument/2006/relationships/image" Target="../media/image94.jpeg"/><Relationship Id="rId3" Type="http://schemas.openxmlformats.org/officeDocument/2006/relationships/image" Target="../media/image91.jpeg"/><Relationship Id="rId7" Type="http://schemas.openxmlformats.org/officeDocument/2006/relationships/hyperlink" Target="http://www.google.co.th/url?url=http://www.youtube.com/watch?v=07AI8h26Pfk&amp;rct=j&amp;frm=1&amp;q=&amp;esrc=s&amp;sa=U&amp;ved=0CBUQ9QEwAGoVChMI9Lie2PTrxgIVhammCh0LswCx&amp;usg=AFQjCNGoKu_i1Q0ww_4fd5P7LdK6yZpFpQ" TargetMode="External"/><Relationship Id="rId2" Type="http://schemas.openxmlformats.org/officeDocument/2006/relationships/image" Target="../media/image90.png"/><Relationship Id="rId1" Type="http://schemas.openxmlformats.org/officeDocument/2006/relationships/slideLayout" Target="../slideLayouts/slideLayout65.xml"/><Relationship Id="rId6" Type="http://schemas.openxmlformats.org/officeDocument/2006/relationships/image" Target="../media/image93.jpeg"/><Relationship Id="rId5" Type="http://schemas.openxmlformats.org/officeDocument/2006/relationships/hyperlink" Target="http://www.google.co.th/url?url=http://mis.rmutt.ac.th/building/building_info.asp?bid=126&amp;rct=j&amp;frm=1&amp;q=&amp;esrc=s&amp;sa=U&amp;ved=0CBcQ9QEwAWoVChMI6JGVgPTrxgIVBSSUCh3HzQL-&amp;usg=AFQjCNEDfVuO2tCGAqyuQtOcTJnR6MDS9w" TargetMode="External"/><Relationship Id="rId10" Type="http://schemas.openxmlformats.org/officeDocument/2006/relationships/image" Target="../media/image96.jpeg"/><Relationship Id="rId4" Type="http://schemas.openxmlformats.org/officeDocument/2006/relationships/image" Target="../media/image92.jpeg"/><Relationship Id="rId9" Type="http://schemas.openxmlformats.org/officeDocument/2006/relationships/image" Target="../media/image95.jpeg"/></Relationships>
</file>

<file path=ppt/slides/_rels/slide34.xml.rels><?xml version="1.0" encoding="UTF-8" standalone="yes"?>
<Relationships xmlns="http://schemas.openxmlformats.org/package/2006/relationships"><Relationship Id="rId2" Type="http://schemas.openxmlformats.org/officeDocument/2006/relationships/image" Target="../media/image97.jpeg"/><Relationship Id="rId1" Type="http://schemas.openxmlformats.org/officeDocument/2006/relationships/slideLayout" Target="../slideLayouts/slideLayout65.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71.xml"/></Relationships>
</file>

<file path=ppt/slides/_rels/slide36.xml.rels><?xml version="1.0" encoding="UTF-8" standalone="yes"?>
<Relationships xmlns="http://schemas.openxmlformats.org/package/2006/relationships"><Relationship Id="rId8" Type="http://schemas.openxmlformats.org/officeDocument/2006/relationships/image" Target="../media/image103.png"/><Relationship Id="rId13" Type="http://schemas.openxmlformats.org/officeDocument/2006/relationships/image" Target="../media/image106.jpeg"/><Relationship Id="rId3" Type="http://schemas.openxmlformats.org/officeDocument/2006/relationships/image" Target="../media/image98.png"/><Relationship Id="rId7" Type="http://schemas.openxmlformats.org/officeDocument/2006/relationships/image" Target="../media/image102.png"/><Relationship Id="rId12" Type="http://schemas.openxmlformats.org/officeDocument/2006/relationships/hyperlink" Target="http://www.google.co.th/url?sa=i&amp;rct=j&amp;q=&amp;esrc=s&amp;source=images&amp;cd=&amp;cad=rja&amp;uact=8&amp;ved=0CAcQjRxqFQoTCP-P38rf_ccCFdKPjgodGzcD8A&amp;url=http://picpost.postjung.com/215928.html&amp;psig=AFQjCNEYRInmxDEfFGtdGlodal-BhytrRA&amp;ust=1442568224483860" TargetMode="External"/><Relationship Id="rId2" Type="http://schemas.openxmlformats.org/officeDocument/2006/relationships/notesSlide" Target="../notesSlides/notesSlide21.xml"/><Relationship Id="rId1" Type="http://schemas.openxmlformats.org/officeDocument/2006/relationships/slideLayout" Target="../slideLayouts/slideLayout65.xml"/><Relationship Id="rId6" Type="http://schemas.openxmlformats.org/officeDocument/2006/relationships/image" Target="../media/image101.jpeg"/><Relationship Id="rId11" Type="http://schemas.openxmlformats.org/officeDocument/2006/relationships/image" Target="../media/image105.jpeg"/><Relationship Id="rId5" Type="http://schemas.openxmlformats.org/officeDocument/2006/relationships/image" Target="../media/image100.png"/><Relationship Id="rId10" Type="http://schemas.openxmlformats.org/officeDocument/2006/relationships/hyperlink" Target="http://www.google.co.th/url?sa=i&amp;rct=j&amp;q=&amp;esrc=s&amp;source=images&amp;cd=&amp;cad=rja&amp;uact=8&amp;ved=0CAcQjRxqFQoTCNayiJbe_ccCFRQJjgodsOYMrw&amp;url=http://www.cutikelantan.com/accomodation/hotel/hotel-grand-riverview/&amp;psig=AFQjCNG0LITP1Z0OgnTVltF1DNtAtO2o4w&amp;ust=1442567854863565" TargetMode="External"/><Relationship Id="rId4" Type="http://schemas.openxmlformats.org/officeDocument/2006/relationships/image" Target="../media/image99.jpeg"/><Relationship Id="rId9" Type="http://schemas.openxmlformats.org/officeDocument/2006/relationships/image" Target="../media/image104.jpeg"/></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64.xml"/></Relationships>
</file>

<file path=ppt/slides/_rels/slide38.xml.rels><?xml version="1.0" encoding="UTF-8" standalone="yes"?>
<Relationships xmlns="http://schemas.openxmlformats.org/package/2006/relationships"><Relationship Id="rId3" Type="http://schemas.openxmlformats.org/officeDocument/2006/relationships/image" Target="../media/image108.png"/><Relationship Id="rId2" Type="http://schemas.openxmlformats.org/officeDocument/2006/relationships/image" Target="../media/image107.jpeg"/><Relationship Id="rId1" Type="http://schemas.openxmlformats.org/officeDocument/2006/relationships/slideLayout" Target="../slideLayouts/slideLayout64.xml"/><Relationship Id="rId5" Type="http://schemas.openxmlformats.org/officeDocument/2006/relationships/image" Target="../media/image110.png"/><Relationship Id="rId4" Type="http://schemas.openxmlformats.org/officeDocument/2006/relationships/image" Target="../media/image109.jpeg"/></Relationships>
</file>

<file path=ppt/slides/_rels/slide39.xml.rels><?xml version="1.0" encoding="UTF-8" standalone="yes"?>
<Relationships xmlns="http://schemas.openxmlformats.org/package/2006/relationships"><Relationship Id="rId2" Type="http://schemas.openxmlformats.org/officeDocument/2006/relationships/image" Target="../media/image111.jpeg"/><Relationship Id="rId1" Type="http://schemas.openxmlformats.org/officeDocument/2006/relationships/slideLayout" Target="../slideLayouts/slideLayout65.xml"/></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18.xml"/><Relationship Id="rId1" Type="http://schemas.openxmlformats.org/officeDocument/2006/relationships/themeOverride" Target="../theme/themeOverride1.xml"/><Relationship Id="rId4" Type="http://schemas.openxmlformats.org/officeDocument/2006/relationships/chart" Target="../charts/chart1.xml"/></Relationships>
</file>

<file path=ppt/slides/_rels/slide40.xml.rels><?xml version="1.0" encoding="UTF-8" standalone="yes"?>
<Relationships xmlns="http://schemas.openxmlformats.org/package/2006/relationships"><Relationship Id="rId3" Type="http://schemas.openxmlformats.org/officeDocument/2006/relationships/image" Target="../media/image112.jpeg"/><Relationship Id="rId2" Type="http://schemas.openxmlformats.org/officeDocument/2006/relationships/notesSlide" Target="../notesSlides/notesSlide23.xml"/><Relationship Id="rId1" Type="http://schemas.openxmlformats.org/officeDocument/2006/relationships/slideLayout" Target="../slideLayouts/slideLayout65.xml"/></Relationships>
</file>

<file path=ppt/slides/_rels/slide41.xml.rels><?xml version="1.0" encoding="UTF-8" standalone="yes"?>
<Relationships xmlns="http://schemas.openxmlformats.org/package/2006/relationships"><Relationship Id="rId3" Type="http://schemas.openxmlformats.org/officeDocument/2006/relationships/image" Target="../media/image114.emf"/><Relationship Id="rId2" Type="http://schemas.openxmlformats.org/officeDocument/2006/relationships/image" Target="../media/image113.png"/><Relationship Id="rId1" Type="http://schemas.openxmlformats.org/officeDocument/2006/relationships/slideLayout" Target="../slideLayouts/slideLayout71.xml"/></Relationships>
</file>

<file path=ppt/slides/_rels/slide42.xml.rels><?xml version="1.0" encoding="UTF-8" standalone="yes"?>
<Relationships xmlns="http://schemas.openxmlformats.org/package/2006/relationships"><Relationship Id="rId3" Type="http://schemas.openxmlformats.org/officeDocument/2006/relationships/image" Target="../media/image116.jpeg"/><Relationship Id="rId2" Type="http://schemas.openxmlformats.org/officeDocument/2006/relationships/image" Target="../media/image115.jpeg"/><Relationship Id="rId1" Type="http://schemas.openxmlformats.org/officeDocument/2006/relationships/slideLayout" Target="../slideLayouts/slideLayout71.xml"/></Relationships>
</file>

<file path=ppt/slides/_rels/slide43.xml.rels><?xml version="1.0" encoding="UTF-8" standalone="yes"?>
<Relationships xmlns="http://schemas.openxmlformats.org/package/2006/relationships"><Relationship Id="rId3" Type="http://schemas.openxmlformats.org/officeDocument/2006/relationships/image" Target="../media/image118.jpeg"/><Relationship Id="rId2" Type="http://schemas.openxmlformats.org/officeDocument/2006/relationships/image" Target="../media/image117.jpeg"/><Relationship Id="rId1" Type="http://schemas.openxmlformats.org/officeDocument/2006/relationships/slideLayout" Target="../slideLayouts/slideLayout71.xml"/></Relationships>
</file>

<file path=ppt/slides/_rels/slide44.xml.rels><?xml version="1.0" encoding="UTF-8" standalone="yes"?>
<Relationships xmlns="http://schemas.openxmlformats.org/package/2006/relationships"><Relationship Id="rId3" Type="http://schemas.openxmlformats.org/officeDocument/2006/relationships/image" Target="../media/image119.jpeg"/><Relationship Id="rId2" Type="http://schemas.openxmlformats.org/officeDocument/2006/relationships/notesSlide" Target="../notesSlides/notesSlide24.xml"/><Relationship Id="rId1" Type="http://schemas.openxmlformats.org/officeDocument/2006/relationships/slideLayout" Target="../slideLayouts/slideLayout65.xml"/><Relationship Id="rId5" Type="http://schemas.openxmlformats.org/officeDocument/2006/relationships/image" Target="../media/image121.jpeg"/><Relationship Id="rId4" Type="http://schemas.openxmlformats.org/officeDocument/2006/relationships/image" Target="../media/image120.jpeg"/></Relationships>
</file>

<file path=ppt/slides/_rels/slide45.xml.rels><?xml version="1.0" encoding="UTF-8" standalone="yes"?>
<Relationships xmlns="http://schemas.openxmlformats.org/package/2006/relationships"><Relationship Id="rId2" Type="http://schemas.openxmlformats.org/officeDocument/2006/relationships/image" Target="../media/image122.png"/><Relationship Id="rId1" Type="http://schemas.openxmlformats.org/officeDocument/2006/relationships/slideLayout" Target="../slideLayouts/slideLayout71.xml"/></Relationships>
</file>

<file path=ppt/slides/_rels/slide46.xml.rels><?xml version="1.0" encoding="UTF-8" standalone="yes"?>
<Relationships xmlns="http://schemas.openxmlformats.org/package/2006/relationships"><Relationship Id="rId3" Type="http://schemas.openxmlformats.org/officeDocument/2006/relationships/hyperlink" Target="http://www.google.co.th/imgres?imgurl=http://img.alibaba.com/photo/101629507/Transportation_Logistics_Ocean_Rail_Trucking_Services.jpg&amp;imgrefurl=http://www.alibaba.com/product/eximservicesinc-101629507-100650861/Transportation_Logistics_Ocean_Rail_Trucking_Services.html&amp;usg=__VoDvM2qnLggjNMQ2XZGwvm2EBSg=&amp;h=641&amp;w=600&amp;sz=92&amp;hl=th&amp;start=16&amp;itbs=1&amp;tbnid=OYr89BGFMQXk_M:&amp;tbnh=137&amp;tbnw=128&amp;prev=/images?q=logistics&amp;hl=th&amp;safe=active&amp;gbv=2&amp;tbs=isch:1" TargetMode="External"/><Relationship Id="rId2" Type="http://schemas.openxmlformats.org/officeDocument/2006/relationships/notesSlide" Target="../notesSlides/notesSlide25.xml"/><Relationship Id="rId1" Type="http://schemas.openxmlformats.org/officeDocument/2006/relationships/slideLayout" Target="../slideLayouts/slideLayout65.xml"/><Relationship Id="rId5" Type="http://schemas.openxmlformats.org/officeDocument/2006/relationships/image" Target="../media/image124.jpeg"/><Relationship Id="rId4" Type="http://schemas.openxmlformats.org/officeDocument/2006/relationships/image" Target="../media/image123.jpeg"/></Relationships>
</file>

<file path=ppt/slides/_rels/slide47.xml.rels><?xml version="1.0" encoding="UTF-8" standalone="yes"?>
<Relationships xmlns="http://schemas.openxmlformats.org/package/2006/relationships"><Relationship Id="rId3" Type="http://schemas.openxmlformats.org/officeDocument/2006/relationships/image" Target="../media/image125.png"/><Relationship Id="rId2" Type="http://schemas.openxmlformats.org/officeDocument/2006/relationships/notesSlide" Target="../notesSlides/notesSlide26.xml"/><Relationship Id="rId1" Type="http://schemas.openxmlformats.org/officeDocument/2006/relationships/slideLayout" Target="../slideLayouts/slideLayout65.xml"/></Relationships>
</file>

<file path=ppt/slides/_rels/slide48.xml.rels><?xml version="1.0" encoding="UTF-8" standalone="yes"?>
<Relationships xmlns="http://schemas.openxmlformats.org/package/2006/relationships"><Relationship Id="rId3" Type="http://schemas.openxmlformats.org/officeDocument/2006/relationships/image" Target="../media/image126.png"/><Relationship Id="rId2" Type="http://schemas.openxmlformats.org/officeDocument/2006/relationships/notesSlide" Target="../notesSlides/notesSlide27.xml"/><Relationship Id="rId1" Type="http://schemas.openxmlformats.org/officeDocument/2006/relationships/slideLayout" Target="../slideLayouts/slideLayout65.xml"/><Relationship Id="rId5" Type="http://schemas.openxmlformats.org/officeDocument/2006/relationships/image" Target="../media/image128.jpeg"/><Relationship Id="rId4" Type="http://schemas.openxmlformats.org/officeDocument/2006/relationships/image" Target="../media/image127.jpeg"/></Relationships>
</file>

<file path=ppt/slides/_rels/slide49.xml.rels><?xml version="1.0" encoding="UTF-8" standalone="yes"?>
<Relationships xmlns="http://schemas.openxmlformats.org/package/2006/relationships"><Relationship Id="rId3" Type="http://schemas.openxmlformats.org/officeDocument/2006/relationships/image" Target="../media/image130.png"/><Relationship Id="rId2" Type="http://schemas.openxmlformats.org/officeDocument/2006/relationships/image" Target="../media/image129.png"/><Relationship Id="rId1" Type="http://schemas.openxmlformats.org/officeDocument/2006/relationships/slideLayout" Target="../slideLayouts/slideLayout65.xml"/></Relationships>
</file>

<file path=ppt/slides/_rels/slide5.xml.rels><?xml version="1.0" encoding="UTF-8" standalone="yes"?>
<Relationships xmlns="http://schemas.openxmlformats.org/package/2006/relationships"><Relationship Id="rId8" Type="http://schemas.openxmlformats.org/officeDocument/2006/relationships/image" Target="../media/image22.png"/><Relationship Id="rId13" Type="http://schemas.microsoft.com/office/2007/relationships/hdphoto" Target="../media/hdphoto7.wdp"/><Relationship Id="rId3" Type="http://schemas.openxmlformats.org/officeDocument/2006/relationships/image" Target="../media/image17.png"/><Relationship Id="rId7" Type="http://schemas.openxmlformats.org/officeDocument/2006/relationships/image" Target="../media/image21.png"/><Relationship Id="rId12" Type="http://schemas.openxmlformats.org/officeDocument/2006/relationships/image" Target="../media/image26.png"/><Relationship Id="rId2" Type="http://schemas.openxmlformats.org/officeDocument/2006/relationships/chart" Target="../charts/chart2.xml"/><Relationship Id="rId1" Type="http://schemas.openxmlformats.org/officeDocument/2006/relationships/slideLayout" Target="../slideLayouts/slideLayout18.xml"/><Relationship Id="rId6" Type="http://schemas.openxmlformats.org/officeDocument/2006/relationships/image" Target="../media/image20.png"/><Relationship Id="rId11" Type="http://schemas.openxmlformats.org/officeDocument/2006/relationships/image" Target="../media/image25.png"/><Relationship Id="rId5" Type="http://schemas.openxmlformats.org/officeDocument/2006/relationships/image" Target="../media/image19.png"/><Relationship Id="rId15" Type="http://schemas.openxmlformats.org/officeDocument/2006/relationships/image" Target="../media/image28.jpeg"/><Relationship Id="rId10" Type="http://schemas.openxmlformats.org/officeDocument/2006/relationships/image" Target="../media/image24.png"/><Relationship Id="rId4" Type="http://schemas.openxmlformats.org/officeDocument/2006/relationships/image" Target="../media/image18.png"/><Relationship Id="rId9" Type="http://schemas.openxmlformats.org/officeDocument/2006/relationships/image" Target="../media/image23.png"/><Relationship Id="rId14" Type="http://schemas.openxmlformats.org/officeDocument/2006/relationships/image" Target="../media/image27.png"/></Relationships>
</file>

<file path=ppt/slides/_rels/slide50.xml.rels><?xml version="1.0" encoding="UTF-8" standalone="yes"?>
<Relationships xmlns="http://schemas.openxmlformats.org/package/2006/relationships"><Relationship Id="rId3" Type="http://schemas.openxmlformats.org/officeDocument/2006/relationships/image" Target="../media/image132.png"/><Relationship Id="rId2" Type="http://schemas.openxmlformats.org/officeDocument/2006/relationships/image" Target="../media/image131.jpeg"/><Relationship Id="rId1" Type="http://schemas.openxmlformats.org/officeDocument/2006/relationships/slideLayout" Target="../slideLayouts/slideLayout66.xml"/></Relationships>
</file>

<file path=ppt/slides/_rels/slide51.xml.rels><?xml version="1.0" encoding="UTF-8" standalone="yes"?>
<Relationships xmlns="http://schemas.openxmlformats.org/package/2006/relationships"><Relationship Id="rId3" Type="http://schemas.openxmlformats.org/officeDocument/2006/relationships/image" Target="../media/image133.png"/><Relationship Id="rId2" Type="http://schemas.openxmlformats.org/officeDocument/2006/relationships/notesSlide" Target="../notesSlides/notesSlide28.xml"/><Relationship Id="rId1" Type="http://schemas.openxmlformats.org/officeDocument/2006/relationships/slideLayout" Target="../slideLayouts/slideLayout65.xml"/></Relationships>
</file>

<file path=ppt/slides/_rels/slide52.xml.rels><?xml version="1.0" encoding="UTF-8" standalone="yes"?>
<Relationships xmlns="http://schemas.openxmlformats.org/package/2006/relationships"><Relationship Id="rId3" Type="http://schemas.openxmlformats.org/officeDocument/2006/relationships/image" Target="../media/image134.gif"/><Relationship Id="rId2" Type="http://schemas.openxmlformats.org/officeDocument/2006/relationships/image" Target="../media/image131.jpeg"/><Relationship Id="rId1" Type="http://schemas.openxmlformats.org/officeDocument/2006/relationships/slideLayout" Target="../slideLayouts/slideLayout66.xml"/><Relationship Id="rId4" Type="http://schemas.openxmlformats.org/officeDocument/2006/relationships/image" Target="../media/image135.png"/></Relationships>
</file>

<file path=ppt/slides/_rels/slide53.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64.xml"/></Relationships>
</file>

<file path=ppt/slides/_rels/slide54.xml.rels><?xml version="1.0" encoding="UTF-8" standalone="yes"?>
<Relationships xmlns="http://schemas.openxmlformats.org/package/2006/relationships"><Relationship Id="rId3" Type="http://schemas.openxmlformats.org/officeDocument/2006/relationships/image" Target="../media/image137.png"/><Relationship Id="rId2" Type="http://schemas.openxmlformats.org/officeDocument/2006/relationships/image" Target="../media/image136.png"/><Relationship Id="rId1" Type="http://schemas.openxmlformats.org/officeDocument/2006/relationships/slideLayout" Target="../slideLayouts/slideLayout73.xml"/></Relationships>
</file>

<file path=ppt/slides/_rels/slide55.xml.rels><?xml version="1.0" encoding="UTF-8" standalone="yes"?>
<Relationships xmlns="http://schemas.openxmlformats.org/package/2006/relationships"><Relationship Id="rId3" Type="http://schemas.openxmlformats.org/officeDocument/2006/relationships/image" Target="../media/image138.jpeg"/><Relationship Id="rId7" Type="http://schemas.openxmlformats.org/officeDocument/2006/relationships/image" Target="../media/image141.jpeg"/><Relationship Id="rId2" Type="http://schemas.openxmlformats.org/officeDocument/2006/relationships/hyperlink" Target="http://www.google.co.th/imgres?imgurl=http://2.bp.blogspot.com/_S0sCgKSyq5U/TMBdVkwV6YI/AAAAAAAAC84/nGqIb7IVB-Y/s1600/Flag_of_Myanmar_(2010).svg.png&amp;imgrefurl=http://thailogolover.blogspot.com/2010/10/2010-new-flag-of-myanmar-burma.html&amp;usg=__gAyIAkUwVGfoYrPOvLnOxmj9Fr4=&amp;h=336&amp;w=588&amp;sz=9&amp;hl=th&amp;start=1&amp;sig2=9frVTK8mkY0j366NuJcNwA&amp;zoom=1&amp;tbnid=PSzzQbwoNb9G-M:&amp;tbnh=77&amp;tbnw=135&amp;ei=xU-jT9PwOsbOrQey56zbDQ&amp;prev=/search?q=myanmar+flag&amp;um=1&amp;hl=th&amp;safe=active&amp;sa=N&amp;gbv=2&amp;tbm=isch&amp;um=1&amp;itbs=1" TargetMode="External"/><Relationship Id="rId1" Type="http://schemas.openxmlformats.org/officeDocument/2006/relationships/slideLayout" Target="../slideLayouts/slideLayout73.xml"/><Relationship Id="rId6" Type="http://schemas.openxmlformats.org/officeDocument/2006/relationships/image" Target="../media/image140.jpeg"/><Relationship Id="rId5" Type="http://schemas.openxmlformats.org/officeDocument/2006/relationships/image" Target="../media/image139.jpeg"/><Relationship Id="rId4" Type="http://schemas.openxmlformats.org/officeDocument/2006/relationships/hyperlink" Target="http://www.google.co.th/imgres?imgurl=http://3.bp.blogspot.com/_w9wdy6LQX6I/TOJW4Egpk_I/AAAAAAAAAeU/AL-S3A7qmyc/s1600/Thailand02.png&amp;imgrefurl=http://countriesoftheworld-thai-english.blogspot.com/2010/11/thailand.html&amp;usg=__3NDMaWnU-NczJZrXkDCbZoGrJ-A=&amp;h=400&amp;w=600&amp;sz=2&amp;hl=th&amp;start=3&amp;zoom=1&amp;tbnid=2DRb4RhFP1elxM:&amp;tbnh=90&amp;tbnw=135&amp;ei=0t-xTqbhK8nTrQeF5Zy8DQ&amp;prev=/search?q=thailand&amp;um=1&amp;hl=th&amp;sa=N&amp;tbm=isch&amp;um=1&amp;itbs=1" TargetMode="External"/></Relationships>
</file>

<file path=ppt/slides/_rels/slide56.xml.rels><?xml version="1.0" encoding="UTF-8" standalone="yes"?>
<Relationships xmlns="http://schemas.openxmlformats.org/package/2006/relationships"><Relationship Id="rId2" Type="http://schemas.openxmlformats.org/officeDocument/2006/relationships/image" Target="../media/image142.png"/><Relationship Id="rId1" Type="http://schemas.openxmlformats.org/officeDocument/2006/relationships/slideLayout" Target="../slideLayouts/slideLayout73.xml"/></Relationships>
</file>

<file path=ppt/slides/_rels/slide57.xml.rels><?xml version="1.0" encoding="UTF-8" standalone="yes"?>
<Relationships xmlns="http://schemas.openxmlformats.org/package/2006/relationships"><Relationship Id="rId2" Type="http://schemas.openxmlformats.org/officeDocument/2006/relationships/image" Target="../media/image143.png"/><Relationship Id="rId1" Type="http://schemas.openxmlformats.org/officeDocument/2006/relationships/slideLayout" Target="../slideLayouts/slideLayout74.xml"/></Relationships>
</file>

<file path=ppt/slides/_rels/slide58.xml.rels><?xml version="1.0" encoding="UTF-8" standalone="yes"?>
<Relationships xmlns="http://schemas.openxmlformats.org/package/2006/relationships"><Relationship Id="rId3" Type="http://schemas.openxmlformats.org/officeDocument/2006/relationships/image" Target="../media/image144.jpeg"/><Relationship Id="rId2" Type="http://schemas.openxmlformats.org/officeDocument/2006/relationships/notesSlide" Target="../notesSlides/notesSlide30.xml"/><Relationship Id="rId1" Type="http://schemas.openxmlformats.org/officeDocument/2006/relationships/slideLayout" Target="../slideLayouts/slideLayout18.xml"/></Relationships>
</file>

<file path=ppt/slides/_rels/slide59.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image" Target="../media/image30.jpeg"/><Relationship Id="rId2" Type="http://schemas.openxmlformats.org/officeDocument/2006/relationships/image" Target="../media/image29.png"/><Relationship Id="rId1" Type="http://schemas.openxmlformats.org/officeDocument/2006/relationships/slideLayout" Target="../slideLayouts/slideLayout2.xml"/><Relationship Id="rId5" Type="http://schemas.openxmlformats.org/officeDocument/2006/relationships/image" Target="../media/image32.jpeg"/><Relationship Id="rId4" Type="http://schemas.openxmlformats.org/officeDocument/2006/relationships/image" Target="../media/image31.png"/></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61.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21.xml"/></Relationships>
</file>

<file path=ppt/slides/_rels/slide62.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21.xml"/></Relationships>
</file>

<file path=ppt/slides/_rels/slide63.xml.rels><?xml version="1.0" encoding="UTF-8" standalone="yes"?>
<Relationships xmlns="http://schemas.openxmlformats.org/package/2006/relationships"><Relationship Id="rId3" Type="http://schemas.openxmlformats.org/officeDocument/2006/relationships/image" Target="../media/image145.jpeg"/><Relationship Id="rId2" Type="http://schemas.openxmlformats.org/officeDocument/2006/relationships/notesSlide" Target="../notesSlides/notesSlide34.xml"/><Relationship Id="rId1" Type="http://schemas.openxmlformats.org/officeDocument/2006/relationships/slideLayout" Target="../slideLayouts/slideLayout21.xml"/><Relationship Id="rId6" Type="http://schemas.openxmlformats.org/officeDocument/2006/relationships/image" Target="../media/image148.jpeg"/><Relationship Id="rId5" Type="http://schemas.openxmlformats.org/officeDocument/2006/relationships/image" Target="../media/image147.jpeg"/><Relationship Id="rId4" Type="http://schemas.openxmlformats.org/officeDocument/2006/relationships/image" Target="../media/image146.jpeg"/></Relationships>
</file>

<file path=ppt/slides/_rels/slide64.xml.rels><?xml version="1.0" encoding="UTF-8" standalone="yes"?>
<Relationships xmlns="http://schemas.openxmlformats.org/package/2006/relationships"><Relationship Id="rId8" Type="http://schemas.openxmlformats.org/officeDocument/2006/relationships/image" Target="../media/image155.png"/><Relationship Id="rId3" Type="http://schemas.openxmlformats.org/officeDocument/2006/relationships/image" Target="../media/image150.jpeg"/><Relationship Id="rId7" Type="http://schemas.openxmlformats.org/officeDocument/2006/relationships/image" Target="../media/image154.jpeg"/><Relationship Id="rId12" Type="http://schemas.openxmlformats.org/officeDocument/2006/relationships/image" Target="../media/image159.jpeg"/><Relationship Id="rId2" Type="http://schemas.openxmlformats.org/officeDocument/2006/relationships/image" Target="../media/image149.jpeg"/><Relationship Id="rId1" Type="http://schemas.openxmlformats.org/officeDocument/2006/relationships/slideLayout" Target="../slideLayouts/slideLayout21.xml"/><Relationship Id="rId6" Type="http://schemas.openxmlformats.org/officeDocument/2006/relationships/image" Target="../media/image153.jpeg"/><Relationship Id="rId11" Type="http://schemas.openxmlformats.org/officeDocument/2006/relationships/image" Target="../media/image158.jpeg"/><Relationship Id="rId5" Type="http://schemas.openxmlformats.org/officeDocument/2006/relationships/image" Target="../media/image152.jpeg"/><Relationship Id="rId10" Type="http://schemas.openxmlformats.org/officeDocument/2006/relationships/image" Target="../media/image157.jpeg"/><Relationship Id="rId4" Type="http://schemas.openxmlformats.org/officeDocument/2006/relationships/image" Target="../media/image151.jpeg"/><Relationship Id="rId9" Type="http://schemas.openxmlformats.org/officeDocument/2006/relationships/image" Target="../media/image156.jpeg"/></Relationships>
</file>

<file path=ppt/slides/_rels/slide65.xml.rels><?xml version="1.0" encoding="UTF-8" standalone="yes"?>
<Relationships xmlns="http://schemas.openxmlformats.org/package/2006/relationships"><Relationship Id="rId3" Type="http://schemas.openxmlformats.org/officeDocument/2006/relationships/image" Target="../media/image161.png"/><Relationship Id="rId2" Type="http://schemas.openxmlformats.org/officeDocument/2006/relationships/image" Target="../media/image160.jpeg"/><Relationship Id="rId1" Type="http://schemas.openxmlformats.org/officeDocument/2006/relationships/slideLayout" Target="../slideLayouts/slideLayout21.xml"/><Relationship Id="rId4" Type="http://schemas.openxmlformats.org/officeDocument/2006/relationships/image" Target="../media/image162.png"/></Relationships>
</file>

<file path=ppt/slides/_rels/slide66.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21.xml"/></Relationships>
</file>

<file path=ppt/slides/_rels/slide67.xml.rels><?xml version="1.0" encoding="UTF-8" standalone="yes"?>
<Relationships xmlns="http://schemas.openxmlformats.org/package/2006/relationships"><Relationship Id="rId3" Type="http://schemas.openxmlformats.org/officeDocument/2006/relationships/image" Target="../media/image164.png"/><Relationship Id="rId2" Type="http://schemas.openxmlformats.org/officeDocument/2006/relationships/image" Target="../media/image163.png"/><Relationship Id="rId1" Type="http://schemas.openxmlformats.org/officeDocument/2006/relationships/slideLayout" Target="../slideLayouts/slideLayout21.xml"/><Relationship Id="rId4" Type="http://schemas.openxmlformats.org/officeDocument/2006/relationships/image" Target="../media/image165.png"/></Relationships>
</file>

<file path=ppt/slides/_rels/slide68.xml.rels><?xml version="1.0" encoding="UTF-8" standalone="yes"?>
<Relationships xmlns="http://schemas.openxmlformats.org/package/2006/relationships"><Relationship Id="rId3" Type="http://schemas.openxmlformats.org/officeDocument/2006/relationships/image" Target="../media/image166.jpeg"/><Relationship Id="rId2" Type="http://schemas.openxmlformats.org/officeDocument/2006/relationships/notesSlide" Target="../notesSlides/notesSlide36.xml"/><Relationship Id="rId1" Type="http://schemas.openxmlformats.org/officeDocument/2006/relationships/slideLayout" Target="../slideLayouts/slideLayout21.xml"/><Relationship Id="rId4" Type="http://schemas.openxmlformats.org/officeDocument/2006/relationships/image" Target="../media/image167.jpeg"/></Relationships>
</file>

<file path=ppt/slides/_rels/slide69.xml.rels><?xml version="1.0" encoding="UTF-8" standalone="yes"?>
<Relationships xmlns="http://schemas.openxmlformats.org/package/2006/relationships"><Relationship Id="rId2" Type="http://schemas.openxmlformats.org/officeDocument/2006/relationships/image" Target="../media/image168.jpeg"/><Relationship Id="rId1" Type="http://schemas.openxmlformats.org/officeDocument/2006/relationships/slideLayout" Target="../slideLayouts/slideLayout21.xml"/></Relationships>
</file>

<file path=ppt/slides/_rels/slide7.xml.rels><?xml version="1.0" encoding="UTF-8" standalone="yes"?>
<Relationships xmlns="http://schemas.openxmlformats.org/package/2006/relationships"><Relationship Id="rId3" Type="http://schemas.openxmlformats.org/officeDocument/2006/relationships/image" Target="../media/image34.jpeg"/><Relationship Id="rId2" Type="http://schemas.openxmlformats.org/officeDocument/2006/relationships/image" Target="../media/image33.png"/><Relationship Id="rId1" Type="http://schemas.openxmlformats.org/officeDocument/2006/relationships/slideLayout" Target="../slideLayouts/slideLayout7.xml"/><Relationship Id="rId6" Type="http://schemas.openxmlformats.org/officeDocument/2006/relationships/image" Target="../media/image37.png"/><Relationship Id="rId5" Type="http://schemas.openxmlformats.org/officeDocument/2006/relationships/image" Target="../media/image36.png"/><Relationship Id="rId4" Type="http://schemas.openxmlformats.org/officeDocument/2006/relationships/image" Target="../media/image35.jpeg"/></Relationships>
</file>

<file path=ppt/slides/_rels/slide70.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21.xml"/></Relationships>
</file>

<file path=ppt/slides/_rels/slide71.xml.rels><?xml version="1.0" encoding="UTF-8" standalone="yes"?>
<Relationships xmlns="http://schemas.openxmlformats.org/package/2006/relationships"><Relationship Id="rId3" Type="http://schemas.openxmlformats.org/officeDocument/2006/relationships/image" Target="../media/image169.png"/><Relationship Id="rId2" Type="http://schemas.openxmlformats.org/officeDocument/2006/relationships/notesSlide" Target="../notesSlides/notesSlide38.xml"/><Relationship Id="rId1" Type="http://schemas.openxmlformats.org/officeDocument/2006/relationships/slideLayout" Target="../slideLayouts/slideLayout21.xml"/><Relationship Id="rId5" Type="http://schemas.openxmlformats.org/officeDocument/2006/relationships/image" Target="../media/image171.jpeg"/><Relationship Id="rId4" Type="http://schemas.openxmlformats.org/officeDocument/2006/relationships/image" Target="../media/image170.png"/></Relationships>
</file>

<file path=ppt/slides/_rels/slide72.xml.rels><?xml version="1.0" encoding="UTF-8" standalone="yes"?>
<Relationships xmlns="http://schemas.openxmlformats.org/package/2006/relationships"><Relationship Id="rId3" Type="http://schemas.openxmlformats.org/officeDocument/2006/relationships/image" Target="../media/image172.png"/><Relationship Id="rId2" Type="http://schemas.openxmlformats.org/officeDocument/2006/relationships/notesSlide" Target="../notesSlides/notesSlide39.xml"/><Relationship Id="rId1" Type="http://schemas.openxmlformats.org/officeDocument/2006/relationships/slideLayout" Target="../slideLayouts/slideLayout21.xml"/><Relationship Id="rId4" Type="http://schemas.openxmlformats.org/officeDocument/2006/relationships/image" Target="../media/image173.jpeg"/></Relationships>
</file>

<file path=ppt/slides/_rels/slide73.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74.xml.rels><?xml version="1.0" encoding="UTF-8" standalone="yes"?>
<Relationships xmlns="http://schemas.openxmlformats.org/package/2006/relationships"><Relationship Id="rId1" Type="http://schemas.openxmlformats.org/officeDocument/2006/relationships/slideLayout" Target="../slideLayouts/slideLayout65.xml"/></Relationships>
</file>

<file path=ppt/slides/_rels/slide75.xml.rels><?xml version="1.0" encoding="UTF-8" standalone="yes"?>
<Relationships xmlns="http://schemas.openxmlformats.org/package/2006/relationships"><Relationship Id="rId1" Type="http://schemas.openxmlformats.org/officeDocument/2006/relationships/slideLayout" Target="../slideLayouts/slideLayout65.xml"/></Relationships>
</file>

<file path=ppt/slides/_rels/slide76.xml.rels><?xml version="1.0" encoding="UTF-8" standalone="yes"?>
<Relationships xmlns="http://schemas.openxmlformats.org/package/2006/relationships"><Relationship Id="rId1" Type="http://schemas.openxmlformats.org/officeDocument/2006/relationships/slideLayout" Target="../slideLayouts/slideLayout65.xml"/></Relationships>
</file>

<file path=ppt/slides/_rels/slide77.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78.xml.rels><?xml version="1.0" encoding="UTF-8" standalone="yes"?>
<Relationships xmlns="http://schemas.openxmlformats.org/package/2006/relationships"><Relationship Id="rId8" Type="http://schemas.openxmlformats.org/officeDocument/2006/relationships/image" Target="../media/image176.jpeg"/><Relationship Id="rId13" Type="http://schemas.openxmlformats.org/officeDocument/2006/relationships/image" Target="../media/image181.jpeg"/><Relationship Id="rId18" Type="http://schemas.openxmlformats.org/officeDocument/2006/relationships/image" Target="../media/image184.jpeg"/><Relationship Id="rId3" Type="http://schemas.openxmlformats.org/officeDocument/2006/relationships/notesSlide" Target="../notesSlides/notesSlide40.xml"/><Relationship Id="rId21" Type="http://schemas.openxmlformats.org/officeDocument/2006/relationships/image" Target="../media/image187.jpeg"/><Relationship Id="rId7" Type="http://schemas.openxmlformats.org/officeDocument/2006/relationships/diagramColors" Target="../diagrams/colors2.xml"/><Relationship Id="rId12" Type="http://schemas.openxmlformats.org/officeDocument/2006/relationships/image" Target="../media/image180.jpeg"/><Relationship Id="rId17" Type="http://schemas.openxmlformats.org/officeDocument/2006/relationships/oleObject" Target="../embeddings/oleObject10.bin"/><Relationship Id="rId2" Type="http://schemas.openxmlformats.org/officeDocument/2006/relationships/slideLayout" Target="../slideLayouts/slideLayout65.xml"/><Relationship Id="rId16" Type="http://schemas.openxmlformats.org/officeDocument/2006/relationships/oleObject" Target="../embeddings/oleObject9.bin"/><Relationship Id="rId20" Type="http://schemas.openxmlformats.org/officeDocument/2006/relationships/image" Target="../media/image186.jpeg"/><Relationship Id="rId1" Type="http://schemas.openxmlformats.org/officeDocument/2006/relationships/vmlDrawing" Target="../drawings/vmlDrawing9.vml"/><Relationship Id="rId6" Type="http://schemas.openxmlformats.org/officeDocument/2006/relationships/diagramQuickStyle" Target="../diagrams/quickStyle2.xml"/><Relationship Id="rId11" Type="http://schemas.openxmlformats.org/officeDocument/2006/relationships/image" Target="../media/image179.jpeg"/><Relationship Id="rId5" Type="http://schemas.openxmlformats.org/officeDocument/2006/relationships/diagramLayout" Target="../diagrams/layout2.xml"/><Relationship Id="rId15" Type="http://schemas.openxmlformats.org/officeDocument/2006/relationships/image" Target="../media/image183.jpeg"/><Relationship Id="rId23" Type="http://schemas.microsoft.com/office/2007/relationships/diagramDrawing" Target="../diagrams/drawing2.xml"/><Relationship Id="rId10" Type="http://schemas.openxmlformats.org/officeDocument/2006/relationships/image" Target="../media/image178.jpeg"/><Relationship Id="rId19" Type="http://schemas.openxmlformats.org/officeDocument/2006/relationships/image" Target="../media/image185.jpeg"/><Relationship Id="rId4" Type="http://schemas.openxmlformats.org/officeDocument/2006/relationships/diagramData" Target="../diagrams/data2.xml"/><Relationship Id="rId9" Type="http://schemas.openxmlformats.org/officeDocument/2006/relationships/image" Target="../media/image177.jpeg"/><Relationship Id="rId14" Type="http://schemas.openxmlformats.org/officeDocument/2006/relationships/image" Target="../media/image182.jpeg"/><Relationship Id="rId22" Type="http://schemas.openxmlformats.org/officeDocument/2006/relationships/image" Target="../media/image188.png"/></Relationships>
</file>

<file path=ppt/slides/_rels/slide79.xml.rels><?xml version="1.0" encoding="UTF-8" standalone="yes"?>
<Relationships xmlns="http://schemas.openxmlformats.org/package/2006/relationships"><Relationship Id="rId3" Type="http://schemas.openxmlformats.org/officeDocument/2006/relationships/image" Target="../media/image189.jpeg"/><Relationship Id="rId2" Type="http://schemas.openxmlformats.org/officeDocument/2006/relationships/notesSlide" Target="../notesSlides/notesSlide41.xml"/><Relationship Id="rId1" Type="http://schemas.openxmlformats.org/officeDocument/2006/relationships/slideLayout" Target="../slideLayouts/slideLayout65.xml"/><Relationship Id="rId6" Type="http://schemas.openxmlformats.org/officeDocument/2006/relationships/image" Target="../media/image191.jpeg"/><Relationship Id="rId5" Type="http://schemas.openxmlformats.org/officeDocument/2006/relationships/image" Target="../media/image112.jpeg"/><Relationship Id="rId4" Type="http://schemas.openxmlformats.org/officeDocument/2006/relationships/image" Target="../media/image190.jpeg"/></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54.xml"/></Relationships>
</file>

<file path=ppt/slides/_rels/slide80.xml.rels><?xml version="1.0" encoding="UTF-8" standalone="yes"?>
<Relationships xmlns="http://schemas.openxmlformats.org/package/2006/relationships"><Relationship Id="rId3" Type="http://schemas.openxmlformats.org/officeDocument/2006/relationships/image" Target="../media/image192.jpeg"/><Relationship Id="rId2" Type="http://schemas.openxmlformats.org/officeDocument/2006/relationships/notesSlide" Target="../notesSlides/notesSlide42.xml"/><Relationship Id="rId1" Type="http://schemas.openxmlformats.org/officeDocument/2006/relationships/slideLayout" Target="../slideLayouts/slideLayout65.xml"/><Relationship Id="rId6" Type="http://schemas.openxmlformats.org/officeDocument/2006/relationships/image" Target="../media/image195.jpeg"/><Relationship Id="rId5" Type="http://schemas.openxmlformats.org/officeDocument/2006/relationships/image" Target="../media/image194.jpeg"/><Relationship Id="rId4" Type="http://schemas.openxmlformats.org/officeDocument/2006/relationships/image" Target="../media/image193.jpeg"/></Relationships>
</file>

<file path=ppt/slides/_rels/slide9.xml.rels><?xml version="1.0" encoding="UTF-8" standalone="yes"?>
<Relationships xmlns="http://schemas.openxmlformats.org/package/2006/relationships"><Relationship Id="rId3" Type="http://schemas.openxmlformats.org/officeDocument/2006/relationships/image" Target="../media/image38.jpeg"/><Relationship Id="rId2" Type="http://schemas.openxmlformats.org/officeDocument/2006/relationships/notesSlide" Target="../notesSlides/notesSlide5.xml"/><Relationship Id="rId1" Type="http://schemas.openxmlformats.org/officeDocument/2006/relationships/slideLayout" Target="../slideLayouts/slideLayout5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p:cNvPicPr>
            <a:picLocks noChangeAspect="1"/>
          </p:cNvPicPr>
          <p:nvPr/>
        </p:nvPicPr>
        <p:blipFill>
          <a:blip r:embed="rId5" cstate="print">
            <a:extLst>
              <a:ext uri="{28A0092B-C50C-407E-A947-70E740481C1C}">
                <a14:useLocalDpi xmlns:a14="http://schemas.microsoft.com/office/drawing/2010/main" xmlns="" val="0"/>
              </a:ext>
            </a:extLst>
          </a:blip>
          <a:stretch>
            <a:fillRect/>
          </a:stretch>
        </p:blipFill>
        <p:spPr>
          <a:xfrm>
            <a:off x="0" y="0"/>
            <a:ext cx="9144000" cy="5143500"/>
          </a:xfrm>
          <a:prstGeom prst="rect">
            <a:avLst/>
          </a:prstGeom>
        </p:spPr>
      </p:pic>
      <p:graphicFrame>
        <p:nvGraphicFramePr>
          <p:cNvPr id="10" name="Object 9" hidden="1"/>
          <p:cNvGraphicFramePr>
            <a:graphicFrameLocks noChangeAspect="1"/>
          </p:cNvGraphicFramePr>
          <p:nvPr>
            <p:custDataLst>
              <p:tags r:id="rId2"/>
            </p:custDataLst>
            <p:extLst>
              <p:ext uri="{D42A27DB-BD31-4B8C-83A1-F6EECF244321}">
                <p14:modId xmlns:p14="http://schemas.microsoft.com/office/powerpoint/2010/main" xmlns="" val="3201492229"/>
              </p:ext>
            </p:extLst>
          </p:nvPr>
        </p:nvGraphicFramePr>
        <p:xfrm>
          <a:off x="1476" y="1192"/>
          <a:ext cx="1465" cy="1190"/>
        </p:xfrm>
        <a:graphic>
          <a:graphicData uri="http://schemas.openxmlformats.org/presentationml/2006/ole">
            <p:oleObj spid="_x0000_s7187" name="think-cell Slide" r:id="rId6" imgW="360" imgH="360" progId="">
              <p:embed/>
            </p:oleObj>
          </a:graphicData>
        </a:graphic>
      </p:graphicFrame>
      <p:pic>
        <p:nvPicPr>
          <p:cNvPr id="6" name="Picture 5"/>
          <p:cNvPicPr>
            <a:picLocks/>
          </p:cNvPicPr>
          <p:nvPr/>
        </p:nvPicPr>
        <p:blipFill>
          <a:blip r:embed="rId7" cstate="print">
            <a:lum bright="84000"/>
            <a:extLst>
              <a:ext uri="{28A0092B-C50C-407E-A947-70E740481C1C}">
                <a14:useLocalDpi xmlns:a14="http://schemas.microsoft.com/office/drawing/2010/main" xmlns=""/>
              </a:ext>
            </a:extLst>
          </a:blip>
          <a:stretch>
            <a:fillRect/>
          </a:stretch>
        </p:blipFill>
        <p:spPr>
          <a:xfrm>
            <a:off x="4757538" y="0"/>
            <a:ext cx="4386462" cy="5143500"/>
          </a:xfrm>
          <a:prstGeom prst="rect">
            <a:avLst/>
          </a:prstGeom>
        </p:spPr>
      </p:pic>
      <p:sp>
        <p:nvSpPr>
          <p:cNvPr id="4" name="Title 3"/>
          <p:cNvSpPr>
            <a:spLocks noGrp="1"/>
          </p:cNvSpPr>
          <p:nvPr>
            <p:ph type="title"/>
          </p:nvPr>
        </p:nvSpPr>
        <p:spPr>
          <a:xfrm>
            <a:off x="4757538" y="615902"/>
            <a:ext cx="4386462" cy="1034733"/>
          </a:xfrm>
        </p:spPr>
        <p:txBody>
          <a:bodyPr/>
          <a:lstStyle/>
          <a:p>
            <a:pPr algn="ctr"/>
            <a:r>
              <a:rPr lang="th-TH" sz="3400" b="1" dirty="0"/>
              <a:t>การพัฒนาเพื่ออนาคต</a:t>
            </a:r>
            <a:br>
              <a:rPr lang="th-TH" sz="3400" b="1" dirty="0"/>
            </a:br>
            <a:r>
              <a:rPr lang="th-TH" sz="3400" b="1" dirty="0"/>
              <a:t>ประเทศไทย</a:t>
            </a:r>
            <a:endParaRPr lang="en-US" sz="3400" b="1" dirty="0"/>
          </a:p>
        </p:txBody>
      </p:sp>
      <p:sp>
        <p:nvSpPr>
          <p:cNvPr id="9" name="Text Placeholder 1"/>
          <p:cNvSpPr>
            <a:spLocks noGrp="1"/>
          </p:cNvSpPr>
          <p:nvPr>
            <p:ph type="body" sz="quarter" idx="18"/>
          </p:nvPr>
        </p:nvSpPr>
        <p:spPr>
          <a:xfrm>
            <a:off x="4433875" y="2755024"/>
            <a:ext cx="4710135" cy="1324304"/>
          </a:xfrm>
        </p:spPr>
        <p:txBody>
          <a:bodyPr>
            <a:noAutofit/>
          </a:bodyPr>
          <a:lstStyle/>
          <a:p>
            <a:pPr algn="r">
              <a:lnSpc>
                <a:spcPct val="125000"/>
              </a:lnSpc>
              <a:spcBef>
                <a:spcPts val="256"/>
              </a:spcBef>
              <a:spcAft>
                <a:spcPts val="256"/>
              </a:spcAft>
            </a:pPr>
            <a:r>
              <a:rPr lang="th-TH" sz="2000" b="1" dirty="0">
                <a:latin typeface="TH SarabunPSK" pitchFamily="34" charset="-34"/>
                <a:cs typeface="TH SarabunPSK" pitchFamily="34" charset="-34"/>
              </a:rPr>
              <a:t>โดย นายอาคม เติมพิทยาไพสิฐ</a:t>
            </a:r>
            <a:endParaRPr lang="en-US" sz="2000" b="1" dirty="0">
              <a:latin typeface="TH SarabunPSK" pitchFamily="34" charset="-34"/>
              <a:cs typeface="TH SarabunPSK" pitchFamily="34" charset="-34"/>
            </a:endParaRPr>
          </a:p>
          <a:p>
            <a:pPr algn="r">
              <a:lnSpc>
                <a:spcPct val="120000"/>
              </a:lnSpc>
              <a:spcBef>
                <a:spcPts val="256"/>
              </a:spcBef>
              <a:spcAft>
                <a:spcPts val="256"/>
              </a:spcAft>
            </a:pPr>
            <a:r>
              <a:rPr lang="th-TH" sz="1700" b="1" dirty="0" smtClean="0">
                <a:solidFill>
                  <a:schemeClr val="accent6">
                    <a:lumMod val="50000"/>
                  </a:schemeClr>
                </a:solidFill>
                <a:latin typeface="TH SarabunPSK" pitchFamily="34" charset="-34"/>
                <a:cs typeface="TH SarabunPSK" pitchFamily="34" charset="-34"/>
              </a:rPr>
              <a:t>รัฐมนตรีว่าการ</a:t>
            </a:r>
            <a:r>
              <a:rPr lang="th-TH" sz="1700" b="1" dirty="0">
                <a:solidFill>
                  <a:schemeClr val="accent6">
                    <a:lumMod val="50000"/>
                  </a:schemeClr>
                </a:solidFill>
                <a:latin typeface="TH SarabunPSK" pitchFamily="34" charset="-34"/>
                <a:cs typeface="TH SarabunPSK" pitchFamily="34" charset="-34"/>
              </a:rPr>
              <a:t>กระทรวงคมนาคมและ</a:t>
            </a:r>
            <a:br>
              <a:rPr lang="th-TH" sz="1700" b="1" dirty="0">
                <a:solidFill>
                  <a:schemeClr val="accent6">
                    <a:lumMod val="50000"/>
                  </a:schemeClr>
                </a:solidFill>
                <a:latin typeface="TH SarabunPSK" pitchFamily="34" charset="-34"/>
                <a:cs typeface="TH SarabunPSK" pitchFamily="34" charset="-34"/>
              </a:rPr>
            </a:br>
            <a:r>
              <a:rPr lang="th-TH" sz="1700" b="1" dirty="0">
                <a:solidFill>
                  <a:schemeClr val="accent6">
                    <a:lumMod val="50000"/>
                  </a:schemeClr>
                </a:solidFill>
                <a:latin typeface="TH SarabunPSK" pitchFamily="34" charset="-34"/>
                <a:cs typeface="TH SarabunPSK" pitchFamily="34" charset="-34"/>
              </a:rPr>
              <a:t>เลขาธิการคณะกรรมการพัฒนาการเศรษฐกิจและสังคมแห่งชาติ</a:t>
            </a:r>
            <a:endParaRPr lang="en-US" sz="2000" b="1" dirty="0">
              <a:solidFill>
                <a:schemeClr val="accent6">
                  <a:lumMod val="50000"/>
                </a:schemeClr>
              </a:solidFill>
              <a:latin typeface="TH SarabunPSK" pitchFamily="34" charset="-34"/>
              <a:cs typeface="TH SarabunPSK" pitchFamily="34" charset="-34"/>
            </a:endParaRPr>
          </a:p>
        </p:txBody>
      </p:sp>
      <p:sp>
        <p:nvSpPr>
          <p:cNvPr id="11" name="Text Placeholder 2"/>
          <p:cNvSpPr>
            <a:spLocks noGrp="1"/>
          </p:cNvSpPr>
          <p:nvPr>
            <p:ph type="body" sz="quarter" idx="16"/>
          </p:nvPr>
        </p:nvSpPr>
        <p:spPr>
          <a:xfrm>
            <a:off x="4757538" y="4404964"/>
            <a:ext cx="4386462" cy="664976"/>
          </a:xfrm>
        </p:spPr>
        <p:txBody>
          <a:bodyPr anchor="t"/>
          <a:lstStyle/>
          <a:p>
            <a:pPr algn="r"/>
            <a:r>
              <a:rPr lang="th-TH" sz="1700" b="1" dirty="0">
                <a:solidFill>
                  <a:schemeClr val="accent4">
                    <a:lumMod val="25000"/>
                  </a:schemeClr>
                </a:solidFill>
                <a:latin typeface="TH SarabunPSK" pitchFamily="34" charset="-34"/>
                <a:cs typeface="TH SarabunPSK" pitchFamily="34" charset="-34"/>
              </a:rPr>
              <a:t>2</a:t>
            </a:r>
            <a:r>
              <a:rPr lang="en-US" sz="1700" b="1" dirty="0">
                <a:solidFill>
                  <a:schemeClr val="accent4">
                    <a:lumMod val="25000"/>
                  </a:schemeClr>
                </a:solidFill>
                <a:latin typeface="TH SarabunPSK" pitchFamily="34" charset="-34"/>
                <a:cs typeface="TH SarabunPSK" pitchFamily="34" charset="-34"/>
              </a:rPr>
              <a:t>0</a:t>
            </a:r>
            <a:r>
              <a:rPr lang="th-TH" sz="1700" b="1" dirty="0">
                <a:solidFill>
                  <a:schemeClr val="accent4">
                    <a:lumMod val="25000"/>
                  </a:schemeClr>
                </a:solidFill>
                <a:latin typeface="TH SarabunPSK" pitchFamily="34" charset="-34"/>
                <a:cs typeface="TH SarabunPSK" pitchFamily="34" charset="-34"/>
              </a:rPr>
              <a:t> </a:t>
            </a:r>
            <a:r>
              <a:rPr lang="th-TH" sz="1700" b="1" dirty="0" smtClean="0">
                <a:solidFill>
                  <a:schemeClr val="accent4">
                    <a:lumMod val="25000"/>
                  </a:schemeClr>
                </a:solidFill>
                <a:latin typeface="TH SarabunPSK" pitchFamily="34" charset="-34"/>
                <a:cs typeface="TH SarabunPSK" pitchFamily="34" charset="-34"/>
              </a:rPr>
              <a:t>กันยายน </a:t>
            </a:r>
            <a:r>
              <a:rPr lang="th-TH" sz="1700" b="1" dirty="0">
                <a:solidFill>
                  <a:schemeClr val="accent4">
                    <a:lumMod val="25000"/>
                  </a:schemeClr>
                </a:solidFill>
                <a:latin typeface="TH SarabunPSK" pitchFamily="34" charset="-34"/>
                <a:cs typeface="TH SarabunPSK" pitchFamily="34" charset="-34"/>
              </a:rPr>
              <a:t>2558 เวลา </a:t>
            </a:r>
            <a:r>
              <a:rPr lang="th-TH" sz="1700" b="1" dirty="0" smtClean="0">
                <a:solidFill>
                  <a:schemeClr val="accent4">
                    <a:lumMod val="25000"/>
                  </a:schemeClr>
                </a:solidFill>
                <a:latin typeface="TH SarabunPSK" pitchFamily="34" charset="-34"/>
                <a:cs typeface="TH SarabunPSK" pitchFamily="34" charset="-34"/>
              </a:rPr>
              <a:t>16.15-19.15 </a:t>
            </a:r>
            <a:r>
              <a:rPr lang="th-TH" sz="1700" b="1" dirty="0">
                <a:solidFill>
                  <a:schemeClr val="accent4">
                    <a:lumMod val="25000"/>
                  </a:schemeClr>
                </a:solidFill>
                <a:latin typeface="TH SarabunPSK" pitchFamily="34" charset="-34"/>
                <a:cs typeface="TH SarabunPSK" pitchFamily="34" charset="-34"/>
              </a:rPr>
              <a:t>น.</a:t>
            </a:r>
            <a:br>
              <a:rPr lang="th-TH" sz="1700" b="1" dirty="0">
                <a:solidFill>
                  <a:schemeClr val="accent4">
                    <a:lumMod val="25000"/>
                  </a:schemeClr>
                </a:solidFill>
                <a:latin typeface="TH SarabunPSK" pitchFamily="34" charset="-34"/>
                <a:cs typeface="TH SarabunPSK" pitchFamily="34" charset="-34"/>
              </a:rPr>
            </a:br>
            <a:endParaRPr lang="en-US" sz="1700" b="1" dirty="0">
              <a:solidFill>
                <a:schemeClr val="tx1">
                  <a:lumMod val="65000"/>
                  <a:lumOff val="35000"/>
                </a:schemeClr>
              </a:solidFill>
              <a:latin typeface="TH SarabunPSK" pitchFamily="34" charset="-34"/>
              <a:cs typeface="TH SarabunPSK" pitchFamily="34" charset="-34"/>
            </a:endParaRPr>
          </a:p>
        </p:txBody>
      </p:sp>
      <p:pic>
        <p:nvPicPr>
          <p:cNvPr id="13" name="Picture 3" descr="D:\งานตู่\FROM\รวมโลโก้\Logo no พื้นหลัง 9.gif"/>
          <p:cNvPicPr>
            <a:picLocks noChangeAspect="1" noChangeArrowheads="1"/>
          </p:cNvPicPr>
          <p:nvPr/>
        </p:nvPicPr>
        <p:blipFill>
          <a:blip r:embed="rId8" cstate="print">
            <a:extLst>
              <a:ext uri="{28A0092B-C50C-407E-A947-70E740481C1C}">
                <a14:useLocalDpi xmlns:a14="http://schemas.microsoft.com/office/drawing/2010/main" xmlns="" val="0"/>
              </a:ext>
            </a:extLst>
          </a:blip>
          <a:srcRect/>
          <a:stretch>
            <a:fillRect/>
          </a:stretch>
        </p:blipFill>
        <p:spPr bwMode="auto">
          <a:xfrm>
            <a:off x="8318177" y="88249"/>
            <a:ext cx="678330" cy="488703"/>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2309618697"/>
      </p:ext>
    </p:extLst>
  </p:cSld>
  <p:clrMapOvr>
    <a:masterClrMapping/>
  </p:clrMapOvr>
  <p:transition spd="med">
    <p:fade thruBlk="1"/>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0" y="0"/>
            <a:ext cx="9144000" cy="5143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th-TH"/>
          </a:p>
        </p:txBody>
      </p:sp>
      <p:grpSp>
        <p:nvGrpSpPr>
          <p:cNvPr id="2" name="Group 4"/>
          <p:cNvGrpSpPr/>
          <p:nvPr/>
        </p:nvGrpSpPr>
        <p:grpSpPr>
          <a:xfrm>
            <a:off x="0" y="687850"/>
            <a:ext cx="9144000" cy="4438988"/>
            <a:chOff x="-152400" y="762000"/>
            <a:chExt cx="9447286" cy="5791200"/>
          </a:xfrm>
        </p:grpSpPr>
        <p:sp>
          <p:nvSpPr>
            <p:cNvPr id="6" name="Rectangle 7"/>
            <p:cNvSpPr>
              <a:spLocks noChangeArrowheads="1"/>
            </p:cNvSpPr>
            <p:nvPr/>
          </p:nvSpPr>
          <p:spPr bwMode="auto">
            <a:xfrm>
              <a:off x="4042253" y="1273176"/>
              <a:ext cx="1194431" cy="441685"/>
            </a:xfrm>
            <a:prstGeom prst="rect">
              <a:avLst/>
            </a:prstGeom>
            <a:noFill/>
            <a:ln w="9525">
              <a:noFill/>
              <a:miter lim="800000"/>
              <a:headEnd/>
              <a:tailEnd/>
            </a:ln>
          </p:spPr>
          <p:txBody>
            <a:bodyPr wrap="none">
              <a:spAutoFit/>
            </a:bodyPr>
            <a:lstStyle/>
            <a:p>
              <a:pPr algn="ctr" fontAlgn="base">
                <a:spcBef>
                  <a:spcPct val="0"/>
                </a:spcBef>
                <a:spcAft>
                  <a:spcPct val="0"/>
                </a:spcAft>
              </a:pPr>
              <a:r>
                <a:rPr lang="en-US" sz="1600" b="1" smtClean="0">
                  <a:solidFill>
                    <a:prstClr val="white"/>
                  </a:solidFill>
                  <a:latin typeface="TH SarabunPSK" pitchFamily="34" charset="-34"/>
                  <a:cs typeface="TH SarabunPSK" pitchFamily="34" charset="-34"/>
                </a:rPr>
                <a:t>Ultimate Goals</a:t>
              </a:r>
              <a:endParaRPr lang="th-TH" sz="1600" b="1" smtClean="0">
                <a:solidFill>
                  <a:prstClr val="white"/>
                </a:solidFill>
                <a:latin typeface="TH SarabunPSK" pitchFamily="34" charset="-34"/>
                <a:cs typeface="TH SarabunPSK" pitchFamily="34" charset="-34"/>
              </a:endParaRPr>
            </a:p>
          </p:txBody>
        </p:sp>
        <p:sp>
          <p:nvSpPr>
            <p:cNvPr id="7" name="Rectangle 10"/>
            <p:cNvSpPr>
              <a:spLocks noChangeArrowheads="1"/>
            </p:cNvSpPr>
            <p:nvPr/>
          </p:nvSpPr>
          <p:spPr bwMode="auto">
            <a:xfrm>
              <a:off x="1543050" y="1857375"/>
              <a:ext cx="2143125" cy="441685"/>
            </a:xfrm>
            <a:prstGeom prst="rect">
              <a:avLst/>
            </a:prstGeom>
            <a:noFill/>
            <a:ln w="9525">
              <a:noFill/>
              <a:miter lim="800000"/>
              <a:headEnd/>
              <a:tailEnd/>
            </a:ln>
          </p:spPr>
          <p:txBody>
            <a:bodyPr>
              <a:spAutoFit/>
            </a:bodyPr>
            <a:lstStyle/>
            <a:p>
              <a:pPr algn="ctr" fontAlgn="base">
                <a:spcBef>
                  <a:spcPct val="0"/>
                </a:spcBef>
                <a:spcAft>
                  <a:spcPct val="0"/>
                </a:spcAft>
              </a:pPr>
              <a:r>
                <a:rPr lang="en-US" sz="1600" b="1" smtClean="0">
                  <a:solidFill>
                    <a:prstClr val="white"/>
                  </a:solidFill>
                  <a:latin typeface="TH SarabunPSK" pitchFamily="34" charset="-34"/>
                  <a:cs typeface="TH SarabunPSK" pitchFamily="34" charset="-34"/>
                </a:rPr>
                <a:t>Strategic Objectives</a:t>
              </a:r>
              <a:endParaRPr lang="th-TH" sz="1600" b="1" smtClean="0">
                <a:solidFill>
                  <a:prstClr val="white"/>
                </a:solidFill>
                <a:latin typeface="TH SarabunPSK" pitchFamily="34" charset="-34"/>
                <a:cs typeface="TH SarabunPSK" pitchFamily="34" charset="-34"/>
              </a:endParaRPr>
            </a:p>
          </p:txBody>
        </p:sp>
        <p:sp>
          <p:nvSpPr>
            <p:cNvPr id="8" name="Rectangle 14"/>
            <p:cNvSpPr>
              <a:spLocks noChangeArrowheads="1"/>
            </p:cNvSpPr>
            <p:nvPr/>
          </p:nvSpPr>
          <p:spPr bwMode="auto">
            <a:xfrm>
              <a:off x="5686425" y="1857375"/>
              <a:ext cx="2143125" cy="441685"/>
            </a:xfrm>
            <a:prstGeom prst="rect">
              <a:avLst/>
            </a:prstGeom>
            <a:noFill/>
            <a:ln w="9525">
              <a:noFill/>
              <a:miter lim="800000"/>
              <a:headEnd/>
              <a:tailEnd/>
            </a:ln>
          </p:spPr>
          <p:txBody>
            <a:bodyPr>
              <a:spAutoFit/>
            </a:bodyPr>
            <a:lstStyle/>
            <a:p>
              <a:pPr algn="ctr" fontAlgn="base">
                <a:spcBef>
                  <a:spcPct val="0"/>
                </a:spcBef>
                <a:spcAft>
                  <a:spcPct val="0"/>
                </a:spcAft>
              </a:pPr>
              <a:r>
                <a:rPr lang="en-US" sz="1600" b="1" smtClean="0">
                  <a:solidFill>
                    <a:prstClr val="white"/>
                  </a:solidFill>
                  <a:latin typeface="TH SarabunPSK" pitchFamily="34" charset="-34"/>
                  <a:cs typeface="TH SarabunPSK" pitchFamily="34" charset="-34"/>
                </a:rPr>
                <a:t>Strategic Positions</a:t>
              </a:r>
              <a:endParaRPr lang="th-TH" sz="1600" b="1" smtClean="0">
                <a:solidFill>
                  <a:prstClr val="white"/>
                </a:solidFill>
                <a:latin typeface="TH SarabunPSK" pitchFamily="34" charset="-34"/>
                <a:cs typeface="TH SarabunPSK" pitchFamily="34" charset="-34"/>
              </a:endParaRPr>
            </a:p>
          </p:txBody>
        </p:sp>
        <p:grpSp>
          <p:nvGrpSpPr>
            <p:cNvPr id="3" name="Group 45"/>
            <p:cNvGrpSpPr>
              <a:grpSpLocks/>
            </p:cNvGrpSpPr>
            <p:nvPr/>
          </p:nvGrpSpPr>
          <p:grpSpPr bwMode="auto">
            <a:xfrm>
              <a:off x="1042988" y="5280997"/>
              <a:ext cx="7115175" cy="1151641"/>
              <a:chOff x="1352235" y="5311970"/>
              <a:chExt cx="7563428" cy="1124041"/>
            </a:xfrm>
          </p:grpSpPr>
          <p:sp>
            <p:nvSpPr>
              <p:cNvPr id="46" name="Rectangle 45"/>
              <p:cNvSpPr/>
              <p:nvPr/>
            </p:nvSpPr>
            <p:spPr>
              <a:xfrm>
                <a:off x="1767362" y="5311970"/>
                <a:ext cx="6733171" cy="502951"/>
              </a:xfrm>
              <a:prstGeom prst="rect">
                <a:avLst/>
              </a:prstGeom>
              <a:solidFill>
                <a:schemeClr val="accent5">
                  <a:lumMod val="20000"/>
                  <a:lumOff val="80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anchor="ctr"/>
              <a:lstStyle/>
              <a:p>
                <a:pPr algn="ctr">
                  <a:lnSpc>
                    <a:spcPts val="1800"/>
                  </a:lnSpc>
                  <a:defRPr/>
                </a:pPr>
                <a:r>
                  <a:rPr lang="en-US" sz="1800" b="1" dirty="0">
                    <a:solidFill>
                      <a:prstClr val="black"/>
                    </a:solidFill>
                    <a:latin typeface="TH SarabunPSK" pitchFamily="34" charset="-34"/>
                    <a:cs typeface="TH SarabunPSK" pitchFamily="34" charset="-34"/>
                  </a:rPr>
                  <a:t>6. </a:t>
                </a:r>
                <a:r>
                  <a:rPr lang="th-TH" sz="1800" b="1" dirty="0">
                    <a:solidFill>
                      <a:prstClr val="black"/>
                    </a:solidFill>
                    <a:latin typeface="TH SarabunPSK" pitchFamily="34" charset="-34"/>
                    <a:cs typeface="TH SarabunPSK" pitchFamily="34" charset="-34"/>
                  </a:rPr>
                  <a:t>ปรับปรุงระบบการพัฒนาและจัดการกำลังคน </a:t>
                </a:r>
                <a:r>
                  <a:rPr lang="th-TH" sz="1800" b="1" dirty="0" smtClean="0">
                    <a:solidFill>
                      <a:prstClr val="black"/>
                    </a:solidFill>
                    <a:latin typeface="TH SarabunPSK" pitchFamily="34" charset="-34"/>
                    <a:cs typeface="TH SarabunPSK" pitchFamily="34" charset="-34"/>
                  </a:rPr>
                  <a:t/>
                </a:r>
                <a:br>
                  <a:rPr lang="th-TH" sz="1800" b="1" dirty="0" smtClean="0">
                    <a:solidFill>
                      <a:prstClr val="black"/>
                    </a:solidFill>
                    <a:latin typeface="TH SarabunPSK" pitchFamily="34" charset="-34"/>
                    <a:cs typeface="TH SarabunPSK" pitchFamily="34" charset="-34"/>
                  </a:rPr>
                </a:br>
                <a:r>
                  <a:rPr lang="th-TH" sz="1800" b="1" dirty="0" smtClean="0">
                    <a:solidFill>
                      <a:prstClr val="black"/>
                    </a:solidFill>
                    <a:latin typeface="TH SarabunPSK" pitchFamily="34" charset="-34"/>
                    <a:cs typeface="TH SarabunPSK" pitchFamily="34" charset="-34"/>
                  </a:rPr>
                  <a:t>(</a:t>
                </a:r>
                <a:r>
                  <a:rPr lang="en-US" sz="1800" b="1" dirty="0">
                    <a:solidFill>
                      <a:prstClr val="black"/>
                    </a:solidFill>
                    <a:latin typeface="TH SarabunPSK" pitchFamily="34" charset="-34"/>
                    <a:cs typeface="TH SarabunPSK" pitchFamily="34" charset="-34"/>
                  </a:rPr>
                  <a:t>Human resource development system) </a:t>
                </a:r>
                <a:endParaRPr lang="th-TH" sz="1800" b="1" dirty="0">
                  <a:solidFill>
                    <a:prstClr val="black"/>
                  </a:solidFill>
                  <a:latin typeface="TH SarabunPSK" pitchFamily="34" charset="-34"/>
                  <a:cs typeface="TH SarabunPSK" pitchFamily="34" charset="-34"/>
                </a:endParaRPr>
              </a:p>
            </p:txBody>
          </p:sp>
          <p:sp>
            <p:nvSpPr>
              <p:cNvPr id="47" name="Rectangle 46"/>
              <p:cNvSpPr/>
              <p:nvPr/>
            </p:nvSpPr>
            <p:spPr>
              <a:xfrm>
                <a:off x="1352235" y="5831013"/>
                <a:ext cx="7563428" cy="604998"/>
              </a:xfrm>
              <a:prstGeom prst="rect">
                <a:avLst/>
              </a:prstGeom>
              <a:solidFill>
                <a:srgbClr val="6ABAD0"/>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anchor="ctr"/>
              <a:lstStyle/>
              <a:p>
                <a:pPr algn="ctr">
                  <a:lnSpc>
                    <a:spcPts val="1800"/>
                  </a:lnSpc>
                  <a:defRPr/>
                </a:pPr>
                <a:r>
                  <a:rPr lang="th-TH" sz="1800" b="1" dirty="0" smtClean="0">
                    <a:solidFill>
                      <a:prstClr val="black"/>
                    </a:solidFill>
                    <a:latin typeface="TH SarabunPSK" pitchFamily="34" charset="-34"/>
                    <a:cs typeface="TH SarabunPSK" pitchFamily="34" charset="-34"/>
                  </a:rPr>
                  <a:t>7. พัฒนา</a:t>
                </a:r>
                <a:r>
                  <a:rPr lang="th-TH" sz="1800" b="1" dirty="0">
                    <a:solidFill>
                      <a:prstClr val="black"/>
                    </a:solidFill>
                    <a:latin typeface="TH SarabunPSK" pitchFamily="34" charset="-34"/>
                    <a:cs typeface="TH SarabunPSK" pitchFamily="34" charset="-34"/>
                  </a:rPr>
                  <a:t>ระบบติดตามและประเมินผลเพื่อการปรับปรุงตนเอง (</a:t>
                </a:r>
                <a:r>
                  <a:rPr lang="en-US" sz="1800" b="1" dirty="0">
                    <a:solidFill>
                      <a:prstClr val="black"/>
                    </a:solidFill>
                    <a:latin typeface="TH SarabunPSK" pitchFamily="34" charset="-34"/>
                    <a:cs typeface="TH SarabunPSK" pitchFamily="34" charset="-34"/>
                  </a:rPr>
                  <a:t>Monitoring system for self improvement) </a:t>
                </a:r>
                <a:r>
                  <a:rPr lang="th-TH" sz="1800" b="1" dirty="0">
                    <a:solidFill>
                      <a:prstClr val="black"/>
                    </a:solidFill>
                    <a:latin typeface="TH SarabunPSK" pitchFamily="34" charset="-34"/>
                    <a:cs typeface="TH SarabunPSK" pitchFamily="34" charset="-34"/>
                  </a:rPr>
                  <a:t>และสร้างความเข้มแข็งให้กับองค์กร/เครือข่ายขับเคลื่อนยุทธศาสตร์ </a:t>
                </a:r>
              </a:p>
            </p:txBody>
          </p:sp>
        </p:grpSp>
        <p:sp>
          <p:nvSpPr>
            <p:cNvPr id="10" name="Rectangle 9"/>
            <p:cNvSpPr/>
            <p:nvPr/>
          </p:nvSpPr>
          <p:spPr bwMode="auto">
            <a:xfrm>
              <a:off x="1042988" y="2420888"/>
              <a:ext cx="7115175" cy="1133475"/>
            </a:xfrm>
            <a:prstGeom prst="rect">
              <a:avLst/>
            </a:prstGeom>
            <a:solidFill>
              <a:srgbClr val="CCFF99"/>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th-TH" sz="1600">
                <a:solidFill>
                  <a:prstClr val="white"/>
                </a:solidFill>
                <a:latin typeface="TH SarabunPSK" pitchFamily="34" charset="-34"/>
                <a:cs typeface="TH SarabunPSK" pitchFamily="34" charset="-34"/>
              </a:endParaRPr>
            </a:p>
          </p:txBody>
        </p:sp>
        <p:sp>
          <p:nvSpPr>
            <p:cNvPr id="11" name="Rectangle 34"/>
            <p:cNvSpPr>
              <a:spLocks noChangeArrowheads="1"/>
            </p:cNvSpPr>
            <p:nvPr/>
          </p:nvSpPr>
          <p:spPr bwMode="auto">
            <a:xfrm>
              <a:off x="3543300" y="1612800"/>
              <a:ext cx="2643188" cy="873332"/>
            </a:xfrm>
            <a:prstGeom prst="rect">
              <a:avLst/>
            </a:prstGeom>
            <a:noFill/>
            <a:ln w="9525">
              <a:noFill/>
              <a:miter lim="800000"/>
              <a:headEnd/>
              <a:tailEnd/>
            </a:ln>
          </p:spPr>
          <p:txBody>
            <a:bodyPr anchor="ctr">
              <a:spAutoFit/>
            </a:bodyPr>
            <a:lstStyle/>
            <a:p>
              <a:pPr algn="ctr" fontAlgn="base">
                <a:lnSpc>
                  <a:spcPts val="1500"/>
                </a:lnSpc>
                <a:spcBef>
                  <a:spcPct val="0"/>
                </a:spcBef>
                <a:spcAft>
                  <a:spcPct val="0"/>
                </a:spcAft>
              </a:pPr>
              <a:r>
                <a:rPr lang="en-US" sz="1600" b="1" smtClean="0">
                  <a:solidFill>
                    <a:prstClr val="white"/>
                  </a:solidFill>
                  <a:latin typeface="TH SarabunPSK" pitchFamily="34" charset="-34"/>
                  <a:cs typeface="TH SarabunPSK" pitchFamily="34" charset="-34"/>
                </a:rPr>
                <a:t>Competitiveness , Co-prosperity , and </a:t>
              </a:r>
              <a:br>
                <a:rPr lang="en-US" sz="1600" b="1" smtClean="0">
                  <a:solidFill>
                    <a:prstClr val="white"/>
                  </a:solidFill>
                  <a:latin typeface="TH SarabunPSK" pitchFamily="34" charset="-34"/>
                  <a:cs typeface="TH SarabunPSK" pitchFamily="34" charset="-34"/>
                </a:rPr>
              </a:br>
              <a:r>
                <a:rPr lang="en-US" sz="1600" b="1" smtClean="0">
                  <a:solidFill>
                    <a:prstClr val="white"/>
                  </a:solidFill>
                  <a:latin typeface="TH SarabunPSK" pitchFamily="34" charset="-34"/>
                  <a:cs typeface="TH SarabunPSK" pitchFamily="34" charset="-34"/>
                </a:rPr>
                <a:t>Quality of life</a:t>
              </a:r>
              <a:endParaRPr lang="th-TH" sz="1600" b="1" smtClean="0">
                <a:solidFill>
                  <a:prstClr val="white"/>
                </a:solidFill>
                <a:latin typeface="TH SarabunPSK" pitchFamily="34" charset="-34"/>
                <a:cs typeface="TH SarabunPSK" pitchFamily="34" charset="-34"/>
              </a:endParaRPr>
            </a:p>
          </p:txBody>
        </p:sp>
        <p:grpSp>
          <p:nvGrpSpPr>
            <p:cNvPr id="5" name="Group 58"/>
            <p:cNvGrpSpPr>
              <a:grpSpLocks/>
            </p:cNvGrpSpPr>
            <p:nvPr/>
          </p:nvGrpSpPr>
          <p:grpSpPr bwMode="auto">
            <a:xfrm>
              <a:off x="2695575" y="804863"/>
              <a:ext cx="3857625" cy="1731962"/>
              <a:chOff x="2500298" y="500042"/>
              <a:chExt cx="3786214" cy="1643074"/>
            </a:xfrm>
          </p:grpSpPr>
          <p:sp>
            <p:nvSpPr>
              <p:cNvPr id="42" name="Diamond 41"/>
              <p:cNvSpPr/>
              <p:nvPr/>
            </p:nvSpPr>
            <p:spPr>
              <a:xfrm>
                <a:off x="2500298" y="500042"/>
                <a:ext cx="3786214" cy="1643074"/>
              </a:xfrm>
              <a:prstGeom prst="diamond">
                <a:avLst/>
              </a:prstGeom>
              <a:solidFill>
                <a:srgbClr val="0033CC"/>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th-TH" sz="1600">
                  <a:solidFill>
                    <a:prstClr val="white"/>
                  </a:solidFill>
                  <a:latin typeface="TH SarabunPSK" pitchFamily="34" charset="-34"/>
                  <a:cs typeface="TH SarabunPSK" pitchFamily="34" charset="-34"/>
                </a:endParaRPr>
              </a:p>
            </p:txBody>
          </p:sp>
          <p:grpSp>
            <p:nvGrpSpPr>
              <p:cNvPr id="9" name="Group 13"/>
              <p:cNvGrpSpPr>
                <a:grpSpLocks/>
              </p:cNvGrpSpPr>
              <p:nvPr/>
            </p:nvGrpSpPr>
            <p:grpSpPr bwMode="auto">
              <a:xfrm>
                <a:off x="2920972" y="720460"/>
                <a:ext cx="2991557" cy="1234863"/>
                <a:chOff x="2920972" y="791898"/>
                <a:chExt cx="2991557" cy="1234863"/>
              </a:xfrm>
            </p:grpSpPr>
            <p:sp>
              <p:nvSpPr>
                <p:cNvPr id="44" name="Rectangle 61"/>
                <p:cNvSpPr>
                  <a:spLocks noChangeArrowheads="1"/>
                </p:cNvSpPr>
                <p:nvPr/>
              </p:nvSpPr>
              <p:spPr bwMode="auto">
                <a:xfrm>
                  <a:off x="3795767" y="791898"/>
                  <a:ext cx="1279603" cy="622177"/>
                </a:xfrm>
                <a:prstGeom prst="rect">
                  <a:avLst/>
                </a:prstGeom>
                <a:noFill/>
                <a:ln w="9525">
                  <a:noFill/>
                  <a:miter lim="800000"/>
                  <a:headEnd/>
                  <a:tailEnd/>
                </a:ln>
              </p:spPr>
              <p:txBody>
                <a:bodyPr wrap="none">
                  <a:spAutoFit/>
                </a:bodyPr>
                <a:lstStyle/>
                <a:p>
                  <a:pPr algn="ctr" fontAlgn="base">
                    <a:lnSpc>
                      <a:spcPts val="1600"/>
                    </a:lnSpc>
                    <a:spcBef>
                      <a:spcPct val="0"/>
                    </a:spcBef>
                    <a:spcAft>
                      <a:spcPct val="0"/>
                    </a:spcAft>
                  </a:pPr>
                  <a:r>
                    <a:rPr lang="en-US" b="1" dirty="0" smtClean="0">
                      <a:solidFill>
                        <a:srgbClr val="FFFF00"/>
                      </a:solidFill>
                      <a:latin typeface="TH SarabunPSK" pitchFamily="34" charset="-34"/>
                      <a:cs typeface="TH SarabunPSK" pitchFamily="34" charset="-34"/>
                    </a:rPr>
                    <a:t>Ultimate</a:t>
                  </a:r>
                  <a:r>
                    <a:rPr lang="en-US" b="1" dirty="0">
                      <a:solidFill>
                        <a:srgbClr val="FFFF00"/>
                      </a:solidFill>
                      <a:latin typeface="TH SarabunPSK" pitchFamily="34" charset="-34"/>
                      <a:cs typeface="TH SarabunPSK" pitchFamily="34" charset="-34"/>
                    </a:rPr>
                    <a:t> </a:t>
                  </a:r>
                </a:p>
                <a:p>
                  <a:pPr algn="ctr" fontAlgn="base">
                    <a:lnSpc>
                      <a:spcPts val="1600"/>
                    </a:lnSpc>
                    <a:spcBef>
                      <a:spcPct val="0"/>
                    </a:spcBef>
                    <a:spcAft>
                      <a:spcPct val="0"/>
                    </a:spcAft>
                  </a:pPr>
                  <a:r>
                    <a:rPr lang="en-US" b="1" dirty="0">
                      <a:solidFill>
                        <a:srgbClr val="FFFF00"/>
                      </a:solidFill>
                      <a:latin typeface="TH SarabunPSK" pitchFamily="34" charset="-34"/>
                      <a:cs typeface="TH SarabunPSK" pitchFamily="34" charset="-34"/>
                    </a:rPr>
                    <a:t>Goals</a:t>
                  </a:r>
                  <a:endParaRPr lang="th-TH" b="1" dirty="0">
                    <a:solidFill>
                      <a:srgbClr val="FFFF00"/>
                    </a:solidFill>
                    <a:latin typeface="TH SarabunPSK" pitchFamily="34" charset="-34"/>
                    <a:cs typeface="TH SarabunPSK" pitchFamily="34" charset="-34"/>
                  </a:endParaRPr>
                </a:p>
              </p:txBody>
            </p:sp>
            <p:sp>
              <p:nvSpPr>
                <p:cNvPr id="45" name="Rectangle 62"/>
                <p:cNvSpPr>
                  <a:spLocks noChangeArrowheads="1"/>
                </p:cNvSpPr>
                <p:nvPr/>
              </p:nvSpPr>
              <p:spPr bwMode="auto">
                <a:xfrm>
                  <a:off x="2920972" y="1198251"/>
                  <a:ext cx="2991557" cy="828510"/>
                </a:xfrm>
                <a:prstGeom prst="rect">
                  <a:avLst/>
                </a:prstGeom>
                <a:noFill/>
                <a:ln w="9525">
                  <a:noFill/>
                  <a:miter lim="800000"/>
                  <a:headEnd/>
                  <a:tailEnd/>
                </a:ln>
              </p:spPr>
              <p:txBody>
                <a:bodyPr anchor="ctr">
                  <a:spAutoFit/>
                </a:bodyPr>
                <a:lstStyle/>
                <a:p>
                  <a:pPr algn="ctr" fontAlgn="base">
                    <a:lnSpc>
                      <a:spcPts val="1500"/>
                    </a:lnSpc>
                    <a:spcBef>
                      <a:spcPct val="0"/>
                    </a:spcBef>
                    <a:spcAft>
                      <a:spcPct val="0"/>
                    </a:spcAft>
                  </a:pPr>
                  <a:r>
                    <a:rPr lang="en-US" sz="1800" b="1" dirty="0">
                      <a:solidFill>
                        <a:prstClr val="white"/>
                      </a:solidFill>
                      <a:latin typeface="TH SarabunPSK" pitchFamily="34" charset="-34"/>
                      <a:cs typeface="TH SarabunPSK" pitchFamily="34" charset="-34"/>
                    </a:rPr>
                    <a:t>Competitiveness ,  </a:t>
                  </a:r>
                  <a:br>
                    <a:rPr lang="en-US" sz="1800" b="1" dirty="0">
                      <a:solidFill>
                        <a:prstClr val="white"/>
                      </a:solidFill>
                      <a:latin typeface="TH SarabunPSK" pitchFamily="34" charset="-34"/>
                      <a:cs typeface="TH SarabunPSK" pitchFamily="34" charset="-34"/>
                    </a:rPr>
                  </a:br>
                  <a:r>
                    <a:rPr lang="en-US" sz="1800" b="1" dirty="0">
                      <a:solidFill>
                        <a:prstClr val="white"/>
                      </a:solidFill>
                      <a:latin typeface="TH SarabunPSK" pitchFamily="34" charset="-34"/>
                      <a:cs typeface="TH SarabunPSK" pitchFamily="34" charset="-34"/>
                    </a:rPr>
                    <a:t>Co-prosperity,  Sustainability,  and </a:t>
                  </a:r>
                  <a:br>
                    <a:rPr lang="en-US" sz="1800" b="1" dirty="0">
                      <a:solidFill>
                        <a:prstClr val="white"/>
                      </a:solidFill>
                      <a:latin typeface="TH SarabunPSK" pitchFamily="34" charset="-34"/>
                      <a:cs typeface="TH SarabunPSK" pitchFamily="34" charset="-34"/>
                    </a:rPr>
                  </a:br>
                  <a:r>
                    <a:rPr lang="en-US" sz="1800" b="1" dirty="0">
                      <a:solidFill>
                        <a:prstClr val="white"/>
                      </a:solidFill>
                      <a:latin typeface="TH SarabunPSK" pitchFamily="34" charset="-34"/>
                      <a:cs typeface="TH SarabunPSK" pitchFamily="34" charset="-34"/>
                    </a:rPr>
                    <a:t>Quality of life</a:t>
                  </a:r>
                  <a:endParaRPr lang="th-TH" sz="1800" b="1" dirty="0">
                    <a:solidFill>
                      <a:prstClr val="white"/>
                    </a:solidFill>
                    <a:latin typeface="TH SarabunPSK" pitchFamily="34" charset="-34"/>
                    <a:cs typeface="TH SarabunPSK" pitchFamily="34" charset="-34"/>
                  </a:endParaRPr>
                </a:p>
              </p:txBody>
            </p:sp>
          </p:grpSp>
        </p:grpSp>
        <p:grpSp>
          <p:nvGrpSpPr>
            <p:cNvPr id="12" name="Group 78"/>
            <p:cNvGrpSpPr>
              <a:grpSpLocks/>
            </p:cNvGrpSpPr>
            <p:nvPr/>
          </p:nvGrpSpPr>
          <p:grpSpPr bwMode="auto">
            <a:xfrm>
              <a:off x="838200" y="1608133"/>
              <a:ext cx="3786188" cy="943616"/>
              <a:chOff x="838200" y="1608174"/>
              <a:chExt cx="3786214" cy="943584"/>
            </a:xfrm>
          </p:grpSpPr>
          <p:sp>
            <p:nvSpPr>
              <p:cNvPr id="39" name="Isosceles Triangle 4"/>
              <p:cNvSpPr/>
              <p:nvPr/>
            </p:nvSpPr>
            <p:spPr>
              <a:xfrm>
                <a:off x="838200" y="1679608"/>
                <a:ext cx="3786214" cy="857219"/>
              </a:xfrm>
              <a:prstGeom prst="triangle">
                <a:avLst>
                  <a:gd name="adj" fmla="val 50814"/>
                </a:avLst>
              </a:prstGeom>
              <a:solidFill>
                <a:schemeClr val="accent1">
                  <a:lumMod val="7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th-TH" sz="1600">
                  <a:solidFill>
                    <a:prstClr val="white"/>
                  </a:solidFill>
                  <a:latin typeface="TH SarabunPSK" pitchFamily="34" charset="-34"/>
                  <a:cs typeface="TH SarabunPSK" pitchFamily="34" charset="-34"/>
                </a:endParaRPr>
              </a:p>
            </p:txBody>
          </p:sp>
          <p:sp>
            <p:nvSpPr>
              <p:cNvPr id="40" name="Rectangle 68"/>
              <p:cNvSpPr>
                <a:spLocks noChangeArrowheads="1"/>
              </p:cNvSpPr>
              <p:nvPr/>
            </p:nvSpPr>
            <p:spPr bwMode="auto">
              <a:xfrm>
                <a:off x="981076" y="1608174"/>
                <a:ext cx="1643074" cy="304484"/>
              </a:xfrm>
              <a:prstGeom prst="rect">
                <a:avLst/>
              </a:prstGeom>
              <a:noFill/>
              <a:ln w="9525">
                <a:noFill/>
                <a:miter lim="800000"/>
                <a:headEnd/>
                <a:tailEnd/>
              </a:ln>
            </p:spPr>
            <p:txBody>
              <a:bodyPr>
                <a:spAutoFit/>
              </a:bodyPr>
              <a:lstStyle/>
              <a:p>
                <a:pPr algn="r" fontAlgn="base">
                  <a:lnSpc>
                    <a:spcPts val="1100"/>
                  </a:lnSpc>
                  <a:spcBef>
                    <a:spcPct val="0"/>
                  </a:spcBef>
                  <a:spcAft>
                    <a:spcPct val="0"/>
                  </a:spcAft>
                </a:pPr>
                <a:r>
                  <a:rPr lang="en-US" sz="1600" b="1">
                    <a:solidFill>
                      <a:srgbClr val="000099"/>
                    </a:solidFill>
                    <a:latin typeface="TH SarabunPSK" pitchFamily="34" charset="-34"/>
                    <a:cs typeface="TH SarabunPSK" pitchFamily="34" charset="-34"/>
                  </a:rPr>
                  <a:t>Strategic Objectives</a:t>
                </a:r>
                <a:endParaRPr lang="th-TH" sz="1600" b="1">
                  <a:solidFill>
                    <a:srgbClr val="000099"/>
                  </a:solidFill>
                  <a:latin typeface="TH SarabunPSK" pitchFamily="34" charset="-34"/>
                  <a:cs typeface="TH SarabunPSK" pitchFamily="34" charset="-34"/>
                </a:endParaRPr>
              </a:p>
            </p:txBody>
          </p:sp>
          <p:sp>
            <p:nvSpPr>
              <p:cNvPr id="41" name="Rectangle 69"/>
              <p:cNvSpPr>
                <a:spLocks noChangeArrowheads="1"/>
              </p:cNvSpPr>
              <p:nvPr/>
            </p:nvSpPr>
            <p:spPr bwMode="auto">
              <a:xfrm>
                <a:off x="1613558" y="1929404"/>
                <a:ext cx="2313004" cy="622354"/>
              </a:xfrm>
              <a:prstGeom prst="rect">
                <a:avLst/>
              </a:prstGeom>
              <a:noFill/>
              <a:ln w="9525">
                <a:noFill/>
                <a:miter lim="800000"/>
                <a:headEnd/>
                <a:tailEnd/>
              </a:ln>
            </p:spPr>
            <p:txBody>
              <a:bodyPr wrap="square">
                <a:spAutoFit/>
              </a:bodyPr>
              <a:lstStyle/>
              <a:p>
                <a:pPr algn="ctr" fontAlgn="base">
                  <a:lnSpc>
                    <a:spcPts val="1000"/>
                  </a:lnSpc>
                  <a:spcBef>
                    <a:spcPct val="0"/>
                  </a:spcBef>
                  <a:spcAft>
                    <a:spcPct val="0"/>
                  </a:spcAft>
                </a:pPr>
                <a:r>
                  <a:rPr lang="en-US" sz="1400" b="1" dirty="0">
                    <a:solidFill>
                      <a:prstClr val="white"/>
                    </a:solidFill>
                    <a:latin typeface="TH SarabunPSK" pitchFamily="34" charset="-34"/>
                    <a:cs typeface="TH SarabunPSK" pitchFamily="34" charset="-34"/>
                  </a:rPr>
                  <a:t>Logistics efficiency and responsiveness, Value creation, </a:t>
                </a:r>
                <a:br>
                  <a:rPr lang="en-US" sz="1400" b="1" dirty="0">
                    <a:solidFill>
                      <a:prstClr val="white"/>
                    </a:solidFill>
                    <a:latin typeface="TH SarabunPSK" pitchFamily="34" charset="-34"/>
                    <a:cs typeface="TH SarabunPSK" pitchFamily="34" charset="-34"/>
                  </a:rPr>
                </a:br>
                <a:r>
                  <a:rPr lang="en-US" sz="1400" b="1" dirty="0">
                    <a:solidFill>
                      <a:prstClr val="white"/>
                    </a:solidFill>
                    <a:latin typeface="TH SarabunPSK" pitchFamily="34" charset="-34"/>
                    <a:cs typeface="TH SarabunPSK" pitchFamily="34" charset="-34"/>
                  </a:rPr>
                  <a:t>and regional inclusive growth</a:t>
                </a:r>
                <a:endParaRPr lang="th-TH" sz="1400" b="1" dirty="0">
                  <a:solidFill>
                    <a:prstClr val="white"/>
                  </a:solidFill>
                  <a:latin typeface="TH SarabunPSK" pitchFamily="34" charset="-34"/>
                  <a:cs typeface="TH SarabunPSK" pitchFamily="34" charset="-34"/>
                </a:endParaRPr>
              </a:p>
            </p:txBody>
          </p:sp>
        </p:grpSp>
        <p:grpSp>
          <p:nvGrpSpPr>
            <p:cNvPr id="13" name="Group 70"/>
            <p:cNvGrpSpPr>
              <a:grpSpLocks/>
            </p:cNvGrpSpPr>
            <p:nvPr/>
          </p:nvGrpSpPr>
          <p:grpSpPr bwMode="auto">
            <a:xfrm>
              <a:off x="4624388" y="1558966"/>
              <a:ext cx="3786187" cy="977858"/>
              <a:chOff x="4429124" y="1236689"/>
              <a:chExt cx="3786214" cy="977865"/>
            </a:xfrm>
          </p:grpSpPr>
          <p:sp>
            <p:nvSpPr>
              <p:cNvPr id="36" name="Isosceles Triangle 35"/>
              <p:cNvSpPr/>
              <p:nvPr/>
            </p:nvSpPr>
            <p:spPr>
              <a:xfrm>
                <a:off x="4429124" y="1357298"/>
                <a:ext cx="3786214" cy="857256"/>
              </a:xfrm>
              <a:prstGeom prst="triangle">
                <a:avLst>
                  <a:gd name="adj" fmla="val 50093"/>
                </a:avLst>
              </a:prstGeom>
              <a:solidFill>
                <a:schemeClr val="accent1">
                  <a:lumMod val="7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th-TH" sz="1600">
                  <a:solidFill>
                    <a:prstClr val="white"/>
                  </a:solidFill>
                  <a:latin typeface="TH SarabunPSK" pitchFamily="34" charset="-34"/>
                  <a:cs typeface="TH SarabunPSK" pitchFamily="34" charset="-34"/>
                </a:endParaRPr>
              </a:p>
            </p:txBody>
          </p:sp>
          <p:sp>
            <p:nvSpPr>
              <p:cNvPr id="37" name="Rectangle 72"/>
              <p:cNvSpPr>
                <a:spLocks noChangeArrowheads="1"/>
              </p:cNvSpPr>
              <p:nvPr/>
            </p:nvSpPr>
            <p:spPr bwMode="auto">
              <a:xfrm>
                <a:off x="6474821" y="1236689"/>
                <a:ext cx="1643073" cy="337959"/>
              </a:xfrm>
              <a:prstGeom prst="rect">
                <a:avLst/>
              </a:prstGeom>
              <a:noFill/>
              <a:ln w="9525">
                <a:noFill/>
                <a:miter lim="800000"/>
                <a:headEnd/>
                <a:tailEnd/>
              </a:ln>
            </p:spPr>
            <p:txBody>
              <a:bodyPr>
                <a:spAutoFit/>
              </a:bodyPr>
              <a:lstStyle/>
              <a:p>
                <a:pPr fontAlgn="base">
                  <a:lnSpc>
                    <a:spcPts val="1300"/>
                  </a:lnSpc>
                  <a:spcBef>
                    <a:spcPct val="0"/>
                  </a:spcBef>
                  <a:spcAft>
                    <a:spcPct val="0"/>
                  </a:spcAft>
                </a:pPr>
                <a:r>
                  <a:rPr lang="en-US" sz="1600" b="1" dirty="0">
                    <a:solidFill>
                      <a:srgbClr val="000099"/>
                    </a:solidFill>
                    <a:latin typeface="TH SarabunPSK" pitchFamily="34" charset="-34"/>
                    <a:cs typeface="TH SarabunPSK" pitchFamily="34" charset="-34"/>
                  </a:rPr>
                  <a:t>Strategic  Positions</a:t>
                </a:r>
                <a:endParaRPr lang="th-TH" sz="1600" b="1" dirty="0">
                  <a:solidFill>
                    <a:srgbClr val="000099"/>
                  </a:solidFill>
                  <a:latin typeface="TH SarabunPSK" pitchFamily="34" charset="-34"/>
                  <a:cs typeface="TH SarabunPSK" pitchFamily="34" charset="-34"/>
                </a:endParaRPr>
              </a:p>
            </p:txBody>
          </p:sp>
          <p:sp>
            <p:nvSpPr>
              <p:cNvPr id="38" name="Rectangle 73"/>
              <p:cNvSpPr>
                <a:spLocks noChangeArrowheads="1"/>
              </p:cNvSpPr>
              <p:nvPr/>
            </p:nvSpPr>
            <p:spPr bwMode="auto">
              <a:xfrm>
                <a:off x="5209292" y="1726456"/>
                <a:ext cx="2292598" cy="455072"/>
              </a:xfrm>
              <a:prstGeom prst="rect">
                <a:avLst/>
              </a:prstGeom>
              <a:noFill/>
              <a:ln w="9525">
                <a:noFill/>
                <a:miter lim="800000"/>
                <a:headEnd/>
                <a:tailEnd/>
              </a:ln>
            </p:spPr>
            <p:txBody>
              <a:bodyPr wrap="square">
                <a:spAutoFit/>
              </a:bodyPr>
              <a:lstStyle/>
              <a:p>
                <a:pPr algn="ctr" fontAlgn="base">
                  <a:lnSpc>
                    <a:spcPts val="1000"/>
                  </a:lnSpc>
                  <a:spcBef>
                    <a:spcPct val="0"/>
                  </a:spcBef>
                  <a:spcAft>
                    <a:spcPct val="0"/>
                  </a:spcAft>
                </a:pPr>
                <a:r>
                  <a:rPr lang="en-US" sz="1600" b="1" dirty="0">
                    <a:solidFill>
                      <a:prstClr val="white"/>
                    </a:solidFill>
                    <a:latin typeface="TH SarabunPSK" pitchFamily="34" charset="-34"/>
                    <a:cs typeface="TH SarabunPSK" pitchFamily="34" charset="-34"/>
                  </a:rPr>
                  <a:t>Trade and Service Hub </a:t>
                </a:r>
                <a:br>
                  <a:rPr lang="en-US" sz="1600" b="1" dirty="0">
                    <a:solidFill>
                      <a:prstClr val="white"/>
                    </a:solidFill>
                    <a:latin typeface="TH SarabunPSK" pitchFamily="34" charset="-34"/>
                    <a:cs typeface="TH SarabunPSK" pitchFamily="34" charset="-34"/>
                  </a:rPr>
                </a:br>
                <a:r>
                  <a:rPr lang="en-US" sz="1600" b="1" dirty="0">
                    <a:solidFill>
                      <a:prstClr val="white"/>
                    </a:solidFill>
                    <a:latin typeface="TH SarabunPSK" pitchFamily="34" charset="-34"/>
                    <a:cs typeface="TH SarabunPSK" pitchFamily="34" charset="-34"/>
                  </a:rPr>
                  <a:t>of GMS,  and Gateway to Asia</a:t>
                </a:r>
                <a:endParaRPr lang="th-TH" sz="1600" b="1" dirty="0">
                  <a:solidFill>
                    <a:prstClr val="white"/>
                  </a:solidFill>
                  <a:latin typeface="TH SarabunPSK" pitchFamily="34" charset="-34"/>
                  <a:cs typeface="TH SarabunPSK" pitchFamily="34" charset="-34"/>
                </a:endParaRPr>
              </a:p>
            </p:txBody>
          </p:sp>
        </p:grpSp>
        <p:sp>
          <p:nvSpPr>
            <p:cNvPr id="15" name="Rectangle 14"/>
            <p:cNvSpPr/>
            <p:nvPr/>
          </p:nvSpPr>
          <p:spPr>
            <a:xfrm>
              <a:off x="-152400" y="762000"/>
              <a:ext cx="1143000" cy="1676400"/>
            </a:xfrm>
            <a:prstGeom prst="rect">
              <a:avLst/>
            </a:prstGeom>
            <a:noFill/>
            <a:ln w="12700">
              <a:solidFill>
                <a:schemeClr val="tx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lnSpc>
                  <a:spcPts val="1300"/>
                </a:lnSpc>
                <a:defRPr/>
              </a:pPr>
              <a:r>
                <a:rPr lang="en-US" sz="1600" b="1" dirty="0">
                  <a:solidFill>
                    <a:srgbClr val="FF0000"/>
                  </a:solidFill>
                  <a:latin typeface="TH SarabunPSK" pitchFamily="34" charset="-34"/>
                  <a:cs typeface="TH SarabunPSK" pitchFamily="34" charset="-34"/>
                </a:rPr>
                <a:t>  3 </a:t>
              </a:r>
              <a:r>
                <a:rPr lang="th-TH" sz="1600" b="1" dirty="0">
                  <a:solidFill>
                    <a:srgbClr val="FF0000"/>
                  </a:solidFill>
                  <a:latin typeface="TH SarabunPSK" pitchFamily="34" charset="-34"/>
                  <a:cs typeface="TH SarabunPSK" pitchFamily="34" charset="-34"/>
                </a:rPr>
                <a:t>เหลี่ยมแห่งความสำเร็จ</a:t>
              </a:r>
              <a:endParaRPr lang="en-US" sz="1600" b="1" dirty="0">
                <a:solidFill>
                  <a:srgbClr val="FF0000"/>
                </a:solidFill>
                <a:latin typeface="TH SarabunPSK" pitchFamily="34" charset="-34"/>
                <a:cs typeface="TH SarabunPSK" pitchFamily="34" charset="-34"/>
              </a:endParaRPr>
            </a:p>
            <a:p>
              <a:pPr algn="r">
                <a:lnSpc>
                  <a:spcPts val="1300"/>
                </a:lnSpc>
                <a:defRPr/>
              </a:pPr>
              <a:r>
                <a:rPr lang="en-US" sz="1600" b="1" dirty="0">
                  <a:solidFill>
                    <a:srgbClr val="0033CC"/>
                  </a:solidFill>
                  <a:latin typeface="TH SarabunPSK" pitchFamily="34" charset="-34"/>
                  <a:cs typeface="TH SarabunPSK" pitchFamily="34" charset="-34"/>
                </a:rPr>
                <a:t/>
              </a:r>
              <a:br>
                <a:rPr lang="en-US" sz="1600" b="1" dirty="0">
                  <a:solidFill>
                    <a:srgbClr val="0033CC"/>
                  </a:solidFill>
                  <a:latin typeface="TH SarabunPSK" pitchFamily="34" charset="-34"/>
                  <a:cs typeface="TH SarabunPSK" pitchFamily="34" charset="-34"/>
                </a:rPr>
              </a:br>
              <a:r>
                <a:rPr lang="en-US" sz="1600" b="1" dirty="0">
                  <a:solidFill>
                    <a:srgbClr val="0033CC"/>
                  </a:solidFill>
                  <a:latin typeface="TH SarabunPSK" pitchFamily="34" charset="-34"/>
                  <a:cs typeface="TH SarabunPSK" pitchFamily="34" charset="-34"/>
                </a:rPr>
                <a:t>Triangle of Achievement</a:t>
              </a:r>
              <a:endParaRPr lang="th-TH" sz="1600" b="1" dirty="0">
                <a:solidFill>
                  <a:srgbClr val="0033CC"/>
                </a:solidFill>
                <a:latin typeface="TH SarabunPSK" pitchFamily="34" charset="-34"/>
                <a:cs typeface="TH SarabunPSK" pitchFamily="34" charset="-34"/>
              </a:endParaRPr>
            </a:p>
          </p:txBody>
        </p:sp>
        <p:sp>
          <p:nvSpPr>
            <p:cNvPr id="16" name="Rectangle 15"/>
            <p:cNvSpPr/>
            <p:nvPr/>
          </p:nvSpPr>
          <p:spPr>
            <a:xfrm>
              <a:off x="-152400" y="3581400"/>
              <a:ext cx="1143000" cy="1600200"/>
            </a:xfrm>
            <a:prstGeom prst="rect">
              <a:avLst/>
            </a:prstGeom>
            <a:noFill/>
            <a:ln w="12700">
              <a:solidFill>
                <a:schemeClr val="tx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r">
                <a:lnSpc>
                  <a:spcPts val="1300"/>
                </a:lnSpc>
                <a:defRPr/>
              </a:pPr>
              <a:r>
                <a:rPr lang="en-US" sz="1600" b="1" dirty="0">
                  <a:solidFill>
                    <a:srgbClr val="0033CC"/>
                  </a:solidFill>
                  <a:latin typeface="TH SarabunPSK" pitchFamily="34" charset="-34"/>
                  <a:cs typeface="TH SarabunPSK" pitchFamily="34" charset="-34"/>
                </a:rPr>
                <a:t>2. Trade facilitation enhancement</a:t>
              </a:r>
              <a:endParaRPr lang="th-TH" sz="1600" b="1" dirty="0">
                <a:solidFill>
                  <a:srgbClr val="0033CC"/>
                </a:solidFill>
                <a:latin typeface="TH SarabunPSK" pitchFamily="34" charset="-34"/>
                <a:cs typeface="TH SarabunPSK" pitchFamily="34" charset="-34"/>
              </a:endParaRPr>
            </a:p>
          </p:txBody>
        </p:sp>
        <p:sp>
          <p:nvSpPr>
            <p:cNvPr id="17" name="Rectangle 16"/>
            <p:cNvSpPr/>
            <p:nvPr/>
          </p:nvSpPr>
          <p:spPr>
            <a:xfrm>
              <a:off x="-152400" y="2438400"/>
              <a:ext cx="1143000" cy="1143000"/>
            </a:xfrm>
            <a:prstGeom prst="rect">
              <a:avLst/>
            </a:prstGeom>
            <a:noFill/>
            <a:ln w="12700">
              <a:solidFill>
                <a:schemeClr val="tx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anchor="b"/>
            <a:lstStyle/>
            <a:p>
              <a:pPr algn="r">
                <a:lnSpc>
                  <a:spcPts val="900"/>
                </a:lnSpc>
                <a:defRPr/>
              </a:pPr>
              <a:r>
                <a:rPr lang="en-US" sz="1600" b="1" dirty="0">
                  <a:solidFill>
                    <a:srgbClr val="FF0000"/>
                  </a:solidFill>
                  <a:latin typeface="TH SarabunPSK" pitchFamily="34" charset="-34"/>
                  <a:cs typeface="TH SarabunPSK" pitchFamily="34" charset="-34"/>
                </a:rPr>
                <a:t>3 </a:t>
              </a:r>
              <a:r>
                <a:rPr lang="th-TH" sz="1600" b="1" dirty="0">
                  <a:solidFill>
                    <a:srgbClr val="FF0000"/>
                  </a:solidFill>
                  <a:latin typeface="TH SarabunPSK" pitchFamily="34" charset="-34"/>
                  <a:cs typeface="TH SarabunPSK" pitchFamily="34" charset="-34"/>
                </a:rPr>
                <a:t>ภารกิจ / </a:t>
              </a:r>
              <a:r>
                <a:rPr lang="th-TH" sz="1600" b="1" dirty="0">
                  <a:solidFill>
                    <a:prstClr val="black"/>
                  </a:solidFill>
                  <a:latin typeface="TH SarabunPSK" pitchFamily="34" charset="-34"/>
                  <a:cs typeface="TH SarabunPSK" pitchFamily="34" charset="-34"/>
                </a:rPr>
                <a:t/>
              </a:r>
              <a:br>
                <a:rPr lang="th-TH" sz="1600" b="1" dirty="0">
                  <a:solidFill>
                    <a:prstClr val="black"/>
                  </a:solidFill>
                  <a:latin typeface="TH SarabunPSK" pitchFamily="34" charset="-34"/>
                  <a:cs typeface="TH SarabunPSK" pitchFamily="34" charset="-34"/>
                </a:rPr>
              </a:br>
              <a:r>
                <a:rPr lang="en-US" sz="1600" b="1" dirty="0">
                  <a:solidFill>
                    <a:srgbClr val="FF0000"/>
                  </a:solidFill>
                  <a:latin typeface="TH SarabunPSK" pitchFamily="34" charset="-34"/>
                  <a:cs typeface="TH SarabunPSK" pitchFamily="34" charset="-34"/>
                </a:rPr>
                <a:t>7</a:t>
              </a:r>
              <a:r>
                <a:rPr lang="en-US" sz="1600" b="1" dirty="0" smtClean="0">
                  <a:solidFill>
                    <a:srgbClr val="FF0000"/>
                  </a:solidFill>
                  <a:latin typeface="TH SarabunPSK" pitchFamily="34" charset="-34"/>
                  <a:cs typeface="TH SarabunPSK" pitchFamily="34" charset="-34"/>
                </a:rPr>
                <a:t> </a:t>
              </a:r>
              <a:r>
                <a:rPr lang="th-TH" sz="1600" b="1" dirty="0">
                  <a:solidFill>
                    <a:srgbClr val="FF0000"/>
                  </a:solidFill>
                  <a:latin typeface="TH SarabunPSK" pitchFamily="34" charset="-34"/>
                  <a:cs typeface="TH SarabunPSK" pitchFamily="34" charset="-34"/>
                </a:rPr>
                <a:t>ประเด็น</a:t>
              </a:r>
              <a:r>
                <a:rPr lang="th-TH" sz="1600" b="1" dirty="0" smtClean="0">
                  <a:solidFill>
                    <a:srgbClr val="FF0000"/>
                  </a:solidFill>
                  <a:latin typeface="TH SarabunPSK" pitchFamily="34" charset="-34"/>
                  <a:cs typeface="TH SarabunPSK" pitchFamily="34" charset="-34"/>
                </a:rPr>
                <a:t>ยุทธศาสตร์</a:t>
              </a:r>
              <a:r>
                <a:rPr lang="th-TH" sz="1600" b="1" dirty="0">
                  <a:solidFill>
                    <a:srgbClr val="0033CC"/>
                  </a:solidFill>
                  <a:latin typeface="TH SarabunPSK" pitchFamily="34" charset="-34"/>
                  <a:cs typeface="TH SarabunPSK" pitchFamily="34" charset="-34"/>
                </a:rPr>
                <a:t/>
              </a:r>
              <a:br>
                <a:rPr lang="th-TH" sz="1600" b="1" dirty="0">
                  <a:solidFill>
                    <a:srgbClr val="0033CC"/>
                  </a:solidFill>
                  <a:latin typeface="TH SarabunPSK" pitchFamily="34" charset="-34"/>
                  <a:cs typeface="TH SarabunPSK" pitchFamily="34" charset="-34"/>
                </a:rPr>
              </a:br>
              <a:r>
                <a:rPr lang="en-US" sz="1600" b="1" dirty="0">
                  <a:solidFill>
                    <a:srgbClr val="0033CC"/>
                  </a:solidFill>
                  <a:latin typeface="TH SarabunPSK" pitchFamily="34" charset="-34"/>
                  <a:cs typeface="TH SarabunPSK" pitchFamily="34" charset="-34"/>
                </a:rPr>
                <a:t>1. Supply chain enhancement</a:t>
              </a:r>
              <a:endParaRPr lang="th-TH" sz="1600" dirty="0">
                <a:solidFill>
                  <a:srgbClr val="0033CC"/>
                </a:solidFill>
                <a:latin typeface="TH SarabunPSK" pitchFamily="34" charset="-34"/>
                <a:cs typeface="TH SarabunPSK" pitchFamily="34" charset="-34"/>
              </a:endParaRPr>
            </a:p>
          </p:txBody>
        </p:sp>
        <p:sp>
          <p:nvSpPr>
            <p:cNvPr id="18" name="Rectangle 17"/>
            <p:cNvSpPr/>
            <p:nvPr/>
          </p:nvSpPr>
          <p:spPr>
            <a:xfrm>
              <a:off x="-152400" y="5181600"/>
              <a:ext cx="1143000" cy="1371600"/>
            </a:xfrm>
            <a:prstGeom prst="rect">
              <a:avLst/>
            </a:prstGeom>
            <a:noFill/>
            <a:ln w="12700">
              <a:solidFill>
                <a:schemeClr val="tx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r">
                <a:lnSpc>
                  <a:spcPts val="1300"/>
                </a:lnSpc>
                <a:defRPr/>
              </a:pPr>
              <a:r>
                <a:rPr lang="en-US" sz="1600" b="1" dirty="0">
                  <a:solidFill>
                    <a:srgbClr val="0033CC"/>
                  </a:solidFill>
                  <a:latin typeface="TH SarabunPSK" pitchFamily="34" charset="-34"/>
                  <a:cs typeface="TH SarabunPSK" pitchFamily="34" charset="-34"/>
                </a:rPr>
                <a:t>3. Capacity building and Policy </a:t>
              </a:r>
              <a:br>
                <a:rPr lang="en-US" sz="1600" b="1" dirty="0">
                  <a:solidFill>
                    <a:srgbClr val="0033CC"/>
                  </a:solidFill>
                  <a:latin typeface="TH SarabunPSK" pitchFamily="34" charset="-34"/>
                  <a:cs typeface="TH SarabunPSK" pitchFamily="34" charset="-34"/>
                </a:rPr>
              </a:br>
              <a:r>
                <a:rPr lang="en-US" sz="1600" b="1" dirty="0">
                  <a:solidFill>
                    <a:srgbClr val="0033CC"/>
                  </a:solidFill>
                  <a:latin typeface="TH SarabunPSK" pitchFamily="34" charset="-34"/>
                  <a:cs typeface="TH SarabunPSK" pitchFamily="34" charset="-34"/>
                </a:rPr>
                <a:t>driving factors</a:t>
              </a:r>
            </a:p>
          </p:txBody>
        </p:sp>
        <p:grpSp>
          <p:nvGrpSpPr>
            <p:cNvPr id="14" name="Group 76"/>
            <p:cNvGrpSpPr>
              <a:grpSpLocks/>
            </p:cNvGrpSpPr>
            <p:nvPr/>
          </p:nvGrpSpPr>
          <p:grpSpPr bwMode="auto">
            <a:xfrm>
              <a:off x="8229600" y="762000"/>
              <a:ext cx="1065286" cy="5791200"/>
              <a:chOff x="8229600" y="762000"/>
              <a:chExt cx="1065286" cy="5791200"/>
            </a:xfrm>
          </p:grpSpPr>
          <p:sp>
            <p:nvSpPr>
              <p:cNvPr id="34" name="Rectangle 33"/>
              <p:cNvSpPr/>
              <p:nvPr/>
            </p:nvSpPr>
            <p:spPr>
              <a:xfrm>
                <a:off x="8229600" y="762000"/>
                <a:ext cx="1065286" cy="1752600"/>
              </a:xfrm>
              <a:prstGeom prst="rect">
                <a:avLst/>
              </a:prstGeom>
              <a:noFill/>
              <a:ln w="12700">
                <a:solidFill>
                  <a:schemeClr val="tx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lnSpc>
                    <a:spcPts val="1300"/>
                  </a:lnSpc>
                  <a:defRPr/>
                </a:pPr>
                <a:r>
                  <a:rPr lang="th-TH" sz="1600" b="1" dirty="0">
                    <a:solidFill>
                      <a:srgbClr val="FF0000"/>
                    </a:solidFill>
                    <a:latin typeface="TH SarabunPSK" pitchFamily="34" charset="-34"/>
                    <a:cs typeface="TH SarabunPSK" pitchFamily="34" charset="-34"/>
                  </a:rPr>
                  <a:t>หลักการ</a:t>
                </a:r>
                <a:br>
                  <a:rPr lang="th-TH" sz="1600" b="1" dirty="0">
                    <a:solidFill>
                      <a:srgbClr val="FF0000"/>
                    </a:solidFill>
                    <a:latin typeface="TH SarabunPSK" pitchFamily="34" charset="-34"/>
                    <a:cs typeface="TH SarabunPSK" pitchFamily="34" charset="-34"/>
                  </a:rPr>
                </a:br>
                <a:r>
                  <a:rPr lang="th-TH" sz="1600" b="1" dirty="0">
                    <a:solidFill>
                      <a:srgbClr val="FF0000"/>
                    </a:solidFill>
                    <a:latin typeface="TH SarabunPSK" pitchFamily="34" charset="-34"/>
                    <a:cs typeface="TH SarabunPSK" pitchFamily="34" charset="-34"/>
                  </a:rPr>
                  <a:t>เพื่อการนำยุทธศาสตร์ไปสู่การปฏิบัติอย่างมีประสิทธิผลและมีประสิทธิภาพ</a:t>
                </a:r>
              </a:p>
            </p:txBody>
          </p:sp>
          <p:sp>
            <p:nvSpPr>
              <p:cNvPr id="35" name="Rectangle 34"/>
              <p:cNvSpPr/>
              <p:nvPr/>
            </p:nvSpPr>
            <p:spPr>
              <a:xfrm>
                <a:off x="8229600" y="2514600"/>
                <a:ext cx="1065286" cy="4038600"/>
              </a:xfrm>
              <a:prstGeom prst="rect">
                <a:avLst/>
              </a:prstGeom>
              <a:noFill/>
              <a:ln w="12700">
                <a:solidFill>
                  <a:schemeClr val="tx1"/>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0"/>
              <a:lstStyle/>
              <a:p>
                <a:pPr marL="72000" indent="-87306">
                  <a:lnSpc>
                    <a:spcPts val="1000"/>
                  </a:lnSpc>
                  <a:buFont typeface="+mj-lt"/>
                  <a:buAutoNum type="arabicPeriod"/>
                  <a:defRPr/>
                </a:pPr>
                <a:r>
                  <a:rPr lang="en-US" sz="1400" dirty="0" smtClean="0">
                    <a:solidFill>
                      <a:srgbClr val="0033CC"/>
                    </a:solidFill>
                    <a:latin typeface="TH SarabunPSK" pitchFamily="34" charset="-34"/>
                    <a:cs typeface="TH SarabunPSK" pitchFamily="34" charset="-34"/>
                  </a:rPr>
                  <a:t>Strategic Plan</a:t>
                </a:r>
                <a:endParaRPr lang="th-TH" sz="1400" dirty="0">
                  <a:solidFill>
                    <a:srgbClr val="0033CC"/>
                  </a:solidFill>
                  <a:latin typeface="TH SarabunPSK" pitchFamily="34" charset="-34"/>
                  <a:cs typeface="TH SarabunPSK" pitchFamily="34" charset="-34"/>
                </a:endParaRPr>
              </a:p>
              <a:p>
                <a:pPr marL="72000" indent="-87306">
                  <a:lnSpc>
                    <a:spcPts val="1000"/>
                  </a:lnSpc>
                  <a:buFont typeface="+mj-lt"/>
                  <a:buAutoNum type="arabicPeriod"/>
                  <a:defRPr/>
                </a:pPr>
                <a:r>
                  <a:rPr lang="en-US" sz="1400" dirty="0">
                    <a:solidFill>
                      <a:srgbClr val="0033CC"/>
                    </a:solidFill>
                    <a:latin typeface="TH SarabunPSK" pitchFamily="34" charset="-34"/>
                    <a:cs typeface="TH SarabunPSK" pitchFamily="34" charset="-34"/>
                  </a:rPr>
                  <a:t>Issue </a:t>
                </a:r>
                <a:r>
                  <a:rPr lang="en-US" sz="1400" dirty="0" smtClean="0">
                    <a:solidFill>
                      <a:srgbClr val="0033CC"/>
                    </a:solidFill>
                    <a:latin typeface="TH SarabunPSK" pitchFamily="34" charset="-34"/>
                    <a:cs typeface="TH SarabunPSK" pitchFamily="34" charset="-34"/>
                  </a:rPr>
                  <a:t>based</a:t>
                </a:r>
                <a:endParaRPr lang="en-US" sz="1400" dirty="0">
                  <a:solidFill>
                    <a:srgbClr val="0033CC"/>
                  </a:solidFill>
                  <a:latin typeface="TH SarabunPSK" pitchFamily="34" charset="-34"/>
                  <a:cs typeface="TH SarabunPSK" pitchFamily="34" charset="-34"/>
                </a:endParaRPr>
              </a:p>
              <a:p>
                <a:pPr marL="72000" indent="-87306">
                  <a:lnSpc>
                    <a:spcPts val="1000"/>
                  </a:lnSpc>
                  <a:buFont typeface="+mj-lt"/>
                  <a:buAutoNum type="arabicPeriod"/>
                  <a:defRPr/>
                </a:pPr>
                <a:r>
                  <a:rPr lang="th-TH" sz="1400" dirty="0">
                    <a:solidFill>
                      <a:srgbClr val="0033CC"/>
                    </a:solidFill>
                    <a:latin typeface="TH SarabunPSK" pitchFamily="34" charset="-34"/>
                    <a:cs typeface="TH SarabunPSK" pitchFamily="34" charset="-34"/>
                  </a:rPr>
                  <a:t>คำนึงถึงคุณค่าที่สำคัญ คือ </a:t>
                </a:r>
                <a:br>
                  <a:rPr lang="th-TH" sz="1400" dirty="0">
                    <a:solidFill>
                      <a:srgbClr val="0033CC"/>
                    </a:solidFill>
                    <a:latin typeface="TH SarabunPSK" pitchFamily="34" charset="-34"/>
                    <a:cs typeface="TH SarabunPSK" pitchFamily="34" charset="-34"/>
                  </a:rPr>
                </a:br>
                <a:r>
                  <a:rPr lang="th-TH" sz="1400" i="1" dirty="0">
                    <a:solidFill>
                      <a:srgbClr val="0033CC"/>
                    </a:solidFill>
                    <a:latin typeface="TH SarabunPSK" pitchFamily="34" charset="-34"/>
                    <a:cs typeface="TH SarabunPSK" pitchFamily="34" charset="-34"/>
                  </a:rPr>
                  <a:t>การสร้างสังคมที่</a:t>
                </a:r>
                <a:r>
                  <a:rPr lang="th-TH" sz="1400" i="1" dirty="0" smtClean="0">
                    <a:solidFill>
                      <a:srgbClr val="0033CC"/>
                    </a:solidFill>
                    <a:latin typeface="TH SarabunPSK" pitchFamily="34" charset="-34"/>
                    <a:cs typeface="TH SarabunPSK" pitchFamily="34" charset="-34"/>
                  </a:rPr>
                  <a:t>อนุรักษ์ทรัพยากร ธรรมชาติ</a:t>
                </a:r>
                <a:r>
                  <a:rPr lang="th-TH" sz="1400" i="1" dirty="0">
                    <a:solidFill>
                      <a:srgbClr val="0033CC"/>
                    </a:solidFill>
                    <a:latin typeface="TH SarabunPSK" pitchFamily="34" charset="-34"/>
                    <a:cs typeface="TH SarabunPSK" pitchFamily="34" charset="-34"/>
                  </a:rPr>
                  <a:t>และเป็นมิตรกับสิ่งแวดล้อม (</a:t>
                </a:r>
                <a:r>
                  <a:rPr lang="en-US" sz="1400" i="1" dirty="0" smtClean="0">
                    <a:solidFill>
                      <a:srgbClr val="0033CC"/>
                    </a:solidFill>
                    <a:latin typeface="TH SarabunPSK" pitchFamily="34" charset="-34"/>
                    <a:cs typeface="TH SarabunPSK" pitchFamily="34" charset="-34"/>
                  </a:rPr>
                  <a:t>Green Society</a:t>
                </a:r>
                <a:r>
                  <a:rPr lang="en-US" sz="1400" i="1" dirty="0">
                    <a:solidFill>
                      <a:srgbClr val="0033CC"/>
                    </a:solidFill>
                    <a:latin typeface="TH SarabunPSK" pitchFamily="34" charset="-34"/>
                    <a:cs typeface="TH SarabunPSK" pitchFamily="34" charset="-34"/>
                  </a:rPr>
                  <a:t>) </a:t>
                </a:r>
                <a:r>
                  <a:rPr lang="th-TH" sz="1400" i="1" dirty="0">
                    <a:solidFill>
                      <a:srgbClr val="0033CC"/>
                    </a:solidFill>
                    <a:latin typeface="TH SarabunPSK" pitchFamily="34" charset="-34"/>
                    <a:cs typeface="TH SarabunPSK" pitchFamily="34" charset="-34"/>
                  </a:rPr>
                  <a:t> ความตื่นตัวในเรื่องการอนุรักษ์พลังงาน  </a:t>
                </a:r>
                <a:r>
                  <a:rPr lang="th-TH" sz="1400" i="1" dirty="0" smtClean="0">
                    <a:solidFill>
                      <a:srgbClr val="0033CC"/>
                    </a:solidFill>
                    <a:latin typeface="TH SarabunPSK" pitchFamily="34" charset="-34"/>
                    <a:cs typeface="TH SarabunPSK" pitchFamily="34" charset="-34"/>
                  </a:rPr>
                  <a:t>การ</a:t>
                </a:r>
                <a:r>
                  <a:rPr lang="th-TH" sz="1400" i="1" dirty="0">
                    <a:solidFill>
                      <a:srgbClr val="0033CC"/>
                    </a:solidFill>
                    <a:latin typeface="TH SarabunPSK" pitchFamily="34" charset="-34"/>
                    <a:cs typeface="TH SarabunPSK" pitchFamily="34" charset="-34"/>
                  </a:rPr>
                  <a:t>มีชีวิตอย่างมีคุณภาพ และ</a:t>
                </a:r>
                <a:br>
                  <a:rPr lang="th-TH" sz="1400" i="1" dirty="0">
                    <a:solidFill>
                      <a:srgbClr val="0033CC"/>
                    </a:solidFill>
                    <a:latin typeface="TH SarabunPSK" pitchFamily="34" charset="-34"/>
                    <a:cs typeface="TH SarabunPSK" pitchFamily="34" charset="-34"/>
                  </a:rPr>
                </a:br>
                <a:r>
                  <a:rPr lang="th-TH" sz="1400" i="1" dirty="0">
                    <a:solidFill>
                      <a:srgbClr val="0033CC"/>
                    </a:solidFill>
                    <a:latin typeface="TH SarabunPSK" pitchFamily="34" charset="-34"/>
                    <a:cs typeface="TH SarabunPSK" pitchFamily="34" charset="-34"/>
                  </a:rPr>
                  <a:t>การให้คุณค่าความเป็นมนุษย์กับคนทุกระดับ</a:t>
                </a:r>
                <a:endParaRPr lang="th-TH" sz="1400" dirty="0">
                  <a:solidFill>
                    <a:srgbClr val="0033CC"/>
                  </a:solidFill>
                  <a:latin typeface="TH SarabunPSK" pitchFamily="34" charset="-34"/>
                  <a:cs typeface="TH SarabunPSK" pitchFamily="34" charset="-34"/>
                </a:endParaRPr>
              </a:p>
              <a:p>
                <a:pPr marL="72000" indent="-87306">
                  <a:lnSpc>
                    <a:spcPts val="1000"/>
                  </a:lnSpc>
                  <a:buFont typeface="+mj-lt"/>
                  <a:buAutoNum type="arabicPeriod"/>
                  <a:defRPr/>
                </a:pPr>
                <a:r>
                  <a:rPr lang="th-TH" sz="1400" dirty="0">
                    <a:solidFill>
                      <a:srgbClr val="0033CC"/>
                    </a:solidFill>
                    <a:latin typeface="TH SarabunPSK" pitchFamily="34" charset="-34"/>
                    <a:cs typeface="TH SarabunPSK" pitchFamily="34" charset="-34"/>
                  </a:rPr>
                  <a:t>เปิดโอกาสให้ภาคเอกชนในฐานะผู้ใช้บริการเข้ามามีบทบาทมากขึ้น</a:t>
                </a:r>
              </a:p>
            </p:txBody>
          </p:sp>
        </p:grpSp>
        <p:grpSp>
          <p:nvGrpSpPr>
            <p:cNvPr id="19" name="Group 77"/>
            <p:cNvGrpSpPr>
              <a:grpSpLocks/>
            </p:cNvGrpSpPr>
            <p:nvPr/>
          </p:nvGrpSpPr>
          <p:grpSpPr bwMode="auto">
            <a:xfrm>
              <a:off x="1557338" y="3571875"/>
              <a:ext cx="6062662" cy="1683033"/>
              <a:chOff x="1556707" y="3571879"/>
              <a:chExt cx="6062788" cy="1683031"/>
            </a:xfrm>
          </p:grpSpPr>
          <p:grpSp>
            <p:nvGrpSpPr>
              <p:cNvPr id="20" name="Group 75"/>
              <p:cNvGrpSpPr>
                <a:grpSpLocks/>
              </p:cNvGrpSpPr>
              <p:nvPr/>
            </p:nvGrpSpPr>
            <p:grpSpPr bwMode="auto">
              <a:xfrm>
                <a:off x="1569407" y="3571879"/>
                <a:ext cx="6048633" cy="1609726"/>
                <a:chOff x="1540858" y="3571879"/>
                <a:chExt cx="6048633" cy="1609726"/>
              </a:xfrm>
            </p:grpSpPr>
            <p:sp>
              <p:nvSpPr>
                <p:cNvPr id="28" name="Rectangle 15"/>
                <p:cNvSpPr>
                  <a:spLocks noChangeArrowheads="1"/>
                </p:cNvSpPr>
                <p:nvPr/>
              </p:nvSpPr>
              <p:spPr bwMode="auto">
                <a:xfrm>
                  <a:off x="3863356" y="3651253"/>
                  <a:ext cx="1409728" cy="1530348"/>
                </a:xfrm>
                <a:prstGeom prst="rect">
                  <a:avLst/>
                </a:prstGeom>
                <a:solidFill>
                  <a:schemeClr val="bg1">
                    <a:lumMod val="95000"/>
                  </a:schemeClr>
                </a:solidFill>
                <a:ln w="12700">
                  <a:solidFill>
                    <a:schemeClr val="tx1"/>
                  </a:solidFill>
                  <a:miter lim="800000"/>
                  <a:headEnd/>
                  <a:tailEnd/>
                </a:ln>
              </p:spPr>
              <p:txBody>
                <a:bodyPr anchor="ctr"/>
                <a:lstStyle/>
                <a:p>
                  <a:pPr algn="ctr" eaLnBrk="0" hangingPunct="0">
                    <a:lnSpc>
                      <a:spcPts val="1600"/>
                    </a:lnSpc>
                    <a:defRPr/>
                  </a:pPr>
                  <a:r>
                    <a:rPr lang="en-US" sz="1800" b="1" dirty="0">
                      <a:solidFill>
                        <a:prstClr val="black"/>
                      </a:solidFill>
                      <a:latin typeface="TH SarabunPSK" pitchFamily="34" charset="-34"/>
                      <a:cs typeface="TH SarabunPSK" pitchFamily="34" charset="-34"/>
                    </a:rPr>
                    <a:t>4. </a:t>
                  </a:r>
                  <a:r>
                    <a:rPr lang="th-TH" sz="1800" b="1" dirty="0">
                      <a:solidFill>
                        <a:prstClr val="black"/>
                      </a:solidFill>
                      <a:latin typeface="TH SarabunPSK" pitchFamily="34" charset="-34"/>
                      <a:cs typeface="TH SarabunPSK" pitchFamily="34" charset="-34"/>
                    </a:rPr>
                    <a:t>พัฒนาระบบอำนวยความสะดวกทางการค้า</a:t>
                  </a:r>
                  <a:endParaRPr lang="en-US" sz="1800" b="1" dirty="0">
                    <a:solidFill>
                      <a:prstClr val="black"/>
                    </a:solidFill>
                    <a:latin typeface="TH SarabunPSK" pitchFamily="34" charset="-34"/>
                    <a:cs typeface="TH SarabunPSK" pitchFamily="34" charset="-34"/>
                  </a:endParaRPr>
                </a:p>
              </p:txBody>
            </p:sp>
            <p:sp>
              <p:nvSpPr>
                <p:cNvPr id="29" name="Rectangle 16"/>
                <p:cNvSpPr>
                  <a:spLocks noChangeArrowheads="1"/>
                </p:cNvSpPr>
                <p:nvPr/>
              </p:nvSpPr>
              <p:spPr bwMode="auto">
                <a:xfrm>
                  <a:off x="6138090" y="3651254"/>
                  <a:ext cx="1433541" cy="1530351"/>
                </a:xfrm>
                <a:prstGeom prst="rect">
                  <a:avLst/>
                </a:prstGeom>
                <a:solidFill>
                  <a:schemeClr val="bg1">
                    <a:lumMod val="95000"/>
                  </a:schemeClr>
                </a:solidFill>
                <a:ln w="12700">
                  <a:solidFill>
                    <a:schemeClr val="tx1"/>
                  </a:solidFill>
                  <a:miter lim="800000"/>
                  <a:headEnd/>
                  <a:tailEnd/>
                </a:ln>
              </p:spPr>
              <p:txBody>
                <a:bodyPr anchor="ctr"/>
                <a:lstStyle/>
                <a:p>
                  <a:pPr algn="ctr" eaLnBrk="0" hangingPunct="0">
                    <a:lnSpc>
                      <a:spcPts val="1600"/>
                    </a:lnSpc>
                    <a:defRPr/>
                  </a:pPr>
                  <a:r>
                    <a:rPr lang="en-US" sz="1800" b="1" dirty="0">
                      <a:solidFill>
                        <a:prstClr val="black"/>
                      </a:solidFill>
                      <a:latin typeface="TH SarabunPSK" pitchFamily="34" charset="-34"/>
                      <a:cs typeface="TH SarabunPSK" pitchFamily="34" charset="-34"/>
                    </a:rPr>
                    <a:t>5. </a:t>
                  </a:r>
                  <a:r>
                    <a:rPr lang="th-TH" sz="1800" b="1" dirty="0">
                      <a:solidFill>
                        <a:prstClr val="black"/>
                      </a:solidFill>
                      <a:latin typeface="TH SarabunPSK" pitchFamily="34" charset="-34"/>
                      <a:cs typeface="TH SarabunPSK" pitchFamily="34" charset="-34"/>
                    </a:rPr>
                    <a:t>ส่งเสริมการพัฒนาบริการและขยายเครือข่ายของผู้ให้บริการ</a:t>
                  </a:r>
                  <a:br>
                    <a:rPr lang="th-TH" sz="1800" b="1" dirty="0">
                      <a:solidFill>
                        <a:prstClr val="black"/>
                      </a:solidFill>
                      <a:latin typeface="TH SarabunPSK" pitchFamily="34" charset="-34"/>
                      <a:cs typeface="TH SarabunPSK" pitchFamily="34" charset="-34"/>
                    </a:rPr>
                  </a:br>
                  <a:r>
                    <a:rPr lang="th-TH" sz="1800" b="1" dirty="0">
                      <a:solidFill>
                        <a:prstClr val="black"/>
                      </a:solidFill>
                      <a:latin typeface="TH SarabunPSK" pitchFamily="34" charset="-34"/>
                      <a:cs typeface="TH SarabunPSK" pitchFamily="34" charset="-34"/>
                    </a:rPr>
                    <a:t>โลจิสติกส์</a:t>
                  </a:r>
                  <a:endParaRPr lang="en-US" sz="1800" b="1" dirty="0">
                    <a:solidFill>
                      <a:prstClr val="black"/>
                    </a:solidFill>
                    <a:latin typeface="TH SarabunPSK" pitchFamily="34" charset="-34"/>
                    <a:cs typeface="TH SarabunPSK" pitchFamily="34" charset="-34"/>
                  </a:endParaRPr>
                </a:p>
              </p:txBody>
            </p:sp>
            <p:sp>
              <p:nvSpPr>
                <p:cNvPr id="30" name="Rectangle 18"/>
                <p:cNvSpPr>
                  <a:spLocks noChangeArrowheads="1"/>
                </p:cNvSpPr>
                <p:nvPr/>
              </p:nvSpPr>
              <p:spPr bwMode="auto">
                <a:xfrm>
                  <a:off x="1572872" y="3651254"/>
                  <a:ext cx="1417667" cy="1530349"/>
                </a:xfrm>
                <a:prstGeom prst="rect">
                  <a:avLst/>
                </a:prstGeom>
                <a:solidFill>
                  <a:schemeClr val="bg1">
                    <a:lumMod val="95000"/>
                  </a:schemeClr>
                </a:solidFill>
                <a:ln w="12700">
                  <a:solidFill>
                    <a:schemeClr val="tx1"/>
                  </a:solidFill>
                  <a:miter lim="800000"/>
                  <a:headEnd/>
                  <a:tailEnd/>
                </a:ln>
              </p:spPr>
              <p:txBody>
                <a:bodyPr anchor="ctr"/>
                <a:lstStyle/>
                <a:p>
                  <a:pPr algn="ctr" eaLnBrk="0" hangingPunct="0">
                    <a:lnSpc>
                      <a:spcPts val="1600"/>
                    </a:lnSpc>
                    <a:defRPr/>
                  </a:pPr>
                  <a:r>
                    <a:rPr lang="en-US" sz="1800" b="1" dirty="0">
                      <a:solidFill>
                        <a:prstClr val="black"/>
                      </a:solidFill>
                      <a:latin typeface="TH SarabunPSK" pitchFamily="34" charset="-34"/>
                      <a:cs typeface="TH SarabunPSK" pitchFamily="34" charset="-34"/>
                    </a:rPr>
                    <a:t>3. </a:t>
                  </a:r>
                  <a:r>
                    <a:rPr lang="th-TH" sz="1800" b="1" dirty="0">
                      <a:solidFill>
                        <a:prstClr val="black"/>
                      </a:solidFill>
                      <a:latin typeface="TH SarabunPSK" pitchFamily="34" charset="-34"/>
                      <a:cs typeface="TH SarabunPSK" pitchFamily="34" charset="-34"/>
                    </a:rPr>
                    <a:t>พัฒนาบริการขนส่ง</a:t>
                  </a:r>
                  <a:r>
                    <a:rPr lang="th-TH" sz="1800" b="1" dirty="0" smtClean="0">
                      <a:solidFill>
                        <a:prstClr val="black"/>
                      </a:solidFill>
                      <a:latin typeface="TH SarabunPSK" pitchFamily="34" charset="-34"/>
                      <a:cs typeface="TH SarabunPSK" pitchFamily="34" charset="-34"/>
                    </a:rPr>
                    <a:t>และเครือข่าย</a:t>
                  </a:r>
                </a:p>
                <a:p>
                  <a:pPr algn="ctr" eaLnBrk="0" hangingPunct="0">
                    <a:lnSpc>
                      <a:spcPts val="1600"/>
                    </a:lnSpc>
                    <a:defRPr/>
                  </a:pPr>
                  <a:r>
                    <a:rPr lang="th-TH" sz="1800" b="1" dirty="0" smtClean="0">
                      <a:solidFill>
                        <a:prstClr val="black"/>
                      </a:solidFill>
                      <a:latin typeface="TH SarabunPSK" pitchFamily="34" charset="-34"/>
                      <a:cs typeface="TH SarabunPSK" pitchFamily="34" charset="-34"/>
                    </a:rPr>
                    <a:t>โลจิสติกส์</a:t>
                  </a:r>
                  <a:br>
                    <a:rPr lang="th-TH" sz="1800" b="1" dirty="0" smtClean="0">
                      <a:solidFill>
                        <a:prstClr val="black"/>
                      </a:solidFill>
                      <a:latin typeface="TH SarabunPSK" pitchFamily="34" charset="-34"/>
                      <a:cs typeface="TH SarabunPSK" pitchFamily="34" charset="-34"/>
                    </a:rPr>
                  </a:br>
                  <a:r>
                    <a:rPr lang="th-TH" sz="1800" b="1" dirty="0" smtClean="0">
                      <a:solidFill>
                        <a:prstClr val="black"/>
                      </a:solidFill>
                      <a:latin typeface="TH SarabunPSK" pitchFamily="34" charset="-34"/>
                      <a:cs typeface="TH SarabunPSK" pitchFamily="34" charset="-34"/>
                    </a:rPr>
                    <a:t>ตามเส้นทางยุทธศาสตร์</a:t>
                  </a:r>
                  <a:endParaRPr lang="en-US" sz="1800" b="1" dirty="0">
                    <a:solidFill>
                      <a:prstClr val="black"/>
                    </a:solidFill>
                    <a:latin typeface="TH SarabunPSK" pitchFamily="34" charset="-34"/>
                    <a:cs typeface="TH SarabunPSK" pitchFamily="34" charset="-34"/>
                  </a:endParaRPr>
                </a:p>
              </p:txBody>
            </p:sp>
            <p:sp>
              <p:nvSpPr>
                <p:cNvPr id="31" name="Rectangle 7"/>
                <p:cNvSpPr>
                  <a:spLocks noChangeArrowheads="1"/>
                </p:cNvSpPr>
                <p:nvPr/>
              </p:nvSpPr>
              <p:spPr bwMode="auto">
                <a:xfrm>
                  <a:off x="3826906" y="3571879"/>
                  <a:ext cx="1481168" cy="71438"/>
                </a:xfrm>
                <a:prstGeom prst="rect">
                  <a:avLst/>
                </a:prstGeom>
                <a:solidFill>
                  <a:schemeClr val="bg1">
                    <a:lumMod val="95000"/>
                  </a:schemeClr>
                </a:solidFill>
                <a:ln w="12700">
                  <a:solidFill>
                    <a:schemeClr val="tx1"/>
                  </a:solidFill>
                  <a:miter lim="800000"/>
                  <a:headEnd/>
                  <a:tailEnd/>
                </a:ln>
              </p:spPr>
              <p:txBody>
                <a:bodyPr/>
                <a:lstStyle/>
                <a:p>
                  <a:pPr algn="ctr" eaLnBrk="0" hangingPunct="0">
                    <a:defRPr/>
                  </a:pPr>
                  <a:endParaRPr lang="th-TH" sz="1600">
                    <a:solidFill>
                      <a:prstClr val="black"/>
                    </a:solidFill>
                    <a:latin typeface="TH SarabunPSK" pitchFamily="34" charset="-34"/>
                    <a:cs typeface="TH SarabunPSK" pitchFamily="34" charset="-34"/>
                  </a:endParaRPr>
                </a:p>
              </p:txBody>
            </p:sp>
            <p:sp>
              <p:nvSpPr>
                <p:cNvPr id="32" name="Rectangle 8"/>
                <p:cNvSpPr>
                  <a:spLocks noChangeArrowheads="1"/>
                </p:cNvSpPr>
                <p:nvPr/>
              </p:nvSpPr>
              <p:spPr bwMode="auto">
                <a:xfrm>
                  <a:off x="6108323" y="3571879"/>
                  <a:ext cx="1481168" cy="71438"/>
                </a:xfrm>
                <a:prstGeom prst="rect">
                  <a:avLst/>
                </a:prstGeom>
                <a:solidFill>
                  <a:schemeClr val="bg1">
                    <a:lumMod val="95000"/>
                  </a:schemeClr>
                </a:solidFill>
                <a:ln w="12700">
                  <a:solidFill>
                    <a:schemeClr val="tx1"/>
                  </a:solidFill>
                  <a:miter lim="800000"/>
                  <a:headEnd/>
                  <a:tailEnd/>
                </a:ln>
              </p:spPr>
              <p:txBody>
                <a:bodyPr/>
                <a:lstStyle/>
                <a:p>
                  <a:pPr algn="ctr" eaLnBrk="0" hangingPunct="0">
                    <a:defRPr/>
                  </a:pPr>
                  <a:endParaRPr lang="th-TH" sz="1600">
                    <a:solidFill>
                      <a:prstClr val="black"/>
                    </a:solidFill>
                    <a:latin typeface="TH SarabunPSK" pitchFamily="34" charset="-34"/>
                    <a:cs typeface="TH SarabunPSK" pitchFamily="34" charset="-34"/>
                  </a:endParaRPr>
                </a:p>
              </p:txBody>
            </p:sp>
            <p:sp>
              <p:nvSpPr>
                <p:cNvPr id="33" name="Rectangle 10"/>
                <p:cNvSpPr>
                  <a:spLocks noChangeArrowheads="1"/>
                </p:cNvSpPr>
                <p:nvPr/>
              </p:nvSpPr>
              <p:spPr bwMode="auto">
                <a:xfrm>
                  <a:off x="1540858" y="3571879"/>
                  <a:ext cx="1477993" cy="71438"/>
                </a:xfrm>
                <a:prstGeom prst="rect">
                  <a:avLst/>
                </a:prstGeom>
                <a:solidFill>
                  <a:schemeClr val="bg1">
                    <a:lumMod val="95000"/>
                  </a:schemeClr>
                </a:solidFill>
                <a:ln w="12700">
                  <a:solidFill>
                    <a:schemeClr val="tx1"/>
                  </a:solidFill>
                  <a:miter lim="800000"/>
                  <a:headEnd/>
                  <a:tailEnd/>
                </a:ln>
              </p:spPr>
              <p:txBody>
                <a:bodyPr/>
                <a:lstStyle/>
                <a:p>
                  <a:pPr algn="ctr" eaLnBrk="0" hangingPunct="0">
                    <a:defRPr/>
                  </a:pPr>
                  <a:endParaRPr lang="th-TH" sz="1600">
                    <a:solidFill>
                      <a:prstClr val="black"/>
                    </a:solidFill>
                    <a:latin typeface="TH SarabunPSK" pitchFamily="34" charset="-34"/>
                    <a:cs typeface="TH SarabunPSK" pitchFamily="34" charset="-34"/>
                  </a:endParaRPr>
                </a:p>
              </p:txBody>
            </p:sp>
          </p:grpSp>
          <p:sp>
            <p:nvSpPr>
              <p:cNvPr id="25" name="Rectangle 7"/>
              <p:cNvSpPr>
                <a:spLocks noChangeArrowheads="1"/>
              </p:cNvSpPr>
              <p:nvPr/>
            </p:nvSpPr>
            <p:spPr bwMode="auto">
              <a:xfrm>
                <a:off x="3842754" y="5183472"/>
                <a:ext cx="1481168" cy="71438"/>
              </a:xfrm>
              <a:prstGeom prst="rect">
                <a:avLst/>
              </a:prstGeom>
              <a:solidFill>
                <a:schemeClr val="bg1">
                  <a:lumMod val="95000"/>
                </a:schemeClr>
              </a:solidFill>
              <a:ln w="12700">
                <a:solidFill>
                  <a:schemeClr val="tx1"/>
                </a:solidFill>
                <a:miter lim="800000"/>
                <a:headEnd/>
                <a:tailEnd/>
              </a:ln>
            </p:spPr>
            <p:txBody>
              <a:bodyPr/>
              <a:lstStyle/>
              <a:p>
                <a:pPr algn="ctr" eaLnBrk="0" hangingPunct="0">
                  <a:defRPr/>
                </a:pPr>
                <a:endParaRPr lang="th-TH" sz="1600">
                  <a:solidFill>
                    <a:prstClr val="black"/>
                  </a:solidFill>
                  <a:latin typeface="TH SarabunPSK" pitchFamily="34" charset="-34"/>
                  <a:cs typeface="TH SarabunPSK" pitchFamily="34" charset="-34"/>
                </a:endParaRPr>
              </a:p>
            </p:txBody>
          </p:sp>
          <p:sp>
            <p:nvSpPr>
              <p:cNvPr id="26" name="Rectangle 8"/>
              <p:cNvSpPr>
                <a:spLocks noChangeArrowheads="1"/>
              </p:cNvSpPr>
              <p:nvPr/>
            </p:nvSpPr>
            <p:spPr bwMode="auto">
              <a:xfrm>
                <a:off x="6138327" y="5183472"/>
                <a:ext cx="1481168" cy="71438"/>
              </a:xfrm>
              <a:prstGeom prst="rect">
                <a:avLst/>
              </a:prstGeom>
              <a:solidFill>
                <a:schemeClr val="bg1">
                  <a:lumMod val="95000"/>
                </a:schemeClr>
              </a:solidFill>
              <a:ln w="12700">
                <a:solidFill>
                  <a:schemeClr val="tx1"/>
                </a:solidFill>
                <a:miter lim="800000"/>
                <a:headEnd/>
                <a:tailEnd/>
              </a:ln>
            </p:spPr>
            <p:txBody>
              <a:bodyPr/>
              <a:lstStyle/>
              <a:p>
                <a:pPr algn="ctr" eaLnBrk="0" hangingPunct="0">
                  <a:defRPr/>
                </a:pPr>
                <a:endParaRPr lang="th-TH" sz="1600">
                  <a:solidFill>
                    <a:prstClr val="black"/>
                  </a:solidFill>
                  <a:latin typeface="TH SarabunPSK" pitchFamily="34" charset="-34"/>
                  <a:cs typeface="TH SarabunPSK" pitchFamily="34" charset="-34"/>
                </a:endParaRPr>
              </a:p>
            </p:txBody>
          </p:sp>
          <p:sp>
            <p:nvSpPr>
              <p:cNvPr id="27" name="Rectangle 10"/>
              <p:cNvSpPr>
                <a:spLocks noChangeArrowheads="1"/>
              </p:cNvSpPr>
              <p:nvPr/>
            </p:nvSpPr>
            <p:spPr bwMode="auto">
              <a:xfrm>
                <a:off x="1556707" y="5183471"/>
                <a:ext cx="1477993" cy="71438"/>
              </a:xfrm>
              <a:prstGeom prst="rect">
                <a:avLst/>
              </a:prstGeom>
              <a:solidFill>
                <a:schemeClr val="bg1">
                  <a:lumMod val="95000"/>
                </a:schemeClr>
              </a:solidFill>
              <a:ln w="12700">
                <a:solidFill>
                  <a:schemeClr val="tx1"/>
                </a:solidFill>
                <a:miter lim="800000"/>
                <a:headEnd/>
                <a:tailEnd/>
              </a:ln>
            </p:spPr>
            <p:txBody>
              <a:bodyPr/>
              <a:lstStyle/>
              <a:p>
                <a:pPr algn="ctr" eaLnBrk="0" hangingPunct="0">
                  <a:defRPr/>
                </a:pPr>
                <a:endParaRPr lang="th-TH" sz="1600">
                  <a:solidFill>
                    <a:prstClr val="black"/>
                  </a:solidFill>
                  <a:latin typeface="TH SarabunPSK" pitchFamily="34" charset="-34"/>
                  <a:cs typeface="TH SarabunPSK" pitchFamily="34" charset="-34"/>
                </a:endParaRPr>
              </a:p>
            </p:txBody>
          </p:sp>
        </p:grpSp>
        <p:cxnSp>
          <p:nvCxnSpPr>
            <p:cNvPr id="21" name="Straight Connector 20"/>
            <p:cNvCxnSpPr/>
            <p:nvPr/>
          </p:nvCxnSpPr>
          <p:spPr>
            <a:xfrm>
              <a:off x="990600" y="762000"/>
              <a:ext cx="7239000" cy="0"/>
            </a:xfrm>
            <a:prstGeom prst="line">
              <a:avLst/>
            </a:prstGeom>
            <a:ln w="6350">
              <a:solidFill>
                <a:schemeClr val="tx1"/>
              </a:solidFill>
              <a:prstDash val="sysDot"/>
            </a:ln>
          </p:spPr>
          <p:style>
            <a:lnRef idx="1">
              <a:schemeClr val="accent1"/>
            </a:lnRef>
            <a:fillRef idx="0">
              <a:schemeClr val="accent1"/>
            </a:fillRef>
            <a:effectRef idx="0">
              <a:schemeClr val="accent1"/>
            </a:effectRef>
            <a:fontRef idx="minor">
              <a:schemeClr val="tx1"/>
            </a:fontRef>
          </p:style>
        </p:cxnSp>
        <p:sp>
          <p:nvSpPr>
            <p:cNvPr id="22" name="Rectangle 21"/>
            <p:cNvSpPr/>
            <p:nvPr/>
          </p:nvSpPr>
          <p:spPr bwMode="auto">
            <a:xfrm>
              <a:off x="1187624" y="2684893"/>
              <a:ext cx="3396282" cy="744106"/>
            </a:xfrm>
            <a:prstGeom prst="rect">
              <a:avLst/>
            </a:prstGeom>
            <a:solidFill>
              <a:srgbClr val="FFFF99"/>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lnSpc>
                  <a:spcPts val="1800"/>
                </a:lnSpc>
                <a:defRPr/>
              </a:pPr>
              <a:r>
                <a:rPr lang="en-US" b="1" dirty="0" smtClean="0">
                  <a:solidFill>
                    <a:srgbClr val="000066"/>
                  </a:solidFill>
                  <a:latin typeface="TH SarabunPSK" pitchFamily="34" charset="-34"/>
                  <a:cs typeface="TH SarabunPSK" pitchFamily="34" charset="-34"/>
                </a:rPr>
                <a:t>1. </a:t>
              </a:r>
              <a:r>
                <a:rPr lang="th-TH" b="1" dirty="0">
                  <a:solidFill>
                    <a:srgbClr val="002060"/>
                  </a:solidFill>
                  <a:latin typeface="TH SarabunPSK" pitchFamily="34" charset="-34"/>
                  <a:cs typeface="TH SarabunPSK" pitchFamily="34" charset="-34"/>
                </a:rPr>
                <a:t>เพิ่มขีดความสามารถ</a:t>
              </a:r>
              <a:r>
                <a:rPr lang="th-TH" b="1" dirty="0">
                  <a:solidFill>
                    <a:srgbClr val="000066"/>
                  </a:solidFill>
                  <a:latin typeface="TH SarabunPSK" pitchFamily="34" charset="-34"/>
                  <a:cs typeface="TH SarabunPSK" pitchFamily="34" charset="-34"/>
                </a:rPr>
                <a:t>ในการบริหาร</a:t>
              </a:r>
              <a:r>
                <a:rPr lang="th-TH" b="1" dirty="0" smtClean="0">
                  <a:solidFill>
                    <a:srgbClr val="000066"/>
                  </a:solidFill>
                  <a:latin typeface="TH SarabunPSK" pitchFamily="34" charset="-34"/>
                  <a:cs typeface="TH SarabunPSK" pitchFamily="34" charset="-34"/>
                </a:rPr>
                <a:t>จัดการ</a:t>
              </a:r>
              <a:br>
                <a:rPr lang="th-TH" b="1" dirty="0" smtClean="0">
                  <a:solidFill>
                    <a:srgbClr val="000066"/>
                  </a:solidFill>
                  <a:latin typeface="TH SarabunPSK" pitchFamily="34" charset="-34"/>
                  <a:cs typeface="TH SarabunPSK" pitchFamily="34" charset="-34"/>
                </a:rPr>
              </a:br>
              <a:r>
                <a:rPr lang="th-TH" b="1" dirty="0" smtClean="0">
                  <a:solidFill>
                    <a:srgbClr val="000066"/>
                  </a:solidFill>
                  <a:latin typeface="TH SarabunPSK" pitchFamily="34" charset="-34"/>
                  <a:cs typeface="TH SarabunPSK" pitchFamily="34" charset="-34"/>
                </a:rPr>
                <a:t>โซ่อุปทาน</a:t>
              </a:r>
              <a:endParaRPr lang="th-TH" b="1" dirty="0">
                <a:solidFill>
                  <a:srgbClr val="000066"/>
                </a:solidFill>
                <a:latin typeface="TH SarabunPSK" pitchFamily="34" charset="-34"/>
                <a:cs typeface="TH SarabunPSK" pitchFamily="34" charset="-34"/>
              </a:endParaRPr>
            </a:p>
          </p:txBody>
        </p:sp>
        <p:sp>
          <p:nvSpPr>
            <p:cNvPr id="23" name="Rectangle 22"/>
            <p:cNvSpPr/>
            <p:nvPr/>
          </p:nvSpPr>
          <p:spPr bwMode="auto">
            <a:xfrm>
              <a:off x="4716016" y="2684893"/>
              <a:ext cx="3284239" cy="744107"/>
            </a:xfrm>
            <a:prstGeom prst="rect">
              <a:avLst/>
            </a:prstGeom>
            <a:solidFill>
              <a:srgbClr val="FFFF99"/>
            </a:solidFill>
            <a:ln w="12700">
              <a:no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lnSpc>
                  <a:spcPts val="1800"/>
                </a:lnSpc>
                <a:defRPr/>
              </a:pPr>
              <a:r>
                <a:rPr lang="en-US" b="1" dirty="0">
                  <a:solidFill>
                    <a:srgbClr val="000066"/>
                  </a:solidFill>
                  <a:latin typeface="TH SarabunPSK" pitchFamily="34" charset="-34"/>
                  <a:cs typeface="TH SarabunPSK" pitchFamily="34" charset="-34"/>
                </a:rPr>
                <a:t>2</a:t>
              </a:r>
              <a:r>
                <a:rPr lang="en-US" b="1" dirty="0" smtClean="0">
                  <a:solidFill>
                    <a:srgbClr val="000066"/>
                  </a:solidFill>
                  <a:latin typeface="TH SarabunPSK" pitchFamily="34" charset="-34"/>
                  <a:cs typeface="TH SarabunPSK" pitchFamily="34" charset="-34"/>
                </a:rPr>
                <a:t>. </a:t>
              </a:r>
              <a:r>
                <a:rPr lang="th-TH" b="1" dirty="0">
                  <a:solidFill>
                    <a:srgbClr val="000066"/>
                  </a:solidFill>
                  <a:latin typeface="TH SarabunPSK" pitchFamily="34" charset="-34"/>
                  <a:cs typeface="TH SarabunPSK" pitchFamily="34" charset="-34"/>
                </a:rPr>
                <a:t>ส่งเสริมธุรกิจการค้าและบริการในพื้นที่เมืองชายแดน</a:t>
              </a:r>
            </a:p>
          </p:txBody>
        </p:sp>
      </p:grpSp>
      <p:sp>
        <p:nvSpPr>
          <p:cNvPr id="49" name="RbNavigator"/>
          <p:cNvSpPr txBox="1"/>
          <p:nvPr/>
        </p:nvSpPr>
        <p:spPr>
          <a:xfrm>
            <a:off x="94808" y="92614"/>
            <a:ext cx="444744" cy="246888"/>
          </a:xfrm>
          <a:prstGeom prst="rect">
            <a:avLst/>
          </a:prstGeom>
          <a:solidFill>
            <a:srgbClr val="003F56"/>
          </a:solidFill>
          <a:ln w="9525">
            <a:noFill/>
          </a:ln>
        </p:spPr>
        <p:txBody>
          <a:bodyPr vert="horz" wrap="none" lIns="0" tIns="0" rIns="0" bIns="0" rtlCol="0" anchor="ctr">
            <a:noAutofit/>
          </a:bodyPr>
          <a:lstStyle/>
          <a:p>
            <a:pPr marL="0" marR="0" lvl="0" indent="0" algn="ctr" defTabSz="914400" eaLnBrk="1" fontAlgn="auto" latinLnBrk="0" hangingPunct="1">
              <a:lnSpc>
                <a:spcPct val="90000"/>
              </a:lnSpc>
              <a:spcBef>
                <a:spcPts val="400"/>
              </a:spcBef>
              <a:spcAft>
                <a:spcPts val="0"/>
              </a:spcAft>
              <a:buClr>
                <a:srgbClr val="000000"/>
              </a:buClr>
              <a:buSzPct val="100000"/>
              <a:buFontTx/>
              <a:buNone/>
              <a:tabLst/>
              <a:defRPr/>
            </a:pPr>
            <a:r>
              <a:rPr kumimoji="1" lang="en-US" b="1" kern="0" dirty="0" smtClean="0">
                <a:solidFill>
                  <a:srgbClr val="FFFFFF"/>
                </a:solidFill>
                <a:latin typeface="TH SarabunPSK" pitchFamily="34" charset="-34"/>
                <a:cs typeface="TH SarabunPSK" pitchFamily="34" charset="-34"/>
              </a:rPr>
              <a:t>2</a:t>
            </a:r>
            <a:endParaRPr kumimoji="1" lang="en-US" b="1" i="0" u="none" strike="noStrike" kern="0" cap="none" spc="0" normalizeH="0" baseline="0" noProof="0" dirty="0" smtClean="0">
              <a:ln>
                <a:noFill/>
              </a:ln>
              <a:solidFill>
                <a:srgbClr val="FFFFFF"/>
              </a:solidFill>
              <a:effectLst/>
              <a:uLnTx/>
              <a:uFillTx/>
              <a:latin typeface="TH SarabunPSK" pitchFamily="34" charset="-34"/>
              <a:cs typeface="TH SarabunPSK" pitchFamily="34" charset="-34"/>
            </a:endParaRPr>
          </a:p>
        </p:txBody>
      </p:sp>
      <p:sp>
        <p:nvSpPr>
          <p:cNvPr id="50" name="RbSticker"/>
          <p:cNvSpPr txBox="1"/>
          <p:nvPr/>
        </p:nvSpPr>
        <p:spPr>
          <a:xfrm>
            <a:off x="642127" y="97867"/>
            <a:ext cx="7971734" cy="518796"/>
          </a:xfrm>
          <a:prstGeom prst="rect">
            <a:avLst/>
          </a:prstGeom>
          <a:noFill/>
          <a:ln w="9525">
            <a:noFill/>
          </a:ln>
        </p:spPr>
        <p:txBody>
          <a:bodyPr vert="horz" wrap="none" lIns="0" tIns="0" rIns="0" bIns="0" rtlCol="0" anchor="ctr">
            <a:spAutoFit/>
          </a:bodyPr>
          <a:lstStyle/>
          <a:p>
            <a:pPr>
              <a:lnSpc>
                <a:spcPts val="2000"/>
              </a:lnSpc>
              <a:spcBef>
                <a:spcPts val="400"/>
              </a:spcBef>
              <a:buSzPct val="100000"/>
              <a:defRPr/>
            </a:pPr>
            <a:r>
              <a:rPr lang="th-TH" b="1" dirty="0" smtClean="0">
                <a:solidFill>
                  <a:srgbClr val="002060"/>
                </a:solidFill>
                <a:latin typeface="TH SarabunPSK" pitchFamily="34" charset="-34"/>
                <a:cs typeface="TH SarabunPSK" pitchFamily="34" charset="-34"/>
              </a:rPr>
              <a:t>แผนยุทธศาสตร์การพัฒนา</a:t>
            </a:r>
            <a:r>
              <a:rPr lang="th-TH" b="1" dirty="0" err="1" smtClean="0">
                <a:solidFill>
                  <a:srgbClr val="002060"/>
                </a:solidFill>
                <a:latin typeface="TH SarabunPSK" pitchFamily="34" charset="-34"/>
                <a:cs typeface="TH SarabunPSK" pitchFamily="34" charset="-34"/>
              </a:rPr>
              <a:t>ระบบโล</a:t>
            </a:r>
            <a:r>
              <a:rPr lang="th-TH" b="1" dirty="0" smtClean="0">
                <a:solidFill>
                  <a:srgbClr val="002060"/>
                </a:solidFill>
                <a:latin typeface="TH SarabunPSK" pitchFamily="34" charset="-34"/>
                <a:cs typeface="TH SarabunPSK" pitchFamily="34" charset="-34"/>
              </a:rPr>
              <a:t>จิ</a:t>
            </a:r>
            <a:r>
              <a:rPr lang="th-TH" b="1" dirty="0" err="1" smtClean="0">
                <a:solidFill>
                  <a:srgbClr val="002060"/>
                </a:solidFill>
                <a:latin typeface="TH SarabunPSK" pitchFamily="34" charset="-34"/>
                <a:cs typeface="TH SarabunPSK" pitchFamily="34" charset="-34"/>
              </a:rPr>
              <a:t>สติกส์</a:t>
            </a:r>
            <a:r>
              <a:rPr lang="th-TH" b="1" dirty="0" smtClean="0">
                <a:solidFill>
                  <a:srgbClr val="002060"/>
                </a:solidFill>
                <a:latin typeface="TH SarabunPSK" pitchFamily="34" charset="-34"/>
                <a:cs typeface="TH SarabunPSK" pitchFamily="34" charset="-34"/>
              </a:rPr>
              <a:t>ของประเทศไทย ฉบับที่ 2 </a:t>
            </a:r>
            <a:r>
              <a:rPr lang="th-TH" i="1" dirty="0" smtClean="0">
                <a:solidFill>
                  <a:srgbClr val="002060"/>
                </a:solidFill>
                <a:latin typeface="TH SarabunPSK" pitchFamily="34" charset="-34"/>
                <a:cs typeface="TH SarabunPSK" pitchFamily="34" charset="-34"/>
              </a:rPr>
              <a:t>(</a:t>
            </a:r>
            <a:r>
              <a:rPr lang="en-US" b="1" dirty="0" smtClean="0">
                <a:solidFill>
                  <a:srgbClr val="002060"/>
                </a:solidFill>
                <a:latin typeface="TH SarabunPSK" pitchFamily="34" charset="-34"/>
                <a:cs typeface="TH SarabunPSK" pitchFamily="34" charset="-34"/>
              </a:rPr>
              <a:t>2556-2560)</a:t>
            </a:r>
            <a:r>
              <a:rPr lang="th-TH" b="1" dirty="0" smtClean="0">
                <a:solidFill>
                  <a:srgbClr val="002060"/>
                </a:solidFill>
                <a:latin typeface="TH SarabunPSK" pitchFamily="34" charset="-34"/>
                <a:cs typeface="TH SarabunPSK" pitchFamily="34" charset="-34"/>
              </a:rPr>
              <a:t/>
            </a:r>
            <a:br>
              <a:rPr lang="th-TH" b="1" dirty="0" smtClean="0">
                <a:solidFill>
                  <a:srgbClr val="002060"/>
                </a:solidFill>
                <a:latin typeface="TH SarabunPSK" pitchFamily="34" charset="-34"/>
                <a:cs typeface="TH SarabunPSK" pitchFamily="34" charset="-34"/>
              </a:rPr>
            </a:br>
            <a:r>
              <a:rPr lang="th-TH" sz="2000" dirty="0" smtClean="0">
                <a:solidFill>
                  <a:srgbClr val="002060"/>
                </a:solidFill>
                <a:latin typeface="TH SarabunPSK" pitchFamily="34" charset="-34"/>
                <a:cs typeface="TH SarabunPSK" pitchFamily="34" charset="-34"/>
              </a:rPr>
              <a:t>“</a:t>
            </a:r>
            <a:r>
              <a:rPr lang="th-TH" sz="2000" i="1" dirty="0" smtClean="0">
                <a:solidFill>
                  <a:srgbClr val="002060"/>
                </a:solidFill>
                <a:latin typeface="TH SarabunPSK" pitchFamily="34" charset="-34"/>
                <a:cs typeface="TH SarabunPSK" pitchFamily="34" charset="-34"/>
              </a:rPr>
              <a:t>การอำนวยความสะดวกทางการค้าและการจัดการโซ่</a:t>
            </a:r>
            <a:r>
              <a:rPr lang="th-TH" sz="2000" i="1" dirty="0" err="1" smtClean="0">
                <a:solidFill>
                  <a:srgbClr val="002060"/>
                </a:solidFill>
                <a:latin typeface="TH SarabunPSK" pitchFamily="34" charset="-34"/>
                <a:cs typeface="TH SarabunPSK" pitchFamily="34" charset="-34"/>
              </a:rPr>
              <a:t>อุปทาน</a:t>
            </a:r>
            <a:r>
              <a:rPr lang="th-TH" sz="2000" i="1" dirty="0" smtClean="0">
                <a:solidFill>
                  <a:srgbClr val="002060"/>
                </a:solidFill>
                <a:latin typeface="TH SarabunPSK" pitchFamily="34" charset="-34"/>
                <a:cs typeface="TH SarabunPSK" pitchFamily="34" charset="-34"/>
              </a:rPr>
              <a:t>เพื่อความสามารถในการแข่งขัน”</a:t>
            </a:r>
            <a:endParaRPr lang="th-TH" sz="2000" b="1" kern="0" dirty="0" smtClean="0">
              <a:solidFill>
                <a:srgbClr val="003F56"/>
              </a:solidFill>
              <a:latin typeface="TH SarabunPSK" pitchFamily="34" charset="-34"/>
              <a:cs typeface="TH SarabunPSK" pitchFamily="34" charset="-34"/>
            </a:endParaRPr>
          </a:p>
        </p:txBody>
      </p:sp>
    </p:spTree>
    <p:extLst>
      <p:ext uri="{BB962C8B-B14F-4D97-AF65-F5344CB8AC3E}">
        <p14:creationId xmlns:p14="http://schemas.microsoft.com/office/powerpoint/2010/main" xmlns="" val="1223709072"/>
      </p:ext>
    </p:extLst>
  </p:cSld>
  <p:clrMapOvr>
    <a:masterClrMapping/>
  </p:clrMapOvr>
  <p:transition spd="med">
    <p:fade thruBlk="1"/>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p:cNvSpPr/>
          <p:nvPr/>
        </p:nvSpPr>
        <p:spPr>
          <a:xfrm>
            <a:off x="0" y="3786196"/>
            <a:ext cx="9144000" cy="1000132"/>
          </a:xfrm>
          <a:prstGeom prst="rect">
            <a:avLst/>
          </a:prstGeom>
          <a:solidFill>
            <a:schemeClr val="tx2">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171450" indent="-171450">
              <a:lnSpc>
                <a:spcPts val="1800"/>
              </a:lnSpc>
              <a:defRPr/>
            </a:pPr>
            <a:endParaRPr lang="th-TH" sz="2000" b="1" dirty="0">
              <a:solidFill>
                <a:srgbClr val="000066"/>
              </a:solidFill>
              <a:latin typeface="TH SarabunPSK" pitchFamily="34" charset="-34"/>
              <a:cs typeface="TH SarabunPSK" pitchFamily="34" charset="-34"/>
            </a:endParaRPr>
          </a:p>
        </p:txBody>
      </p:sp>
      <p:sp>
        <p:nvSpPr>
          <p:cNvPr id="4" name="Rectangle 3"/>
          <p:cNvSpPr/>
          <p:nvPr/>
        </p:nvSpPr>
        <p:spPr>
          <a:xfrm>
            <a:off x="107504" y="449779"/>
            <a:ext cx="8856984" cy="3272691"/>
          </a:xfrm>
          <a:prstGeom prst="rect">
            <a:avLst/>
          </a:prstGeom>
        </p:spPr>
        <p:txBody>
          <a:bodyPr wrap="square">
            <a:spAutoFit/>
          </a:bodyPr>
          <a:lstStyle/>
          <a:p>
            <a:pPr marL="446088" indent="-446088">
              <a:lnSpc>
                <a:spcPts val="2600"/>
              </a:lnSpc>
              <a:buFont typeface="+mj-lt"/>
              <a:buAutoNum type="arabicPeriod"/>
            </a:pPr>
            <a:r>
              <a:rPr lang="th-TH" sz="2400" b="1" dirty="0">
                <a:latin typeface="TH SarabunPSK" pitchFamily="34" charset="-34"/>
                <a:cs typeface="TH SarabunPSK" pitchFamily="34" charset="-34"/>
              </a:rPr>
              <a:t>เร่งพัฒนาโครงสร้างพื้นฐานและระบบโลจิสติกส์ของ</a:t>
            </a:r>
            <a:r>
              <a:rPr lang="th-TH" sz="2400" b="1" dirty="0" smtClean="0">
                <a:latin typeface="TH SarabunPSK" pitchFamily="34" charset="-34"/>
                <a:cs typeface="TH SarabunPSK" pitchFamily="34" charset="-34"/>
              </a:rPr>
              <a:t>ประเทศ</a:t>
            </a:r>
          </a:p>
          <a:p>
            <a:pPr marL="914400" lvl="1" indent="-457200" algn="thaiDist">
              <a:lnSpc>
                <a:spcPts val="2400"/>
              </a:lnSpc>
              <a:spcBef>
                <a:spcPts val="600"/>
              </a:spcBef>
              <a:buFont typeface="Wingdings" pitchFamily="2" charset="2"/>
              <a:buChar char="§"/>
            </a:pPr>
            <a:r>
              <a:rPr lang="th-TH" sz="2000" dirty="0" smtClean="0">
                <a:latin typeface="TH SarabunPSK" pitchFamily="34" charset="-34"/>
                <a:cs typeface="TH SarabunPSK" pitchFamily="34" charset="-34"/>
              </a:rPr>
              <a:t>พัฒนาและปรับปรุงโครงข่ายรถไฟให้เป็นโครงข่ายหลักในการเดินทางและขนส่งของประเทศ</a:t>
            </a:r>
          </a:p>
          <a:p>
            <a:pPr marL="914400" lvl="1" indent="-457200" algn="thaiDist">
              <a:lnSpc>
                <a:spcPts val="2400"/>
              </a:lnSpc>
              <a:buFont typeface="Wingdings" pitchFamily="2" charset="2"/>
              <a:buChar char="§"/>
            </a:pPr>
            <a:r>
              <a:rPr lang="th-TH" sz="2000" dirty="0" smtClean="0">
                <a:latin typeface="TH SarabunPSK" pitchFamily="34" charset="-34"/>
                <a:cs typeface="TH SarabunPSK" pitchFamily="34" charset="-34"/>
              </a:rPr>
              <a:t>พัฒนาระบบขนส่งสาธารณะในเขตเมืองหลัก เพื่อบรรเทาปัญหาการจราจรติดขัดและเพิ่มทางเลือกในการเดินทางให้แก่ประชาชน   </a:t>
            </a:r>
          </a:p>
          <a:p>
            <a:pPr marL="914400" lvl="1" indent="-457200" algn="thaiDist">
              <a:lnSpc>
                <a:spcPts val="2400"/>
              </a:lnSpc>
              <a:buFont typeface="Wingdings" pitchFamily="2" charset="2"/>
              <a:buChar char="§"/>
            </a:pPr>
            <a:r>
              <a:rPr lang="th-TH" sz="2000" dirty="0" smtClean="0">
                <a:latin typeface="TH SarabunPSK" pitchFamily="34" charset="-34"/>
                <a:cs typeface="TH SarabunPSK" pitchFamily="34" charset="-34"/>
              </a:rPr>
              <a:t>ขยายขีดความสามารถและส่งเสริมการใช้ประโยชน์ท่าอากาศยานและท่าเรือภูมิภาค</a:t>
            </a:r>
          </a:p>
          <a:p>
            <a:pPr marL="914400" lvl="1" indent="-457200" algn="thaiDist">
              <a:lnSpc>
                <a:spcPts val="2400"/>
              </a:lnSpc>
              <a:buFont typeface="Wingdings" pitchFamily="2" charset="2"/>
              <a:buChar char="§"/>
            </a:pPr>
            <a:r>
              <a:rPr lang="th-TH" sz="2000" dirty="0" smtClean="0">
                <a:latin typeface="TH SarabunPSK" pitchFamily="34" charset="-34"/>
                <a:cs typeface="TH SarabunPSK" pitchFamily="34" charset="-34"/>
              </a:rPr>
              <a:t>ส่งเสริมและเร่งรัดการพัฒนาระบบการบริหารจัดการโลจิสติกส์ของประเทศ เพื่อเพิ่มความสามารถในการแข่งขันของประเทศทั้งด้านการค้า การลงทุน และการให้บริการ โดยคำนึงถึงการเป็นมิตรต่อสิ่งแวดล้อม (</a:t>
            </a:r>
            <a:r>
              <a:rPr lang="en-US" sz="2000" dirty="0" smtClean="0">
                <a:latin typeface="TH SarabunPSK" pitchFamily="34" charset="-34"/>
                <a:cs typeface="TH SarabunPSK" pitchFamily="34" charset="-34"/>
              </a:rPr>
              <a:t>Green Logistics)</a:t>
            </a:r>
          </a:p>
          <a:p>
            <a:pPr marL="914400" lvl="1" indent="-457200" algn="thaiDist">
              <a:lnSpc>
                <a:spcPts val="2400"/>
              </a:lnSpc>
              <a:buFont typeface="Wingdings" pitchFamily="2" charset="2"/>
              <a:buChar char="§"/>
            </a:pPr>
            <a:r>
              <a:rPr lang="th-TH" sz="2000" dirty="0" smtClean="0">
                <a:latin typeface="TH SarabunPSK" pitchFamily="34" charset="-34"/>
                <a:cs typeface="TH SarabunPSK" pitchFamily="34" charset="-34"/>
              </a:rPr>
              <a:t>ส่งเสริมการอนุรักษ์พลังงานและการเพิ่มประสิทธิภาพการใช้พลังงานในทุกภาคส่วนและการพัฒนาพลังงานทดแทนของประเทศ </a:t>
            </a:r>
          </a:p>
          <a:p>
            <a:pPr marL="914400" lvl="1" indent="-457200" algn="thaiDist">
              <a:lnSpc>
                <a:spcPts val="2400"/>
              </a:lnSpc>
              <a:buFont typeface="Wingdings" pitchFamily="2" charset="2"/>
              <a:buChar char="§"/>
            </a:pPr>
            <a:r>
              <a:rPr lang="th-TH" sz="2000" dirty="0" smtClean="0">
                <a:latin typeface="TH SarabunPSK" pitchFamily="34" charset="-34"/>
                <a:cs typeface="TH SarabunPSK" pitchFamily="34" charset="-34"/>
              </a:rPr>
              <a:t>พัฒนาและปรับปรุงโครงสร้างพื้นฐานโทรคมนาคมของประเทศและส่งเสริมสนับสนุนการพัฒนาระบบเศรษฐกิจดิจิทัล  </a:t>
            </a:r>
          </a:p>
        </p:txBody>
      </p:sp>
      <p:sp>
        <p:nvSpPr>
          <p:cNvPr id="5" name="Rectangle 4"/>
          <p:cNvSpPr/>
          <p:nvPr/>
        </p:nvSpPr>
        <p:spPr>
          <a:xfrm>
            <a:off x="0" y="3786196"/>
            <a:ext cx="9144000" cy="1092607"/>
          </a:xfrm>
          <a:prstGeom prst="rect">
            <a:avLst/>
          </a:prstGeom>
        </p:spPr>
        <p:txBody>
          <a:bodyPr wrap="square">
            <a:spAutoFit/>
          </a:bodyPr>
          <a:lstStyle/>
          <a:p>
            <a:pPr marL="446088" indent="-446088">
              <a:lnSpc>
                <a:spcPts val="2600"/>
              </a:lnSpc>
              <a:buAutoNum type="arabicPeriod" startAt="2"/>
            </a:pPr>
            <a:r>
              <a:rPr lang="th-TH" sz="2400" b="1" dirty="0" smtClean="0">
                <a:latin typeface="TH SarabunPSK" pitchFamily="34" charset="-34"/>
                <a:cs typeface="TH SarabunPSK" pitchFamily="34" charset="-34"/>
              </a:rPr>
              <a:t>สนับสนุนการพัฒนาด้านอุตสาหกรรมที่เกิดจากลงทุนด้านโครงสร้างพื้นฐาน </a:t>
            </a:r>
            <a:r>
              <a:rPr lang="th-TH" sz="2000" dirty="0" smtClean="0">
                <a:latin typeface="TH SarabunPSK" pitchFamily="34" charset="-34"/>
                <a:cs typeface="TH SarabunPSK" pitchFamily="34" charset="-34"/>
              </a:rPr>
              <a:t>โดยการส่งเสริม</a:t>
            </a:r>
            <a:r>
              <a:rPr lang="th-TH" sz="2000" dirty="0">
                <a:latin typeface="TH SarabunPSK" pitchFamily="34" charset="-34"/>
                <a:cs typeface="TH SarabunPSK" pitchFamily="34" charset="-34"/>
              </a:rPr>
              <a:t>และสนับสนุนการวิจัย การพัฒนาเทคโนโลยีและนวัตกรรมและการพัฒนา</a:t>
            </a:r>
            <a:r>
              <a:rPr lang="th-TH" sz="2000" dirty="0" smtClean="0">
                <a:latin typeface="TH SarabunPSK" pitchFamily="34" charset="-34"/>
                <a:cs typeface="TH SarabunPSK" pitchFamily="34" charset="-34"/>
              </a:rPr>
              <a:t>บุคลากร รวมทั้งส่งเสริมให้เกิดพัฒนาอุตสาหกรรมที่เกี่ยวเนื่องในภาคขนส่ง</a:t>
            </a:r>
            <a:endParaRPr lang="en-US" sz="2000" dirty="0">
              <a:latin typeface="TH SarabunPSK" pitchFamily="34" charset="-34"/>
              <a:cs typeface="TH SarabunPSK" pitchFamily="34" charset="-34"/>
            </a:endParaRPr>
          </a:p>
        </p:txBody>
      </p:sp>
      <p:sp>
        <p:nvSpPr>
          <p:cNvPr id="7" name="RbSticker"/>
          <p:cNvSpPr txBox="1"/>
          <p:nvPr/>
        </p:nvSpPr>
        <p:spPr>
          <a:xfrm>
            <a:off x="683568" y="0"/>
            <a:ext cx="6267741" cy="388761"/>
          </a:xfrm>
          <a:prstGeom prst="rect">
            <a:avLst/>
          </a:prstGeom>
          <a:noFill/>
          <a:ln w="9525">
            <a:noFill/>
          </a:ln>
        </p:spPr>
        <p:txBody>
          <a:bodyPr vert="horz" wrap="none" lIns="0" tIns="0" rIns="0" bIns="0" rtlCol="0" anchor="ctr">
            <a:spAutoFit/>
          </a:bodyPr>
          <a:lstStyle/>
          <a:p>
            <a:pPr lvl="0">
              <a:lnSpc>
                <a:spcPct val="90000"/>
              </a:lnSpc>
              <a:spcBef>
                <a:spcPts val="400"/>
              </a:spcBef>
              <a:buSzPct val="100000"/>
              <a:defRPr/>
            </a:pPr>
            <a:r>
              <a:rPr lang="th-TH" b="1" kern="0" dirty="0" smtClean="0">
                <a:solidFill>
                  <a:srgbClr val="003F56"/>
                </a:solidFill>
                <a:latin typeface="TH SarabunPSK" pitchFamily="34" charset="-34"/>
                <a:cs typeface="TH SarabunPSK" pitchFamily="34" charset="-34"/>
              </a:rPr>
              <a:t>ทิศทางการพัฒนาโครงสร้างพื้นฐานของประเทศในช่วงแผนฯ </a:t>
            </a:r>
            <a:r>
              <a:rPr lang="en-US" b="1" kern="0" dirty="0" smtClean="0">
                <a:solidFill>
                  <a:srgbClr val="003F56"/>
                </a:solidFill>
                <a:latin typeface="TH SarabunPSK" pitchFamily="34" charset="-34"/>
                <a:cs typeface="TH SarabunPSK" pitchFamily="34" charset="-34"/>
              </a:rPr>
              <a:t>12</a:t>
            </a:r>
            <a:r>
              <a:rPr lang="th-TH" b="1" kern="0" dirty="0" smtClean="0">
                <a:solidFill>
                  <a:srgbClr val="003F56"/>
                </a:solidFill>
                <a:latin typeface="TH SarabunPSK" pitchFamily="34" charset="-34"/>
                <a:cs typeface="TH SarabunPSK" pitchFamily="34" charset="-34"/>
              </a:rPr>
              <a:t> </a:t>
            </a:r>
            <a:endParaRPr lang="th-TH" b="1" kern="0" dirty="0">
              <a:solidFill>
                <a:srgbClr val="003F56"/>
              </a:solidFill>
              <a:latin typeface="TH SarabunPSK" pitchFamily="34" charset="-34"/>
              <a:cs typeface="TH SarabunPSK" pitchFamily="34" charset="-34"/>
            </a:endParaRPr>
          </a:p>
        </p:txBody>
      </p:sp>
      <p:sp>
        <p:nvSpPr>
          <p:cNvPr id="8" name="RbNavigator"/>
          <p:cNvSpPr txBox="1"/>
          <p:nvPr/>
        </p:nvSpPr>
        <p:spPr>
          <a:xfrm>
            <a:off x="94808" y="92614"/>
            <a:ext cx="444744" cy="246888"/>
          </a:xfrm>
          <a:prstGeom prst="rect">
            <a:avLst/>
          </a:prstGeom>
          <a:solidFill>
            <a:srgbClr val="003F56"/>
          </a:solidFill>
          <a:ln w="9525">
            <a:noFill/>
          </a:ln>
        </p:spPr>
        <p:txBody>
          <a:bodyPr vert="horz" wrap="none" lIns="0" tIns="0" rIns="0" bIns="0" rtlCol="0" anchor="ctr">
            <a:noAutofit/>
          </a:bodyPr>
          <a:lstStyle/>
          <a:p>
            <a:pPr marL="0" marR="0" lvl="0" indent="0" algn="ctr" defTabSz="914400" eaLnBrk="1" fontAlgn="auto" latinLnBrk="0" hangingPunct="1">
              <a:lnSpc>
                <a:spcPct val="90000"/>
              </a:lnSpc>
              <a:spcBef>
                <a:spcPts val="400"/>
              </a:spcBef>
              <a:spcAft>
                <a:spcPts val="0"/>
              </a:spcAft>
              <a:buClr>
                <a:srgbClr val="000000"/>
              </a:buClr>
              <a:buSzPct val="100000"/>
              <a:buFontTx/>
              <a:buNone/>
              <a:tabLst/>
              <a:defRPr/>
            </a:pPr>
            <a:r>
              <a:rPr kumimoji="1" lang="en-US" b="1" i="0" u="none" strike="noStrike" kern="0" cap="none" spc="0" normalizeH="0" baseline="0" noProof="0" dirty="0" smtClean="0">
                <a:ln>
                  <a:noFill/>
                </a:ln>
                <a:solidFill>
                  <a:srgbClr val="FFFFFF"/>
                </a:solidFill>
                <a:effectLst/>
                <a:uLnTx/>
                <a:uFillTx/>
                <a:latin typeface="TH SarabunPSK" pitchFamily="34" charset="-34"/>
                <a:cs typeface="TH SarabunPSK" pitchFamily="34" charset="-34"/>
              </a:rPr>
              <a:t>4</a:t>
            </a:r>
          </a:p>
        </p:txBody>
      </p:sp>
    </p:spTree>
    <p:extLst>
      <p:ext uri="{BB962C8B-B14F-4D97-AF65-F5344CB8AC3E}">
        <p14:creationId xmlns:p14="http://schemas.microsoft.com/office/powerpoint/2010/main" xmlns="" val="4219885570"/>
      </p:ext>
    </p:extLst>
  </p:cSld>
  <p:clrMapOvr>
    <a:masterClrMapping/>
  </p:clrMapOvr>
  <p:transition>
    <p:fade thruBlk="1"/>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3" name="Picture 2"/>
          <p:cNvPicPr>
            <a:picLocks noChangeAspect="1" noChangeArrowheads="1"/>
          </p:cNvPicPr>
          <p:nvPr/>
        </p:nvPicPr>
        <p:blipFill>
          <a:blip r:embed="rId3" cstate="print">
            <a:extLst>
              <a:ext uri="{28A0092B-C50C-407E-A947-70E740481C1C}">
                <a14:useLocalDpi xmlns:a14="http://schemas.microsoft.com/office/drawing/2010/main" xmlns="" val="0"/>
              </a:ext>
            </a:extLst>
          </a:blip>
          <a:srcRect/>
          <a:stretch>
            <a:fillRect/>
          </a:stretch>
        </p:blipFill>
        <p:spPr bwMode="auto">
          <a:xfrm>
            <a:off x="7850380" y="372547"/>
            <a:ext cx="898084" cy="827603"/>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cxnSp>
        <p:nvCxnSpPr>
          <p:cNvPr id="39" name="Straight Connector 38"/>
          <p:cNvCxnSpPr>
            <a:cxnSpLocks/>
          </p:cNvCxnSpPr>
          <p:nvPr/>
        </p:nvCxnSpPr>
        <p:spPr>
          <a:xfrm flipH="1" flipV="1">
            <a:off x="1737700" y="2286324"/>
            <a:ext cx="4624" cy="2754306"/>
          </a:xfrm>
          <a:prstGeom prst="line">
            <a:avLst/>
          </a:prstGeom>
          <a:noFill/>
          <a:ln w="9525" cap="flat" cmpd="sng" algn="ctr">
            <a:solidFill>
              <a:srgbClr val="FFFFFF">
                <a:lumMod val="65000"/>
              </a:srgbClr>
            </a:solidFill>
            <a:prstDash val="solid"/>
          </a:ln>
          <a:effectLst/>
        </p:spPr>
      </p:cxnSp>
      <p:sp>
        <p:nvSpPr>
          <p:cNvPr id="36" name="Rounded Rectangle 35"/>
          <p:cNvSpPr/>
          <p:nvPr/>
        </p:nvSpPr>
        <p:spPr>
          <a:xfrm>
            <a:off x="76201" y="2354904"/>
            <a:ext cx="1584176" cy="583200"/>
          </a:xfrm>
          <a:prstGeom prst="round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261938" indent="-261938">
              <a:lnSpc>
                <a:spcPts val="1500"/>
              </a:lnSpc>
              <a:defRPr/>
            </a:pPr>
            <a:r>
              <a:rPr lang="th-TH" sz="1600" dirty="0" smtClean="0">
                <a:solidFill>
                  <a:prstClr val="white"/>
                </a:solidFill>
                <a:latin typeface="TH SarabunPSK" pitchFamily="34" charset="-34"/>
                <a:cs typeface="TH SarabunPSK" pitchFamily="34" charset="-34"/>
              </a:rPr>
              <a:t>1.1.	การปรับปรุงทางรถไฟที่มีอยู่</a:t>
            </a:r>
            <a:endParaRPr lang="th-TH" sz="1600" spc="-50" dirty="0">
              <a:solidFill>
                <a:prstClr val="white"/>
              </a:solidFill>
              <a:latin typeface="TH SarabunPSK" pitchFamily="34" charset="-34"/>
              <a:cs typeface="TH SarabunPSK" pitchFamily="34" charset="-34"/>
            </a:endParaRPr>
          </a:p>
        </p:txBody>
      </p:sp>
      <p:sp>
        <p:nvSpPr>
          <p:cNvPr id="37" name="Rounded Rectangle 36"/>
          <p:cNvSpPr/>
          <p:nvPr/>
        </p:nvSpPr>
        <p:spPr>
          <a:xfrm>
            <a:off x="76201" y="2982408"/>
            <a:ext cx="1550707" cy="583200"/>
          </a:xfrm>
          <a:prstGeom prst="round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261938" indent="-261938">
              <a:lnSpc>
                <a:spcPts val="1500"/>
              </a:lnSpc>
              <a:defRPr/>
            </a:pPr>
            <a:r>
              <a:rPr lang="th-TH" sz="1600" dirty="0" smtClean="0">
                <a:solidFill>
                  <a:prstClr val="white"/>
                </a:solidFill>
                <a:latin typeface="TH SarabunPSK" pitchFamily="34" charset="-34"/>
                <a:cs typeface="TH SarabunPSK" pitchFamily="34" charset="-34"/>
              </a:rPr>
              <a:t>1.2 	การก่อสร้างรถไฟทางคู่ทั่วประเทศ</a:t>
            </a:r>
            <a:endParaRPr lang="th-TH" sz="1600" dirty="0">
              <a:solidFill>
                <a:prstClr val="white"/>
              </a:solidFill>
              <a:latin typeface="TH SarabunPSK" pitchFamily="34" charset="-34"/>
              <a:cs typeface="TH SarabunPSK" pitchFamily="34" charset="-34"/>
            </a:endParaRPr>
          </a:p>
        </p:txBody>
      </p:sp>
      <p:sp>
        <p:nvSpPr>
          <p:cNvPr id="40" name="Rounded Rectangle 39"/>
          <p:cNvSpPr/>
          <p:nvPr/>
        </p:nvSpPr>
        <p:spPr>
          <a:xfrm>
            <a:off x="1961727" y="2380053"/>
            <a:ext cx="1600200" cy="534598"/>
          </a:xfrm>
          <a:prstGeom prst="round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265113" indent="-265113">
              <a:lnSpc>
                <a:spcPts val="1500"/>
              </a:lnSpc>
              <a:defRPr/>
            </a:pPr>
            <a:r>
              <a:rPr lang="th-TH" sz="1600" spc="-50" dirty="0" smtClean="0">
                <a:solidFill>
                  <a:prstClr val="white"/>
                </a:solidFill>
                <a:latin typeface="TH SarabunPSK" pitchFamily="34" charset="-34"/>
                <a:cs typeface="TH SarabunPSK" pitchFamily="34" charset="-34"/>
              </a:rPr>
              <a:t>2.1	การก่อสร้างรถไฟฟ้า</a:t>
            </a:r>
            <a:br>
              <a:rPr lang="th-TH" sz="1600" spc="-50" dirty="0" smtClean="0">
                <a:solidFill>
                  <a:prstClr val="white"/>
                </a:solidFill>
                <a:latin typeface="TH SarabunPSK" pitchFamily="34" charset="-34"/>
                <a:cs typeface="TH SarabunPSK" pitchFamily="34" charset="-34"/>
              </a:rPr>
            </a:br>
            <a:r>
              <a:rPr lang="th-TH" sz="1600" spc="-50" dirty="0" smtClean="0">
                <a:solidFill>
                  <a:prstClr val="white"/>
                </a:solidFill>
                <a:latin typeface="TH SarabunPSK" pitchFamily="34" charset="-34"/>
                <a:cs typeface="TH SarabunPSK" pitchFamily="34" charset="-34"/>
              </a:rPr>
              <a:t>10 สายทาง</a:t>
            </a:r>
            <a:endParaRPr lang="th-TH" sz="1600" spc="-50" dirty="0">
              <a:solidFill>
                <a:prstClr val="white"/>
              </a:solidFill>
              <a:latin typeface="TH SarabunPSK" pitchFamily="34" charset="-34"/>
              <a:cs typeface="TH SarabunPSK" pitchFamily="34" charset="-34"/>
            </a:endParaRPr>
          </a:p>
        </p:txBody>
      </p:sp>
      <p:sp>
        <p:nvSpPr>
          <p:cNvPr id="42" name="Rounded Rectangle 41"/>
          <p:cNvSpPr/>
          <p:nvPr/>
        </p:nvSpPr>
        <p:spPr>
          <a:xfrm>
            <a:off x="1964904" y="3672292"/>
            <a:ext cx="1597025" cy="712800"/>
          </a:xfrm>
          <a:prstGeom prst="round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265113" indent="-265113">
              <a:lnSpc>
                <a:spcPts val="1500"/>
              </a:lnSpc>
              <a:tabLst>
                <a:tab pos="265113" algn="l"/>
              </a:tabLst>
              <a:defRPr/>
            </a:pPr>
            <a:r>
              <a:rPr lang="th-TH" sz="1600" spc="-50" dirty="0" smtClean="0">
                <a:solidFill>
                  <a:prstClr val="white"/>
                </a:solidFill>
                <a:latin typeface="TH SarabunPSK" pitchFamily="34" charset="-34"/>
                <a:cs typeface="TH SarabunPSK" pitchFamily="34" charset="-34"/>
              </a:rPr>
              <a:t>2.3 </a:t>
            </a:r>
            <a:r>
              <a:rPr lang="th-TH" sz="1600" spc="-50" dirty="0">
                <a:solidFill>
                  <a:prstClr val="white"/>
                </a:solidFill>
                <a:latin typeface="TH SarabunPSK" pitchFamily="34" charset="-34"/>
                <a:cs typeface="TH SarabunPSK" pitchFamily="34" charset="-34"/>
              </a:rPr>
              <a:t>	</a:t>
            </a:r>
            <a:r>
              <a:rPr lang="th-TH" sz="1600" spc="-50" dirty="0" smtClean="0">
                <a:solidFill>
                  <a:prstClr val="white"/>
                </a:solidFill>
                <a:latin typeface="TH SarabunPSK" pitchFamily="34" charset="-34"/>
                <a:cs typeface="TH SarabunPSK" pitchFamily="34" charset="-34"/>
              </a:rPr>
              <a:t>การจัดหารถโดยสาร </a:t>
            </a:r>
            <a:r>
              <a:rPr lang="en-US" sz="1600" spc="-50" dirty="0" smtClean="0">
                <a:solidFill>
                  <a:prstClr val="white"/>
                </a:solidFill>
                <a:latin typeface="TH SarabunPSK" pitchFamily="34" charset="-34"/>
                <a:cs typeface="TH SarabunPSK" pitchFamily="34" charset="-34"/>
              </a:rPr>
              <a:t>NGV 3</a:t>
            </a:r>
            <a:r>
              <a:rPr lang="th-TH" sz="1600" spc="-50" dirty="0">
                <a:solidFill>
                  <a:prstClr val="white"/>
                </a:solidFill>
                <a:latin typeface="TH SarabunPSK" pitchFamily="34" charset="-34"/>
                <a:cs typeface="TH SarabunPSK" pitchFamily="34" charset="-34"/>
              </a:rPr>
              <a:t>,</a:t>
            </a:r>
            <a:r>
              <a:rPr lang="en-US" sz="1600" spc="-50" dirty="0" smtClean="0">
                <a:solidFill>
                  <a:prstClr val="white"/>
                </a:solidFill>
                <a:latin typeface="TH SarabunPSK" pitchFamily="34" charset="-34"/>
                <a:cs typeface="TH SarabunPSK" pitchFamily="34" charset="-34"/>
              </a:rPr>
              <a:t>183 </a:t>
            </a:r>
            <a:r>
              <a:rPr lang="th-TH" sz="1600" spc="-50" dirty="0" smtClean="0">
                <a:solidFill>
                  <a:prstClr val="white"/>
                </a:solidFill>
                <a:latin typeface="TH SarabunPSK" pitchFamily="34" charset="-34"/>
                <a:cs typeface="TH SarabunPSK" pitchFamily="34" charset="-34"/>
              </a:rPr>
              <a:t>คัน</a:t>
            </a:r>
            <a:endParaRPr lang="th-TH" sz="1600" spc="-50" dirty="0">
              <a:solidFill>
                <a:prstClr val="white"/>
              </a:solidFill>
              <a:latin typeface="TH SarabunPSK" pitchFamily="34" charset="-34"/>
              <a:cs typeface="TH SarabunPSK" pitchFamily="34" charset="-34"/>
            </a:endParaRPr>
          </a:p>
        </p:txBody>
      </p:sp>
      <p:sp>
        <p:nvSpPr>
          <p:cNvPr id="43" name="Rounded Rectangle 42"/>
          <p:cNvSpPr/>
          <p:nvPr/>
        </p:nvSpPr>
        <p:spPr>
          <a:xfrm>
            <a:off x="1961727" y="2983230"/>
            <a:ext cx="1600200" cy="615600"/>
          </a:xfrm>
          <a:prstGeom prst="round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265113" indent="-265113">
              <a:lnSpc>
                <a:spcPts val="1500"/>
              </a:lnSpc>
              <a:defRPr/>
            </a:pPr>
            <a:r>
              <a:rPr lang="th-TH" sz="1600" dirty="0" smtClean="0">
                <a:solidFill>
                  <a:prstClr val="white"/>
                </a:solidFill>
                <a:latin typeface="TH SarabunPSK" pitchFamily="34" charset="-34"/>
                <a:cs typeface="TH SarabunPSK" pitchFamily="34" charset="-34"/>
              </a:rPr>
              <a:t>2.2 	</a:t>
            </a:r>
            <a:r>
              <a:rPr lang="th-TH" sz="1600" spc="-30" dirty="0" smtClean="0">
                <a:solidFill>
                  <a:prstClr val="white"/>
                </a:solidFill>
                <a:latin typeface="TH SarabunPSK" pitchFamily="34" charset="-34"/>
                <a:cs typeface="TH SarabunPSK" pitchFamily="34" charset="-34"/>
              </a:rPr>
              <a:t>การก่อสร้างถนนและสะพานในเขตเมือง</a:t>
            </a:r>
            <a:endParaRPr lang="th-TH" sz="1600" spc="-30" dirty="0">
              <a:solidFill>
                <a:prstClr val="white"/>
              </a:solidFill>
              <a:latin typeface="TH SarabunPSK" pitchFamily="34" charset="-34"/>
              <a:cs typeface="TH SarabunPSK" pitchFamily="34" charset="-34"/>
            </a:endParaRPr>
          </a:p>
        </p:txBody>
      </p:sp>
      <p:sp>
        <p:nvSpPr>
          <p:cNvPr id="44" name="Rounded Rectangle 43"/>
          <p:cNvSpPr/>
          <p:nvPr/>
        </p:nvSpPr>
        <p:spPr>
          <a:xfrm>
            <a:off x="3759966" y="2366012"/>
            <a:ext cx="1831234" cy="594067"/>
          </a:xfrm>
          <a:prstGeom prst="roundRect">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273050" indent="-273050">
              <a:lnSpc>
                <a:spcPts val="1500"/>
              </a:lnSpc>
              <a:defRPr/>
            </a:pPr>
            <a:r>
              <a:rPr lang="en-US" sz="1500" dirty="0" smtClean="0">
                <a:solidFill>
                  <a:prstClr val="white"/>
                </a:solidFill>
                <a:latin typeface="TH SarabunPSK" pitchFamily="34" charset="-34"/>
                <a:cs typeface="TH SarabunPSK" pitchFamily="34" charset="-34"/>
              </a:rPr>
              <a:t>3.1</a:t>
            </a:r>
            <a:r>
              <a:rPr lang="th-TH" sz="1500" dirty="0" smtClean="0">
                <a:solidFill>
                  <a:prstClr val="white"/>
                </a:solidFill>
                <a:latin typeface="TH SarabunPSK" pitchFamily="34" charset="-34"/>
                <a:cs typeface="TH SarabunPSK" pitchFamily="34" charset="-34"/>
              </a:rPr>
              <a:t>	ปรับปรุง</a:t>
            </a:r>
            <a:r>
              <a:rPr lang="th-TH" sz="1500" dirty="0">
                <a:solidFill>
                  <a:prstClr val="white"/>
                </a:solidFill>
                <a:latin typeface="TH SarabunPSK" pitchFamily="34" charset="-34"/>
                <a:cs typeface="TH SarabunPSK" pitchFamily="34" charset="-34"/>
              </a:rPr>
              <a:t>ถนนเชื่อมโยง</a:t>
            </a:r>
            <a:r>
              <a:rPr lang="th-TH" sz="1500" dirty="0" smtClean="0">
                <a:solidFill>
                  <a:prstClr val="white"/>
                </a:solidFill>
                <a:latin typeface="TH SarabunPSK" pitchFamily="34" charset="-34"/>
                <a:cs typeface="TH SarabunPSK" pitchFamily="34" charset="-34"/>
              </a:rPr>
              <a:t>แหล่ง</a:t>
            </a:r>
            <a:r>
              <a:rPr lang="th-TH" sz="1500" dirty="0">
                <a:solidFill>
                  <a:prstClr val="white"/>
                </a:solidFill>
                <a:latin typeface="TH SarabunPSK" pitchFamily="34" charset="-34"/>
                <a:cs typeface="TH SarabunPSK" pitchFamily="34" charset="-34"/>
              </a:rPr>
              <a:t>เกษตรและ</a:t>
            </a:r>
            <a:r>
              <a:rPr lang="th-TH" sz="1500" dirty="0" smtClean="0">
                <a:solidFill>
                  <a:prstClr val="white"/>
                </a:solidFill>
                <a:latin typeface="TH SarabunPSK" pitchFamily="34" charset="-34"/>
                <a:cs typeface="TH SarabunPSK" pitchFamily="34" charset="-34"/>
              </a:rPr>
              <a:t>แหล่งท่องเที่ยว</a:t>
            </a:r>
            <a:endParaRPr lang="th-TH" sz="1500" dirty="0">
              <a:solidFill>
                <a:prstClr val="white"/>
              </a:solidFill>
              <a:latin typeface="TH SarabunPSK" pitchFamily="34" charset="-34"/>
              <a:cs typeface="TH SarabunPSK" pitchFamily="34" charset="-34"/>
            </a:endParaRPr>
          </a:p>
        </p:txBody>
      </p:sp>
      <p:sp>
        <p:nvSpPr>
          <p:cNvPr id="45" name="Rounded Rectangle 44"/>
          <p:cNvSpPr/>
          <p:nvPr/>
        </p:nvSpPr>
        <p:spPr>
          <a:xfrm>
            <a:off x="3759966" y="2983230"/>
            <a:ext cx="1831234" cy="756084"/>
          </a:xfrm>
          <a:prstGeom prst="roundRect">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273050" indent="-273050">
              <a:lnSpc>
                <a:spcPts val="1500"/>
              </a:lnSpc>
              <a:defRPr/>
            </a:pPr>
            <a:r>
              <a:rPr lang="en-US" sz="1600" dirty="0" smtClean="0">
                <a:solidFill>
                  <a:prstClr val="white"/>
                </a:solidFill>
                <a:latin typeface="TH SarabunPSK" pitchFamily="34" charset="-34"/>
                <a:cs typeface="TH SarabunPSK" pitchFamily="34" charset="-34"/>
              </a:rPr>
              <a:t>3.2</a:t>
            </a:r>
            <a:r>
              <a:rPr lang="th-TH" sz="1600" dirty="0" smtClean="0">
                <a:solidFill>
                  <a:prstClr val="white"/>
                </a:solidFill>
                <a:latin typeface="TH SarabunPSK" pitchFamily="34" charset="-34"/>
                <a:cs typeface="TH SarabunPSK" pitchFamily="34" charset="-34"/>
              </a:rPr>
              <a:t>	เชื่อมโยงระหว่าง</a:t>
            </a:r>
            <a:r>
              <a:rPr lang="th-TH" sz="1600" dirty="0">
                <a:solidFill>
                  <a:prstClr val="white"/>
                </a:solidFill>
                <a:latin typeface="TH SarabunPSK" pitchFamily="34" charset="-34"/>
                <a:cs typeface="TH SarabunPSK" pitchFamily="34" charset="-34"/>
              </a:rPr>
              <a:t>เมืองหลักและเชื่อมเมืองหลักกับ</a:t>
            </a:r>
            <a:r>
              <a:rPr lang="th-TH" sz="1600" dirty="0" smtClean="0">
                <a:solidFill>
                  <a:prstClr val="white"/>
                </a:solidFill>
                <a:latin typeface="TH SarabunPSK" pitchFamily="34" charset="-34"/>
                <a:cs typeface="TH SarabunPSK" pitchFamily="34" charset="-34"/>
              </a:rPr>
              <a:t>ด่านพรมแดน</a:t>
            </a:r>
            <a:endParaRPr lang="th-TH" sz="1600" dirty="0">
              <a:solidFill>
                <a:prstClr val="white"/>
              </a:solidFill>
              <a:latin typeface="TH SarabunPSK" pitchFamily="34" charset="-34"/>
              <a:cs typeface="TH SarabunPSK" pitchFamily="34" charset="-34"/>
            </a:endParaRPr>
          </a:p>
        </p:txBody>
      </p:sp>
      <p:sp>
        <p:nvSpPr>
          <p:cNvPr id="50" name="Rounded Rectangle 49"/>
          <p:cNvSpPr/>
          <p:nvPr/>
        </p:nvSpPr>
        <p:spPr>
          <a:xfrm>
            <a:off x="3759966" y="3766049"/>
            <a:ext cx="1831234" cy="520203"/>
          </a:xfrm>
          <a:prstGeom prst="roundRect">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231775" indent="-231775">
              <a:lnSpc>
                <a:spcPts val="1500"/>
              </a:lnSpc>
              <a:defRPr/>
            </a:pPr>
            <a:r>
              <a:rPr lang="en-US" sz="1600" dirty="0" smtClean="0">
                <a:solidFill>
                  <a:prstClr val="white"/>
                </a:solidFill>
                <a:latin typeface="TH SarabunPSK" pitchFamily="34" charset="-34"/>
                <a:cs typeface="TH SarabunPSK" pitchFamily="34" charset="-34"/>
              </a:rPr>
              <a:t>3.3</a:t>
            </a:r>
            <a:r>
              <a:rPr lang="th-TH" sz="1600" dirty="0" smtClean="0">
                <a:solidFill>
                  <a:prstClr val="white"/>
                </a:solidFill>
                <a:latin typeface="TH SarabunPSK" pitchFamily="34" charset="-34"/>
                <a:cs typeface="TH SarabunPSK" pitchFamily="34" charset="-34"/>
              </a:rPr>
              <a:t> 	ก่อสร้าง</a:t>
            </a:r>
            <a:r>
              <a:rPr lang="th-TH" sz="1600" dirty="0">
                <a:solidFill>
                  <a:prstClr val="white"/>
                </a:solidFill>
                <a:latin typeface="TH SarabunPSK" pitchFamily="34" charset="-34"/>
                <a:cs typeface="TH SarabunPSK" pitchFamily="34" charset="-34"/>
              </a:rPr>
              <a:t>ทางหลวง</a:t>
            </a:r>
            <a:r>
              <a:rPr lang="th-TH" sz="1600" dirty="0" smtClean="0">
                <a:solidFill>
                  <a:prstClr val="white"/>
                </a:solidFill>
                <a:latin typeface="TH SarabunPSK" pitchFamily="34" charset="-34"/>
                <a:cs typeface="TH SarabunPSK" pitchFamily="34" charset="-34"/>
              </a:rPr>
              <a:t>พิเศษ ระหว่างเมือง</a:t>
            </a:r>
            <a:endParaRPr lang="th-TH" sz="1600" dirty="0">
              <a:solidFill>
                <a:prstClr val="white"/>
              </a:solidFill>
              <a:latin typeface="TH SarabunPSK" pitchFamily="34" charset="-34"/>
              <a:cs typeface="TH SarabunPSK" pitchFamily="34" charset="-34"/>
            </a:endParaRPr>
          </a:p>
        </p:txBody>
      </p:sp>
      <p:sp>
        <p:nvSpPr>
          <p:cNvPr id="51" name="Rounded Rectangle 50"/>
          <p:cNvSpPr/>
          <p:nvPr/>
        </p:nvSpPr>
        <p:spPr>
          <a:xfrm>
            <a:off x="5747114" y="2355726"/>
            <a:ext cx="1568086" cy="540060"/>
          </a:xfrm>
          <a:prstGeom prst="roundRect">
            <a:avLst>
              <a:gd name="adj" fmla="val 18750"/>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265113" indent="-265113">
              <a:lnSpc>
                <a:spcPts val="1500"/>
              </a:lnSpc>
              <a:tabLst>
                <a:tab pos="265113" algn="l"/>
              </a:tabLst>
              <a:defRPr/>
            </a:pPr>
            <a:r>
              <a:rPr lang="en-US" sz="1600" dirty="0" smtClean="0">
                <a:solidFill>
                  <a:prstClr val="white"/>
                </a:solidFill>
                <a:latin typeface="TH SarabunPSK" pitchFamily="34" charset="-34"/>
                <a:cs typeface="TH SarabunPSK" pitchFamily="34" charset="-34"/>
              </a:rPr>
              <a:t>4.1</a:t>
            </a:r>
            <a:r>
              <a:rPr lang="th-TH" sz="1600" dirty="0" smtClean="0">
                <a:solidFill>
                  <a:prstClr val="white"/>
                </a:solidFill>
                <a:latin typeface="TH SarabunPSK" pitchFamily="34" charset="-34"/>
                <a:cs typeface="TH SarabunPSK" pitchFamily="34" charset="-34"/>
              </a:rPr>
              <a:t> </a:t>
            </a:r>
            <a:r>
              <a:rPr lang="th-TH" sz="1600" dirty="0">
                <a:solidFill>
                  <a:prstClr val="white"/>
                </a:solidFill>
                <a:latin typeface="TH SarabunPSK" pitchFamily="34" charset="-34"/>
                <a:cs typeface="TH SarabunPSK" pitchFamily="34" charset="-34"/>
              </a:rPr>
              <a:t>	</a:t>
            </a:r>
            <a:r>
              <a:rPr lang="th-TH" sz="1600" dirty="0" smtClean="0">
                <a:solidFill>
                  <a:prstClr val="white"/>
                </a:solidFill>
                <a:latin typeface="TH SarabunPSK" pitchFamily="34" charset="-34"/>
                <a:cs typeface="TH SarabunPSK" pitchFamily="34" charset="-34"/>
              </a:rPr>
              <a:t>พัฒนาท่าเรือลําน้ำ</a:t>
            </a:r>
            <a:endParaRPr lang="th-TH" sz="1600" dirty="0">
              <a:solidFill>
                <a:prstClr val="white"/>
              </a:solidFill>
              <a:latin typeface="TH SarabunPSK" pitchFamily="34" charset="-34"/>
              <a:cs typeface="TH SarabunPSK" pitchFamily="34" charset="-34"/>
            </a:endParaRPr>
          </a:p>
        </p:txBody>
      </p:sp>
      <p:sp>
        <p:nvSpPr>
          <p:cNvPr id="52" name="Rounded Rectangle 51"/>
          <p:cNvSpPr/>
          <p:nvPr/>
        </p:nvSpPr>
        <p:spPr>
          <a:xfrm>
            <a:off x="5732110" y="2949793"/>
            <a:ext cx="1583101" cy="603590"/>
          </a:xfrm>
          <a:prstGeom prst="roundRect">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265113" indent="-265113">
              <a:lnSpc>
                <a:spcPts val="1500"/>
              </a:lnSpc>
              <a:defRPr/>
            </a:pPr>
            <a:r>
              <a:rPr lang="en-US" sz="1600" dirty="0" smtClean="0">
                <a:solidFill>
                  <a:prstClr val="white"/>
                </a:solidFill>
                <a:latin typeface="TH SarabunPSK" pitchFamily="34" charset="-34"/>
                <a:cs typeface="TH SarabunPSK" pitchFamily="34" charset="-34"/>
              </a:rPr>
              <a:t>4.2	</a:t>
            </a:r>
            <a:r>
              <a:rPr lang="th-TH" sz="1600" dirty="0" smtClean="0">
                <a:solidFill>
                  <a:prstClr val="white"/>
                </a:solidFill>
                <a:latin typeface="TH SarabunPSK" pitchFamily="34" charset="-34"/>
                <a:cs typeface="TH SarabunPSK" pitchFamily="34" charset="-34"/>
              </a:rPr>
              <a:t>พัฒนาท่าเรือชายฝั่ง</a:t>
            </a:r>
            <a:endParaRPr lang="th-TH" sz="1600" dirty="0">
              <a:solidFill>
                <a:prstClr val="white"/>
              </a:solidFill>
              <a:latin typeface="TH SarabunPSK" pitchFamily="34" charset="-34"/>
              <a:cs typeface="TH SarabunPSK" pitchFamily="34" charset="-34"/>
            </a:endParaRPr>
          </a:p>
        </p:txBody>
      </p:sp>
      <p:sp>
        <p:nvSpPr>
          <p:cNvPr id="53" name="Rounded Rectangle 52"/>
          <p:cNvSpPr/>
          <p:nvPr/>
        </p:nvSpPr>
        <p:spPr>
          <a:xfrm>
            <a:off x="7483624" y="2355726"/>
            <a:ext cx="1584176" cy="540060"/>
          </a:xfrm>
          <a:prstGeom prst="roundRect">
            <a:avLst>
              <a:gd name="adj" fmla="val 9429"/>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265113" indent="-265113">
              <a:lnSpc>
                <a:spcPts val="1500"/>
              </a:lnSpc>
              <a:defRPr/>
            </a:pPr>
            <a:r>
              <a:rPr lang="en-US" sz="1600" dirty="0" smtClean="0">
                <a:solidFill>
                  <a:prstClr val="white"/>
                </a:solidFill>
                <a:latin typeface="TH SarabunPSK" pitchFamily="34" charset="-34"/>
                <a:cs typeface="TH SarabunPSK" pitchFamily="34" charset="-34"/>
              </a:rPr>
              <a:t>5.1</a:t>
            </a:r>
            <a:r>
              <a:rPr lang="th-TH" sz="1600" dirty="0" smtClean="0">
                <a:solidFill>
                  <a:prstClr val="white"/>
                </a:solidFill>
                <a:latin typeface="TH SarabunPSK" pitchFamily="34" charset="-34"/>
                <a:cs typeface="TH SarabunPSK" pitchFamily="34" charset="-34"/>
              </a:rPr>
              <a:t> 	เพิ่มศักยภาพการให้บริการสนามบิน</a:t>
            </a:r>
            <a:endParaRPr lang="th-TH" sz="1600" dirty="0">
              <a:solidFill>
                <a:prstClr val="white"/>
              </a:solidFill>
              <a:latin typeface="TH SarabunPSK" pitchFamily="34" charset="-34"/>
              <a:cs typeface="TH SarabunPSK" pitchFamily="34" charset="-34"/>
            </a:endParaRPr>
          </a:p>
        </p:txBody>
      </p:sp>
      <p:sp>
        <p:nvSpPr>
          <p:cNvPr id="54" name="Rounded Rectangle 53"/>
          <p:cNvSpPr/>
          <p:nvPr/>
        </p:nvSpPr>
        <p:spPr>
          <a:xfrm>
            <a:off x="7483624" y="2940939"/>
            <a:ext cx="1584176" cy="639880"/>
          </a:xfrm>
          <a:prstGeom prst="round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265113" indent="-265113">
              <a:lnSpc>
                <a:spcPts val="1500"/>
              </a:lnSpc>
              <a:defRPr/>
            </a:pPr>
            <a:r>
              <a:rPr lang="en-US" sz="1600" dirty="0" smtClean="0">
                <a:solidFill>
                  <a:prstClr val="white"/>
                </a:solidFill>
                <a:latin typeface="TH SarabunPSK" pitchFamily="34" charset="-34"/>
                <a:cs typeface="TH SarabunPSK" pitchFamily="34" charset="-34"/>
              </a:rPr>
              <a:t>5.2	</a:t>
            </a:r>
            <a:r>
              <a:rPr lang="th-TH" sz="1600" dirty="0" smtClean="0">
                <a:solidFill>
                  <a:prstClr val="white"/>
                </a:solidFill>
                <a:latin typeface="TH SarabunPSK" pitchFamily="34" charset="-34"/>
                <a:cs typeface="TH SarabunPSK" pitchFamily="34" charset="-34"/>
              </a:rPr>
              <a:t>พัฒนาศักยภาพระบบควบคุม</a:t>
            </a:r>
            <a:r>
              <a:rPr lang="en-US" sz="1600" dirty="0" smtClean="0">
                <a:solidFill>
                  <a:prstClr val="white"/>
                </a:solidFill>
                <a:latin typeface="TH SarabunPSK" pitchFamily="34" charset="-34"/>
                <a:cs typeface="TH SarabunPSK" pitchFamily="34" charset="-34"/>
              </a:rPr>
              <a:t> Air Traffic</a:t>
            </a:r>
            <a:endParaRPr lang="th-TH" sz="1600" dirty="0">
              <a:solidFill>
                <a:prstClr val="white"/>
              </a:solidFill>
              <a:latin typeface="TH SarabunPSK" pitchFamily="34" charset="-34"/>
              <a:cs typeface="TH SarabunPSK" pitchFamily="34" charset="-34"/>
            </a:endParaRPr>
          </a:p>
        </p:txBody>
      </p:sp>
      <p:sp>
        <p:nvSpPr>
          <p:cNvPr id="55" name="Rounded Rectangle 54"/>
          <p:cNvSpPr/>
          <p:nvPr/>
        </p:nvSpPr>
        <p:spPr>
          <a:xfrm>
            <a:off x="7483624" y="3605873"/>
            <a:ext cx="1584176" cy="648000"/>
          </a:xfrm>
          <a:prstGeom prst="round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265113" indent="-265113">
              <a:lnSpc>
                <a:spcPts val="1500"/>
              </a:lnSpc>
              <a:defRPr/>
            </a:pPr>
            <a:r>
              <a:rPr lang="en-US" sz="1600" spc="-60" dirty="0" smtClean="0">
                <a:solidFill>
                  <a:prstClr val="white"/>
                </a:solidFill>
                <a:latin typeface="TH SarabunPSK" pitchFamily="34" charset="-34"/>
                <a:cs typeface="TH SarabunPSK" pitchFamily="34" charset="-34"/>
              </a:rPr>
              <a:t>5.3</a:t>
            </a:r>
            <a:r>
              <a:rPr lang="th-TH" sz="1600" spc="-60" dirty="0" smtClean="0">
                <a:solidFill>
                  <a:prstClr val="white"/>
                </a:solidFill>
                <a:latin typeface="TH SarabunPSK" pitchFamily="34" charset="-34"/>
                <a:cs typeface="TH SarabunPSK" pitchFamily="34" charset="-34"/>
              </a:rPr>
              <a:t>	ใช้ประโยชน์ท่า</a:t>
            </a:r>
            <a:r>
              <a:rPr lang="th-TH" sz="1600" spc="-60" dirty="0">
                <a:solidFill>
                  <a:prstClr val="white"/>
                </a:solidFill>
                <a:latin typeface="TH SarabunPSK" pitchFamily="34" charset="-34"/>
                <a:cs typeface="TH SarabunPSK" pitchFamily="34" charset="-34"/>
              </a:rPr>
              <a:t>อากาศยานใน</a:t>
            </a:r>
            <a:r>
              <a:rPr lang="th-TH" sz="1600" spc="-60" dirty="0" smtClean="0">
                <a:solidFill>
                  <a:prstClr val="white"/>
                </a:solidFill>
                <a:latin typeface="TH SarabunPSK" pitchFamily="34" charset="-34"/>
                <a:cs typeface="TH SarabunPSK" pitchFamily="34" charset="-34"/>
              </a:rPr>
              <a:t>ภูมิภาคมาก</a:t>
            </a:r>
            <a:r>
              <a:rPr lang="th-TH" sz="1600" spc="-60" dirty="0">
                <a:solidFill>
                  <a:prstClr val="white"/>
                </a:solidFill>
                <a:latin typeface="TH SarabunPSK" pitchFamily="34" charset="-34"/>
                <a:cs typeface="TH SarabunPSK" pitchFamily="34" charset="-34"/>
              </a:rPr>
              <a:t>ขึ้น</a:t>
            </a:r>
            <a:endParaRPr lang="th-TH" sz="1600" dirty="0">
              <a:solidFill>
                <a:prstClr val="white"/>
              </a:solidFill>
              <a:latin typeface="TH SarabunPSK" pitchFamily="34" charset="-34"/>
              <a:cs typeface="TH SarabunPSK" pitchFamily="34" charset="-34"/>
            </a:endParaRPr>
          </a:p>
        </p:txBody>
      </p:sp>
      <p:sp>
        <p:nvSpPr>
          <p:cNvPr id="56" name="Rounded Rectangle 55"/>
          <p:cNvSpPr/>
          <p:nvPr/>
        </p:nvSpPr>
        <p:spPr>
          <a:xfrm>
            <a:off x="3779912" y="4334212"/>
            <a:ext cx="1811288" cy="569258"/>
          </a:xfrm>
          <a:prstGeom prst="roundRect">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246063" indent="-246063">
              <a:lnSpc>
                <a:spcPts val="1500"/>
              </a:lnSpc>
              <a:defRPr/>
            </a:pPr>
            <a:r>
              <a:rPr lang="en-US" sz="1600" dirty="0" smtClean="0">
                <a:solidFill>
                  <a:prstClr val="white"/>
                </a:solidFill>
                <a:latin typeface="TH SarabunPSK" pitchFamily="34" charset="-34"/>
                <a:cs typeface="TH SarabunPSK" pitchFamily="34" charset="-34"/>
              </a:rPr>
              <a:t>3.4	</a:t>
            </a:r>
            <a:r>
              <a:rPr lang="th-TH" sz="1600" dirty="0" smtClean="0">
                <a:solidFill>
                  <a:prstClr val="white"/>
                </a:solidFill>
                <a:latin typeface="TH SarabunPSK" pitchFamily="34" charset="-34"/>
                <a:cs typeface="TH SarabunPSK" pitchFamily="34" charset="-34"/>
              </a:rPr>
              <a:t>ระบบขนส่งต่อเนื่อง</a:t>
            </a:r>
            <a:r>
              <a:rPr lang="th-TH" sz="1600" dirty="0">
                <a:solidFill>
                  <a:prstClr val="white"/>
                </a:solidFill>
                <a:latin typeface="TH SarabunPSK" pitchFamily="34" charset="-34"/>
                <a:cs typeface="TH SarabunPSK" pitchFamily="34" charset="-34"/>
              </a:rPr>
              <a:t>หลายรูปแบบ</a:t>
            </a:r>
          </a:p>
        </p:txBody>
      </p:sp>
      <p:sp>
        <p:nvSpPr>
          <p:cNvPr id="57" name="Rounded Rectangle 56"/>
          <p:cNvSpPr/>
          <p:nvPr/>
        </p:nvSpPr>
        <p:spPr>
          <a:xfrm>
            <a:off x="7483624" y="4302834"/>
            <a:ext cx="1584176" cy="628326"/>
          </a:xfrm>
          <a:prstGeom prst="round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265113" indent="-265113">
              <a:lnSpc>
                <a:spcPts val="1500"/>
              </a:lnSpc>
              <a:defRPr/>
            </a:pPr>
            <a:r>
              <a:rPr lang="en-US" sz="1600" dirty="0" smtClean="0">
                <a:solidFill>
                  <a:prstClr val="white"/>
                </a:solidFill>
                <a:latin typeface="TH SarabunPSK" pitchFamily="34" charset="-34"/>
                <a:cs typeface="TH SarabunPSK" pitchFamily="34" charset="-34"/>
              </a:rPr>
              <a:t>5.4</a:t>
            </a:r>
            <a:r>
              <a:rPr lang="th-TH" sz="1600" dirty="0" smtClean="0">
                <a:solidFill>
                  <a:prstClr val="white"/>
                </a:solidFill>
                <a:latin typeface="TH SarabunPSK" pitchFamily="34" charset="-34"/>
                <a:cs typeface="TH SarabunPSK" pitchFamily="34" charset="-34"/>
              </a:rPr>
              <a:t> 	</a:t>
            </a:r>
            <a:r>
              <a:rPr lang="th-TH" sz="1500" dirty="0" smtClean="0">
                <a:solidFill>
                  <a:prstClr val="white"/>
                </a:solidFill>
                <a:latin typeface="TH SarabunPSK" pitchFamily="34" charset="-34"/>
                <a:cs typeface="TH SarabunPSK" pitchFamily="34" charset="-34"/>
              </a:rPr>
              <a:t>พัฒนาอุตสาหกรรมการบิน และบุคลากร</a:t>
            </a:r>
            <a:endParaRPr lang="th-TH" sz="1500" dirty="0">
              <a:solidFill>
                <a:prstClr val="white"/>
              </a:solidFill>
              <a:latin typeface="TH SarabunPSK" pitchFamily="34" charset="-34"/>
              <a:cs typeface="TH SarabunPSK" pitchFamily="34" charset="-34"/>
            </a:endParaRPr>
          </a:p>
        </p:txBody>
      </p:sp>
      <p:sp>
        <p:nvSpPr>
          <p:cNvPr id="59" name="Rounded Rectangle 58">
            <a:hlinkClick r:id="" action="ppaction://noaction"/>
          </p:cNvPr>
          <p:cNvSpPr/>
          <p:nvPr/>
        </p:nvSpPr>
        <p:spPr>
          <a:xfrm>
            <a:off x="0" y="1238848"/>
            <a:ext cx="1752600" cy="868323"/>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spAutoFit/>
          </a:bodyPr>
          <a:lstStyle/>
          <a:p>
            <a:pPr algn="ctr">
              <a:lnSpc>
                <a:spcPts val="1800"/>
              </a:lnSpc>
              <a:defRPr/>
            </a:pPr>
            <a:r>
              <a:rPr lang="th-TH" sz="2000" b="1" dirty="0" smtClean="0">
                <a:solidFill>
                  <a:prstClr val="black">
                    <a:lumMod val="65000"/>
                    <a:lumOff val="35000"/>
                  </a:prstClr>
                </a:solidFill>
                <a:latin typeface="TH SarabunPSK" pitchFamily="34" charset="-34"/>
                <a:cs typeface="TH SarabunPSK" pitchFamily="34" charset="-34"/>
              </a:rPr>
              <a:t>แผนงาน 1.</a:t>
            </a:r>
            <a:r>
              <a:rPr lang="th-TH" sz="2000" dirty="0" smtClean="0">
                <a:solidFill>
                  <a:prstClr val="black">
                    <a:lumMod val="65000"/>
                    <a:lumOff val="35000"/>
                  </a:prstClr>
                </a:solidFill>
                <a:latin typeface="TH SarabunPSK" pitchFamily="34" charset="-34"/>
                <a:cs typeface="TH SarabunPSK" pitchFamily="34" charset="-34"/>
              </a:rPr>
              <a:t> </a:t>
            </a:r>
          </a:p>
          <a:p>
            <a:pPr algn="ctr">
              <a:lnSpc>
                <a:spcPts val="1800"/>
              </a:lnSpc>
              <a:defRPr/>
            </a:pPr>
            <a:r>
              <a:rPr lang="th-TH" sz="1700" dirty="0" smtClean="0">
                <a:solidFill>
                  <a:prstClr val="black">
                    <a:lumMod val="65000"/>
                    <a:lumOff val="35000"/>
                  </a:prstClr>
                </a:solidFill>
                <a:latin typeface="TH SarabunPSK" pitchFamily="34" charset="-34"/>
                <a:cs typeface="TH SarabunPSK" pitchFamily="34" charset="-34"/>
              </a:rPr>
              <a:t>การพัฒนาโครงข่าย</a:t>
            </a:r>
            <a:br>
              <a:rPr lang="th-TH" sz="1700" dirty="0" smtClean="0">
                <a:solidFill>
                  <a:prstClr val="black">
                    <a:lumMod val="65000"/>
                    <a:lumOff val="35000"/>
                  </a:prstClr>
                </a:solidFill>
                <a:latin typeface="TH SarabunPSK" pitchFamily="34" charset="-34"/>
                <a:cs typeface="TH SarabunPSK" pitchFamily="34" charset="-34"/>
              </a:rPr>
            </a:br>
            <a:r>
              <a:rPr lang="th-TH" sz="1700" u="sng" dirty="0" smtClean="0">
                <a:solidFill>
                  <a:prstClr val="black">
                    <a:lumMod val="65000"/>
                    <a:lumOff val="35000"/>
                  </a:prstClr>
                </a:solidFill>
                <a:latin typeface="TH SarabunPSK" pitchFamily="34" charset="-34"/>
                <a:cs typeface="TH SarabunPSK" pitchFamily="34" charset="-34"/>
              </a:rPr>
              <a:t>รถไฟระหว่างเมือง</a:t>
            </a:r>
            <a:endParaRPr lang="th-TH" sz="1700" u="sng" dirty="0">
              <a:solidFill>
                <a:prstClr val="black">
                  <a:lumMod val="65000"/>
                  <a:lumOff val="35000"/>
                </a:prstClr>
              </a:solidFill>
              <a:latin typeface="TH SarabunPSK" pitchFamily="34" charset="-34"/>
              <a:cs typeface="TH SarabunPSK" pitchFamily="34" charset="-34"/>
            </a:endParaRPr>
          </a:p>
        </p:txBody>
      </p:sp>
      <p:sp>
        <p:nvSpPr>
          <p:cNvPr id="60" name="Rounded Rectangle 59">
            <a:hlinkClick r:id="" action="ppaction://noaction"/>
          </p:cNvPr>
          <p:cNvSpPr/>
          <p:nvPr/>
        </p:nvSpPr>
        <p:spPr>
          <a:xfrm>
            <a:off x="1752601" y="1116843"/>
            <a:ext cx="1905001" cy="1308160"/>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spAutoFit/>
          </a:bodyPr>
          <a:lstStyle/>
          <a:p>
            <a:pPr algn="ctr">
              <a:lnSpc>
                <a:spcPts val="1700"/>
              </a:lnSpc>
              <a:defRPr/>
            </a:pPr>
            <a:r>
              <a:rPr lang="th-TH" sz="2000" b="1" dirty="0" smtClean="0">
                <a:solidFill>
                  <a:prstClr val="black">
                    <a:lumMod val="65000"/>
                    <a:lumOff val="35000"/>
                  </a:prstClr>
                </a:solidFill>
                <a:latin typeface="TH SarabunPSK" pitchFamily="34" charset="-34"/>
                <a:cs typeface="TH SarabunPSK" pitchFamily="34" charset="-34"/>
              </a:rPr>
              <a:t>แผนงาน 2. </a:t>
            </a:r>
            <a:br>
              <a:rPr lang="th-TH" sz="2000" b="1" dirty="0" smtClean="0">
                <a:solidFill>
                  <a:prstClr val="black">
                    <a:lumMod val="65000"/>
                    <a:lumOff val="35000"/>
                  </a:prstClr>
                </a:solidFill>
                <a:latin typeface="TH SarabunPSK" pitchFamily="34" charset="-34"/>
                <a:cs typeface="TH SarabunPSK" pitchFamily="34" charset="-34"/>
              </a:rPr>
            </a:br>
            <a:r>
              <a:rPr lang="th-TH" sz="1700" dirty="0" smtClean="0">
                <a:solidFill>
                  <a:prstClr val="black">
                    <a:lumMod val="65000"/>
                    <a:lumOff val="35000"/>
                  </a:prstClr>
                </a:solidFill>
                <a:latin typeface="TH SarabunPSK" pitchFamily="34" charset="-34"/>
                <a:cs typeface="TH SarabunPSK" pitchFamily="34" charset="-34"/>
              </a:rPr>
              <a:t>การพัฒนา</a:t>
            </a:r>
            <a:r>
              <a:rPr lang="th-TH" sz="1700" u="sng" dirty="0" smtClean="0">
                <a:solidFill>
                  <a:prstClr val="black">
                    <a:lumMod val="65000"/>
                    <a:lumOff val="35000"/>
                  </a:prstClr>
                </a:solidFill>
                <a:latin typeface="TH SarabunPSK" pitchFamily="34" charset="-34"/>
                <a:cs typeface="TH SarabunPSK" pitchFamily="34" charset="-34"/>
              </a:rPr>
              <a:t>โครงข่ายขนส่งสาธารณ</a:t>
            </a:r>
            <a:r>
              <a:rPr lang="th-TH" sz="1700" dirty="0" smtClean="0">
                <a:solidFill>
                  <a:prstClr val="black">
                    <a:lumMod val="65000"/>
                    <a:lumOff val="35000"/>
                  </a:prstClr>
                </a:solidFill>
                <a:latin typeface="TH SarabunPSK" pitchFamily="34" charset="-34"/>
                <a:cs typeface="TH SarabunPSK" pitchFamily="34" charset="-34"/>
              </a:rPr>
              <a:t>ะเพื่อแก้ไขปัญหาจราจรในกรุงเทพมหานครและปริมณฑล</a:t>
            </a:r>
            <a:endParaRPr lang="th-TH" sz="1700" dirty="0">
              <a:solidFill>
                <a:prstClr val="black">
                  <a:lumMod val="65000"/>
                  <a:lumOff val="35000"/>
                </a:prstClr>
              </a:solidFill>
              <a:latin typeface="TH SarabunPSK" pitchFamily="34" charset="-34"/>
              <a:cs typeface="TH SarabunPSK" pitchFamily="34" charset="-34"/>
            </a:endParaRPr>
          </a:p>
        </p:txBody>
      </p:sp>
      <p:sp>
        <p:nvSpPr>
          <p:cNvPr id="61" name="Rounded Rectangle 60">
            <a:hlinkClick r:id="" action="ppaction://noaction"/>
          </p:cNvPr>
          <p:cNvSpPr/>
          <p:nvPr/>
        </p:nvSpPr>
        <p:spPr>
          <a:xfrm>
            <a:off x="3675743" y="1062623"/>
            <a:ext cx="2071371" cy="1379101"/>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anchor="ctr">
            <a:spAutoFit/>
          </a:bodyPr>
          <a:lstStyle/>
          <a:p>
            <a:pPr algn="ctr">
              <a:lnSpc>
                <a:spcPts val="1800"/>
              </a:lnSpc>
            </a:pPr>
            <a:r>
              <a:rPr lang="th-TH" sz="2000" b="1" dirty="0" smtClean="0">
                <a:solidFill>
                  <a:prstClr val="black">
                    <a:lumMod val="65000"/>
                    <a:lumOff val="35000"/>
                  </a:prstClr>
                </a:solidFill>
                <a:latin typeface="TH SarabunPSK" pitchFamily="34" charset="-34"/>
                <a:cs typeface="TH SarabunPSK" pitchFamily="34" charset="-34"/>
              </a:rPr>
              <a:t>แผนงาน 3</a:t>
            </a:r>
            <a:r>
              <a:rPr lang="th-TH" sz="3200" b="1" dirty="0" smtClean="0">
                <a:solidFill>
                  <a:prstClr val="black">
                    <a:lumMod val="65000"/>
                    <a:lumOff val="35000"/>
                  </a:prstClr>
                </a:solidFill>
                <a:latin typeface="TH SarabunPSK" pitchFamily="34" charset="-34"/>
                <a:cs typeface="TH SarabunPSK" pitchFamily="34" charset="-34"/>
              </a:rPr>
              <a:t>.</a:t>
            </a:r>
            <a:br>
              <a:rPr lang="th-TH" sz="3200" b="1" dirty="0" smtClean="0">
                <a:solidFill>
                  <a:prstClr val="black">
                    <a:lumMod val="65000"/>
                    <a:lumOff val="35000"/>
                  </a:prstClr>
                </a:solidFill>
                <a:latin typeface="TH SarabunPSK" pitchFamily="34" charset="-34"/>
                <a:cs typeface="TH SarabunPSK" pitchFamily="34" charset="-34"/>
              </a:rPr>
            </a:br>
            <a:r>
              <a:rPr lang="th-TH" sz="1700" dirty="0" smtClean="0">
                <a:solidFill>
                  <a:prstClr val="black">
                    <a:lumMod val="65000"/>
                    <a:lumOff val="35000"/>
                  </a:prstClr>
                </a:solidFill>
                <a:latin typeface="TH SarabunPSK" pitchFamily="34" charset="-34"/>
                <a:cs typeface="TH SarabunPSK" pitchFamily="34" charset="-34"/>
              </a:rPr>
              <a:t>การเพิ่มขี</a:t>
            </a:r>
            <a:r>
              <a:rPr lang="th-TH" sz="1700" dirty="0">
                <a:solidFill>
                  <a:prstClr val="black">
                    <a:lumMod val="65000"/>
                    <a:lumOff val="35000"/>
                  </a:prstClr>
                </a:solidFill>
                <a:latin typeface="TH SarabunPSK" pitchFamily="34" charset="-34"/>
                <a:cs typeface="TH SarabunPSK" pitchFamily="34" charset="-34"/>
              </a:rPr>
              <a:t>ด</a:t>
            </a:r>
            <a:r>
              <a:rPr lang="th-TH" sz="1700" u="sng" dirty="0" smtClean="0">
                <a:solidFill>
                  <a:prstClr val="black">
                    <a:lumMod val="65000"/>
                    <a:lumOff val="35000"/>
                  </a:prstClr>
                </a:solidFill>
                <a:latin typeface="TH SarabunPSK" pitchFamily="34" charset="-34"/>
                <a:cs typeface="TH SarabunPSK" pitchFamily="34" charset="-34"/>
              </a:rPr>
              <a:t>ความสามารถ</a:t>
            </a:r>
            <a:br>
              <a:rPr lang="th-TH" sz="1700" u="sng" dirty="0" smtClean="0">
                <a:solidFill>
                  <a:prstClr val="black">
                    <a:lumMod val="65000"/>
                    <a:lumOff val="35000"/>
                  </a:prstClr>
                </a:solidFill>
                <a:latin typeface="TH SarabunPSK" pitchFamily="34" charset="-34"/>
                <a:cs typeface="TH SarabunPSK" pitchFamily="34" charset="-34"/>
              </a:rPr>
            </a:br>
            <a:r>
              <a:rPr lang="th-TH" sz="1700" u="sng" dirty="0" smtClean="0">
                <a:solidFill>
                  <a:prstClr val="black">
                    <a:lumMod val="65000"/>
                    <a:lumOff val="35000"/>
                  </a:prstClr>
                </a:solidFill>
                <a:latin typeface="TH SarabunPSK" pitchFamily="34" charset="-34"/>
                <a:cs typeface="TH SarabunPSK" pitchFamily="34" charset="-34"/>
              </a:rPr>
              <a:t>ทางหลวง</a:t>
            </a:r>
            <a:r>
              <a:rPr lang="th-TH" sz="1700" dirty="0" smtClean="0">
                <a:solidFill>
                  <a:prstClr val="black">
                    <a:lumMod val="65000"/>
                    <a:lumOff val="35000"/>
                  </a:prstClr>
                </a:solidFill>
                <a:latin typeface="TH SarabunPSK" pitchFamily="34" charset="-34"/>
                <a:cs typeface="TH SarabunPSK" pitchFamily="34" charset="-34"/>
              </a:rPr>
              <a:t>เพื่อเชื่อมโยงพื้นที่สำคัญของประเทศและเชื่อมกับประเทศเพื่อนบ้าน</a:t>
            </a:r>
            <a:endParaRPr lang="th-TH" sz="1700" dirty="0">
              <a:solidFill>
                <a:prstClr val="black">
                  <a:lumMod val="65000"/>
                  <a:lumOff val="35000"/>
                </a:prstClr>
              </a:solidFill>
              <a:latin typeface="TH SarabunPSK" pitchFamily="34" charset="-34"/>
              <a:cs typeface="TH SarabunPSK" pitchFamily="34" charset="-34"/>
            </a:endParaRPr>
          </a:p>
        </p:txBody>
      </p:sp>
      <p:sp>
        <p:nvSpPr>
          <p:cNvPr id="62" name="Rounded Rectangle 61">
            <a:hlinkClick r:id="" action="ppaction://noaction"/>
          </p:cNvPr>
          <p:cNvSpPr/>
          <p:nvPr/>
        </p:nvSpPr>
        <p:spPr>
          <a:xfrm>
            <a:off x="5562600" y="1091990"/>
            <a:ext cx="1800200" cy="868323"/>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spAutoFit/>
          </a:bodyPr>
          <a:lstStyle/>
          <a:p>
            <a:pPr algn="ctr">
              <a:lnSpc>
                <a:spcPts val="1800"/>
              </a:lnSpc>
              <a:defRPr/>
            </a:pPr>
            <a:r>
              <a:rPr lang="th-TH" sz="2000" b="1" dirty="0" smtClean="0">
                <a:solidFill>
                  <a:prstClr val="black">
                    <a:lumMod val="65000"/>
                    <a:lumOff val="35000"/>
                  </a:prstClr>
                </a:solidFill>
                <a:latin typeface="TH SarabunPSK" pitchFamily="34" charset="-34"/>
                <a:cs typeface="TH SarabunPSK" pitchFamily="34" charset="-34"/>
              </a:rPr>
              <a:t>แผนงาน 4.</a:t>
            </a:r>
          </a:p>
          <a:p>
            <a:pPr algn="ctr">
              <a:lnSpc>
                <a:spcPts val="1800"/>
              </a:lnSpc>
              <a:defRPr/>
            </a:pPr>
            <a:r>
              <a:rPr lang="th-TH" sz="1700" dirty="0" smtClean="0">
                <a:solidFill>
                  <a:prstClr val="black">
                    <a:lumMod val="65000"/>
                    <a:lumOff val="35000"/>
                  </a:prstClr>
                </a:solidFill>
                <a:latin typeface="TH SarabunPSK" pitchFamily="34" charset="-34"/>
                <a:cs typeface="TH SarabunPSK" pitchFamily="34" charset="-34"/>
              </a:rPr>
              <a:t>การพัฒนาโครงข่าย</a:t>
            </a:r>
            <a:br>
              <a:rPr lang="th-TH" sz="1700" dirty="0" smtClean="0">
                <a:solidFill>
                  <a:prstClr val="black">
                    <a:lumMod val="65000"/>
                    <a:lumOff val="35000"/>
                  </a:prstClr>
                </a:solidFill>
                <a:latin typeface="TH SarabunPSK" pitchFamily="34" charset="-34"/>
                <a:cs typeface="TH SarabunPSK" pitchFamily="34" charset="-34"/>
              </a:rPr>
            </a:br>
            <a:r>
              <a:rPr lang="th-TH" sz="1700" dirty="0" smtClean="0">
                <a:solidFill>
                  <a:prstClr val="black">
                    <a:lumMod val="65000"/>
                    <a:lumOff val="35000"/>
                  </a:prstClr>
                </a:solidFill>
                <a:latin typeface="TH SarabunPSK" pitchFamily="34" charset="-34"/>
                <a:cs typeface="TH SarabunPSK" pitchFamily="34" charset="-34"/>
              </a:rPr>
              <a:t>การขนส่ง</a:t>
            </a:r>
            <a:r>
              <a:rPr lang="th-TH" sz="1700" u="sng" dirty="0" smtClean="0">
                <a:solidFill>
                  <a:prstClr val="black">
                    <a:lumMod val="65000"/>
                    <a:lumOff val="35000"/>
                  </a:prstClr>
                </a:solidFill>
                <a:latin typeface="TH SarabunPSK" pitchFamily="34" charset="-34"/>
                <a:cs typeface="TH SarabunPSK" pitchFamily="34" charset="-34"/>
              </a:rPr>
              <a:t>ทางน้ำ</a:t>
            </a:r>
            <a:endParaRPr lang="th-TH" sz="1700" u="sng" dirty="0">
              <a:solidFill>
                <a:prstClr val="black">
                  <a:lumMod val="65000"/>
                  <a:lumOff val="35000"/>
                </a:prstClr>
              </a:solidFill>
              <a:latin typeface="TH SarabunPSK" pitchFamily="34" charset="-34"/>
              <a:cs typeface="TH SarabunPSK" pitchFamily="34" charset="-34"/>
            </a:endParaRPr>
          </a:p>
        </p:txBody>
      </p:sp>
      <p:sp>
        <p:nvSpPr>
          <p:cNvPr id="63" name="Rounded Rectangle 62">
            <a:hlinkClick r:id="" action="ppaction://noaction"/>
          </p:cNvPr>
          <p:cNvSpPr/>
          <p:nvPr/>
        </p:nvSpPr>
        <p:spPr>
          <a:xfrm>
            <a:off x="7383016" y="1147795"/>
            <a:ext cx="1837184" cy="1123712"/>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anchor="ctr">
            <a:spAutoFit/>
          </a:bodyPr>
          <a:lstStyle/>
          <a:p>
            <a:pPr algn="ctr">
              <a:lnSpc>
                <a:spcPts val="1800"/>
              </a:lnSpc>
              <a:defRPr/>
            </a:pPr>
            <a:r>
              <a:rPr lang="th-TH" sz="2000" b="1" dirty="0" smtClean="0">
                <a:solidFill>
                  <a:prstClr val="black">
                    <a:lumMod val="65000"/>
                    <a:lumOff val="35000"/>
                  </a:prstClr>
                </a:solidFill>
                <a:latin typeface="TH SarabunPSK" pitchFamily="34" charset="-34"/>
                <a:cs typeface="TH SarabunPSK" pitchFamily="34" charset="-34"/>
              </a:rPr>
              <a:t>แผนงาน 5.</a:t>
            </a:r>
          </a:p>
          <a:p>
            <a:pPr algn="ctr">
              <a:lnSpc>
                <a:spcPts val="1800"/>
              </a:lnSpc>
              <a:defRPr/>
            </a:pPr>
            <a:r>
              <a:rPr lang="th-TH" sz="1700" dirty="0" smtClean="0">
                <a:solidFill>
                  <a:prstClr val="black">
                    <a:lumMod val="65000"/>
                    <a:lumOff val="35000"/>
                  </a:prstClr>
                </a:solidFill>
                <a:latin typeface="TH SarabunPSK" pitchFamily="34" charset="-34"/>
                <a:cs typeface="TH SarabunPSK" pitchFamily="34" charset="-34"/>
              </a:rPr>
              <a:t>การเพิ่มขีดความสามารถ</a:t>
            </a:r>
            <a:br>
              <a:rPr lang="th-TH" sz="1700" dirty="0" smtClean="0">
                <a:solidFill>
                  <a:prstClr val="black">
                    <a:lumMod val="65000"/>
                    <a:lumOff val="35000"/>
                  </a:prstClr>
                </a:solidFill>
                <a:latin typeface="TH SarabunPSK" pitchFamily="34" charset="-34"/>
                <a:cs typeface="TH SarabunPSK" pitchFamily="34" charset="-34"/>
              </a:rPr>
            </a:br>
            <a:r>
              <a:rPr lang="th-TH" sz="1700" dirty="0" smtClean="0">
                <a:solidFill>
                  <a:prstClr val="black">
                    <a:lumMod val="65000"/>
                    <a:lumOff val="35000"/>
                  </a:prstClr>
                </a:solidFill>
                <a:latin typeface="TH SarabunPSK" pitchFamily="34" charset="-34"/>
                <a:cs typeface="TH SarabunPSK" pitchFamily="34" charset="-34"/>
              </a:rPr>
              <a:t>ในการให้บริการขนส่งทาง</a:t>
            </a:r>
            <a:r>
              <a:rPr lang="th-TH" sz="1700" u="sng" dirty="0" smtClean="0">
                <a:solidFill>
                  <a:prstClr val="black">
                    <a:lumMod val="65000"/>
                    <a:lumOff val="35000"/>
                  </a:prstClr>
                </a:solidFill>
                <a:latin typeface="TH SarabunPSK" pitchFamily="34" charset="-34"/>
                <a:cs typeface="TH SarabunPSK" pitchFamily="34" charset="-34"/>
              </a:rPr>
              <a:t>อากาศ</a:t>
            </a:r>
            <a:endParaRPr lang="th-TH" sz="1700" u="sng" dirty="0">
              <a:solidFill>
                <a:prstClr val="black">
                  <a:lumMod val="65000"/>
                  <a:lumOff val="35000"/>
                </a:prstClr>
              </a:solidFill>
              <a:latin typeface="TH SarabunPSK" pitchFamily="34" charset="-34"/>
              <a:cs typeface="TH SarabunPSK" pitchFamily="34" charset="-34"/>
            </a:endParaRPr>
          </a:p>
        </p:txBody>
      </p:sp>
      <p:cxnSp>
        <p:nvCxnSpPr>
          <p:cNvPr id="67" name="Straight Connector 66"/>
          <p:cNvCxnSpPr>
            <a:cxnSpLocks/>
          </p:cNvCxnSpPr>
          <p:nvPr/>
        </p:nvCxnSpPr>
        <p:spPr>
          <a:xfrm flipH="1" flipV="1">
            <a:off x="3635896" y="2301720"/>
            <a:ext cx="4624" cy="2754306"/>
          </a:xfrm>
          <a:prstGeom prst="line">
            <a:avLst/>
          </a:prstGeom>
          <a:noFill/>
          <a:ln w="9525" cap="flat" cmpd="sng" algn="ctr">
            <a:solidFill>
              <a:srgbClr val="FFFFFF">
                <a:lumMod val="65000"/>
              </a:srgbClr>
            </a:solidFill>
            <a:prstDash val="solid"/>
          </a:ln>
          <a:effectLst/>
        </p:spPr>
      </p:cxnSp>
      <p:cxnSp>
        <p:nvCxnSpPr>
          <p:cNvPr id="68" name="Straight Connector 67"/>
          <p:cNvCxnSpPr>
            <a:cxnSpLocks/>
          </p:cNvCxnSpPr>
          <p:nvPr/>
        </p:nvCxnSpPr>
        <p:spPr>
          <a:xfrm flipH="1" flipV="1">
            <a:off x="5634176" y="2301720"/>
            <a:ext cx="4624" cy="2754306"/>
          </a:xfrm>
          <a:prstGeom prst="line">
            <a:avLst/>
          </a:prstGeom>
          <a:noFill/>
          <a:ln w="9525" cap="flat" cmpd="sng" algn="ctr">
            <a:solidFill>
              <a:srgbClr val="FFFFFF">
                <a:lumMod val="65000"/>
              </a:srgbClr>
            </a:solidFill>
            <a:prstDash val="solid"/>
          </a:ln>
          <a:effectLst/>
        </p:spPr>
      </p:cxnSp>
      <p:cxnSp>
        <p:nvCxnSpPr>
          <p:cNvPr id="69" name="Straight Connector 68"/>
          <p:cNvCxnSpPr>
            <a:cxnSpLocks/>
          </p:cNvCxnSpPr>
          <p:nvPr/>
        </p:nvCxnSpPr>
        <p:spPr>
          <a:xfrm flipH="1" flipV="1">
            <a:off x="7391400" y="2297430"/>
            <a:ext cx="4624" cy="2754306"/>
          </a:xfrm>
          <a:prstGeom prst="line">
            <a:avLst/>
          </a:prstGeom>
          <a:noFill/>
          <a:ln w="9525" cap="flat" cmpd="sng" algn="ctr">
            <a:solidFill>
              <a:srgbClr val="FFFFFF">
                <a:lumMod val="65000"/>
              </a:srgbClr>
            </a:solidFill>
            <a:prstDash val="solid"/>
          </a:ln>
          <a:effectLst/>
        </p:spPr>
      </p:cxnSp>
      <p:sp>
        <p:nvSpPr>
          <p:cNvPr id="32" name="Rectangle 31"/>
          <p:cNvSpPr/>
          <p:nvPr/>
        </p:nvSpPr>
        <p:spPr>
          <a:xfrm>
            <a:off x="-108520" y="577786"/>
            <a:ext cx="7759903" cy="605294"/>
          </a:xfrm>
          <a:prstGeom prst="rect">
            <a:avLst/>
          </a:prstGeom>
        </p:spPr>
        <p:txBody>
          <a:bodyPr wrap="square">
            <a:spAutoFit/>
          </a:bodyPr>
          <a:lstStyle/>
          <a:p>
            <a:pPr algn="ctr">
              <a:lnSpc>
                <a:spcPts val="2000"/>
              </a:lnSpc>
              <a:spcBef>
                <a:spcPts val="1200"/>
              </a:spcBef>
            </a:pPr>
            <a:r>
              <a:rPr lang="th-TH" sz="2200" b="1" dirty="0" smtClean="0">
                <a:solidFill>
                  <a:prstClr val="black"/>
                </a:solidFill>
                <a:latin typeface="TH SarabunPSK" pitchFamily="34" charset="-34"/>
                <a:cs typeface="TH SarabunPSK" pitchFamily="34" charset="-34"/>
              </a:rPr>
              <a:t>“แผน</a:t>
            </a:r>
            <a:r>
              <a:rPr lang="th-TH" sz="2200" b="1" dirty="0">
                <a:solidFill>
                  <a:prstClr val="black"/>
                </a:solidFill>
                <a:latin typeface="TH SarabunPSK" pitchFamily="34" charset="-34"/>
                <a:cs typeface="TH SarabunPSK" pitchFamily="34" charset="-34"/>
              </a:rPr>
              <a:t>ยุทธศาสตร์การลงทุนด้านโครงสร้างพื้นฐานขนส่งของประเทศ พ.ศ. 2558 – </a:t>
            </a:r>
            <a:r>
              <a:rPr lang="th-TH" sz="2200" b="1" dirty="0" smtClean="0">
                <a:solidFill>
                  <a:prstClr val="black"/>
                </a:solidFill>
                <a:latin typeface="TH SarabunPSK" pitchFamily="34" charset="-34"/>
                <a:cs typeface="TH SarabunPSK" pitchFamily="34" charset="-34"/>
              </a:rPr>
              <a:t>2565 </a:t>
            </a:r>
            <a:br>
              <a:rPr lang="th-TH" sz="2200" b="1" dirty="0" smtClean="0">
                <a:solidFill>
                  <a:prstClr val="black"/>
                </a:solidFill>
                <a:latin typeface="TH SarabunPSK" pitchFamily="34" charset="-34"/>
                <a:cs typeface="TH SarabunPSK" pitchFamily="34" charset="-34"/>
              </a:rPr>
            </a:br>
            <a:r>
              <a:rPr lang="th-TH" sz="2200" b="1" dirty="0" smtClean="0">
                <a:solidFill>
                  <a:prstClr val="black"/>
                </a:solidFill>
                <a:latin typeface="TH SarabunPSK" pitchFamily="34" charset="-34"/>
                <a:cs typeface="TH SarabunPSK" pitchFamily="34" charset="-34"/>
              </a:rPr>
              <a:t>ได้ให้ความสำคัญกับการเพิ่มโครงข่ายคมนาคมรองรับ </a:t>
            </a:r>
            <a:r>
              <a:rPr lang="en-US" sz="2200" b="1" dirty="0" smtClean="0">
                <a:solidFill>
                  <a:prstClr val="black"/>
                </a:solidFill>
                <a:latin typeface="TH SarabunPSK" pitchFamily="34" charset="-34"/>
                <a:cs typeface="TH SarabunPSK" pitchFamily="34" charset="-34"/>
              </a:rPr>
              <a:t>AEC </a:t>
            </a:r>
            <a:r>
              <a:rPr lang="th-TH" sz="2200" b="1" dirty="0" smtClean="0">
                <a:solidFill>
                  <a:prstClr val="black"/>
                </a:solidFill>
                <a:latin typeface="TH SarabunPSK" pitchFamily="34" charset="-34"/>
                <a:cs typeface="TH SarabunPSK" pitchFamily="34" charset="-34"/>
              </a:rPr>
              <a:t>และเขตเศรษฐกิจพิเศษแล้ว” </a:t>
            </a:r>
            <a:endParaRPr lang="th-TH" sz="2200" b="1" dirty="0">
              <a:solidFill>
                <a:prstClr val="black"/>
              </a:solidFill>
              <a:latin typeface="TH SarabunPSK" pitchFamily="34" charset="-34"/>
              <a:cs typeface="TH SarabunPSK" pitchFamily="34" charset="-34"/>
            </a:endParaRPr>
          </a:p>
        </p:txBody>
      </p:sp>
      <p:sp>
        <p:nvSpPr>
          <p:cNvPr id="35" name="Rounded Rectangle 34"/>
          <p:cNvSpPr/>
          <p:nvPr/>
        </p:nvSpPr>
        <p:spPr>
          <a:xfrm>
            <a:off x="76201" y="3633648"/>
            <a:ext cx="1550707" cy="583200"/>
          </a:xfrm>
          <a:prstGeom prst="round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261938" indent="-261938">
              <a:lnSpc>
                <a:spcPts val="1500"/>
              </a:lnSpc>
              <a:defRPr/>
            </a:pPr>
            <a:r>
              <a:rPr lang="th-TH" sz="1600" dirty="0" smtClean="0">
                <a:solidFill>
                  <a:prstClr val="white"/>
                </a:solidFill>
                <a:latin typeface="TH SarabunPSK" pitchFamily="34" charset="-34"/>
                <a:cs typeface="TH SarabunPSK" pitchFamily="34" charset="-34"/>
              </a:rPr>
              <a:t>1.3	การก่อสร้างรถไฟทางมาตรฐาน</a:t>
            </a:r>
            <a:endParaRPr lang="th-TH" sz="1600" dirty="0">
              <a:solidFill>
                <a:prstClr val="white"/>
              </a:solidFill>
              <a:latin typeface="TH SarabunPSK" pitchFamily="34" charset="-34"/>
              <a:cs typeface="TH SarabunPSK" pitchFamily="34" charset="-34"/>
            </a:endParaRPr>
          </a:p>
        </p:txBody>
      </p:sp>
      <p:sp>
        <p:nvSpPr>
          <p:cNvPr id="31" name="RbNavigator"/>
          <p:cNvSpPr txBox="1"/>
          <p:nvPr/>
        </p:nvSpPr>
        <p:spPr>
          <a:xfrm>
            <a:off x="94808" y="130534"/>
            <a:ext cx="444744" cy="246888"/>
          </a:xfrm>
          <a:prstGeom prst="rect">
            <a:avLst/>
          </a:prstGeom>
          <a:solidFill>
            <a:srgbClr val="003F56"/>
          </a:solidFill>
          <a:ln w="9525">
            <a:noFill/>
          </a:ln>
        </p:spPr>
        <p:txBody>
          <a:bodyPr vert="horz" wrap="none" lIns="0" tIns="0" rIns="0" bIns="0" rtlCol="0" anchor="ctr">
            <a:noAutofit/>
          </a:bodyPr>
          <a:lstStyle/>
          <a:p>
            <a:pPr marL="0" marR="0" lvl="0" indent="0" algn="ctr" defTabSz="914400" eaLnBrk="1" fontAlgn="auto" latinLnBrk="0" hangingPunct="1">
              <a:lnSpc>
                <a:spcPct val="90000"/>
              </a:lnSpc>
              <a:spcBef>
                <a:spcPts val="400"/>
              </a:spcBef>
              <a:spcAft>
                <a:spcPts val="0"/>
              </a:spcAft>
              <a:buClr>
                <a:srgbClr val="000000"/>
              </a:buClr>
              <a:buSzPct val="100000"/>
              <a:buFontTx/>
              <a:buNone/>
              <a:tabLst/>
              <a:defRPr/>
            </a:pPr>
            <a:r>
              <a:rPr kumimoji="1" lang="en-US" b="1" kern="0" dirty="0" smtClean="0">
                <a:solidFill>
                  <a:srgbClr val="FFFFFF"/>
                </a:solidFill>
                <a:latin typeface="TH SarabunPSK" pitchFamily="34" charset="-34"/>
                <a:cs typeface="TH SarabunPSK" pitchFamily="34" charset="-34"/>
              </a:rPr>
              <a:t>5</a:t>
            </a:r>
            <a:endParaRPr kumimoji="1" lang="en-US" b="1" i="0" u="none" strike="noStrike" kern="0" cap="none" spc="0" normalizeH="0" baseline="0" noProof="0" dirty="0" smtClean="0">
              <a:ln>
                <a:noFill/>
              </a:ln>
              <a:solidFill>
                <a:srgbClr val="FFFFFF"/>
              </a:solidFill>
              <a:effectLst/>
              <a:uLnTx/>
              <a:uFillTx/>
              <a:latin typeface="TH SarabunPSK" pitchFamily="34" charset="-34"/>
              <a:cs typeface="TH SarabunPSK" pitchFamily="34" charset="-34"/>
            </a:endParaRPr>
          </a:p>
        </p:txBody>
      </p:sp>
      <p:sp>
        <p:nvSpPr>
          <p:cNvPr id="41" name="RbSticker"/>
          <p:cNvSpPr txBox="1"/>
          <p:nvPr/>
        </p:nvSpPr>
        <p:spPr>
          <a:xfrm>
            <a:off x="618033" y="51470"/>
            <a:ext cx="8130431" cy="388761"/>
          </a:xfrm>
          <a:prstGeom prst="rect">
            <a:avLst/>
          </a:prstGeom>
          <a:noFill/>
          <a:ln w="9525">
            <a:noFill/>
          </a:ln>
        </p:spPr>
        <p:txBody>
          <a:bodyPr vert="horz" wrap="none" lIns="0" tIns="0" rIns="0" bIns="0" rtlCol="0" anchor="ctr">
            <a:spAutoFit/>
          </a:bodyPr>
          <a:lstStyle/>
          <a:p>
            <a:pPr lvl="0">
              <a:lnSpc>
                <a:spcPct val="90000"/>
              </a:lnSpc>
              <a:spcBef>
                <a:spcPts val="400"/>
              </a:spcBef>
              <a:buSzPct val="100000"/>
              <a:defRPr/>
            </a:pPr>
            <a:r>
              <a:rPr lang="th-TH" b="1" kern="0" dirty="0">
                <a:solidFill>
                  <a:srgbClr val="003F56"/>
                </a:solidFill>
                <a:latin typeface="TH SarabunPSK" pitchFamily="34" charset="-34"/>
                <a:cs typeface="TH SarabunPSK" pitchFamily="34" charset="-34"/>
              </a:rPr>
              <a:t>แผนยุทธศาสตร์การลงทุนด้านโครงสร้างพื้นฐานขนส่งของประเทศ </a:t>
            </a:r>
            <a:r>
              <a:rPr lang="th-TH" b="1" kern="0" dirty="0" smtClean="0">
                <a:solidFill>
                  <a:srgbClr val="003F56"/>
                </a:solidFill>
                <a:latin typeface="TH SarabunPSK" pitchFamily="34" charset="-34"/>
                <a:cs typeface="TH SarabunPSK" pitchFamily="34" charset="-34"/>
              </a:rPr>
              <a:t>พ.ศ. 2558-2565</a:t>
            </a:r>
            <a:endParaRPr lang="th-TH" b="1" kern="0" dirty="0">
              <a:solidFill>
                <a:srgbClr val="003F56"/>
              </a:solidFill>
              <a:latin typeface="TH SarabunPSK" pitchFamily="34" charset="-34"/>
              <a:cs typeface="TH SarabunPSK" pitchFamily="34" charset="-34"/>
            </a:endParaRPr>
          </a:p>
        </p:txBody>
      </p:sp>
    </p:spTree>
    <p:extLst>
      <p:ext uri="{BB962C8B-B14F-4D97-AF65-F5344CB8AC3E}">
        <p14:creationId xmlns:p14="http://schemas.microsoft.com/office/powerpoint/2010/main" xmlns="" val="1396140627"/>
      </p:ext>
    </p:extLst>
  </p:cSld>
  <p:clrMapOvr>
    <a:masterClrMapping/>
  </p:clrMapOvr>
  <p:transition advClick="0">
    <p:fade thruBlk="1"/>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410" name="Picture 2"/>
          <p:cNvPicPr>
            <a:picLocks noChangeAspect="1" noChangeArrowheads="1"/>
          </p:cNvPicPr>
          <p:nvPr/>
        </p:nvPicPr>
        <p:blipFill>
          <a:blip r:embed="rId3" cstate="print">
            <a:extLst>
              <a:ext uri="{28A0092B-C50C-407E-A947-70E740481C1C}">
                <a14:useLocalDpi xmlns:a14="http://schemas.microsoft.com/office/drawing/2010/main" xmlns="" val="0"/>
              </a:ext>
            </a:extLst>
          </a:blip>
          <a:srcRect/>
          <a:stretch>
            <a:fillRect/>
          </a:stretch>
        </p:blipFill>
        <p:spPr bwMode="auto">
          <a:xfrm>
            <a:off x="2294384" y="2216274"/>
            <a:ext cx="2133600" cy="233172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pic>
        <p:nvPicPr>
          <p:cNvPr id="9" name="Picture 192"/>
          <p:cNvPicPr>
            <a:picLocks noChangeAspect="1" noChangeArrowheads="1"/>
          </p:cNvPicPr>
          <p:nvPr/>
        </p:nvPicPr>
        <p:blipFill>
          <a:blip r:embed="rId4" cstate="print">
            <a:extLst>
              <a:ext uri="{28A0092B-C50C-407E-A947-70E740481C1C}">
                <a14:useLocalDpi xmlns:a14="http://schemas.microsoft.com/office/drawing/2010/main" xmlns="" val="0"/>
              </a:ext>
            </a:extLst>
          </a:blip>
          <a:srcRect/>
          <a:stretch>
            <a:fillRect/>
          </a:stretch>
        </p:blipFill>
        <p:spPr bwMode="auto">
          <a:xfrm>
            <a:off x="5298858" y="415800"/>
            <a:ext cx="3768943" cy="462483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aphicFrame>
        <p:nvGraphicFramePr>
          <p:cNvPr id="11" name="Group 166"/>
          <p:cNvGraphicFramePr>
            <a:graphicFrameLocks noGrp="1"/>
          </p:cNvGraphicFramePr>
          <p:nvPr>
            <p:extLst>
              <p:ext uri="{D42A27DB-BD31-4B8C-83A1-F6EECF244321}">
                <p14:modId xmlns:p14="http://schemas.microsoft.com/office/powerpoint/2010/main" xmlns="" val="2884414479"/>
              </p:ext>
            </p:extLst>
          </p:nvPr>
        </p:nvGraphicFramePr>
        <p:xfrm>
          <a:off x="110481" y="1920665"/>
          <a:ext cx="5037583" cy="2883333"/>
        </p:xfrm>
        <a:graphic>
          <a:graphicData uri="http://schemas.openxmlformats.org/drawingml/2006/table">
            <a:tbl>
              <a:tblPr/>
              <a:tblGrid>
                <a:gridCol w="2096857"/>
                <a:gridCol w="440303"/>
                <a:gridCol w="440303"/>
                <a:gridCol w="440303"/>
                <a:gridCol w="440303"/>
                <a:gridCol w="440303"/>
                <a:gridCol w="739211"/>
              </a:tblGrid>
              <a:tr h="297169">
                <a:tc>
                  <a:txBody>
                    <a:bodyPr/>
                    <a:lstStyle>
                      <a:lvl1pPr>
                        <a:spcBef>
                          <a:spcPct val="20000"/>
                        </a:spcBef>
                        <a:defRPr sz="2800">
                          <a:solidFill>
                            <a:schemeClr val="tx1"/>
                          </a:solidFill>
                          <a:latin typeface="Arial" panose="020B0604020202020204" pitchFamily="34" charset="0"/>
                          <a:cs typeface="Angsana New" panose="02020603050405020304" pitchFamily="18" charset="-34"/>
                        </a:defRPr>
                      </a:lvl1pPr>
                      <a:lvl2pPr>
                        <a:spcBef>
                          <a:spcPct val="20000"/>
                        </a:spcBef>
                        <a:defRPr sz="2400">
                          <a:solidFill>
                            <a:schemeClr val="tx1"/>
                          </a:solidFill>
                          <a:latin typeface="Arial" panose="020B0604020202020204" pitchFamily="34" charset="0"/>
                          <a:cs typeface="Angsana New" panose="02020603050405020304" pitchFamily="18" charset="-34"/>
                        </a:defRPr>
                      </a:lvl2pPr>
                      <a:lvl3pPr>
                        <a:spcBef>
                          <a:spcPct val="20000"/>
                        </a:spcBef>
                        <a:defRPr sz="2000">
                          <a:solidFill>
                            <a:schemeClr val="tx1"/>
                          </a:solidFill>
                          <a:latin typeface="Arial" panose="020B0604020202020204" pitchFamily="34" charset="0"/>
                          <a:cs typeface="Angsana New" panose="02020603050405020304" pitchFamily="18" charset="-34"/>
                        </a:defRPr>
                      </a:lvl3pPr>
                      <a:lvl4pPr>
                        <a:spcBef>
                          <a:spcPct val="20000"/>
                        </a:spcBef>
                        <a:defRPr>
                          <a:solidFill>
                            <a:schemeClr val="tx1"/>
                          </a:solidFill>
                          <a:latin typeface="Arial" panose="020B0604020202020204" pitchFamily="34" charset="0"/>
                          <a:cs typeface="Angsana New" panose="02020603050405020304" pitchFamily="18" charset="-34"/>
                        </a:defRPr>
                      </a:lvl4pPr>
                      <a:lvl5pPr>
                        <a:spcBef>
                          <a:spcPct val="20000"/>
                        </a:spcBef>
                        <a:defRPr>
                          <a:solidFill>
                            <a:schemeClr val="tx1"/>
                          </a:solidFill>
                          <a:latin typeface="Arial" panose="020B0604020202020204" pitchFamily="34" charset="0"/>
                          <a:cs typeface="Angsana New" panose="02020603050405020304" pitchFamily="18" charset="-34"/>
                        </a:defRPr>
                      </a:lvl5pPr>
                      <a:lvl6pPr fontAlgn="base">
                        <a:spcBef>
                          <a:spcPct val="20000"/>
                        </a:spcBef>
                        <a:spcAft>
                          <a:spcPct val="0"/>
                        </a:spcAft>
                        <a:defRPr>
                          <a:solidFill>
                            <a:schemeClr val="tx1"/>
                          </a:solidFill>
                          <a:latin typeface="Arial" panose="020B0604020202020204" pitchFamily="34" charset="0"/>
                          <a:cs typeface="Angsana New" panose="02020603050405020304" pitchFamily="18" charset="-34"/>
                        </a:defRPr>
                      </a:lvl6pPr>
                      <a:lvl7pPr fontAlgn="base">
                        <a:spcBef>
                          <a:spcPct val="20000"/>
                        </a:spcBef>
                        <a:spcAft>
                          <a:spcPct val="0"/>
                        </a:spcAft>
                        <a:defRPr>
                          <a:solidFill>
                            <a:schemeClr val="tx1"/>
                          </a:solidFill>
                          <a:latin typeface="Arial" panose="020B0604020202020204" pitchFamily="34" charset="0"/>
                          <a:cs typeface="Angsana New" panose="02020603050405020304" pitchFamily="18" charset="-34"/>
                        </a:defRPr>
                      </a:lvl7pPr>
                      <a:lvl8pPr fontAlgn="base">
                        <a:spcBef>
                          <a:spcPct val="20000"/>
                        </a:spcBef>
                        <a:spcAft>
                          <a:spcPct val="0"/>
                        </a:spcAft>
                        <a:defRPr>
                          <a:solidFill>
                            <a:schemeClr val="tx1"/>
                          </a:solidFill>
                          <a:latin typeface="Arial" panose="020B0604020202020204" pitchFamily="34" charset="0"/>
                          <a:cs typeface="Angsana New" panose="02020603050405020304" pitchFamily="18" charset="-34"/>
                        </a:defRPr>
                      </a:lvl8pPr>
                      <a:lvl9pPr fontAlgn="base">
                        <a:spcBef>
                          <a:spcPct val="20000"/>
                        </a:spcBef>
                        <a:spcAft>
                          <a:spcPct val="0"/>
                        </a:spcAft>
                        <a:defRPr>
                          <a:solidFill>
                            <a:schemeClr val="tx1"/>
                          </a:solidFill>
                          <a:latin typeface="Arial" panose="020B0604020202020204" pitchFamily="34" charset="0"/>
                          <a:cs typeface="Angsana New" panose="02020603050405020304" pitchFamily="18" charset="-34"/>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th-TH" sz="1300" b="1" i="0" u="none" strike="noStrike" cap="none" normalizeH="0" baseline="0" dirty="0" smtClean="0">
                          <a:ln>
                            <a:noFill/>
                          </a:ln>
                          <a:solidFill>
                            <a:schemeClr val="tx1"/>
                          </a:solidFill>
                          <a:effectLst/>
                          <a:latin typeface="Century Gothic" pitchFamily="34" charset="0"/>
                          <a:cs typeface="+mj-cs"/>
                        </a:rPr>
                        <a:t>โครงการ</a:t>
                      </a:r>
                    </a:p>
                  </a:txBody>
                  <a:tcPr marL="91439" marR="91439" marT="34285" marB="34285"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tx2">
                        <a:lumMod val="20000"/>
                        <a:lumOff val="80000"/>
                      </a:schemeClr>
                    </a:solidFill>
                  </a:tcPr>
                </a:tc>
                <a:tc>
                  <a:txBody>
                    <a:bodyPr/>
                    <a:lstStyle>
                      <a:lvl1pPr>
                        <a:spcBef>
                          <a:spcPct val="20000"/>
                        </a:spcBef>
                        <a:defRPr sz="2800">
                          <a:solidFill>
                            <a:schemeClr val="tx1"/>
                          </a:solidFill>
                          <a:latin typeface="Arial" panose="020B0604020202020204" pitchFamily="34" charset="0"/>
                          <a:cs typeface="Angsana New" panose="02020603050405020304" pitchFamily="18" charset="-34"/>
                        </a:defRPr>
                      </a:lvl1pPr>
                      <a:lvl2pPr>
                        <a:spcBef>
                          <a:spcPct val="20000"/>
                        </a:spcBef>
                        <a:defRPr sz="2400">
                          <a:solidFill>
                            <a:schemeClr val="tx1"/>
                          </a:solidFill>
                          <a:latin typeface="Arial" panose="020B0604020202020204" pitchFamily="34" charset="0"/>
                          <a:cs typeface="Angsana New" panose="02020603050405020304" pitchFamily="18" charset="-34"/>
                        </a:defRPr>
                      </a:lvl2pPr>
                      <a:lvl3pPr>
                        <a:spcBef>
                          <a:spcPct val="20000"/>
                        </a:spcBef>
                        <a:defRPr sz="2000">
                          <a:solidFill>
                            <a:schemeClr val="tx1"/>
                          </a:solidFill>
                          <a:latin typeface="Arial" panose="020B0604020202020204" pitchFamily="34" charset="0"/>
                          <a:cs typeface="Angsana New" panose="02020603050405020304" pitchFamily="18" charset="-34"/>
                        </a:defRPr>
                      </a:lvl3pPr>
                      <a:lvl4pPr>
                        <a:spcBef>
                          <a:spcPct val="20000"/>
                        </a:spcBef>
                        <a:defRPr>
                          <a:solidFill>
                            <a:schemeClr val="tx1"/>
                          </a:solidFill>
                          <a:latin typeface="Arial" panose="020B0604020202020204" pitchFamily="34" charset="0"/>
                          <a:cs typeface="Angsana New" panose="02020603050405020304" pitchFamily="18" charset="-34"/>
                        </a:defRPr>
                      </a:lvl4pPr>
                      <a:lvl5pPr>
                        <a:spcBef>
                          <a:spcPct val="20000"/>
                        </a:spcBef>
                        <a:defRPr>
                          <a:solidFill>
                            <a:schemeClr val="tx1"/>
                          </a:solidFill>
                          <a:latin typeface="Arial" panose="020B0604020202020204" pitchFamily="34" charset="0"/>
                          <a:cs typeface="Angsana New" panose="02020603050405020304" pitchFamily="18" charset="-34"/>
                        </a:defRPr>
                      </a:lvl5pPr>
                      <a:lvl6pPr fontAlgn="base">
                        <a:spcBef>
                          <a:spcPct val="20000"/>
                        </a:spcBef>
                        <a:spcAft>
                          <a:spcPct val="0"/>
                        </a:spcAft>
                        <a:defRPr>
                          <a:solidFill>
                            <a:schemeClr val="tx1"/>
                          </a:solidFill>
                          <a:latin typeface="Arial" panose="020B0604020202020204" pitchFamily="34" charset="0"/>
                          <a:cs typeface="Angsana New" panose="02020603050405020304" pitchFamily="18" charset="-34"/>
                        </a:defRPr>
                      </a:lvl6pPr>
                      <a:lvl7pPr fontAlgn="base">
                        <a:spcBef>
                          <a:spcPct val="20000"/>
                        </a:spcBef>
                        <a:spcAft>
                          <a:spcPct val="0"/>
                        </a:spcAft>
                        <a:defRPr>
                          <a:solidFill>
                            <a:schemeClr val="tx1"/>
                          </a:solidFill>
                          <a:latin typeface="Arial" panose="020B0604020202020204" pitchFamily="34" charset="0"/>
                          <a:cs typeface="Angsana New" panose="02020603050405020304" pitchFamily="18" charset="-34"/>
                        </a:defRPr>
                      </a:lvl7pPr>
                      <a:lvl8pPr fontAlgn="base">
                        <a:spcBef>
                          <a:spcPct val="20000"/>
                        </a:spcBef>
                        <a:spcAft>
                          <a:spcPct val="0"/>
                        </a:spcAft>
                        <a:defRPr>
                          <a:solidFill>
                            <a:schemeClr val="tx1"/>
                          </a:solidFill>
                          <a:latin typeface="Arial" panose="020B0604020202020204" pitchFamily="34" charset="0"/>
                          <a:cs typeface="Angsana New" panose="02020603050405020304" pitchFamily="18" charset="-34"/>
                        </a:defRPr>
                      </a:lvl8pPr>
                      <a:lvl9pPr fontAlgn="base">
                        <a:spcBef>
                          <a:spcPct val="20000"/>
                        </a:spcBef>
                        <a:spcAft>
                          <a:spcPct val="0"/>
                        </a:spcAft>
                        <a:defRPr>
                          <a:solidFill>
                            <a:schemeClr val="tx1"/>
                          </a:solidFill>
                          <a:latin typeface="Arial" panose="020B0604020202020204" pitchFamily="34" charset="0"/>
                          <a:cs typeface="Angsana New" panose="02020603050405020304" pitchFamily="18" charset="-34"/>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th-TH" sz="1100" b="1" i="0" u="none" strike="noStrike" kern="1200" cap="none" normalizeH="0" baseline="0" dirty="0" smtClean="0">
                          <a:ln>
                            <a:noFill/>
                          </a:ln>
                          <a:solidFill>
                            <a:schemeClr val="tx1"/>
                          </a:solidFill>
                          <a:effectLst/>
                          <a:latin typeface="Century Gothic" pitchFamily="34" charset="0"/>
                          <a:ea typeface="+mn-ea"/>
                          <a:cs typeface="+mj-cs"/>
                        </a:rPr>
                        <a:t>2558</a:t>
                      </a:r>
                    </a:p>
                  </a:txBody>
                  <a:tcPr marL="91439" marR="91439" marT="34285" marB="34285"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tx2">
                        <a:lumMod val="20000"/>
                        <a:lumOff val="80000"/>
                      </a:schemeClr>
                    </a:solidFill>
                  </a:tcPr>
                </a:tc>
                <a:tc>
                  <a:txBody>
                    <a:bodyPr/>
                    <a:lstStyle>
                      <a:lvl1pPr>
                        <a:spcBef>
                          <a:spcPct val="20000"/>
                        </a:spcBef>
                        <a:defRPr sz="2800">
                          <a:solidFill>
                            <a:schemeClr val="tx1"/>
                          </a:solidFill>
                          <a:latin typeface="Arial" panose="020B0604020202020204" pitchFamily="34" charset="0"/>
                          <a:cs typeface="Angsana New" panose="02020603050405020304" pitchFamily="18" charset="-34"/>
                        </a:defRPr>
                      </a:lvl1pPr>
                      <a:lvl2pPr>
                        <a:spcBef>
                          <a:spcPct val="20000"/>
                        </a:spcBef>
                        <a:defRPr sz="2400">
                          <a:solidFill>
                            <a:schemeClr val="tx1"/>
                          </a:solidFill>
                          <a:latin typeface="Arial" panose="020B0604020202020204" pitchFamily="34" charset="0"/>
                          <a:cs typeface="Angsana New" panose="02020603050405020304" pitchFamily="18" charset="-34"/>
                        </a:defRPr>
                      </a:lvl2pPr>
                      <a:lvl3pPr>
                        <a:spcBef>
                          <a:spcPct val="20000"/>
                        </a:spcBef>
                        <a:defRPr sz="2000">
                          <a:solidFill>
                            <a:schemeClr val="tx1"/>
                          </a:solidFill>
                          <a:latin typeface="Arial" panose="020B0604020202020204" pitchFamily="34" charset="0"/>
                          <a:cs typeface="Angsana New" panose="02020603050405020304" pitchFamily="18" charset="-34"/>
                        </a:defRPr>
                      </a:lvl3pPr>
                      <a:lvl4pPr>
                        <a:spcBef>
                          <a:spcPct val="20000"/>
                        </a:spcBef>
                        <a:defRPr>
                          <a:solidFill>
                            <a:schemeClr val="tx1"/>
                          </a:solidFill>
                          <a:latin typeface="Arial" panose="020B0604020202020204" pitchFamily="34" charset="0"/>
                          <a:cs typeface="Angsana New" panose="02020603050405020304" pitchFamily="18" charset="-34"/>
                        </a:defRPr>
                      </a:lvl4pPr>
                      <a:lvl5pPr>
                        <a:spcBef>
                          <a:spcPct val="20000"/>
                        </a:spcBef>
                        <a:defRPr>
                          <a:solidFill>
                            <a:schemeClr val="tx1"/>
                          </a:solidFill>
                          <a:latin typeface="Arial" panose="020B0604020202020204" pitchFamily="34" charset="0"/>
                          <a:cs typeface="Angsana New" panose="02020603050405020304" pitchFamily="18" charset="-34"/>
                        </a:defRPr>
                      </a:lvl5pPr>
                      <a:lvl6pPr fontAlgn="base">
                        <a:spcBef>
                          <a:spcPct val="20000"/>
                        </a:spcBef>
                        <a:spcAft>
                          <a:spcPct val="0"/>
                        </a:spcAft>
                        <a:defRPr>
                          <a:solidFill>
                            <a:schemeClr val="tx1"/>
                          </a:solidFill>
                          <a:latin typeface="Arial" panose="020B0604020202020204" pitchFamily="34" charset="0"/>
                          <a:cs typeface="Angsana New" panose="02020603050405020304" pitchFamily="18" charset="-34"/>
                        </a:defRPr>
                      </a:lvl6pPr>
                      <a:lvl7pPr fontAlgn="base">
                        <a:spcBef>
                          <a:spcPct val="20000"/>
                        </a:spcBef>
                        <a:spcAft>
                          <a:spcPct val="0"/>
                        </a:spcAft>
                        <a:defRPr>
                          <a:solidFill>
                            <a:schemeClr val="tx1"/>
                          </a:solidFill>
                          <a:latin typeface="Arial" panose="020B0604020202020204" pitchFamily="34" charset="0"/>
                          <a:cs typeface="Angsana New" panose="02020603050405020304" pitchFamily="18" charset="-34"/>
                        </a:defRPr>
                      </a:lvl7pPr>
                      <a:lvl8pPr fontAlgn="base">
                        <a:spcBef>
                          <a:spcPct val="20000"/>
                        </a:spcBef>
                        <a:spcAft>
                          <a:spcPct val="0"/>
                        </a:spcAft>
                        <a:defRPr>
                          <a:solidFill>
                            <a:schemeClr val="tx1"/>
                          </a:solidFill>
                          <a:latin typeface="Arial" panose="020B0604020202020204" pitchFamily="34" charset="0"/>
                          <a:cs typeface="Angsana New" panose="02020603050405020304" pitchFamily="18" charset="-34"/>
                        </a:defRPr>
                      </a:lvl8pPr>
                      <a:lvl9pPr fontAlgn="base">
                        <a:spcBef>
                          <a:spcPct val="20000"/>
                        </a:spcBef>
                        <a:spcAft>
                          <a:spcPct val="0"/>
                        </a:spcAft>
                        <a:defRPr>
                          <a:solidFill>
                            <a:schemeClr val="tx1"/>
                          </a:solidFill>
                          <a:latin typeface="Arial" panose="020B0604020202020204" pitchFamily="34" charset="0"/>
                          <a:cs typeface="Angsana New" panose="02020603050405020304" pitchFamily="18" charset="-34"/>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th-TH" sz="1100" b="1" i="0" u="none" strike="noStrike" kern="1200" cap="none" normalizeH="0" baseline="0" dirty="0" smtClean="0">
                          <a:ln>
                            <a:noFill/>
                          </a:ln>
                          <a:solidFill>
                            <a:schemeClr val="tx1"/>
                          </a:solidFill>
                          <a:effectLst/>
                          <a:latin typeface="Century Gothic" pitchFamily="34" charset="0"/>
                          <a:ea typeface="+mn-ea"/>
                          <a:cs typeface="+mj-cs"/>
                        </a:rPr>
                        <a:t>2559</a:t>
                      </a:r>
                    </a:p>
                  </a:txBody>
                  <a:tcPr marL="91439" marR="91439" marT="34285" marB="34285"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tx2">
                        <a:lumMod val="20000"/>
                        <a:lumOff val="80000"/>
                      </a:schemeClr>
                    </a:solidFill>
                  </a:tcPr>
                </a:tc>
                <a:tc>
                  <a:txBody>
                    <a:bodyPr/>
                    <a:lstStyle>
                      <a:lvl1pPr>
                        <a:spcBef>
                          <a:spcPct val="20000"/>
                        </a:spcBef>
                        <a:defRPr sz="2800">
                          <a:solidFill>
                            <a:schemeClr val="tx1"/>
                          </a:solidFill>
                          <a:latin typeface="Arial" panose="020B0604020202020204" pitchFamily="34" charset="0"/>
                          <a:cs typeface="Angsana New" panose="02020603050405020304" pitchFamily="18" charset="-34"/>
                        </a:defRPr>
                      </a:lvl1pPr>
                      <a:lvl2pPr>
                        <a:spcBef>
                          <a:spcPct val="20000"/>
                        </a:spcBef>
                        <a:defRPr sz="2400">
                          <a:solidFill>
                            <a:schemeClr val="tx1"/>
                          </a:solidFill>
                          <a:latin typeface="Arial" panose="020B0604020202020204" pitchFamily="34" charset="0"/>
                          <a:cs typeface="Angsana New" panose="02020603050405020304" pitchFamily="18" charset="-34"/>
                        </a:defRPr>
                      </a:lvl2pPr>
                      <a:lvl3pPr>
                        <a:spcBef>
                          <a:spcPct val="20000"/>
                        </a:spcBef>
                        <a:defRPr sz="2000">
                          <a:solidFill>
                            <a:schemeClr val="tx1"/>
                          </a:solidFill>
                          <a:latin typeface="Arial" panose="020B0604020202020204" pitchFamily="34" charset="0"/>
                          <a:cs typeface="Angsana New" panose="02020603050405020304" pitchFamily="18" charset="-34"/>
                        </a:defRPr>
                      </a:lvl3pPr>
                      <a:lvl4pPr>
                        <a:spcBef>
                          <a:spcPct val="20000"/>
                        </a:spcBef>
                        <a:defRPr>
                          <a:solidFill>
                            <a:schemeClr val="tx1"/>
                          </a:solidFill>
                          <a:latin typeface="Arial" panose="020B0604020202020204" pitchFamily="34" charset="0"/>
                          <a:cs typeface="Angsana New" panose="02020603050405020304" pitchFamily="18" charset="-34"/>
                        </a:defRPr>
                      </a:lvl4pPr>
                      <a:lvl5pPr>
                        <a:spcBef>
                          <a:spcPct val="20000"/>
                        </a:spcBef>
                        <a:defRPr>
                          <a:solidFill>
                            <a:schemeClr val="tx1"/>
                          </a:solidFill>
                          <a:latin typeface="Arial" panose="020B0604020202020204" pitchFamily="34" charset="0"/>
                          <a:cs typeface="Angsana New" panose="02020603050405020304" pitchFamily="18" charset="-34"/>
                        </a:defRPr>
                      </a:lvl5pPr>
                      <a:lvl6pPr fontAlgn="base">
                        <a:spcBef>
                          <a:spcPct val="20000"/>
                        </a:spcBef>
                        <a:spcAft>
                          <a:spcPct val="0"/>
                        </a:spcAft>
                        <a:defRPr>
                          <a:solidFill>
                            <a:schemeClr val="tx1"/>
                          </a:solidFill>
                          <a:latin typeface="Arial" panose="020B0604020202020204" pitchFamily="34" charset="0"/>
                          <a:cs typeface="Angsana New" panose="02020603050405020304" pitchFamily="18" charset="-34"/>
                        </a:defRPr>
                      </a:lvl6pPr>
                      <a:lvl7pPr fontAlgn="base">
                        <a:spcBef>
                          <a:spcPct val="20000"/>
                        </a:spcBef>
                        <a:spcAft>
                          <a:spcPct val="0"/>
                        </a:spcAft>
                        <a:defRPr>
                          <a:solidFill>
                            <a:schemeClr val="tx1"/>
                          </a:solidFill>
                          <a:latin typeface="Arial" panose="020B0604020202020204" pitchFamily="34" charset="0"/>
                          <a:cs typeface="Angsana New" panose="02020603050405020304" pitchFamily="18" charset="-34"/>
                        </a:defRPr>
                      </a:lvl7pPr>
                      <a:lvl8pPr fontAlgn="base">
                        <a:spcBef>
                          <a:spcPct val="20000"/>
                        </a:spcBef>
                        <a:spcAft>
                          <a:spcPct val="0"/>
                        </a:spcAft>
                        <a:defRPr>
                          <a:solidFill>
                            <a:schemeClr val="tx1"/>
                          </a:solidFill>
                          <a:latin typeface="Arial" panose="020B0604020202020204" pitchFamily="34" charset="0"/>
                          <a:cs typeface="Angsana New" panose="02020603050405020304" pitchFamily="18" charset="-34"/>
                        </a:defRPr>
                      </a:lvl8pPr>
                      <a:lvl9pPr fontAlgn="base">
                        <a:spcBef>
                          <a:spcPct val="20000"/>
                        </a:spcBef>
                        <a:spcAft>
                          <a:spcPct val="0"/>
                        </a:spcAft>
                        <a:defRPr>
                          <a:solidFill>
                            <a:schemeClr val="tx1"/>
                          </a:solidFill>
                          <a:latin typeface="Arial" panose="020B0604020202020204" pitchFamily="34" charset="0"/>
                          <a:cs typeface="Angsana New" panose="02020603050405020304" pitchFamily="18" charset="-34"/>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th-TH" sz="1100" b="1" i="0" u="none" strike="noStrike" kern="1200" cap="none" normalizeH="0" baseline="0" dirty="0" smtClean="0">
                          <a:ln>
                            <a:noFill/>
                          </a:ln>
                          <a:solidFill>
                            <a:schemeClr val="tx1"/>
                          </a:solidFill>
                          <a:effectLst/>
                          <a:latin typeface="Century Gothic" pitchFamily="34" charset="0"/>
                          <a:ea typeface="+mn-ea"/>
                          <a:cs typeface="+mj-cs"/>
                        </a:rPr>
                        <a:t>2560</a:t>
                      </a:r>
                    </a:p>
                  </a:txBody>
                  <a:tcPr marL="91439" marR="91439" marT="34285" marB="34285"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tx2">
                        <a:lumMod val="20000"/>
                        <a:lumOff val="80000"/>
                      </a:schemeClr>
                    </a:solidFill>
                  </a:tcPr>
                </a:tc>
                <a:tc>
                  <a:txBody>
                    <a:bodyPr/>
                    <a:lstStyle>
                      <a:lvl1pPr>
                        <a:spcBef>
                          <a:spcPct val="20000"/>
                        </a:spcBef>
                        <a:defRPr sz="2800">
                          <a:solidFill>
                            <a:schemeClr val="tx1"/>
                          </a:solidFill>
                          <a:latin typeface="Arial" panose="020B0604020202020204" pitchFamily="34" charset="0"/>
                          <a:cs typeface="Angsana New" panose="02020603050405020304" pitchFamily="18" charset="-34"/>
                        </a:defRPr>
                      </a:lvl1pPr>
                      <a:lvl2pPr>
                        <a:spcBef>
                          <a:spcPct val="20000"/>
                        </a:spcBef>
                        <a:defRPr sz="2400">
                          <a:solidFill>
                            <a:schemeClr val="tx1"/>
                          </a:solidFill>
                          <a:latin typeface="Arial" panose="020B0604020202020204" pitchFamily="34" charset="0"/>
                          <a:cs typeface="Angsana New" panose="02020603050405020304" pitchFamily="18" charset="-34"/>
                        </a:defRPr>
                      </a:lvl2pPr>
                      <a:lvl3pPr>
                        <a:spcBef>
                          <a:spcPct val="20000"/>
                        </a:spcBef>
                        <a:defRPr sz="2000">
                          <a:solidFill>
                            <a:schemeClr val="tx1"/>
                          </a:solidFill>
                          <a:latin typeface="Arial" panose="020B0604020202020204" pitchFamily="34" charset="0"/>
                          <a:cs typeface="Angsana New" panose="02020603050405020304" pitchFamily="18" charset="-34"/>
                        </a:defRPr>
                      </a:lvl3pPr>
                      <a:lvl4pPr>
                        <a:spcBef>
                          <a:spcPct val="20000"/>
                        </a:spcBef>
                        <a:defRPr>
                          <a:solidFill>
                            <a:schemeClr val="tx1"/>
                          </a:solidFill>
                          <a:latin typeface="Arial" panose="020B0604020202020204" pitchFamily="34" charset="0"/>
                          <a:cs typeface="Angsana New" panose="02020603050405020304" pitchFamily="18" charset="-34"/>
                        </a:defRPr>
                      </a:lvl4pPr>
                      <a:lvl5pPr>
                        <a:spcBef>
                          <a:spcPct val="20000"/>
                        </a:spcBef>
                        <a:defRPr>
                          <a:solidFill>
                            <a:schemeClr val="tx1"/>
                          </a:solidFill>
                          <a:latin typeface="Arial" panose="020B0604020202020204" pitchFamily="34" charset="0"/>
                          <a:cs typeface="Angsana New" panose="02020603050405020304" pitchFamily="18" charset="-34"/>
                        </a:defRPr>
                      </a:lvl5pPr>
                      <a:lvl6pPr fontAlgn="base">
                        <a:spcBef>
                          <a:spcPct val="20000"/>
                        </a:spcBef>
                        <a:spcAft>
                          <a:spcPct val="0"/>
                        </a:spcAft>
                        <a:defRPr>
                          <a:solidFill>
                            <a:schemeClr val="tx1"/>
                          </a:solidFill>
                          <a:latin typeface="Arial" panose="020B0604020202020204" pitchFamily="34" charset="0"/>
                          <a:cs typeface="Angsana New" panose="02020603050405020304" pitchFamily="18" charset="-34"/>
                        </a:defRPr>
                      </a:lvl6pPr>
                      <a:lvl7pPr fontAlgn="base">
                        <a:spcBef>
                          <a:spcPct val="20000"/>
                        </a:spcBef>
                        <a:spcAft>
                          <a:spcPct val="0"/>
                        </a:spcAft>
                        <a:defRPr>
                          <a:solidFill>
                            <a:schemeClr val="tx1"/>
                          </a:solidFill>
                          <a:latin typeface="Arial" panose="020B0604020202020204" pitchFamily="34" charset="0"/>
                          <a:cs typeface="Angsana New" panose="02020603050405020304" pitchFamily="18" charset="-34"/>
                        </a:defRPr>
                      </a:lvl7pPr>
                      <a:lvl8pPr fontAlgn="base">
                        <a:spcBef>
                          <a:spcPct val="20000"/>
                        </a:spcBef>
                        <a:spcAft>
                          <a:spcPct val="0"/>
                        </a:spcAft>
                        <a:defRPr>
                          <a:solidFill>
                            <a:schemeClr val="tx1"/>
                          </a:solidFill>
                          <a:latin typeface="Arial" panose="020B0604020202020204" pitchFamily="34" charset="0"/>
                          <a:cs typeface="Angsana New" panose="02020603050405020304" pitchFamily="18" charset="-34"/>
                        </a:defRPr>
                      </a:lvl8pPr>
                      <a:lvl9pPr fontAlgn="base">
                        <a:spcBef>
                          <a:spcPct val="20000"/>
                        </a:spcBef>
                        <a:spcAft>
                          <a:spcPct val="0"/>
                        </a:spcAft>
                        <a:defRPr>
                          <a:solidFill>
                            <a:schemeClr val="tx1"/>
                          </a:solidFill>
                          <a:latin typeface="Arial" panose="020B0604020202020204" pitchFamily="34" charset="0"/>
                          <a:cs typeface="Angsana New" panose="02020603050405020304" pitchFamily="18" charset="-34"/>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th-TH" sz="1100" b="1" i="0" u="none" strike="noStrike" kern="1200" cap="none" normalizeH="0" baseline="0" dirty="0" smtClean="0">
                          <a:ln>
                            <a:noFill/>
                          </a:ln>
                          <a:solidFill>
                            <a:schemeClr val="tx1"/>
                          </a:solidFill>
                          <a:effectLst/>
                          <a:latin typeface="Century Gothic" pitchFamily="34" charset="0"/>
                          <a:ea typeface="+mn-ea"/>
                          <a:cs typeface="+mj-cs"/>
                        </a:rPr>
                        <a:t>2561</a:t>
                      </a:r>
                    </a:p>
                  </a:txBody>
                  <a:tcPr marL="91439" marR="91439" marT="34285" marB="34285"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tx2">
                        <a:lumMod val="20000"/>
                        <a:lumOff val="80000"/>
                      </a:schemeClr>
                    </a:solidFill>
                  </a:tcPr>
                </a:tc>
                <a:tc>
                  <a:txBody>
                    <a:bodyPr/>
                    <a:lstStyle>
                      <a:lvl1pPr>
                        <a:spcBef>
                          <a:spcPct val="20000"/>
                        </a:spcBef>
                        <a:defRPr sz="2800">
                          <a:solidFill>
                            <a:schemeClr val="tx1"/>
                          </a:solidFill>
                          <a:latin typeface="Arial" panose="020B0604020202020204" pitchFamily="34" charset="0"/>
                          <a:cs typeface="Angsana New" panose="02020603050405020304" pitchFamily="18" charset="-34"/>
                        </a:defRPr>
                      </a:lvl1pPr>
                      <a:lvl2pPr>
                        <a:spcBef>
                          <a:spcPct val="20000"/>
                        </a:spcBef>
                        <a:defRPr sz="2400">
                          <a:solidFill>
                            <a:schemeClr val="tx1"/>
                          </a:solidFill>
                          <a:latin typeface="Arial" panose="020B0604020202020204" pitchFamily="34" charset="0"/>
                          <a:cs typeface="Angsana New" panose="02020603050405020304" pitchFamily="18" charset="-34"/>
                        </a:defRPr>
                      </a:lvl2pPr>
                      <a:lvl3pPr>
                        <a:spcBef>
                          <a:spcPct val="20000"/>
                        </a:spcBef>
                        <a:defRPr sz="2000">
                          <a:solidFill>
                            <a:schemeClr val="tx1"/>
                          </a:solidFill>
                          <a:latin typeface="Arial" panose="020B0604020202020204" pitchFamily="34" charset="0"/>
                          <a:cs typeface="Angsana New" panose="02020603050405020304" pitchFamily="18" charset="-34"/>
                        </a:defRPr>
                      </a:lvl3pPr>
                      <a:lvl4pPr>
                        <a:spcBef>
                          <a:spcPct val="20000"/>
                        </a:spcBef>
                        <a:defRPr>
                          <a:solidFill>
                            <a:schemeClr val="tx1"/>
                          </a:solidFill>
                          <a:latin typeface="Arial" panose="020B0604020202020204" pitchFamily="34" charset="0"/>
                          <a:cs typeface="Angsana New" panose="02020603050405020304" pitchFamily="18" charset="-34"/>
                        </a:defRPr>
                      </a:lvl4pPr>
                      <a:lvl5pPr>
                        <a:spcBef>
                          <a:spcPct val="20000"/>
                        </a:spcBef>
                        <a:defRPr>
                          <a:solidFill>
                            <a:schemeClr val="tx1"/>
                          </a:solidFill>
                          <a:latin typeface="Arial" panose="020B0604020202020204" pitchFamily="34" charset="0"/>
                          <a:cs typeface="Angsana New" panose="02020603050405020304" pitchFamily="18" charset="-34"/>
                        </a:defRPr>
                      </a:lvl5pPr>
                      <a:lvl6pPr fontAlgn="base">
                        <a:spcBef>
                          <a:spcPct val="20000"/>
                        </a:spcBef>
                        <a:spcAft>
                          <a:spcPct val="0"/>
                        </a:spcAft>
                        <a:defRPr>
                          <a:solidFill>
                            <a:schemeClr val="tx1"/>
                          </a:solidFill>
                          <a:latin typeface="Arial" panose="020B0604020202020204" pitchFamily="34" charset="0"/>
                          <a:cs typeface="Angsana New" panose="02020603050405020304" pitchFamily="18" charset="-34"/>
                        </a:defRPr>
                      </a:lvl6pPr>
                      <a:lvl7pPr fontAlgn="base">
                        <a:spcBef>
                          <a:spcPct val="20000"/>
                        </a:spcBef>
                        <a:spcAft>
                          <a:spcPct val="0"/>
                        </a:spcAft>
                        <a:defRPr>
                          <a:solidFill>
                            <a:schemeClr val="tx1"/>
                          </a:solidFill>
                          <a:latin typeface="Arial" panose="020B0604020202020204" pitchFamily="34" charset="0"/>
                          <a:cs typeface="Angsana New" panose="02020603050405020304" pitchFamily="18" charset="-34"/>
                        </a:defRPr>
                      </a:lvl7pPr>
                      <a:lvl8pPr fontAlgn="base">
                        <a:spcBef>
                          <a:spcPct val="20000"/>
                        </a:spcBef>
                        <a:spcAft>
                          <a:spcPct val="0"/>
                        </a:spcAft>
                        <a:defRPr>
                          <a:solidFill>
                            <a:schemeClr val="tx1"/>
                          </a:solidFill>
                          <a:latin typeface="Arial" panose="020B0604020202020204" pitchFamily="34" charset="0"/>
                          <a:cs typeface="Angsana New" panose="02020603050405020304" pitchFamily="18" charset="-34"/>
                        </a:defRPr>
                      </a:lvl8pPr>
                      <a:lvl9pPr fontAlgn="base">
                        <a:spcBef>
                          <a:spcPct val="20000"/>
                        </a:spcBef>
                        <a:spcAft>
                          <a:spcPct val="0"/>
                        </a:spcAft>
                        <a:defRPr>
                          <a:solidFill>
                            <a:schemeClr val="tx1"/>
                          </a:solidFill>
                          <a:latin typeface="Arial" panose="020B0604020202020204" pitchFamily="34" charset="0"/>
                          <a:cs typeface="Angsana New" panose="02020603050405020304" pitchFamily="18" charset="-34"/>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th-TH" sz="1100" b="1" i="0" u="none" strike="noStrike" kern="1200" cap="none" normalizeH="0" baseline="0" dirty="0" smtClean="0">
                          <a:ln>
                            <a:noFill/>
                          </a:ln>
                          <a:solidFill>
                            <a:schemeClr val="tx1"/>
                          </a:solidFill>
                          <a:effectLst/>
                          <a:latin typeface="Century Gothic" pitchFamily="34" charset="0"/>
                          <a:ea typeface="+mn-ea"/>
                          <a:cs typeface="+mj-cs"/>
                        </a:rPr>
                        <a:t>2562</a:t>
                      </a:r>
                    </a:p>
                  </a:txBody>
                  <a:tcPr marL="91439" marR="91439" marT="34285" marB="34285" anchor="ct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tx2">
                        <a:lumMod val="20000"/>
                        <a:lumOff val="80000"/>
                      </a:schemeClr>
                    </a:solidFill>
                  </a:tcPr>
                </a:tc>
                <a:tc>
                  <a:txBody>
                    <a:bodyPr/>
                    <a:lstStyle>
                      <a:lvl1pPr>
                        <a:spcBef>
                          <a:spcPct val="20000"/>
                        </a:spcBef>
                        <a:defRPr sz="2800">
                          <a:solidFill>
                            <a:schemeClr val="tx1"/>
                          </a:solidFill>
                          <a:latin typeface="Arial" panose="020B0604020202020204" pitchFamily="34" charset="0"/>
                          <a:cs typeface="Angsana New" panose="02020603050405020304" pitchFamily="18" charset="-34"/>
                        </a:defRPr>
                      </a:lvl1pPr>
                      <a:lvl2pPr>
                        <a:spcBef>
                          <a:spcPct val="20000"/>
                        </a:spcBef>
                        <a:defRPr sz="2400">
                          <a:solidFill>
                            <a:schemeClr val="tx1"/>
                          </a:solidFill>
                          <a:latin typeface="Arial" panose="020B0604020202020204" pitchFamily="34" charset="0"/>
                          <a:cs typeface="Angsana New" panose="02020603050405020304" pitchFamily="18" charset="-34"/>
                        </a:defRPr>
                      </a:lvl2pPr>
                      <a:lvl3pPr>
                        <a:spcBef>
                          <a:spcPct val="20000"/>
                        </a:spcBef>
                        <a:defRPr sz="2000">
                          <a:solidFill>
                            <a:schemeClr val="tx1"/>
                          </a:solidFill>
                          <a:latin typeface="Arial" panose="020B0604020202020204" pitchFamily="34" charset="0"/>
                          <a:cs typeface="Angsana New" panose="02020603050405020304" pitchFamily="18" charset="-34"/>
                        </a:defRPr>
                      </a:lvl3pPr>
                      <a:lvl4pPr>
                        <a:spcBef>
                          <a:spcPct val="20000"/>
                        </a:spcBef>
                        <a:defRPr>
                          <a:solidFill>
                            <a:schemeClr val="tx1"/>
                          </a:solidFill>
                          <a:latin typeface="Arial" panose="020B0604020202020204" pitchFamily="34" charset="0"/>
                          <a:cs typeface="Angsana New" panose="02020603050405020304" pitchFamily="18" charset="-34"/>
                        </a:defRPr>
                      </a:lvl4pPr>
                      <a:lvl5pPr>
                        <a:spcBef>
                          <a:spcPct val="20000"/>
                        </a:spcBef>
                        <a:defRPr>
                          <a:solidFill>
                            <a:schemeClr val="tx1"/>
                          </a:solidFill>
                          <a:latin typeface="Arial" panose="020B0604020202020204" pitchFamily="34" charset="0"/>
                          <a:cs typeface="Angsana New" panose="02020603050405020304" pitchFamily="18" charset="-34"/>
                        </a:defRPr>
                      </a:lvl5pPr>
                      <a:lvl6pPr fontAlgn="base">
                        <a:spcBef>
                          <a:spcPct val="20000"/>
                        </a:spcBef>
                        <a:spcAft>
                          <a:spcPct val="0"/>
                        </a:spcAft>
                        <a:defRPr>
                          <a:solidFill>
                            <a:schemeClr val="tx1"/>
                          </a:solidFill>
                          <a:latin typeface="Arial" panose="020B0604020202020204" pitchFamily="34" charset="0"/>
                          <a:cs typeface="Angsana New" panose="02020603050405020304" pitchFamily="18" charset="-34"/>
                        </a:defRPr>
                      </a:lvl6pPr>
                      <a:lvl7pPr fontAlgn="base">
                        <a:spcBef>
                          <a:spcPct val="20000"/>
                        </a:spcBef>
                        <a:spcAft>
                          <a:spcPct val="0"/>
                        </a:spcAft>
                        <a:defRPr>
                          <a:solidFill>
                            <a:schemeClr val="tx1"/>
                          </a:solidFill>
                          <a:latin typeface="Arial" panose="020B0604020202020204" pitchFamily="34" charset="0"/>
                          <a:cs typeface="Angsana New" panose="02020603050405020304" pitchFamily="18" charset="-34"/>
                        </a:defRPr>
                      </a:lvl7pPr>
                      <a:lvl8pPr fontAlgn="base">
                        <a:spcBef>
                          <a:spcPct val="20000"/>
                        </a:spcBef>
                        <a:spcAft>
                          <a:spcPct val="0"/>
                        </a:spcAft>
                        <a:defRPr>
                          <a:solidFill>
                            <a:schemeClr val="tx1"/>
                          </a:solidFill>
                          <a:latin typeface="Arial" panose="020B0604020202020204" pitchFamily="34" charset="0"/>
                          <a:cs typeface="Angsana New" panose="02020603050405020304" pitchFamily="18" charset="-34"/>
                        </a:defRPr>
                      </a:lvl8pPr>
                      <a:lvl9pPr fontAlgn="base">
                        <a:spcBef>
                          <a:spcPct val="20000"/>
                        </a:spcBef>
                        <a:spcAft>
                          <a:spcPct val="0"/>
                        </a:spcAft>
                        <a:defRPr>
                          <a:solidFill>
                            <a:schemeClr val="tx1"/>
                          </a:solidFill>
                          <a:latin typeface="Arial" panose="020B0604020202020204" pitchFamily="34" charset="0"/>
                          <a:cs typeface="Angsana New" panose="02020603050405020304" pitchFamily="18" charset="-34"/>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th-TH" sz="1100" b="1" i="0" u="none" strike="noStrike" kern="1200" cap="none" normalizeH="0" baseline="0" dirty="0" smtClean="0">
                          <a:ln>
                            <a:noFill/>
                          </a:ln>
                          <a:solidFill>
                            <a:schemeClr val="tx1"/>
                          </a:solidFill>
                          <a:effectLst/>
                          <a:latin typeface="Century Gothic" pitchFamily="34" charset="0"/>
                          <a:ea typeface="+mn-ea"/>
                          <a:cs typeface="+mj-cs"/>
                        </a:rPr>
                        <a:t>วงเงิน (ลบ.)</a:t>
                      </a:r>
                    </a:p>
                  </a:txBody>
                  <a:tcPr marL="91439" marR="91439" marT="34285" marB="34285"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tx2">
                        <a:lumMod val="20000"/>
                        <a:lumOff val="80000"/>
                      </a:schemeClr>
                    </a:solidFill>
                  </a:tcPr>
                </a:tc>
              </a:tr>
              <a:tr h="384059">
                <a:tc>
                  <a:txBody>
                    <a:bodyPr/>
                    <a:lstStyle>
                      <a:lvl1pPr>
                        <a:spcBef>
                          <a:spcPct val="20000"/>
                        </a:spcBef>
                        <a:defRPr sz="2800">
                          <a:solidFill>
                            <a:schemeClr val="tx1"/>
                          </a:solidFill>
                          <a:latin typeface="Arial" panose="020B0604020202020204" pitchFamily="34" charset="0"/>
                          <a:cs typeface="Angsana New" panose="02020603050405020304" pitchFamily="18" charset="-34"/>
                        </a:defRPr>
                      </a:lvl1pPr>
                      <a:lvl2pPr>
                        <a:spcBef>
                          <a:spcPct val="20000"/>
                        </a:spcBef>
                        <a:defRPr sz="2400">
                          <a:solidFill>
                            <a:schemeClr val="tx1"/>
                          </a:solidFill>
                          <a:latin typeface="Arial" panose="020B0604020202020204" pitchFamily="34" charset="0"/>
                          <a:cs typeface="Angsana New" panose="02020603050405020304" pitchFamily="18" charset="-34"/>
                        </a:defRPr>
                      </a:lvl2pPr>
                      <a:lvl3pPr>
                        <a:spcBef>
                          <a:spcPct val="20000"/>
                        </a:spcBef>
                        <a:defRPr sz="2000">
                          <a:solidFill>
                            <a:schemeClr val="tx1"/>
                          </a:solidFill>
                          <a:latin typeface="Arial" panose="020B0604020202020204" pitchFamily="34" charset="0"/>
                          <a:cs typeface="Angsana New" panose="02020603050405020304" pitchFamily="18" charset="-34"/>
                        </a:defRPr>
                      </a:lvl3pPr>
                      <a:lvl4pPr>
                        <a:spcBef>
                          <a:spcPct val="20000"/>
                        </a:spcBef>
                        <a:defRPr>
                          <a:solidFill>
                            <a:schemeClr val="tx1"/>
                          </a:solidFill>
                          <a:latin typeface="Arial" panose="020B0604020202020204" pitchFamily="34" charset="0"/>
                          <a:cs typeface="Angsana New" panose="02020603050405020304" pitchFamily="18" charset="-34"/>
                        </a:defRPr>
                      </a:lvl4pPr>
                      <a:lvl5pPr>
                        <a:spcBef>
                          <a:spcPct val="20000"/>
                        </a:spcBef>
                        <a:defRPr>
                          <a:solidFill>
                            <a:schemeClr val="tx1"/>
                          </a:solidFill>
                          <a:latin typeface="Arial" panose="020B0604020202020204" pitchFamily="34" charset="0"/>
                          <a:cs typeface="Angsana New" panose="02020603050405020304" pitchFamily="18" charset="-34"/>
                        </a:defRPr>
                      </a:lvl5pPr>
                      <a:lvl6pPr fontAlgn="base">
                        <a:spcBef>
                          <a:spcPct val="20000"/>
                        </a:spcBef>
                        <a:spcAft>
                          <a:spcPct val="0"/>
                        </a:spcAft>
                        <a:defRPr>
                          <a:solidFill>
                            <a:schemeClr val="tx1"/>
                          </a:solidFill>
                          <a:latin typeface="Arial" panose="020B0604020202020204" pitchFamily="34" charset="0"/>
                          <a:cs typeface="Angsana New" panose="02020603050405020304" pitchFamily="18" charset="-34"/>
                        </a:defRPr>
                      </a:lvl6pPr>
                      <a:lvl7pPr fontAlgn="base">
                        <a:spcBef>
                          <a:spcPct val="20000"/>
                        </a:spcBef>
                        <a:spcAft>
                          <a:spcPct val="0"/>
                        </a:spcAft>
                        <a:defRPr>
                          <a:solidFill>
                            <a:schemeClr val="tx1"/>
                          </a:solidFill>
                          <a:latin typeface="Arial" panose="020B0604020202020204" pitchFamily="34" charset="0"/>
                          <a:cs typeface="Angsana New" panose="02020603050405020304" pitchFamily="18" charset="-34"/>
                        </a:defRPr>
                      </a:lvl7pPr>
                      <a:lvl8pPr fontAlgn="base">
                        <a:spcBef>
                          <a:spcPct val="20000"/>
                        </a:spcBef>
                        <a:spcAft>
                          <a:spcPct val="0"/>
                        </a:spcAft>
                        <a:defRPr>
                          <a:solidFill>
                            <a:schemeClr val="tx1"/>
                          </a:solidFill>
                          <a:latin typeface="Arial" panose="020B0604020202020204" pitchFamily="34" charset="0"/>
                          <a:cs typeface="Angsana New" panose="02020603050405020304" pitchFamily="18" charset="-34"/>
                        </a:defRPr>
                      </a:lvl8pPr>
                      <a:lvl9pPr fontAlgn="base">
                        <a:spcBef>
                          <a:spcPct val="20000"/>
                        </a:spcBef>
                        <a:spcAft>
                          <a:spcPct val="0"/>
                        </a:spcAft>
                        <a:defRPr>
                          <a:solidFill>
                            <a:schemeClr val="tx1"/>
                          </a:solidFill>
                          <a:latin typeface="Arial" panose="020B0604020202020204" pitchFamily="34" charset="0"/>
                          <a:cs typeface="Angsana New" panose="02020603050405020304" pitchFamily="18" charset="-34"/>
                        </a:defRPr>
                      </a:lvl9p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th-TH" sz="1300" b="1" i="0" u="none" strike="noStrike" kern="1200" cap="none" normalizeH="0" baseline="0" dirty="0" smtClean="0">
                          <a:ln>
                            <a:noFill/>
                          </a:ln>
                          <a:solidFill>
                            <a:schemeClr val="tx1"/>
                          </a:solidFill>
                          <a:effectLst/>
                          <a:latin typeface="Calibri" pitchFamily="34" charset="0"/>
                          <a:ea typeface="+mn-ea"/>
                          <a:cs typeface="+mj-cs"/>
                        </a:rPr>
                        <a:t>1. แก่งคอย - ฉะเชิงเทรา </a:t>
                      </a:r>
                      <a:r>
                        <a:rPr kumimoji="0" lang="th-TH" sz="1300" b="1" i="0" u="none" strike="noStrike" cap="none" normalizeH="0" baseline="0" dirty="0" smtClean="0">
                          <a:ln>
                            <a:noFill/>
                          </a:ln>
                          <a:solidFill>
                            <a:schemeClr val="tx1"/>
                          </a:solidFill>
                          <a:effectLst/>
                          <a:latin typeface="Calibri" pitchFamily="34" charset="0"/>
                          <a:cs typeface="+mj-cs"/>
                        </a:rPr>
                        <a:t> </a:t>
                      </a:r>
                      <a:r>
                        <a:rPr kumimoji="0" lang="en-US" sz="1000" b="0" i="0" u="none" strike="noStrike" cap="none" normalizeH="0" baseline="0" dirty="0" smtClean="0">
                          <a:ln>
                            <a:noFill/>
                          </a:ln>
                          <a:solidFill>
                            <a:schemeClr val="tx1"/>
                          </a:solidFill>
                          <a:effectLst/>
                          <a:latin typeface="Calibri" pitchFamily="34" charset="0"/>
                          <a:cs typeface="+mj-cs"/>
                        </a:rPr>
                        <a:t>(106 </a:t>
                      </a:r>
                      <a:r>
                        <a:rPr kumimoji="0" lang="th-TH" sz="1000" b="0" i="0" u="none" strike="noStrike" cap="none" normalizeH="0" baseline="0" dirty="0" smtClean="0">
                          <a:ln>
                            <a:noFill/>
                          </a:ln>
                          <a:solidFill>
                            <a:schemeClr val="tx1"/>
                          </a:solidFill>
                          <a:effectLst/>
                          <a:latin typeface="Calibri" pitchFamily="34" charset="0"/>
                          <a:cs typeface="+mj-cs"/>
                        </a:rPr>
                        <a:t>กม</a:t>
                      </a:r>
                      <a:r>
                        <a:rPr kumimoji="0" lang="en-US" sz="1000" b="0" i="0" u="none" strike="noStrike" cap="none" normalizeH="0" baseline="0" dirty="0" smtClean="0">
                          <a:ln>
                            <a:noFill/>
                          </a:ln>
                          <a:solidFill>
                            <a:schemeClr val="tx1"/>
                          </a:solidFill>
                          <a:effectLst/>
                          <a:latin typeface="Calibri" pitchFamily="34" charset="0"/>
                          <a:cs typeface="+mj-cs"/>
                        </a:rPr>
                        <a:t>.)</a:t>
                      </a:r>
                      <a:endParaRPr kumimoji="0" lang="th-TH" sz="1000" b="0" i="0" u="none" strike="noStrike" cap="none" normalizeH="0" baseline="0" dirty="0" smtClean="0">
                        <a:ln>
                          <a:noFill/>
                        </a:ln>
                        <a:solidFill>
                          <a:schemeClr val="tx1"/>
                        </a:solidFill>
                        <a:effectLst/>
                        <a:latin typeface="Calibri" pitchFamily="34" charset="0"/>
                        <a:cs typeface="+mj-cs"/>
                      </a:endParaRPr>
                    </a:p>
                  </a:txBody>
                  <a:tcPr marL="91439" marR="91439" marT="34285" marB="34285"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cs typeface="Angsana New" panose="02020603050405020304" pitchFamily="18" charset="-34"/>
                        </a:defRPr>
                      </a:lvl1pPr>
                      <a:lvl2pPr>
                        <a:spcBef>
                          <a:spcPct val="20000"/>
                        </a:spcBef>
                        <a:defRPr sz="2400">
                          <a:solidFill>
                            <a:schemeClr val="tx1"/>
                          </a:solidFill>
                          <a:latin typeface="Arial" panose="020B0604020202020204" pitchFamily="34" charset="0"/>
                          <a:cs typeface="Angsana New" panose="02020603050405020304" pitchFamily="18" charset="-34"/>
                        </a:defRPr>
                      </a:lvl2pPr>
                      <a:lvl3pPr>
                        <a:spcBef>
                          <a:spcPct val="20000"/>
                        </a:spcBef>
                        <a:defRPr sz="2000">
                          <a:solidFill>
                            <a:schemeClr val="tx1"/>
                          </a:solidFill>
                          <a:latin typeface="Arial" panose="020B0604020202020204" pitchFamily="34" charset="0"/>
                          <a:cs typeface="Angsana New" panose="02020603050405020304" pitchFamily="18" charset="-34"/>
                        </a:defRPr>
                      </a:lvl3pPr>
                      <a:lvl4pPr>
                        <a:spcBef>
                          <a:spcPct val="20000"/>
                        </a:spcBef>
                        <a:defRPr>
                          <a:solidFill>
                            <a:schemeClr val="tx1"/>
                          </a:solidFill>
                          <a:latin typeface="Arial" panose="020B0604020202020204" pitchFamily="34" charset="0"/>
                          <a:cs typeface="Angsana New" panose="02020603050405020304" pitchFamily="18" charset="-34"/>
                        </a:defRPr>
                      </a:lvl4pPr>
                      <a:lvl5pPr>
                        <a:spcBef>
                          <a:spcPct val="20000"/>
                        </a:spcBef>
                        <a:defRPr>
                          <a:solidFill>
                            <a:schemeClr val="tx1"/>
                          </a:solidFill>
                          <a:latin typeface="Arial" panose="020B0604020202020204" pitchFamily="34" charset="0"/>
                          <a:cs typeface="Angsana New" panose="02020603050405020304" pitchFamily="18" charset="-34"/>
                        </a:defRPr>
                      </a:lvl5pPr>
                      <a:lvl6pPr fontAlgn="base">
                        <a:spcBef>
                          <a:spcPct val="20000"/>
                        </a:spcBef>
                        <a:spcAft>
                          <a:spcPct val="0"/>
                        </a:spcAft>
                        <a:defRPr>
                          <a:solidFill>
                            <a:schemeClr val="tx1"/>
                          </a:solidFill>
                          <a:latin typeface="Arial" panose="020B0604020202020204" pitchFamily="34" charset="0"/>
                          <a:cs typeface="Angsana New" panose="02020603050405020304" pitchFamily="18" charset="-34"/>
                        </a:defRPr>
                      </a:lvl6pPr>
                      <a:lvl7pPr fontAlgn="base">
                        <a:spcBef>
                          <a:spcPct val="20000"/>
                        </a:spcBef>
                        <a:spcAft>
                          <a:spcPct val="0"/>
                        </a:spcAft>
                        <a:defRPr>
                          <a:solidFill>
                            <a:schemeClr val="tx1"/>
                          </a:solidFill>
                          <a:latin typeface="Arial" panose="020B0604020202020204" pitchFamily="34" charset="0"/>
                          <a:cs typeface="Angsana New" panose="02020603050405020304" pitchFamily="18" charset="-34"/>
                        </a:defRPr>
                      </a:lvl7pPr>
                      <a:lvl8pPr fontAlgn="base">
                        <a:spcBef>
                          <a:spcPct val="20000"/>
                        </a:spcBef>
                        <a:spcAft>
                          <a:spcPct val="0"/>
                        </a:spcAft>
                        <a:defRPr>
                          <a:solidFill>
                            <a:schemeClr val="tx1"/>
                          </a:solidFill>
                          <a:latin typeface="Arial" panose="020B0604020202020204" pitchFamily="34" charset="0"/>
                          <a:cs typeface="Angsana New" panose="02020603050405020304" pitchFamily="18" charset="-34"/>
                        </a:defRPr>
                      </a:lvl8pPr>
                      <a:lvl9pPr fontAlgn="base">
                        <a:spcBef>
                          <a:spcPct val="20000"/>
                        </a:spcBef>
                        <a:spcAft>
                          <a:spcPct val="0"/>
                        </a:spcAft>
                        <a:defRPr>
                          <a:solidFill>
                            <a:schemeClr val="tx1"/>
                          </a:solidFill>
                          <a:latin typeface="Arial" panose="020B0604020202020204" pitchFamily="34" charset="0"/>
                          <a:cs typeface="Angsana New" panose="02020603050405020304" pitchFamily="18" charset="-34"/>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th-TH" sz="900" b="0" i="0" u="none" strike="noStrike" cap="none" normalizeH="0" baseline="0" dirty="0" smtClean="0">
                        <a:ln>
                          <a:noFill/>
                        </a:ln>
                        <a:solidFill>
                          <a:schemeClr val="tx1"/>
                        </a:solidFill>
                        <a:effectLst/>
                        <a:latin typeface="Century Gothic" pitchFamily="34" charset="0"/>
                        <a:cs typeface="+mj-cs"/>
                      </a:endParaRPr>
                    </a:p>
                  </a:txBody>
                  <a:tcPr marL="91439" marR="91439" marT="34285" marB="34285"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cs typeface="Angsana New" panose="02020603050405020304" pitchFamily="18" charset="-34"/>
                        </a:defRPr>
                      </a:lvl1pPr>
                      <a:lvl2pPr>
                        <a:spcBef>
                          <a:spcPct val="20000"/>
                        </a:spcBef>
                        <a:defRPr sz="2400">
                          <a:solidFill>
                            <a:schemeClr val="tx1"/>
                          </a:solidFill>
                          <a:latin typeface="Arial" panose="020B0604020202020204" pitchFamily="34" charset="0"/>
                          <a:cs typeface="Angsana New" panose="02020603050405020304" pitchFamily="18" charset="-34"/>
                        </a:defRPr>
                      </a:lvl2pPr>
                      <a:lvl3pPr>
                        <a:spcBef>
                          <a:spcPct val="20000"/>
                        </a:spcBef>
                        <a:defRPr sz="2000">
                          <a:solidFill>
                            <a:schemeClr val="tx1"/>
                          </a:solidFill>
                          <a:latin typeface="Arial" panose="020B0604020202020204" pitchFamily="34" charset="0"/>
                          <a:cs typeface="Angsana New" panose="02020603050405020304" pitchFamily="18" charset="-34"/>
                        </a:defRPr>
                      </a:lvl3pPr>
                      <a:lvl4pPr>
                        <a:spcBef>
                          <a:spcPct val="20000"/>
                        </a:spcBef>
                        <a:defRPr>
                          <a:solidFill>
                            <a:schemeClr val="tx1"/>
                          </a:solidFill>
                          <a:latin typeface="Arial" panose="020B0604020202020204" pitchFamily="34" charset="0"/>
                          <a:cs typeface="Angsana New" panose="02020603050405020304" pitchFamily="18" charset="-34"/>
                        </a:defRPr>
                      </a:lvl4pPr>
                      <a:lvl5pPr>
                        <a:spcBef>
                          <a:spcPct val="20000"/>
                        </a:spcBef>
                        <a:defRPr>
                          <a:solidFill>
                            <a:schemeClr val="tx1"/>
                          </a:solidFill>
                          <a:latin typeface="Arial" panose="020B0604020202020204" pitchFamily="34" charset="0"/>
                          <a:cs typeface="Angsana New" panose="02020603050405020304" pitchFamily="18" charset="-34"/>
                        </a:defRPr>
                      </a:lvl5pPr>
                      <a:lvl6pPr fontAlgn="base">
                        <a:spcBef>
                          <a:spcPct val="20000"/>
                        </a:spcBef>
                        <a:spcAft>
                          <a:spcPct val="0"/>
                        </a:spcAft>
                        <a:defRPr>
                          <a:solidFill>
                            <a:schemeClr val="tx1"/>
                          </a:solidFill>
                          <a:latin typeface="Arial" panose="020B0604020202020204" pitchFamily="34" charset="0"/>
                          <a:cs typeface="Angsana New" panose="02020603050405020304" pitchFamily="18" charset="-34"/>
                        </a:defRPr>
                      </a:lvl6pPr>
                      <a:lvl7pPr fontAlgn="base">
                        <a:spcBef>
                          <a:spcPct val="20000"/>
                        </a:spcBef>
                        <a:spcAft>
                          <a:spcPct val="0"/>
                        </a:spcAft>
                        <a:defRPr>
                          <a:solidFill>
                            <a:schemeClr val="tx1"/>
                          </a:solidFill>
                          <a:latin typeface="Arial" panose="020B0604020202020204" pitchFamily="34" charset="0"/>
                          <a:cs typeface="Angsana New" panose="02020603050405020304" pitchFamily="18" charset="-34"/>
                        </a:defRPr>
                      </a:lvl7pPr>
                      <a:lvl8pPr fontAlgn="base">
                        <a:spcBef>
                          <a:spcPct val="20000"/>
                        </a:spcBef>
                        <a:spcAft>
                          <a:spcPct val="0"/>
                        </a:spcAft>
                        <a:defRPr>
                          <a:solidFill>
                            <a:schemeClr val="tx1"/>
                          </a:solidFill>
                          <a:latin typeface="Arial" panose="020B0604020202020204" pitchFamily="34" charset="0"/>
                          <a:cs typeface="Angsana New" panose="02020603050405020304" pitchFamily="18" charset="-34"/>
                        </a:defRPr>
                      </a:lvl8pPr>
                      <a:lvl9pPr fontAlgn="base">
                        <a:spcBef>
                          <a:spcPct val="20000"/>
                        </a:spcBef>
                        <a:spcAft>
                          <a:spcPct val="0"/>
                        </a:spcAft>
                        <a:defRPr>
                          <a:solidFill>
                            <a:schemeClr val="tx1"/>
                          </a:solidFill>
                          <a:latin typeface="Arial" panose="020B0604020202020204" pitchFamily="34" charset="0"/>
                          <a:cs typeface="Angsana New" panose="02020603050405020304" pitchFamily="18" charset="-34"/>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th-TH" sz="900" b="0" i="0" u="none" strike="noStrike" cap="none" normalizeH="0" baseline="0" dirty="0" smtClean="0">
                        <a:ln>
                          <a:noFill/>
                        </a:ln>
                        <a:solidFill>
                          <a:schemeClr val="tx1"/>
                        </a:solidFill>
                        <a:effectLst/>
                        <a:latin typeface="Century Gothic" pitchFamily="34" charset="0"/>
                        <a:cs typeface="+mj-cs"/>
                      </a:endParaRPr>
                    </a:p>
                  </a:txBody>
                  <a:tcPr marL="91439" marR="91439" marT="34285" marB="34285"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cs typeface="Angsana New" panose="02020603050405020304" pitchFamily="18" charset="-34"/>
                        </a:defRPr>
                      </a:lvl1pPr>
                      <a:lvl2pPr>
                        <a:spcBef>
                          <a:spcPct val="20000"/>
                        </a:spcBef>
                        <a:defRPr sz="2400">
                          <a:solidFill>
                            <a:schemeClr val="tx1"/>
                          </a:solidFill>
                          <a:latin typeface="Arial" panose="020B0604020202020204" pitchFamily="34" charset="0"/>
                          <a:cs typeface="Angsana New" panose="02020603050405020304" pitchFamily="18" charset="-34"/>
                        </a:defRPr>
                      </a:lvl2pPr>
                      <a:lvl3pPr>
                        <a:spcBef>
                          <a:spcPct val="20000"/>
                        </a:spcBef>
                        <a:defRPr sz="2000">
                          <a:solidFill>
                            <a:schemeClr val="tx1"/>
                          </a:solidFill>
                          <a:latin typeface="Arial" panose="020B0604020202020204" pitchFamily="34" charset="0"/>
                          <a:cs typeface="Angsana New" panose="02020603050405020304" pitchFamily="18" charset="-34"/>
                        </a:defRPr>
                      </a:lvl3pPr>
                      <a:lvl4pPr>
                        <a:spcBef>
                          <a:spcPct val="20000"/>
                        </a:spcBef>
                        <a:defRPr>
                          <a:solidFill>
                            <a:schemeClr val="tx1"/>
                          </a:solidFill>
                          <a:latin typeface="Arial" panose="020B0604020202020204" pitchFamily="34" charset="0"/>
                          <a:cs typeface="Angsana New" panose="02020603050405020304" pitchFamily="18" charset="-34"/>
                        </a:defRPr>
                      </a:lvl4pPr>
                      <a:lvl5pPr>
                        <a:spcBef>
                          <a:spcPct val="20000"/>
                        </a:spcBef>
                        <a:defRPr>
                          <a:solidFill>
                            <a:schemeClr val="tx1"/>
                          </a:solidFill>
                          <a:latin typeface="Arial" panose="020B0604020202020204" pitchFamily="34" charset="0"/>
                          <a:cs typeface="Angsana New" panose="02020603050405020304" pitchFamily="18" charset="-34"/>
                        </a:defRPr>
                      </a:lvl5pPr>
                      <a:lvl6pPr fontAlgn="base">
                        <a:spcBef>
                          <a:spcPct val="20000"/>
                        </a:spcBef>
                        <a:spcAft>
                          <a:spcPct val="0"/>
                        </a:spcAft>
                        <a:defRPr>
                          <a:solidFill>
                            <a:schemeClr val="tx1"/>
                          </a:solidFill>
                          <a:latin typeface="Arial" panose="020B0604020202020204" pitchFamily="34" charset="0"/>
                          <a:cs typeface="Angsana New" panose="02020603050405020304" pitchFamily="18" charset="-34"/>
                        </a:defRPr>
                      </a:lvl6pPr>
                      <a:lvl7pPr fontAlgn="base">
                        <a:spcBef>
                          <a:spcPct val="20000"/>
                        </a:spcBef>
                        <a:spcAft>
                          <a:spcPct val="0"/>
                        </a:spcAft>
                        <a:defRPr>
                          <a:solidFill>
                            <a:schemeClr val="tx1"/>
                          </a:solidFill>
                          <a:latin typeface="Arial" panose="020B0604020202020204" pitchFamily="34" charset="0"/>
                          <a:cs typeface="Angsana New" panose="02020603050405020304" pitchFamily="18" charset="-34"/>
                        </a:defRPr>
                      </a:lvl7pPr>
                      <a:lvl8pPr fontAlgn="base">
                        <a:spcBef>
                          <a:spcPct val="20000"/>
                        </a:spcBef>
                        <a:spcAft>
                          <a:spcPct val="0"/>
                        </a:spcAft>
                        <a:defRPr>
                          <a:solidFill>
                            <a:schemeClr val="tx1"/>
                          </a:solidFill>
                          <a:latin typeface="Arial" panose="020B0604020202020204" pitchFamily="34" charset="0"/>
                          <a:cs typeface="Angsana New" panose="02020603050405020304" pitchFamily="18" charset="-34"/>
                        </a:defRPr>
                      </a:lvl8pPr>
                      <a:lvl9pPr fontAlgn="base">
                        <a:spcBef>
                          <a:spcPct val="20000"/>
                        </a:spcBef>
                        <a:spcAft>
                          <a:spcPct val="0"/>
                        </a:spcAft>
                        <a:defRPr>
                          <a:solidFill>
                            <a:schemeClr val="tx1"/>
                          </a:solidFill>
                          <a:latin typeface="Arial" panose="020B0604020202020204" pitchFamily="34" charset="0"/>
                          <a:cs typeface="Angsana New" panose="02020603050405020304" pitchFamily="18" charset="-34"/>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th-TH" sz="900" b="0" i="0" u="none" strike="noStrike" cap="none" normalizeH="0" baseline="0" dirty="0" smtClean="0">
                        <a:ln>
                          <a:noFill/>
                        </a:ln>
                        <a:solidFill>
                          <a:schemeClr val="tx1"/>
                        </a:solidFill>
                        <a:effectLst/>
                        <a:latin typeface="Century Gothic" pitchFamily="34" charset="0"/>
                        <a:cs typeface="+mj-cs"/>
                      </a:endParaRPr>
                    </a:p>
                  </a:txBody>
                  <a:tcPr marL="91439" marR="91439" marT="34285" marB="34285"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cs typeface="Angsana New" panose="02020603050405020304" pitchFamily="18" charset="-34"/>
                        </a:defRPr>
                      </a:lvl1pPr>
                      <a:lvl2pPr>
                        <a:spcBef>
                          <a:spcPct val="20000"/>
                        </a:spcBef>
                        <a:defRPr sz="2400">
                          <a:solidFill>
                            <a:schemeClr val="tx1"/>
                          </a:solidFill>
                          <a:latin typeface="Arial" panose="020B0604020202020204" pitchFamily="34" charset="0"/>
                          <a:cs typeface="Angsana New" panose="02020603050405020304" pitchFamily="18" charset="-34"/>
                        </a:defRPr>
                      </a:lvl2pPr>
                      <a:lvl3pPr>
                        <a:spcBef>
                          <a:spcPct val="20000"/>
                        </a:spcBef>
                        <a:defRPr sz="2000">
                          <a:solidFill>
                            <a:schemeClr val="tx1"/>
                          </a:solidFill>
                          <a:latin typeface="Arial" panose="020B0604020202020204" pitchFamily="34" charset="0"/>
                          <a:cs typeface="Angsana New" panose="02020603050405020304" pitchFamily="18" charset="-34"/>
                        </a:defRPr>
                      </a:lvl3pPr>
                      <a:lvl4pPr>
                        <a:spcBef>
                          <a:spcPct val="20000"/>
                        </a:spcBef>
                        <a:defRPr>
                          <a:solidFill>
                            <a:schemeClr val="tx1"/>
                          </a:solidFill>
                          <a:latin typeface="Arial" panose="020B0604020202020204" pitchFamily="34" charset="0"/>
                          <a:cs typeface="Angsana New" panose="02020603050405020304" pitchFamily="18" charset="-34"/>
                        </a:defRPr>
                      </a:lvl4pPr>
                      <a:lvl5pPr>
                        <a:spcBef>
                          <a:spcPct val="20000"/>
                        </a:spcBef>
                        <a:defRPr>
                          <a:solidFill>
                            <a:schemeClr val="tx1"/>
                          </a:solidFill>
                          <a:latin typeface="Arial" panose="020B0604020202020204" pitchFamily="34" charset="0"/>
                          <a:cs typeface="Angsana New" panose="02020603050405020304" pitchFamily="18" charset="-34"/>
                        </a:defRPr>
                      </a:lvl5pPr>
                      <a:lvl6pPr fontAlgn="base">
                        <a:spcBef>
                          <a:spcPct val="20000"/>
                        </a:spcBef>
                        <a:spcAft>
                          <a:spcPct val="0"/>
                        </a:spcAft>
                        <a:defRPr>
                          <a:solidFill>
                            <a:schemeClr val="tx1"/>
                          </a:solidFill>
                          <a:latin typeface="Arial" panose="020B0604020202020204" pitchFamily="34" charset="0"/>
                          <a:cs typeface="Angsana New" panose="02020603050405020304" pitchFamily="18" charset="-34"/>
                        </a:defRPr>
                      </a:lvl6pPr>
                      <a:lvl7pPr fontAlgn="base">
                        <a:spcBef>
                          <a:spcPct val="20000"/>
                        </a:spcBef>
                        <a:spcAft>
                          <a:spcPct val="0"/>
                        </a:spcAft>
                        <a:defRPr>
                          <a:solidFill>
                            <a:schemeClr val="tx1"/>
                          </a:solidFill>
                          <a:latin typeface="Arial" panose="020B0604020202020204" pitchFamily="34" charset="0"/>
                          <a:cs typeface="Angsana New" panose="02020603050405020304" pitchFamily="18" charset="-34"/>
                        </a:defRPr>
                      </a:lvl7pPr>
                      <a:lvl8pPr fontAlgn="base">
                        <a:spcBef>
                          <a:spcPct val="20000"/>
                        </a:spcBef>
                        <a:spcAft>
                          <a:spcPct val="0"/>
                        </a:spcAft>
                        <a:defRPr>
                          <a:solidFill>
                            <a:schemeClr val="tx1"/>
                          </a:solidFill>
                          <a:latin typeface="Arial" panose="020B0604020202020204" pitchFamily="34" charset="0"/>
                          <a:cs typeface="Angsana New" panose="02020603050405020304" pitchFamily="18" charset="-34"/>
                        </a:defRPr>
                      </a:lvl8pPr>
                      <a:lvl9pPr fontAlgn="base">
                        <a:spcBef>
                          <a:spcPct val="20000"/>
                        </a:spcBef>
                        <a:spcAft>
                          <a:spcPct val="0"/>
                        </a:spcAft>
                        <a:defRPr>
                          <a:solidFill>
                            <a:schemeClr val="tx1"/>
                          </a:solidFill>
                          <a:latin typeface="Arial" panose="020B0604020202020204" pitchFamily="34" charset="0"/>
                          <a:cs typeface="Angsana New" panose="02020603050405020304" pitchFamily="18" charset="-34"/>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th-TH" sz="900" b="0" i="0" u="none" strike="noStrike" cap="none" normalizeH="0" baseline="0" dirty="0" smtClean="0">
                        <a:ln>
                          <a:noFill/>
                        </a:ln>
                        <a:solidFill>
                          <a:schemeClr val="tx1"/>
                        </a:solidFill>
                        <a:effectLst/>
                        <a:latin typeface="Century Gothic" pitchFamily="34" charset="0"/>
                        <a:cs typeface="+mj-cs"/>
                      </a:endParaRPr>
                    </a:p>
                  </a:txBody>
                  <a:tcPr marL="91439" marR="91439" marT="34285" marB="34285"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cs typeface="Angsana New" panose="02020603050405020304" pitchFamily="18" charset="-34"/>
                        </a:defRPr>
                      </a:lvl1pPr>
                      <a:lvl2pPr>
                        <a:spcBef>
                          <a:spcPct val="20000"/>
                        </a:spcBef>
                        <a:defRPr sz="2400">
                          <a:solidFill>
                            <a:schemeClr val="tx1"/>
                          </a:solidFill>
                          <a:latin typeface="Arial" panose="020B0604020202020204" pitchFamily="34" charset="0"/>
                          <a:cs typeface="Angsana New" panose="02020603050405020304" pitchFamily="18" charset="-34"/>
                        </a:defRPr>
                      </a:lvl2pPr>
                      <a:lvl3pPr>
                        <a:spcBef>
                          <a:spcPct val="20000"/>
                        </a:spcBef>
                        <a:defRPr sz="2000">
                          <a:solidFill>
                            <a:schemeClr val="tx1"/>
                          </a:solidFill>
                          <a:latin typeface="Arial" panose="020B0604020202020204" pitchFamily="34" charset="0"/>
                          <a:cs typeface="Angsana New" panose="02020603050405020304" pitchFamily="18" charset="-34"/>
                        </a:defRPr>
                      </a:lvl3pPr>
                      <a:lvl4pPr>
                        <a:spcBef>
                          <a:spcPct val="20000"/>
                        </a:spcBef>
                        <a:defRPr>
                          <a:solidFill>
                            <a:schemeClr val="tx1"/>
                          </a:solidFill>
                          <a:latin typeface="Arial" panose="020B0604020202020204" pitchFamily="34" charset="0"/>
                          <a:cs typeface="Angsana New" panose="02020603050405020304" pitchFamily="18" charset="-34"/>
                        </a:defRPr>
                      </a:lvl4pPr>
                      <a:lvl5pPr>
                        <a:spcBef>
                          <a:spcPct val="20000"/>
                        </a:spcBef>
                        <a:defRPr>
                          <a:solidFill>
                            <a:schemeClr val="tx1"/>
                          </a:solidFill>
                          <a:latin typeface="Arial" panose="020B0604020202020204" pitchFamily="34" charset="0"/>
                          <a:cs typeface="Angsana New" panose="02020603050405020304" pitchFamily="18" charset="-34"/>
                        </a:defRPr>
                      </a:lvl5pPr>
                      <a:lvl6pPr fontAlgn="base">
                        <a:spcBef>
                          <a:spcPct val="20000"/>
                        </a:spcBef>
                        <a:spcAft>
                          <a:spcPct val="0"/>
                        </a:spcAft>
                        <a:defRPr>
                          <a:solidFill>
                            <a:schemeClr val="tx1"/>
                          </a:solidFill>
                          <a:latin typeface="Arial" panose="020B0604020202020204" pitchFamily="34" charset="0"/>
                          <a:cs typeface="Angsana New" panose="02020603050405020304" pitchFamily="18" charset="-34"/>
                        </a:defRPr>
                      </a:lvl6pPr>
                      <a:lvl7pPr fontAlgn="base">
                        <a:spcBef>
                          <a:spcPct val="20000"/>
                        </a:spcBef>
                        <a:spcAft>
                          <a:spcPct val="0"/>
                        </a:spcAft>
                        <a:defRPr>
                          <a:solidFill>
                            <a:schemeClr val="tx1"/>
                          </a:solidFill>
                          <a:latin typeface="Arial" panose="020B0604020202020204" pitchFamily="34" charset="0"/>
                          <a:cs typeface="Angsana New" panose="02020603050405020304" pitchFamily="18" charset="-34"/>
                        </a:defRPr>
                      </a:lvl7pPr>
                      <a:lvl8pPr fontAlgn="base">
                        <a:spcBef>
                          <a:spcPct val="20000"/>
                        </a:spcBef>
                        <a:spcAft>
                          <a:spcPct val="0"/>
                        </a:spcAft>
                        <a:defRPr>
                          <a:solidFill>
                            <a:schemeClr val="tx1"/>
                          </a:solidFill>
                          <a:latin typeface="Arial" panose="020B0604020202020204" pitchFamily="34" charset="0"/>
                          <a:cs typeface="Angsana New" panose="02020603050405020304" pitchFamily="18" charset="-34"/>
                        </a:defRPr>
                      </a:lvl8pPr>
                      <a:lvl9pPr fontAlgn="base">
                        <a:spcBef>
                          <a:spcPct val="20000"/>
                        </a:spcBef>
                        <a:spcAft>
                          <a:spcPct val="0"/>
                        </a:spcAft>
                        <a:defRPr>
                          <a:solidFill>
                            <a:schemeClr val="tx1"/>
                          </a:solidFill>
                          <a:latin typeface="Arial" panose="020B0604020202020204" pitchFamily="34" charset="0"/>
                          <a:cs typeface="Angsana New" panose="02020603050405020304" pitchFamily="18" charset="-34"/>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th-TH" sz="900" b="0" i="0" u="none" strike="noStrike" cap="none" normalizeH="0" baseline="0" dirty="0" smtClean="0">
                        <a:ln>
                          <a:noFill/>
                        </a:ln>
                        <a:solidFill>
                          <a:schemeClr val="tx1"/>
                        </a:solidFill>
                        <a:effectLst/>
                        <a:latin typeface="Century Gothic" pitchFamily="34" charset="0"/>
                        <a:cs typeface="+mj-cs"/>
                      </a:endParaRPr>
                    </a:p>
                  </a:txBody>
                  <a:tcPr marL="91439" marR="91439" marT="34285" marB="34285"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cs typeface="Angsana New" panose="02020603050405020304" pitchFamily="18" charset="-34"/>
                        </a:defRPr>
                      </a:lvl1pPr>
                      <a:lvl2pPr>
                        <a:spcBef>
                          <a:spcPct val="20000"/>
                        </a:spcBef>
                        <a:defRPr sz="2400">
                          <a:solidFill>
                            <a:schemeClr val="tx1"/>
                          </a:solidFill>
                          <a:latin typeface="Arial" panose="020B0604020202020204" pitchFamily="34" charset="0"/>
                          <a:cs typeface="Angsana New" panose="02020603050405020304" pitchFamily="18" charset="-34"/>
                        </a:defRPr>
                      </a:lvl2pPr>
                      <a:lvl3pPr>
                        <a:spcBef>
                          <a:spcPct val="20000"/>
                        </a:spcBef>
                        <a:defRPr sz="2000">
                          <a:solidFill>
                            <a:schemeClr val="tx1"/>
                          </a:solidFill>
                          <a:latin typeface="Arial" panose="020B0604020202020204" pitchFamily="34" charset="0"/>
                          <a:cs typeface="Angsana New" panose="02020603050405020304" pitchFamily="18" charset="-34"/>
                        </a:defRPr>
                      </a:lvl3pPr>
                      <a:lvl4pPr>
                        <a:spcBef>
                          <a:spcPct val="20000"/>
                        </a:spcBef>
                        <a:defRPr>
                          <a:solidFill>
                            <a:schemeClr val="tx1"/>
                          </a:solidFill>
                          <a:latin typeface="Arial" panose="020B0604020202020204" pitchFamily="34" charset="0"/>
                          <a:cs typeface="Angsana New" panose="02020603050405020304" pitchFamily="18" charset="-34"/>
                        </a:defRPr>
                      </a:lvl4pPr>
                      <a:lvl5pPr>
                        <a:spcBef>
                          <a:spcPct val="20000"/>
                        </a:spcBef>
                        <a:defRPr>
                          <a:solidFill>
                            <a:schemeClr val="tx1"/>
                          </a:solidFill>
                          <a:latin typeface="Arial" panose="020B0604020202020204" pitchFamily="34" charset="0"/>
                          <a:cs typeface="Angsana New" panose="02020603050405020304" pitchFamily="18" charset="-34"/>
                        </a:defRPr>
                      </a:lvl5pPr>
                      <a:lvl6pPr fontAlgn="base">
                        <a:spcBef>
                          <a:spcPct val="20000"/>
                        </a:spcBef>
                        <a:spcAft>
                          <a:spcPct val="0"/>
                        </a:spcAft>
                        <a:defRPr>
                          <a:solidFill>
                            <a:schemeClr val="tx1"/>
                          </a:solidFill>
                          <a:latin typeface="Arial" panose="020B0604020202020204" pitchFamily="34" charset="0"/>
                          <a:cs typeface="Angsana New" panose="02020603050405020304" pitchFamily="18" charset="-34"/>
                        </a:defRPr>
                      </a:lvl6pPr>
                      <a:lvl7pPr fontAlgn="base">
                        <a:spcBef>
                          <a:spcPct val="20000"/>
                        </a:spcBef>
                        <a:spcAft>
                          <a:spcPct val="0"/>
                        </a:spcAft>
                        <a:defRPr>
                          <a:solidFill>
                            <a:schemeClr val="tx1"/>
                          </a:solidFill>
                          <a:latin typeface="Arial" panose="020B0604020202020204" pitchFamily="34" charset="0"/>
                          <a:cs typeface="Angsana New" panose="02020603050405020304" pitchFamily="18" charset="-34"/>
                        </a:defRPr>
                      </a:lvl7pPr>
                      <a:lvl8pPr fontAlgn="base">
                        <a:spcBef>
                          <a:spcPct val="20000"/>
                        </a:spcBef>
                        <a:spcAft>
                          <a:spcPct val="0"/>
                        </a:spcAft>
                        <a:defRPr>
                          <a:solidFill>
                            <a:schemeClr val="tx1"/>
                          </a:solidFill>
                          <a:latin typeface="Arial" panose="020B0604020202020204" pitchFamily="34" charset="0"/>
                          <a:cs typeface="Angsana New" panose="02020603050405020304" pitchFamily="18" charset="-34"/>
                        </a:defRPr>
                      </a:lvl8pPr>
                      <a:lvl9pPr fontAlgn="base">
                        <a:spcBef>
                          <a:spcPct val="20000"/>
                        </a:spcBef>
                        <a:spcAft>
                          <a:spcPct val="0"/>
                        </a:spcAft>
                        <a:defRPr>
                          <a:solidFill>
                            <a:schemeClr val="tx1"/>
                          </a:solidFill>
                          <a:latin typeface="Arial" panose="020B0604020202020204" pitchFamily="34" charset="0"/>
                          <a:cs typeface="Angsana New" panose="02020603050405020304" pitchFamily="18" charset="-34"/>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1100" b="0" i="0" u="none" strike="noStrike" kern="1200" cap="none" normalizeH="0" baseline="0" dirty="0" smtClean="0">
                          <a:ln>
                            <a:noFill/>
                          </a:ln>
                          <a:solidFill>
                            <a:schemeClr val="tx1"/>
                          </a:solidFill>
                          <a:effectLst/>
                          <a:latin typeface="Calibri" pitchFamily="34" charset="0"/>
                          <a:ea typeface="+mn-ea"/>
                          <a:cs typeface="+mj-cs"/>
                        </a:rPr>
                        <a:t>11,272</a:t>
                      </a:r>
                      <a:endParaRPr kumimoji="0" lang="th-TH" sz="1100" b="0" i="0" u="none" strike="noStrike" kern="1200" cap="none" normalizeH="0" baseline="0" dirty="0" smtClean="0">
                        <a:ln>
                          <a:noFill/>
                        </a:ln>
                        <a:solidFill>
                          <a:schemeClr val="tx1"/>
                        </a:solidFill>
                        <a:effectLst/>
                        <a:latin typeface="Calibri" pitchFamily="34" charset="0"/>
                        <a:ea typeface="+mn-ea"/>
                        <a:cs typeface="+mj-cs"/>
                      </a:endParaRPr>
                    </a:p>
                  </a:txBody>
                  <a:tcPr marL="91439" marR="91439" marT="34285" marB="34285"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342889">
                <a:tc>
                  <a:txBody>
                    <a:bodyPr/>
                    <a:lstStyle>
                      <a:lvl1pPr>
                        <a:spcBef>
                          <a:spcPct val="20000"/>
                        </a:spcBef>
                        <a:defRPr sz="2800">
                          <a:solidFill>
                            <a:schemeClr val="tx1"/>
                          </a:solidFill>
                          <a:latin typeface="Arial" panose="020B0604020202020204" pitchFamily="34" charset="0"/>
                          <a:cs typeface="Angsana New" panose="02020603050405020304" pitchFamily="18" charset="-34"/>
                        </a:defRPr>
                      </a:lvl1pPr>
                      <a:lvl2pPr>
                        <a:spcBef>
                          <a:spcPct val="20000"/>
                        </a:spcBef>
                        <a:defRPr sz="2400">
                          <a:solidFill>
                            <a:schemeClr val="tx1"/>
                          </a:solidFill>
                          <a:latin typeface="Arial" panose="020B0604020202020204" pitchFamily="34" charset="0"/>
                          <a:cs typeface="Angsana New" panose="02020603050405020304" pitchFamily="18" charset="-34"/>
                        </a:defRPr>
                      </a:lvl2pPr>
                      <a:lvl3pPr>
                        <a:spcBef>
                          <a:spcPct val="20000"/>
                        </a:spcBef>
                        <a:defRPr sz="2000">
                          <a:solidFill>
                            <a:schemeClr val="tx1"/>
                          </a:solidFill>
                          <a:latin typeface="Arial" panose="020B0604020202020204" pitchFamily="34" charset="0"/>
                          <a:cs typeface="Angsana New" panose="02020603050405020304" pitchFamily="18" charset="-34"/>
                        </a:defRPr>
                      </a:lvl3pPr>
                      <a:lvl4pPr>
                        <a:spcBef>
                          <a:spcPct val="20000"/>
                        </a:spcBef>
                        <a:defRPr>
                          <a:solidFill>
                            <a:schemeClr val="tx1"/>
                          </a:solidFill>
                          <a:latin typeface="Arial" panose="020B0604020202020204" pitchFamily="34" charset="0"/>
                          <a:cs typeface="Angsana New" panose="02020603050405020304" pitchFamily="18" charset="-34"/>
                        </a:defRPr>
                      </a:lvl4pPr>
                      <a:lvl5pPr>
                        <a:spcBef>
                          <a:spcPct val="20000"/>
                        </a:spcBef>
                        <a:defRPr>
                          <a:solidFill>
                            <a:schemeClr val="tx1"/>
                          </a:solidFill>
                          <a:latin typeface="Arial" panose="020B0604020202020204" pitchFamily="34" charset="0"/>
                          <a:cs typeface="Angsana New" panose="02020603050405020304" pitchFamily="18" charset="-34"/>
                        </a:defRPr>
                      </a:lvl5pPr>
                      <a:lvl6pPr fontAlgn="base">
                        <a:spcBef>
                          <a:spcPct val="20000"/>
                        </a:spcBef>
                        <a:spcAft>
                          <a:spcPct val="0"/>
                        </a:spcAft>
                        <a:defRPr>
                          <a:solidFill>
                            <a:schemeClr val="tx1"/>
                          </a:solidFill>
                          <a:latin typeface="Arial" panose="020B0604020202020204" pitchFamily="34" charset="0"/>
                          <a:cs typeface="Angsana New" panose="02020603050405020304" pitchFamily="18" charset="-34"/>
                        </a:defRPr>
                      </a:lvl6pPr>
                      <a:lvl7pPr fontAlgn="base">
                        <a:spcBef>
                          <a:spcPct val="20000"/>
                        </a:spcBef>
                        <a:spcAft>
                          <a:spcPct val="0"/>
                        </a:spcAft>
                        <a:defRPr>
                          <a:solidFill>
                            <a:schemeClr val="tx1"/>
                          </a:solidFill>
                          <a:latin typeface="Arial" panose="020B0604020202020204" pitchFamily="34" charset="0"/>
                          <a:cs typeface="Angsana New" panose="02020603050405020304" pitchFamily="18" charset="-34"/>
                        </a:defRPr>
                      </a:lvl7pPr>
                      <a:lvl8pPr fontAlgn="base">
                        <a:spcBef>
                          <a:spcPct val="20000"/>
                        </a:spcBef>
                        <a:spcAft>
                          <a:spcPct val="0"/>
                        </a:spcAft>
                        <a:defRPr>
                          <a:solidFill>
                            <a:schemeClr val="tx1"/>
                          </a:solidFill>
                          <a:latin typeface="Arial" panose="020B0604020202020204" pitchFamily="34" charset="0"/>
                          <a:cs typeface="Angsana New" panose="02020603050405020304" pitchFamily="18" charset="-34"/>
                        </a:defRPr>
                      </a:lvl8pPr>
                      <a:lvl9pPr fontAlgn="base">
                        <a:spcBef>
                          <a:spcPct val="20000"/>
                        </a:spcBef>
                        <a:spcAft>
                          <a:spcPct val="0"/>
                        </a:spcAft>
                        <a:defRPr>
                          <a:solidFill>
                            <a:schemeClr val="tx1"/>
                          </a:solidFill>
                          <a:latin typeface="Arial" panose="020B0604020202020204" pitchFamily="34" charset="0"/>
                          <a:cs typeface="Angsana New" panose="02020603050405020304" pitchFamily="18" charset="-34"/>
                        </a:defRPr>
                      </a:lvl9p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US" sz="1000" b="0" i="0" u="none" strike="noStrike" cap="none" normalizeH="0" baseline="0" dirty="0" smtClean="0">
                          <a:ln>
                            <a:noFill/>
                          </a:ln>
                          <a:solidFill>
                            <a:schemeClr val="tx1"/>
                          </a:solidFill>
                          <a:effectLst/>
                          <a:latin typeface="Arial" pitchFamily="34" charset="0"/>
                          <a:cs typeface="+mj-cs"/>
                        </a:rPr>
                        <a:t>2. </a:t>
                      </a:r>
                      <a:r>
                        <a:rPr kumimoji="0" lang="th-TH" sz="1300" b="1" i="0" u="none" strike="noStrike" kern="1200" cap="none" normalizeH="0" baseline="0" dirty="0" smtClean="0">
                          <a:ln>
                            <a:noFill/>
                          </a:ln>
                          <a:solidFill>
                            <a:schemeClr val="tx1"/>
                          </a:solidFill>
                          <a:effectLst/>
                          <a:latin typeface="Calibri" pitchFamily="34" charset="0"/>
                          <a:ea typeface="+mn-ea"/>
                          <a:cs typeface="+mj-cs"/>
                        </a:rPr>
                        <a:t>จิระ- ขอนแก่น </a:t>
                      </a:r>
                      <a:r>
                        <a:rPr kumimoji="0" lang="en-US" sz="1000" b="0" i="0" u="none" strike="noStrike" cap="none" normalizeH="0" baseline="0" dirty="0" smtClean="0">
                          <a:ln>
                            <a:noFill/>
                          </a:ln>
                          <a:solidFill>
                            <a:schemeClr val="tx1"/>
                          </a:solidFill>
                          <a:effectLst/>
                          <a:latin typeface="Arial" pitchFamily="34" charset="0"/>
                          <a:cs typeface="+mj-cs"/>
                        </a:rPr>
                        <a:t>(185 </a:t>
                      </a:r>
                      <a:r>
                        <a:rPr kumimoji="0" lang="th-TH" sz="1000" b="0" i="0" u="none" strike="noStrike" cap="none" normalizeH="0" baseline="0" dirty="0" smtClean="0">
                          <a:ln>
                            <a:noFill/>
                          </a:ln>
                          <a:solidFill>
                            <a:schemeClr val="tx1"/>
                          </a:solidFill>
                          <a:effectLst/>
                          <a:latin typeface="Arial" pitchFamily="34" charset="0"/>
                          <a:cs typeface="+mj-cs"/>
                        </a:rPr>
                        <a:t>กม</a:t>
                      </a:r>
                      <a:r>
                        <a:rPr kumimoji="0" lang="en-US" sz="1000" b="0" i="0" u="none" strike="noStrike" cap="none" normalizeH="0" baseline="0" dirty="0" smtClean="0">
                          <a:ln>
                            <a:noFill/>
                          </a:ln>
                          <a:solidFill>
                            <a:schemeClr val="tx1"/>
                          </a:solidFill>
                          <a:effectLst/>
                          <a:latin typeface="Arial" pitchFamily="34" charset="0"/>
                          <a:cs typeface="+mj-cs"/>
                        </a:rPr>
                        <a:t>.)</a:t>
                      </a:r>
                      <a:endParaRPr kumimoji="0" lang="th-TH" sz="1000" b="0" i="0" u="none" strike="noStrike" cap="none" normalizeH="0" baseline="0" dirty="0" smtClean="0">
                        <a:ln>
                          <a:noFill/>
                        </a:ln>
                        <a:solidFill>
                          <a:schemeClr val="tx1"/>
                        </a:solidFill>
                        <a:effectLst/>
                        <a:latin typeface="Arial" pitchFamily="34" charset="0"/>
                        <a:cs typeface="+mj-cs"/>
                      </a:endParaRPr>
                    </a:p>
                  </a:txBody>
                  <a:tcPr marL="91439" marR="91439" marT="34285" marB="34285"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cs typeface="Angsana New" panose="02020603050405020304" pitchFamily="18" charset="-34"/>
                        </a:defRPr>
                      </a:lvl1pPr>
                      <a:lvl2pPr>
                        <a:spcBef>
                          <a:spcPct val="20000"/>
                        </a:spcBef>
                        <a:defRPr sz="2400">
                          <a:solidFill>
                            <a:schemeClr val="tx1"/>
                          </a:solidFill>
                          <a:latin typeface="Arial" panose="020B0604020202020204" pitchFamily="34" charset="0"/>
                          <a:cs typeface="Angsana New" panose="02020603050405020304" pitchFamily="18" charset="-34"/>
                        </a:defRPr>
                      </a:lvl2pPr>
                      <a:lvl3pPr>
                        <a:spcBef>
                          <a:spcPct val="20000"/>
                        </a:spcBef>
                        <a:defRPr sz="2000">
                          <a:solidFill>
                            <a:schemeClr val="tx1"/>
                          </a:solidFill>
                          <a:latin typeface="Arial" panose="020B0604020202020204" pitchFamily="34" charset="0"/>
                          <a:cs typeface="Angsana New" panose="02020603050405020304" pitchFamily="18" charset="-34"/>
                        </a:defRPr>
                      </a:lvl3pPr>
                      <a:lvl4pPr>
                        <a:spcBef>
                          <a:spcPct val="20000"/>
                        </a:spcBef>
                        <a:defRPr>
                          <a:solidFill>
                            <a:schemeClr val="tx1"/>
                          </a:solidFill>
                          <a:latin typeface="Arial" panose="020B0604020202020204" pitchFamily="34" charset="0"/>
                          <a:cs typeface="Angsana New" panose="02020603050405020304" pitchFamily="18" charset="-34"/>
                        </a:defRPr>
                      </a:lvl4pPr>
                      <a:lvl5pPr>
                        <a:spcBef>
                          <a:spcPct val="20000"/>
                        </a:spcBef>
                        <a:defRPr>
                          <a:solidFill>
                            <a:schemeClr val="tx1"/>
                          </a:solidFill>
                          <a:latin typeface="Arial" panose="020B0604020202020204" pitchFamily="34" charset="0"/>
                          <a:cs typeface="Angsana New" panose="02020603050405020304" pitchFamily="18" charset="-34"/>
                        </a:defRPr>
                      </a:lvl5pPr>
                      <a:lvl6pPr fontAlgn="base">
                        <a:spcBef>
                          <a:spcPct val="20000"/>
                        </a:spcBef>
                        <a:spcAft>
                          <a:spcPct val="0"/>
                        </a:spcAft>
                        <a:defRPr>
                          <a:solidFill>
                            <a:schemeClr val="tx1"/>
                          </a:solidFill>
                          <a:latin typeface="Arial" panose="020B0604020202020204" pitchFamily="34" charset="0"/>
                          <a:cs typeface="Angsana New" panose="02020603050405020304" pitchFamily="18" charset="-34"/>
                        </a:defRPr>
                      </a:lvl6pPr>
                      <a:lvl7pPr fontAlgn="base">
                        <a:spcBef>
                          <a:spcPct val="20000"/>
                        </a:spcBef>
                        <a:spcAft>
                          <a:spcPct val="0"/>
                        </a:spcAft>
                        <a:defRPr>
                          <a:solidFill>
                            <a:schemeClr val="tx1"/>
                          </a:solidFill>
                          <a:latin typeface="Arial" panose="020B0604020202020204" pitchFamily="34" charset="0"/>
                          <a:cs typeface="Angsana New" panose="02020603050405020304" pitchFamily="18" charset="-34"/>
                        </a:defRPr>
                      </a:lvl7pPr>
                      <a:lvl8pPr fontAlgn="base">
                        <a:spcBef>
                          <a:spcPct val="20000"/>
                        </a:spcBef>
                        <a:spcAft>
                          <a:spcPct val="0"/>
                        </a:spcAft>
                        <a:defRPr>
                          <a:solidFill>
                            <a:schemeClr val="tx1"/>
                          </a:solidFill>
                          <a:latin typeface="Arial" panose="020B0604020202020204" pitchFamily="34" charset="0"/>
                          <a:cs typeface="Angsana New" panose="02020603050405020304" pitchFamily="18" charset="-34"/>
                        </a:defRPr>
                      </a:lvl8pPr>
                      <a:lvl9pPr fontAlgn="base">
                        <a:spcBef>
                          <a:spcPct val="20000"/>
                        </a:spcBef>
                        <a:spcAft>
                          <a:spcPct val="0"/>
                        </a:spcAft>
                        <a:defRPr>
                          <a:solidFill>
                            <a:schemeClr val="tx1"/>
                          </a:solidFill>
                          <a:latin typeface="Arial" panose="020B0604020202020204" pitchFamily="34" charset="0"/>
                          <a:cs typeface="Angsana New" panose="02020603050405020304" pitchFamily="18" charset="-34"/>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th-TH" sz="900" b="0" i="0" u="none" strike="noStrike" cap="none" normalizeH="0" baseline="0" dirty="0" smtClean="0">
                        <a:ln>
                          <a:noFill/>
                        </a:ln>
                        <a:solidFill>
                          <a:schemeClr val="tx1"/>
                        </a:solidFill>
                        <a:effectLst/>
                        <a:latin typeface="Century Gothic" pitchFamily="34" charset="0"/>
                        <a:cs typeface="+mj-cs"/>
                      </a:endParaRPr>
                    </a:p>
                  </a:txBody>
                  <a:tcPr marL="91439" marR="91439" marT="34285" marB="34285"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cs typeface="Angsana New" panose="02020603050405020304" pitchFamily="18" charset="-34"/>
                        </a:defRPr>
                      </a:lvl1pPr>
                      <a:lvl2pPr>
                        <a:spcBef>
                          <a:spcPct val="20000"/>
                        </a:spcBef>
                        <a:defRPr sz="2400">
                          <a:solidFill>
                            <a:schemeClr val="tx1"/>
                          </a:solidFill>
                          <a:latin typeface="Arial" panose="020B0604020202020204" pitchFamily="34" charset="0"/>
                          <a:cs typeface="Angsana New" panose="02020603050405020304" pitchFamily="18" charset="-34"/>
                        </a:defRPr>
                      </a:lvl2pPr>
                      <a:lvl3pPr>
                        <a:spcBef>
                          <a:spcPct val="20000"/>
                        </a:spcBef>
                        <a:defRPr sz="2000">
                          <a:solidFill>
                            <a:schemeClr val="tx1"/>
                          </a:solidFill>
                          <a:latin typeface="Arial" panose="020B0604020202020204" pitchFamily="34" charset="0"/>
                          <a:cs typeface="Angsana New" panose="02020603050405020304" pitchFamily="18" charset="-34"/>
                        </a:defRPr>
                      </a:lvl3pPr>
                      <a:lvl4pPr>
                        <a:spcBef>
                          <a:spcPct val="20000"/>
                        </a:spcBef>
                        <a:defRPr>
                          <a:solidFill>
                            <a:schemeClr val="tx1"/>
                          </a:solidFill>
                          <a:latin typeface="Arial" panose="020B0604020202020204" pitchFamily="34" charset="0"/>
                          <a:cs typeface="Angsana New" panose="02020603050405020304" pitchFamily="18" charset="-34"/>
                        </a:defRPr>
                      </a:lvl4pPr>
                      <a:lvl5pPr>
                        <a:spcBef>
                          <a:spcPct val="20000"/>
                        </a:spcBef>
                        <a:defRPr>
                          <a:solidFill>
                            <a:schemeClr val="tx1"/>
                          </a:solidFill>
                          <a:latin typeface="Arial" panose="020B0604020202020204" pitchFamily="34" charset="0"/>
                          <a:cs typeface="Angsana New" panose="02020603050405020304" pitchFamily="18" charset="-34"/>
                        </a:defRPr>
                      </a:lvl5pPr>
                      <a:lvl6pPr fontAlgn="base">
                        <a:spcBef>
                          <a:spcPct val="20000"/>
                        </a:spcBef>
                        <a:spcAft>
                          <a:spcPct val="0"/>
                        </a:spcAft>
                        <a:defRPr>
                          <a:solidFill>
                            <a:schemeClr val="tx1"/>
                          </a:solidFill>
                          <a:latin typeface="Arial" panose="020B0604020202020204" pitchFamily="34" charset="0"/>
                          <a:cs typeface="Angsana New" panose="02020603050405020304" pitchFamily="18" charset="-34"/>
                        </a:defRPr>
                      </a:lvl6pPr>
                      <a:lvl7pPr fontAlgn="base">
                        <a:spcBef>
                          <a:spcPct val="20000"/>
                        </a:spcBef>
                        <a:spcAft>
                          <a:spcPct val="0"/>
                        </a:spcAft>
                        <a:defRPr>
                          <a:solidFill>
                            <a:schemeClr val="tx1"/>
                          </a:solidFill>
                          <a:latin typeface="Arial" panose="020B0604020202020204" pitchFamily="34" charset="0"/>
                          <a:cs typeface="Angsana New" panose="02020603050405020304" pitchFamily="18" charset="-34"/>
                        </a:defRPr>
                      </a:lvl7pPr>
                      <a:lvl8pPr fontAlgn="base">
                        <a:spcBef>
                          <a:spcPct val="20000"/>
                        </a:spcBef>
                        <a:spcAft>
                          <a:spcPct val="0"/>
                        </a:spcAft>
                        <a:defRPr>
                          <a:solidFill>
                            <a:schemeClr val="tx1"/>
                          </a:solidFill>
                          <a:latin typeface="Arial" panose="020B0604020202020204" pitchFamily="34" charset="0"/>
                          <a:cs typeface="Angsana New" panose="02020603050405020304" pitchFamily="18" charset="-34"/>
                        </a:defRPr>
                      </a:lvl8pPr>
                      <a:lvl9pPr fontAlgn="base">
                        <a:spcBef>
                          <a:spcPct val="20000"/>
                        </a:spcBef>
                        <a:spcAft>
                          <a:spcPct val="0"/>
                        </a:spcAft>
                        <a:defRPr>
                          <a:solidFill>
                            <a:schemeClr val="tx1"/>
                          </a:solidFill>
                          <a:latin typeface="Arial" panose="020B0604020202020204" pitchFamily="34" charset="0"/>
                          <a:cs typeface="Angsana New" panose="02020603050405020304" pitchFamily="18" charset="-34"/>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th-TH" sz="900" b="0" i="0" u="none" strike="noStrike" cap="none" normalizeH="0" baseline="0" dirty="0" smtClean="0">
                        <a:ln>
                          <a:noFill/>
                        </a:ln>
                        <a:solidFill>
                          <a:schemeClr val="tx1"/>
                        </a:solidFill>
                        <a:effectLst/>
                        <a:latin typeface="Century Gothic" pitchFamily="34" charset="0"/>
                        <a:cs typeface="+mj-cs"/>
                      </a:endParaRPr>
                    </a:p>
                  </a:txBody>
                  <a:tcPr marL="91439" marR="91439" marT="34285" marB="34285"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cs typeface="Angsana New" panose="02020603050405020304" pitchFamily="18" charset="-34"/>
                        </a:defRPr>
                      </a:lvl1pPr>
                      <a:lvl2pPr>
                        <a:spcBef>
                          <a:spcPct val="20000"/>
                        </a:spcBef>
                        <a:defRPr sz="2400">
                          <a:solidFill>
                            <a:schemeClr val="tx1"/>
                          </a:solidFill>
                          <a:latin typeface="Arial" panose="020B0604020202020204" pitchFamily="34" charset="0"/>
                          <a:cs typeface="Angsana New" panose="02020603050405020304" pitchFamily="18" charset="-34"/>
                        </a:defRPr>
                      </a:lvl2pPr>
                      <a:lvl3pPr>
                        <a:spcBef>
                          <a:spcPct val="20000"/>
                        </a:spcBef>
                        <a:defRPr sz="2000">
                          <a:solidFill>
                            <a:schemeClr val="tx1"/>
                          </a:solidFill>
                          <a:latin typeface="Arial" panose="020B0604020202020204" pitchFamily="34" charset="0"/>
                          <a:cs typeface="Angsana New" panose="02020603050405020304" pitchFamily="18" charset="-34"/>
                        </a:defRPr>
                      </a:lvl3pPr>
                      <a:lvl4pPr>
                        <a:spcBef>
                          <a:spcPct val="20000"/>
                        </a:spcBef>
                        <a:defRPr>
                          <a:solidFill>
                            <a:schemeClr val="tx1"/>
                          </a:solidFill>
                          <a:latin typeface="Arial" panose="020B0604020202020204" pitchFamily="34" charset="0"/>
                          <a:cs typeface="Angsana New" panose="02020603050405020304" pitchFamily="18" charset="-34"/>
                        </a:defRPr>
                      </a:lvl4pPr>
                      <a:lvl5pPr>
                        <a:spcBef>
                          <a:spcPct val="20000"/>
                        </a:spcBef>
                        <a:defRPr>
                          <a:solidFill>
                            <a:schemeClr val="tx1"/>
                          </a:solidFill>
                          <a:latin typeface="Arial" panose="020B0604020202020204" pitchFamily="34" charset="0"/>
                          <a:cs typeface="Angsana New" panose="02020603050405020304" pitchFamily="18" charset="-34"/>
                        </a:defRPr>
                      </a:lvl5pPr>
                      <a:lvl6pPr fontAlgn="base">
                        <a:spcBef>
                          <a:spcPct val="20000"/>
                        </a:spcBef>
                        <a:spcAft>
                          <a:spcPct val="0"/>
                        </a:spcAft>
                        <a:defRPr>
                          <a:solidFill>
                            <a:schemeClr val="tx1"/>
                          </a:solidFill>
                          <a:latin typeface="Arial" panose="020B0604020202020204" pitchFamily="34" charset="0"/>
                          <a:cs typeface="Angsana New" panose="02020603050405020304" pitchFamily="18" charset="-34"/>
                        </a:defRPr>
                      </a:lvl6pPr>
                      <a:lvl7pPr fontAlgn="base">
                        <a:spcBef>
                          <a:spcPct val="20000"/>
                        </a:spcBef>
                        <a:spcAft>
                          <a:spcPct val="0"/>
                        </a:spcAft>
                        <a:defRPr>
                          <a:solidFill>
                            <a:schemeClr val="tx1"/>
                          </a:solidFill>
                          <a:latin typeface="Arial" panose="020B0604020202020204" pitchFamily="34" charset="0"/>
                          <a:cs typeface="Angsana New" panose="02020603050405020304" pitchFamily="18" charset="-34"/>
                        </a:defRPr>
                      </a:lvl7pPr>
                      <a:lvl8pPr fontAlgn="base">
                        <a:spcBef>
                          <a:spcPct val="20000"/>
                        </a:spcBef>
                        <a:spcAft>
                          <a:spcPct val="0"/>
                        </a:spcAft>
                        <a:defRPr>
                          <a:solidFill>
                            <a:schemeClr val="tx1"/>
                          </a:solidFill>
                          <a:latin typeface="Arial" panose="020B0604020202020204" pitchFamily="34" charset="0"/>
                          <a:cs typeface="Angsana New" panose="02020603050405020304" pitchFamily="18" charset="-34"/>
                        </a:defRPr>
                      </a:lvl8pPr>
                      <a:lvl9pPr fontAlgn="base">
                        <a:spcBef>
                          <a:spcPct val="20000"/>
                        </a:spcBef>
                        <a:spcAft>
                          <a:spcPct val="0"/>
                        </a:spcAft>
                        <a:defRPr>
                          <a:solidFill>
                            <a:schemeClr val="tx1"/>
                          </a:solidFill>
                          <a:latin typeface="Arial" panose="020B0604020202020204" pitchFamily="34" charset="0"/>
                          <a:cs typeface="Angsana New" panose="02020603050405020304" pitchFamily="18" charset="-34"/>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th-TH" sz="900" b="0" i="0" u="none" strike="noStrike" cap="none" normalizeH="0" baseline="0" dirty="0" smtClean="0">
                        <a:ln>
                          <a:noFill/>
                        </a:ln>
                        <a:solidFill>
                          <a:schemeClr val="tx1"/>
                        </a:solidFill>
                        <a:effectLst/>
                        <a:latin typeface="Century Gothic" pitchFamily="34" charset="0"/>
                        <a:cs typeface="+mj-cs"/>
                      </a:endParaRPr>
                    </a:p>
                  </a:txBody>
                  <a:tcPr marL="91439" marR="91439" marT="34285" marB="34285"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cs typeface="Angsana New" panose="02020603050405020304" pitchFamily="18" charset="-34"/>
                        </a:defRPr>
                      </a:lvl1pPr>
                      <a:lvl2pPr>
                        <a:spcBef>
                          <a:spcPct val="20000"/>
                        </a:spcBef>
                        <a:defRPr sz="2400">
                          <a:solidFill>
                            <a:schemeClr val="tx1"/>
                          </a:solidFill>
                          <a:latin typeface="Arial" panose="020B0604020202020204" pitchFamily="34" charset="0"/>
                          <a:cs typeface="Angsana New" panose="02020603050405020304" pitchFamily="18" charset="-34"/>
                        </a:defRPr>
                      </a:lvl2pPr>
                      <a:lvl3pPr>
                        <a:spcBef>
                          <a:spcPct val="20000"/>
                        </a:spcBef>
                        <a:defRPr sz="2000">
                          <a:solidFill>
                            <a:schemeClr val="tx1"/>
                          </a:solidFill>
                          <a:latin typeface="Arial" panose="020B0604020202020204" pitchFamily="34" charset="0"/>
                          <a:cs typeface="Angsana New" panose="02020603050405020304" pitchFamily="18" charset="-34"/>
                        </a:defRPr>
                      </a:lvl3pPr>
                      <a:lvl4pPr>
                        <a:spcBef>
                          <a:spcPct val="20000"/>
                        </a:spcBef>
                        <a:defRPr>
                          <a:solidFill>
                            <a:schemeClr val="tx1"/>
                          </a:solidFill>
                          <a:latin typeface="Arial" panose="020B0604020202020204" pitchFamily="34" charset="0"/>
                          <a:cs typeface="Angsana New" panose="02020603050405020304" pitchFamily="18" charset="-34"/>
                        </a:defRPr>
                      </a:lvl4pPr>
                      <a:lvl5pPr>
                        <a:spcBef>
                          <a:spcPct val="20000"/>
                        </a:spcBef>
                        <a:defRPr>
                          <a:solidFill>
                            <a:schemeClr val="tx1"/>
                          </a:solidFill>
                          <a:latin typeface="Arial" panose="020B0604020202020204" pitchFamily="34" charset="0"/>
                          <a:cs typeface="Angsana New" panose="02020603050405020304" pitchFamily="18" charset="-34"/>
                        </a:defRPr>
                      </a:lvl5pPr>
                      <a:lvl6pPr fontAlgn="base">
                        <a:spcBef>
                          <a:spcPct val="20000"/>
                        </a:spcBef>
                        <a:spcAft>
                          <a:spcPct val="0"/>
                        </a:spcAft>
                        <a:defRPr>
                          <a:solidFill>
                            <a:schemeClr val="tx1"/>
                          </a:solidFill>
                          <a:latin typeface="Arial" panose="020B0604020202020204" pitchFamily="34" charset="0"/>
                          <a:cs typeface="Angsana New" panose="02020603050405020304" pitchFamily="18" charset="-34"/>
                        </a:defRPr>
                      </a:lvl6pPr>
                      <a:lvl7pPr fontAlgn="base">
                        <a:spcBef>
                          <a:spcPct val="20000"/>
                        </a:spcBef>
                        <a:spcAft>
                          <a:spcPct val="0"/>
                        </a:spcAft>
                        <a:defRPr>
                          <a:solidFill>
                            <a:schemeClr val="tx1"/>
                          </a:solidFill>
                          <a:latin typeface="Arial" panose="020B0604020202020204" pitchFamily="34" charset="0"/>
                          <a:cs typeface="Angsana New" panose="02020603050405020304" pitchFamily="18" charset="-34"/>
                        </a:defRPr>
                      </a:lvl7pPr>
                      <a:lvl8pPr fontAlgn="base">
                        <a:spcBef>
                          <a:spcPct val="20000"/>
                        </a:spcBef>
                        <a:spcAft>
                          <a:spcPct val="0"/>
                        </a:spcAft>
                        <a:defRPr>
                          <a:solidFill>
                            <a:schemeClr val="tx1"/>
                          </a:solidFill>
                          <a:latin typeface="Arial" panose="020B0604020202020204" pitchFamily="34" charset="0"/>
                          <a:cs typeface="Angsana New" panose="02020603050405020304" pitchFamily="18" charset="-34"/>
                        </a:defRPr>
                      </a:lvl8pPr>
                      <a:lvl9pPr fontAlgn="base">
                        <a:spcBef>
                          <a:spcPct val="20000"/>
                        </a:spcBef>
                        <a:spcAft>
                          <a:spcPct val="0"/>
                        </a:spcAft>
                        <a:defRPr>
                          <a:solidFill>
                            <a:schemeClr val="tx1"/>
                          </a:solidFill>
                          <a:latin typeface="Arial" panose="020B0604020202020204" pitchFamily="34" charset="0"/>
                          <a:cs typeface="Angsana New" panose="02020603050405020304" pitchFamily="18" charset="-34"/>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th-TH" sz="900" b="0" i="0" u="none" strike="noStrike" cap="none" normalizeH="0" baseline="0" dirty="0" smtClean="0">
                        <a:ln>
                          <a:noFill/>
                        </a:ln>
                        <a:solidFill>
                          <a:schemeClr val="tx1"/>
                        </a:solidFill>
                        <a:effectLst/>
                        <a:latin typeface="Century Gothic" pitchFamily="34" charset="0"/>
                        <a:cs typeface="+mj-cs"/>
                      </a:endParaRPr>
                    </a:p>
                  </a:txBody>
                  <a:tcPr marL="91439" marR="91439" marT="34285" marB="34285"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cs typeface="Angsana New" panose="02020603050405020304" pitchFamily="18" charset="-34"/>
                        </a:defRPr>
                      </a:lvl1pPr>
                      <a:lvl2pPr>
                        <a:spcBef>
                          <a:spcPct val="20000"/>
                        </a:spcBef>
                        <a:defRPr sz="2400">
                          <a:solidFill>
                            <a:schemeClr val="tx1"/>
                          </a:solidFill>
                          <a:latin typeface="Arial" panose="020B0604020202020204" pitchFamily="34" charset="0"/>
                          <a:cs typeface="Angsana New" panose="02020603050405020304" pitchFamily="18" charset="-34"/>
                        </a:defRPr>
                      </a:lvl2pPr>
                      <a:lvl3pPr>
                        <a:spcBef>
                          <a:spcPct val="20000"/>
                        </a:spcBef>
                        <a:defRPr sz="2000">
                          <a:solidFill>
                            <a:schemeClr val="tx1"/>
                          </a:solidFill>
                          <a:latin typeface="Arial" panose="020B0604020202020204" pitchFamily="34" charset="0"/>
                          <a:cs typeface="Angsana New" panose="02020603050405020304" pitchFamily="18" charset="-34"/>
                        </a:defRPr>
                      </a:lvl3pPr>
                      <a:lvl4pPr>
                        <a:spcBef>
                          <a:spcPct val="20000"/>
                        </a:spcBef>
                        <a:defRPr>
                          <a:solidFill>
                            <a:schemeClr val="tx1"/>
                          </a:solidFill>
                          <a:latin typeface="Arial" panose="020B0604020202020204" pitchFamily="34" charset="0"/>
                          <a:cs typeface="Angsana New" panose="02020603050405020304" pitchFamily="18" charset="-34"/>
                        </a:defRPr>
                      </a:lvl4pPr>
                      <a:lvl5pPr>
                        <a:spcBef>
                          <a:spcPct val="20000"/>
                        </a:spcBef>
                        <a:defRPr>
                          <a:solidFill>
                            <a:schemeClr val="tx1"/>
                          </a:solidFill>
                          <a:latin typeface="Arial" panose="020B0604020202020204" pitchFamily="34" charset="0"/>
                          <a:cs typeface="Angsana New" panose="02020603050405020304" pitchFamily="18" charset="-34"/>
                        </a:defRPr>
                      </a:lvl5pPr>
                      <a:lvl6pPr fontAlgn="base">
                        <a:spcBef>
                          <a:spcPct val="20000"/>
                        </a:spcBef>
                        <a:spcAft>
                          <a:spcPct val="0"/>
                        </a:spcAft>
                        <a:defRPr>
                          <a:solidFill>
                            <a:schemeClr val="tx1"/>
                          </a:solidFill>
                          <a:latin typeface="Arial" panose="020B0604020202020204" pitchFamily="34" charset="0"/>
                          <a:cs typeface="Angsana New" panose="02020603050405020304" pitchFamily="18" charset="-34"/>
                        </a:defRPr>
                      </a:lvl6pPr>
                      <a:lvl7pPr fontAlgn="base">
                        <a:spcBef>
                          <a:spcPct val="20000"/>
                        </a:spcBef>
                        <a:spcAft>
                          <a:spcPct val="0"/>
                        </a:spcAft>
                        <a:defRPr>
                          <a:solidFill>
                            <a:schemeClr val="tx1"/>
                          </a:solidFill>
                          <a:latin typeface="Arial" panose="020B0604020202020204" pitchFamily="34" charset="0"/>
                          <a:cs typeface="Angsana New" panose="02020603050405020304" pitchFamily="18" charset="-34"/>
                        </a:defRPr>
                      </a:lvl7pPr>
                      <a:lvl8pPr fontAlgn="base">
                        <a:spcBef>
                          <a:spcPct val="20000"/>
                        </a:spcBef>
                        <a:spcAft>
                          <a:spcPct val="0"/>
                        </a:spcAft>
                        <a:defRPr>
                          <a:solidFill>
                            <a:schemeClr val="tx1"/>
                          </a:solidFill>
                          <a:latin typeface="Arial" panose="020B0604020202020204" pitchFamily="34" charset="0"/>
                          <a:cs typeface="Angsana New" panose="02020603050405020304" pitchFamily="18" charset="-34"/>
                        </a:defRPr>
                      </a:lvl8pPr>
                      <a:lvl9pPr fontAlgn="base">
                        <a:spcBef>
                          <a:spcPct val="20000"/>
                        </a:spcBef>
                        <a:spcAft>
                          <a:spcPct val="0"/>
                        </a:spcAft>
                        <a:defRPr>
                          <a:solidFill>
                            <a:schemeClr val="tx1"/>
                          </a:solidFill>
                          <a:latin typeface="Arial" panose="020B0604020202020204" pitchFamily="34" charset="0"/>
                          <a:cs typeface="Angsana New" panose="02020603050405020304" pitchFamily="18" charset="-34"/>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th-TH" sz="900" b="0" i="0" u="none" strike="noStrike" cap="none" normalizeH="0" baseline="0" dirty="0" smtClean="0">
                        <a:ln>
                          <a:noFill/>
                        </a:ln>
                        <a:solidFill>
                          <a:schemeClr val="tx1"/>
                        </a:solidFill>
                        <a:effectLst/>
                        <a:latin typeface="Century Gothic" pitchFamily="34" charset="0"/>
                        <a:cs typeface="+mj-cs"/>
                      </a:endParaRPr>
                    </a:p>
                  </a:txBody>
                  <a:tcPr marL="91439" marR="91439" marT="34285" marB="34285"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cs typeface="Angsana New" panose="02020603050405020304" pitchFamily="18" charset="-34"/>
                        </a:defRPr>
                      </a:lvl1pPr>
                      <a:lvl2pPr>
                        <a:spcBef>
                          <a:spcPct val="20000"/>
                        </a:spcBef>
                        <a:defRPr sz="2400">
                          <a:solidFill>
                            <a:schemeClr val="tx1"/>
                          </a:solidFill>
                          <a:latin typeface="Arial" panose="020B0604020202020204" pitchFamily="34" charset="0"/>
                          <a:cs typeface="Angsana New" panose="02020603050405020304" pitchFamily="18" charset="-34"/>
                        </a:defRPr>
                      </a:lvl2pPr>
                      <a:lvl3pPr>
                        <a:spcBef>
                          <a:spcPct val="20000"/>
                        </a:spcBef>
                        <a:defRPr sz="2000">
                          <a:solidFill>
                            <a:schemeClr val="tx1"/>
                          </a:solidFill>
                          <a:latin typeface="Arial" panose="020B0604020202020204" pitchFamily="34" charset="0"/>
                          <a:cs typeface="Angsana New" panose="02020603050405020304" pitchFamily="18" charset="-34"/>
                        </a:defRPr>
                      </a:lvl3pPr>
                      <a:lvl4pPr>
                        <a:spcBef>
                          <a:spcPct val="20000"/>
                        </a:spcBef>
                        <a:defRPr>
                          <a:solidFill>
                            <a:schemeClr val="tx1"/>
                          </a:solidFill>
                          <a:latin typeface="Arial" panose="020B0604020202020204" pitchFamily="34" charset="0"/>
                          <a:cs typeface="Angsana New" panose="02020603050405020304" pitchFamily="18" charset="-34"/>
                        </a:defRPr>
                      </a:lvl4pPr>
                      <a:lvl5pPr>
                        <a:spcBef>
                          <a:spcPct val="20000"/>
                        </a:spcBef>
                        <a:defRPr>
                          <a:solidFill>
                            <a:schemeClr val="tx1"/>
                          </a:solidFill>
                          <a:latin typeface="Arial" panose="020B0604020202020204" pitchFamily="34" charset="0"/>
                          <a:cs typeface="Angsana New" panose="02020603050405020304" pitchFamily="18" charset="-34"/>
                        </a:defRPr>
                      </a:lvl5pPr>
                      <a:lvl6pPr fontAlgn="base">
                        <a:spcBef>
                          <a:spcPct val="20000"/>
                        </a:spcBef>
                        <a:spcAft>
                          <a:spcPct val="0"/>
                        </a:spcAft>
                        <a:defRPr>
                          <a:solidFill>
                            <a:schemeClr val="tx1"/>
                          </a:solidFill>
                          <a:latin typeface="Arial" panose="020B0604020202020204" pitchFamily="34" charset="0"/>
                          <a:cs typeface="Angsana New" panose="02020603050405020304" pitchFamily="18" charset="-34"/>
                        </a:defRPr>
                      </a:lvl6pPr>
                      <a:lvl7pPr fontAlgn="base">
                        <a:spcBef>
                          <a:spcPct val="20000"/>
                        </a:spcBef>
                        <a:spcAft>
                          <a:spcPct val="0"/>
                        </a:spcAft>
                        <a:defRPr>
                          <a:solidFill>
                            <a:schemeClr val="tx1"/>
                          </a:solidFill>
                          <a:latin typeface="Arial" panose="020B0604020202020204" pitchFamily="34" charset="0"/>
                          <a:cs typeface="Angsana New" panose="02020603050405020304" pitchFamily="18" charset="-34"/>
                        </a:defRPr>
                      </a:lvl7pPr>
                      <a:lvl8pPr fontAlgn="base">
                        <a:spcBef>
                          <a:spcPct val="20000"/>
                        </a:spcBef>
                        <a:spcAft>
                          <a:spcPct val="0"/>
                        </a:spcAft>
                        <a:defRPr>
                          <a:solidFill>
                            <a:schemeClr val="tx1"/>
                          </a:solidFill>
                          <a:latin typeface="Arial" panose="020B0604020202020204" pitchFamily="34" charset="0"/>
                          <a:cs typeface="Angsana New" panose="02020603050405020304" pitchFamily="18" charset="-34"/>
                        </a:defRPr>
                      </a:lvl8pPr>
                      <a:lvl9pPr fontAlgn="base">
                        <a:spcBef>
                          <a:spcPct val="20000"/>
                        </a:spcBef>
                        <a:spcAft>
                          <a:spcPct val="0"/>
                        </a:spcAft>
                        <a:defRPr>
                          <a:solidFill>
                            <a:schemeClr val="tx1"/>
                          </a:solidFill>
                          <a:latin typeface="Arial" panose="020B0604020202020204" pitchFamily="34" charset="0"/>
                          <a:cs typeface="Angsana New" panose="02020603050405020304" pitchFamily="18" charset="-34"/>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1100" b="0" i="0" u="none" strike="noStrike" kern="1200" cap="none" normalizeH="0" baseline="0" dirty="0" smtClean="0">
                          <a:ln>
                            <a:noFill/>
                          </a:ln>
                          <a:solidFill>
                            <a:schemeClr val="tx1"/>
                          </a:solidFill>
                          <a:effectLst/>
                          <a:latin typeface="Calibri" pitchFamily="34" charset="0"/>
                          <a:ea typeface="+mn-ea"/>
                          <a:cs typeface="+mj-cs"/>
                        </a:rPr>
                        <a:t>26,077</a:t>
                      </a:r>
                      <a:endParaRPr kumimoji="0" lang="th-TH" sz="1100" b="0" i="0" u="none" strike="noStrike" kern="1200" cap="none" normalizeH="0" baseline="0" dirty="0" smtClean="0">
                        <a:ln>
                          <a:noFill/>
                        </a:ln>
                        <a:solidFill>
                          <a:schemeClr val="tx1"/>
                        </a:solidFill>
                        <a:effectLst/>
                        <a:latin typeface="Calibri" pitchFamily="34" charset="0"/>
                        <a:ea typeface="+mn-ea"/>
                        <a:cs typeface="+mj-cs"/>
                      </a:endParaRPr>
                    </a:p>
                  </a:txBody>
                  <a:tcPr marL="91439" marR="91439" marT="34285" marB="34285"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219445">
                <a:tc gridSpan="7">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th-TH" sz="1000" b="0" i="0" u="none" strike="noStrike" cap="none" normalizeH="0" baseline="0" dirty="0" smtClean="0">
                          <a:ln>
                            <a:noFill/>
                          </a:ln>
                          <a:solidFill>
                            <a:schemeClr val="tx1"/>
                          </a:solidFill>
                          <a:effectLst/>
                          <a:latin typeface="Arial" pitchFamily="34" charset="0"/>
                          <a:cs typeface="+mj-cs"/>
                        </a:rPr>
                        <a:t>อยู่ระหว่างขั้นตอนนำเสนอ ครม. พิจารณาอนุมัติ</a:t>
                      </a:r>
                    </a:p>
                  </a:txBody>
                  <a:tcPr marL="91439" marR="91439" marT="34285" marB="34285" anchor="ctr" horzOverflow="overflow">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tx2">
                        <a:lumMod val="20000"/>
                        <a:lumOff val="80000"/>
                      </a:schemeClr>
                    </a:solidFill>
                  </a:tcPr>
                </a:tc>
                <a:tc hMerge="1">
                  <a:txBody>
                    <a:body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th-TH" sz="1200" b="0" i="0" u="none" strike="noStrike" cap="none" normalizeH="0" baseline="0" dirty="0" smtClean="0">
                        <a:ln>
                          <a:noFill/>
                        </a:ln>
                        <a:solidFill>
                          <a:schemeClr val="tx1"/>
                        </a:solidFill>
                        <a:effectLst/>
                        <a:latin typeface="Century Gothic" pitchFamily="34" charset="0"/>
                        <a:cs typeface="TH SarabunPSK" panose="020B0500040200020003" pitchFamily="34" charset="-34"/>
                      </a:endParaRPr>
                    </a:p>
                  </a:txBody>
                  <a:tcPr marL="91439" marR="91439" marT="45713" marB="4571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hMerge="1">
                  <a:txBody>
                    <a:body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th-TH" sz="1200" b="0" i="0" u="none" strike="noStrike" cap="none" normalizeH="0" baseline="0" dirty="0" smtClean="0">
                        <a:ln>
                          <a:noFill/>
                        </a:ln>
                        <a:solidFill>
                          <a:schemeClr val="tx1"/>
                        </a:solidFill>
                        <a:effectLst/>
                        <a:latin typeface="Century Gothic" pitchFamily="34" charset="0"/>
                        <a:cs typeface="TH SarabunPSK" panose="020B0500040200020003" pitchFamily="34" charset="-34"/>
                      </a:endParaRPr>
                    </a:p>
                  </a:txBody>
                  <a:tcPr marL="91439" marR="91439" marT="45713" marB="4571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hMerge="1">
                  <a:txBody>
                    <a:body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th-TH" sz="1200" b="0" i="0" u="none" strike="noStrike" cap="none" normalizeH="0" baseline="0" dirty="0" smtClean="0">
                        <a:ln>
                          <a:noFill/>
                        </a:ln>
                        <a:solidFill>
                          <a:schemeClr val="tx1"/>
                        </a:solidFill>
                        <a:effectLst/>
                        <a:latin typeface="Century Gothic" pitchFamily="34" charset="0"/>
                        <a:cs typeface="TH SarabunPSK" panose="020B0500040200020003" pitchFamily="34" charset="-34"/>
                      </a:endParaRPr>
                    </a:p>
                  </a:txBody>
                  <a:tcPr marL="91439" marR="91439" marT="45713" marB="4571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hMerge="1">
                  <a:txBody>
                    <a:body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th-TH" sz="1200" b="0" i="0" u="none" strike="noStrike" cap="none" normalizeH="0" baseline="0" dirty="0" smtClean="0">
                        <a:ln>
                          <a:noFill/>
                        </a:ln>
                        <a:solidFill>
                          <a:schemeClr val="tx1"/>
                        </a:solidFill>
                        <a:effectLst/>
                        <a:latin typeface="Century Gothic" pitchFamily="34" charset="0"/>
                        <a:cs typeface="TH SarabunPSK" panose="020B0500040200020003" pitchFamily="34" charset="-34"/>
                      </a:endParaRPr>
                    </a:p>
                  </a:txBody>
                  <a:tcPr marL="91439" marR="91439" marT="45713" marB="4571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hMerge="1">
                  <a:txBody>
                    <a:body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th-TH" sz="1200" b="0" i="0" u="none" strike="noStrike" cap="none" normalizeH="0" baseline="0" dirty="0" smtClean="0">
                        <a:ln>
                          <a:noFill/>
                        </a:ln>
                        <a:solidFill>
                          <a:schemeClr val="tx1"/>
                        </a:solidFill>
                        <a:effectLst/>
                        <a:latin typeface="Century Gothic" pitchFamily="34" charset="0"/>
                        <a:cs typeface="TH SarabunPSK" panose="020B0500040200020003" pitchFamily="34" charset="-34"/>
                      </a:endParaRPr>
                    </a:p>
                  </a:txBody>
                  <a:tcPr marL="91439" marR="91439" marT="45713" marB="4571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hMerge="1">
                  <a:txBody>
                    <a:bodyPr/>
                    <a:lstStyle/>
                    <a:p>
                      <a:pPr marL="0" marR="0" lvl="0" indent="0" algn="ctr" defTabSz="914400" rtl="0" eaLnBrk="1" fontAlgn="base" latinLnBrk="0" hangingPunct="1">
                        <a:lnSpc>
                          <a:spcPct val="100000"/>
                        </a:lnSpc>
                        <a:spcBef>
                          <a:spcPct val="20000"/>
                        </a:spcBef>
                        <a:spcAft>
                          <a:spcPct val="0"/>
                        </a:spcAft>
                        <a:buClrTx/>
                        <a:buSzTx/>
                        <a:buFontTx/>
                        <a:buNone/>
                        <a:tabLst/>
                      </a:pPr>
                      <a:endParaRPr kumimoji="0" lang="th-TH" sz="1200" b="0" i="0" u="none" strike="noStrike" kern="1200" cap="none" normalizeH="0" baseline="0" dirty="0" smtClean="0">
                        <a:ln>
                          <a:noFill/>
                        </a:ln>
                        <a:solidFill>
                          <a:schemeClr val="tx1"/>
                        </a:solidFill>
                        <a:effectLst/>
                        <a:latin typeface="Century Gothic" pitchFamily="34" charset="0"/>
                        <a:ea typeface="+mn-ea"/>
                        <a:cs typeface="TH SarabunPSK" panose="020B0500040200020003" pitchFamily="34" charset="-34"/>
                      </a:endParaRPr>
                    </a:p>
                  </a:txBody>
                  <a:tcPr marL="91439" marR="91439" marT="45713" marB="45713"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342889">
                <a:tc>
                  <a:txBody>
                    <a:bodyPr/>
                    <a:lstStyle>
                      <a:lvl1pPr>
                        <a:spcBef>
                          <a:spcPct val="20000"/>
                        </a:spcBef>
                        <a:defRPr sz="2800">
                          <a:solidFill>
                            <a:schemeClr val="tx1"/>
                          </a:solidFill>
                          <a:latin typeface="Arial" panose="020B0604020202020204" pitchFamily="34" charset="0"/>
                          <a:cs typeface="Angsana New" panose="02020603050405020304" pitchFamily="18" charset="-34"/>
                        </a:defRPr>
                      </a:lvl1pPr>
                      <a:lvl2pPr>
                        <a:spcBef>
                          <a:spcPct val="20000"/>
                        </a:spcBef>
                        <a:defRPr sz="2400">
                          <a:solidFill>
                            <a:schemeClr val="tx1"/>
                          </a:solidFill>
                          <a:latin typeface="Arial" panose="020B0604020202020204" pitchFamily="34" charset="0"/>
                          <a:cs typeface="Angsana New" panose="02020603050405020304" pitchFamily="18" charset="-34"/>
                        </a:defRPr>
                      </a:lvl2pPr>
                      <a:lvl3pPr>
                        <a:spcBef>
                          <a:spcPct val="20000"/>
                        </a:spcBef>
                        <a:defRPr sz="2000">
                          <a:solidFill>
                            <a:schemeClr val="tx1"/>
                          </a:solidFill>
                          <a:latin typeface="Arial" panose="020B0604020202020204" pitchFamily="34" charset="0"/>
                          <a:cs typeface="Angsana New" panose="02020603050405020304" pitchFamily="18" charset="-34"/>
                        </a:defRPr>
                      </a:lvl3pPr>
                      <a:lvl4pPr>
                        <a:spcBef>
                          <a:spcPct val="20000"/>
                        </a:spcBef>
                        <a:defRPr>
                          <a:solidFill>
                            <a:schemeClr val="tx1"/>
                          </a:solidFill>
                          <a:latin typeface="Arial" panose="020B0604020202020204" pitchFamily="34" charset="0"/>
                          <a:cs typeface="Angsana New" panose="02020603050405020304" pitchFamily="18" charset="-34"/>
                        </a:defRPr>
                      </a:lvl4pPr>
                      <a:lvl5pPr>
                        <a:spcBef>
                          <a:spcPct val="20000"/>
                        </a:spcBef>
                        <a:defRPr>
                          <a:solidFill>
                            <a:schemeClr val="tx1"/>
                          </a:solidFill>
                          <a:latin typeface="Arial" panose="020B0604020202020204" pitchFamily="34" charset="0"/>
                          <a:cs typeface="Angsana New" panose="02020603050405020304" pitchFamily="18" charset="-34"/>
                        </a:defRPr>
                      </a:lvl5pPr>
                      <a:lvl6pPr fontAlgn="base">
                        <a:spcBef>
                          <a:spcPct val="20000"/>
                        </a:spcBef>
                        <a:spcAft>
                          <a:spcPct val="0"/>
                        </a:spcAft>
                        <a:defRPr>
                          <a:solidFill>
                            <a:schemeClr val="tx1"/>
                          </a:solidFill>
                          <a:latin typeface="Arial" panose="020B0604020202020204" pitchFamily="34" charset="0"/>
                          <a:cs typeface="Angsana New" panose="02020603050405020304" pitchFamily="18" charset="-34"/>
                        </a:defRPr>
                      </a:lvl6pPr>
                      <a:lvl7pPr fontAlgn="base">
                        <a:spcBef>
                          <a:spcPct val="20000"/>
                        </a:spcBef>
                        <a:spcAft>
                          <a:spcPct val="0"/>
                        </a:spcAft>
                        <a:defRPr>
                          <a:solidFill>
                            <a:schemeClr val="tx1"/>
                          </a:solidFill>
                          <a:latin typeface="Arial" panose="020B0604020202020204" pitchFamily="34" charset="0"/>
                          <a:cs typeface="Angsana New" panose="02020603050405020304" pitchFamily="18" charset="-34"/>
                        </a:defRPr>
                      </a:lvl7pPr>
                      <a:lvl8pPr fontAlgn="base">
                        <a:spcBef>
                          <a:spcPct val="20000"/>
                        </a:spcBef>
                        <a:spcAft>
                          <a:spcPct val="0"/>
                        </a:spcAft>
                        <a:defRPr>
                          <a:solidFill>
                            <a:schemeClr val="tx1"/>
                          </a:solidFill>
                          <a:latin typeface="Arial" panose="020B0604020202020204" pitchFamily="34" charset="0"/>
                          <a:cs typeface="Angsana New" panose="02020603050405020304" pitchFamily="18" charset="-34"/>
                        </a:defRPr>
                      </a:lvl8pPr>
                      <a:lvl9pPr fontAlgn="base">
                        <a:spcBef>
                          <a:spcPct val="20000"/>
                        </a:spcBef>
                        <a:spcAft>
                          <a:spcPct val="0"/>
                        </a:spcAft>
                        <a:defRPr>
                          <a:solidFill>
                            <a:schemeClr val="tx1"/>
                          </a:solidFill>
                          <a:latin typeface="Arial" panose="020B0604020202020204" pitchFamily="34" charset="0"/>
                          <a:cs typeface="Angsana New" panose="02020603050405020304" pitchFamily="18" charset="-34"/>
                        </a:defRPr>
                      </a:lvl9p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US" sz="1000" b="0" i="0" u="none" strike="noStrike" cap="none" normalizeH="0" baseline="0" dirty="0" smtClean="0">
                          <a:ln>
                            <a:noFill/>
                          </a:ln>
                          <a:solidFill>
                            <a:schemeClr val="tx1"/>
                          </a:solidFill>
                          <a:effectLst/>
                          <a:latin typeface="Arial" pitchFamily="34" charset="0"/>
                          <a:cs typeface="+mj-cs"/>
                        </a:rPr>
                        <a:t>3.</a:t>
                      </a:r>
                      <a:r>
                        <a:rPr kumimoji="0" lang="th-TH" sz="1300" b="1" i="0" u="none" strike="noStrike" kern="1200" cap="none" normalizeH="0" baseline="0" dirty="0" smtClean="0">
                          <a:ln>
                            <a:noFill/>
                          </a:ln>
                          <a:solidFill>
                            <a:schemeClr val="tx1"/>
                          </a:solidFill>
                          <a:effectLst/>
                          <a:latin typeface="Calibri" pitchFamily="34" charset="0"/>
                          <a:ea typeface="+mn-ea"/>
                          <a:cs typeface="+mj-cs"/>
                        </a:rPr>
                        <a:t>ประจวบฯ – ชุมพร </a:t>
                      </a:r>
                      <a:r>
                        <a:rPr kumimoji="0" lang="en-US" sz="1000" b="0" i="0" u="none" strike="noStrike" cap="none" normalizeH="0" baseline="0" dirty="0" smtClean="0">
                          <a:ln>
                            <a:noFill/>
                          </a:ln>
                          <a:solidFill>
                            <a:schemeClr val="tx1"/>
                          </a:solidFill>
                          <a:effectLst/>
                          <a:latin typeface="Arial" pitchFamily="34" charset="0"/>
                          <a:cs typeface="+mj-cs"/>
                        </a:rPr>
                        <a:t>(167 </a:t>
                      </a:r>
                      <a:r>
                        <a:rPr kumimoji="0" lang="th-TH" sz="1000" b="0" i="0" u="none" strike="noStrike" cap="none" normalizeH="0" baseline="0" dirty="0" smtClean="0">
                          <a:ln>
                            <a:noFill/>
                          </a:ln>
                          <a:solidFill>
                            <a:schemeClr val="tx1"/>
                          </a:solidFill>
                          <a:effectLst/>
                          <a:latin typeface="Arial" pitchFamily="34" charset="0"/>
                          <a:cs typeface="+mj-cs"/>
                        </a:rPr>
                        <a:t>กม.</a:t>
                      </a:r>
                      <a:r>
                        <a:rPr kumimoji="0" lang="en-US" sz="1000" b="0" i="0" u="none" strike="noStrike" cap="none" normalizeH="0" baseline="0" dirty="0" smtClean="0">
                          <a:ln>
                            <a:noFill/>
                          </a:ln>
                          <a:solidFill>
                            <a:schemeClr val="tx1"/>
                          </a:solidFill>
                          <a:effectLst/>
                          <a:latin typeface="Arial" pitchFamily="34" charset="0"/>
                          <a:cs typeface="+mj-cs"/>
                        </a:rPr>
                        <a:t>)</a:t>
                      </a:r>
                      <a:endParaRPr kumimoji="0" lang="th-TH" sz="1000" b="0" i="0" u="none" strike="noStrike" cap="none" normalizeH="0" baseline="0" dirty="0" smtClean="0">
                        <a:ln>
                          <a:noFill/>
                        </a:ln>
                        <a:solidFill>
                          <a:schemeClr val="tx1"/>
                        </a:solidFill>
                        <a:effectLst/>
                        <a:latin typeface="Arial" pitchFamily="34" charset="0"/>
                        <a:cs typeface="+mj-cs"/>
                      </a:endParaRPr>
                    </a:p>
                  </a:txBody>
                  <a:tcPr marL="91439" marR="91439" marT="34285" marB="34285"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cs typeface="Angsana New" panose="02020603050405020304" pitchFamily="18" charset="-34"/>
                        </a:defRPr>
                      </a:lvl1pPr>
                      <a:lvl2pPr>
                        <a:spcBef>
                          <a:spcPct val="20000"/>
                        </a:spcBef>
                        <a:defRPr sz="2400">
                          <a:solidFill>
                            <a:schemeClr val="tx1"/>
                          </a:solidFill>
                          <a:latin typeface="Arial" panose="020B0604020202020204" pitchFamily="34" charset="0"/>
                          <a:cs typeface="Angsana New" panose="02020603050405020304" pitchFamily="18" charset="-34"/>
                        </a:defRPr>
                      </a:lvl2pPr>
                      <a:lvl3pPr>
                        <a:spcBef>
                          <a:spcPct val="20000"/>
                        </a:spcBef>
                        <a:defRPr sz="2000">
                          <a:solidFill>
                            <a:schemeClr val="tx1"/>
                          </a:solidFill>
                          <a:latin typeface="Arial" panose="020B0604020202020204" pitchFamily="34" charset="0"/>
                          <a:cs typeface="Angsana New" panose="02020603050405020304" pitchFamily="18" charset="-34"/>
                        </a:defRPr>
                      </a:lvl3pPr>
                      <a:lvl4pPr>
                        <a:spcBef>
                          <a:spcPct val="20000"/>
                        </a:spcBef>
                        <a:defRPr>
                          <a:solidFill>
                            <a:schemeClr val="tx1"/>
                          </a:solidFill>
                          <a:latin typeface="Arial" panose="020B0604020202020204" pitchFamily="34" charset="0"/>
                          <a:cs typeface="Angsana New" panose="02020603050405020304" pitchFamily="18" charset="-34"/>
                        </a:defRPr>
                      </a:lvl4pPr>
                      <a:lvl5pPr>
                        <a:spcBef>
                          <a:spcPct val="20000"/>
                        </a:spcBef>
                        <a:defRPr>
                          <a:solidFill>
                            <a:schemeClr val="tx1"/>
                          </a:solidFill>
                          <a:latin typeface="Arial" panose="020B0604020202020204" pitchFamily="34" charset="0"/>
                          <a:cs typeface="Angsana New" panose="02020603050405020304" pitchFamily="18" charset="-34"/>
                        </a:defRPr>
                      </a:lvl5pPr>
                      <a:lvl6pPr fontAlgn="base">
                        <a:spcBef>
                          <a:spcPct val="20000"/>
                        </a:spcBef>
                        <a:spcAft>
                          <a:spcPct val="0"/>
                        </a:spcAft>
                        <a:defRPr>
                          <a:solidFill>
                            <a:schemeClr val="tx1"/>
                          </a:solidFill>
                          <a:latin typeface="Arial" panose="020B0604020202020204" pitchFamily="34" charset="0"/>
                          <a:cs typeface="Angsana New" panose="02020603050405020304" pitchFamily="18" charset="-34"/>
                        </a:defRPr>
                      </a:lvl6pPr>
                      <a:lvl7pPr fontAlgn="base">
                        <a:spcBef>
                          <a:spcPct val="20000"/>
                        </a:spcBef>
                        <a:spcAft>
                          <a:spcPct val="0"/>
                        </a:spcAft>
                        <a:defRPr>
                          <a:solidFill>
                            <a:schemeClr val="tx1"/>
                          </a:solidFill>
                          <a:latin typeface="Arial" panose="020B0604020202020204" pitchFamily="34" charset="0"/>
                          <a:cs typeface="Angsana New" panose="02020603050405020304" pitchFamily="18" charset="-34"/>
                        </a:defRPr>
                      </a:lvl7pPr>
                      <a:lvl8pPr fontAlgn="base">
                        <a:spcBef>
                          <a:spcPct val="20000"/>
                        </a:spcBef>
                        <a:spcAft>
                          <a:spcPct val="0"/>
                        </a:spcAft>
                        <a:defRPr>
                          <a:solidFill>
                            <a:schemeClr val="tx1"/>
                          </a:solidFill>
                          <a:latin typeface="Arial" panose="020B0604020202020204" pitchFamily="34" charset="0"/>
                          <a:cs typeface="Angsana New" panose="02020603050405020304" pitchFamily="18" charset="-34"/>
                        </a:defRPr>
                      </a:lvl8pPr>
                      <a:lvl9pPr fontAlgn="base">
                        <a:spcBef>
                          <a:spcPct val="20000"/>
                        </a:spcBef>
                        <a:spcAft>
                          <a:spcPct val="0"/>
                        </a:spcAft>
                        <a:defRPr>
                          <a:solidFill>
                            <a:schemeClr val="tx1"/>
                          </a:solidFill>
                          <a:latin typeface="Arial" panose="020B0604020202020204" pitchFamily="34" charset="0"/>
                          <a:cs typeface="Angsana New" panose="02020603050405020304" pitchFamily="18" charset="-34"/>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th-TH" sz="900" b="0" i="0" u="none" strike="noStrike" cap="none" normalizeH="0" baseline="0" dirty="0" smtClean="0">
                        <a:ln>
                          <a:noFill/>
                        </a:ln>
                        <a:solidFill>
                          <a:schemeClr val="tx1"/>
                        </a:solidFill>
                        <a:effectLst/>
                        <a:latin typeface="Century Gothic" pitchFamily="34" charset="0"/>
                        <a:cs typeface="+mj-cs"/>
                      </a:endParaRPr>
                    </a:p>
                  </a:txBody>
                  <a:tcPr marL="91439" marR="91439" marT="34285" marB="34285"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cs typeface="Angsana New" panose="02020603050405020304" pitchFamily="18" charset="-34"/>
                        </a:defRPr>
                      </a:lvl1pPr>
                      <a:lvl2pPr>
                        <a:spcBef>
                          <a:spcPct val="20000"/>
                        </a:spcBef>
                        <a:defRPr sz="2400">
                          <a:solidFill>
                            <a:schemeClr val="tx1"/>
                          </a:solidFill>
                          <a:latin typeface="Arial" panose="020B0604020202020204" pitchFamily="34" charset="0"/>
                          <a:cs typeface="Angsana New" panose="02020603050405020304" pitchFamily="18" charset="-34"/>
                        </a:defRPr>
                      </a:lvl2pPr>
                      <a:lvl3pPr>
                        <a:spcBef>
                          <a:spcPct val="20000"/>
                        </a:spcBef>
                        <a:defRPr sz="2000">
                          <a:solidFill>
                            <a:schemeClr val="tx1"/>
                          </a:solidFill>
                          <a:latin typeface="Arial" panose="020B0604020202020204" pitchFamily="34" charset="0"/>
                          <a:cs typeface="Angsana New" panose="02020603050405020304" pitchFamily="18" charset="-34"/>
                        </a:defRPr>
                      </a:lvl3pPr>
                      <a:lvl4pPr>
                        <a:spcBef>
                          <a:spcPct val="20000"/>
                        </a:spcBef>
                        <a:defRPr>
                          <a:solidFill>
                            <a:schemeClr val="tx1"/>
                          </a:solidFill>
                          <a:latin typeface="Arial" panose="020B0604020202020204" pitchFamily="34" charset="0"/>
                          <a:cs typeface="Angsana New" panose="02020603050405020304" pitchFamily="18" charset="-34"/>
                        </a:defRPr>
                      </a:lvl4pPr>
                      <a:lvl5pPr>
                        <a:spcBef>
                          <a:spcPct val="20000"/>
                        </a:spcBef>
                        <a:defRPr>
                          <a:solidFill>
                            <a:schemeClr val="tx1"/>
                          </a:solidFill>
                          <a:latin typeface="Arial" panose="020B0604020202020204" pitchFamily="34" charset="0"/>
                          <a:cs typeface="Angsana New" panose="02020603050405020304" pitchFamily="18" charset="-34"/>
                        </a:defRPr>
                      </a:lvl5pPr>
                      <a:lvl6pPr fontAlgn="base">
                        <a:spcBef>
                          <a:spcPct val="20000"/>
                        </a:spcBef>
                        <a:spcAft>
                          <a:spcPct val="0"/>
                        </a:spcAft>
                        <a:defRPr>
                          <a:solidFill>
                            <a:schemeClr val="tx1"/>
                          </a:solidFill>
                          <a:latin typeface="Arial" panose="020B0604020202020204" pitchFamily="34" charset="0"/>
                          <a:cs typeface="Angsana New" panose="02020603050405020304" pitchFamily="18" charset="-34"/>
                        </a:defRPr>
                      </a:lvl6pPr>
                      <a:lvl7pPr fontAlgn="base">
                        <a:spcBef>
                          <a:spcPct val="20000"/>
                        </a:spcBef>
                        <a:spcAft>
                          <a:spcPct val="0"/>
                        </a:spcAft>
                        <a:defRPr>
                          <a:solidFill>
                            <a:schemeClr val="tx1"/>
                          </a:solidFill>
                          <a:latin typeface="Arial" panose="020B0604020202020204" pitchFamily="34" charset="0"/>
                          <a:cs typeface="Angsana New" panose="02020603050405020304" pitchFamily="18" charset="-34"/>
                        </a:defRPr>
                      </a:lvl7pPr>
                      <a:lvl8pPr fontAlgn="base">
                        <a:spcBef>
                          <a:spcPct val="20000"/>
                        </a:spcBef>
                        <a:spcAft>
                          <a:spcPct val="0"/>
                        </a:spcAft>
                        <a:defRPr>
                          <a:solidFill>
                            <a:schemeClr val="tx1"/>
                          </a:solidFill>
                          <a:latin typeface="Arial" panose="020B0604020202020204" pitchFamily="34" charset="0"/>
                          <a:cs typeface="Angsana New" panose="02020603050405020304" pitchFamily="18" charset="-34"/>
                        </a:defRPr>
                      </a:lvl8pPr>
                      <a:lvl9pPr fontAlgn="base">
                        <a:spcBef>
                          <a:spcPct val="20000"/>
                        </a:spcBef>
                        <a:spcAft>
                          <a:spcPct val="0"/>
                        </a:spcAft>
                        <a:defRPr>
                          <a:solidFill>
                            <a:schemeClr val="tx1"/>
                          </a:solidFill>
                          <a:latin typeface="Arial" panose="020B0604020202020204" pitchFamily="34" charset="0"/>
                          <a:cs typeface="Angsana New" panose="02020603050405020304" pitchFamily="18" charset="-34"/>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th-TH" sz="900" b="0" i="0" u="none" strike="noStrike" cap="none" normalizeH="0" baseline="0" dirty="0" smtClean="0">
                        <a:ln>
                          <a:noFill/>
                        </a:ln>
                        <a:solidFill>
                          <a:schemeClr val="tx1"/>
                        </a:solidFill>
                        <a:effectLst/>
                        <a:latin typeface="Century Gothic" pitchFamily="34" charset="0"/>
                        <a:cs typeface="+mj-cs"/>
                      </a:endParaRPr>
                    </a:p>
                  </a:txBody>
                  <a:tcPr marL="91439" marR="91439" marT="34285" marB="34285"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cs typeface="Angsana New" panose="02020603050405020304" pitchFamily="18" charset="-34"/>
                        </a:defRPr>
                      </a:lvl1pPr>
                      <a:lvl2pPr>
                        <a:spcBef>
                          <a:spcPct val="20000"/>
                        </a:spcBef>
                        <a:defRPr sz="2400">
                          <a:solidFill>
                            <a:schemeClr val="tx1"/>
                          </a:solidFill>
                          <a:latin typeface="Arial" panose="020B0604020202020204" pitchFamily="34" charset="0"/>
                          <a:cs typeface="Angsana New" panose="02020603050405020304" pitchFamily="18" charset="-34"/>
                        </a:defRPr>
                      </a:lvl2pPr>
                      <a:lvl3pPr>
                        <a:spcBef>
                          <a:spcPct val="20000"/>
                        </a:spcBef>
                        <a:defRPr sz="2000">
                          <a:solidFill>
                            <a:schemeClr val="tx1"/>
                          </a:solidFill>
                          <a:latin typeface="Arial" panose="020B0604020202020204" pitchFamily="34" charset="0"/>
                          <a:cs typeface="Angsana New" panose="02020603050405020304" pitchFamily="18" charset="-34"/>
                        </a:defRPr>
                      </a:lvl3pPr>
                      <a:lvl4pPr>
                        <a:spcBef>
                          <a:spcPct val="20000"/>
                        </a:spcBef>
                        <a:defRPr>
                          <a:solidFill>
                            <a:schemeClr val="tx1"/>
                          </a:solidFill>
                          <a:latin typeface="Arial" panose="020B0604020202020204" pitchFamily="34" charset="0"/>
                          <a:cs typeface="Angsana New" panose="02020603050405020304" pitchFamily="18" charset="-34"/>
                        </a:defRPr>
                      </a:lvl4pPr>
                      <a:lvl5pPr>
                        <a:spcBef>
                          <a:spcPct val="20000"/>
                        </a:spcBef>
                        <a:defRPr>
                          <a:solidFill>
                            <a:schemeClr val="tx1"/>
                          </a:solidFill>
                          <a:latin typeface="Arial" panose="020B0604020202020204" pitchFamily="34" charset="0"/>
                          <a:cs typeface="Angsana New" panose="02020603050405020304" pitchFamily="18" charset="-34"/>
                        </a:defRPr>
                      </a:lvl5pPr>
                      <a:lvl6pPr fontAlgn="base">
                        <a:spcBef>
                          <a:spcPct val="20000"/>
                        </a:spcBef>
                        <a:spcAft>
                          <a:spcPct val="0"/>
                        </a:spcAft>
                        <a:defRPr>
                          <a:solidFill>
                            <a:schemeClr val="tx1"/>
                          </a:solidFill>
                          <a:latin typeface="Arial" panose="020B0604020202020204" pitchFamily="34" charset="0"/>
                          <a:cs typeface="Angsana New" panose="02020603050405020304" pitchFamily="18" charset="-34"/>
                        </a:defRPr>
                      </a:lvl6pPr>
                      <a:lvl7pPr fontAlgn="base">
                        <a:spcBef>
                          <a:spcPct val="20000"/>
                        </a:spcBef>
                        <a:spcAft>
                          <a:spcPct val="0"/>
                        </a:spcAft>
                        <a:defRPr>
                          <a:solidFill>
                            <a:schemeClr val="tx1"/>
                          </a:solidFill>
                          <a:latin typeface="Arial" panose="020B0604020202020204" pitchFamily="34" charset="0"/>
                          <a:cs typeface="Angsana New" panose="02020603050405020304" pitchFamily="18" charset="-34"/>
                        </a:defRPr>
                      </a:lvl7pPr>
                      <a:lvl8pPr fontAlgn="base">
                        <a:spcBef>
                          <a:spcPct val="20000"/>
                        </a:spcBef>
                        <a:spcAft>
                          <a:spcPct val="0"/>
                        </a:spcAft>
                        <a:defRPr>
                          <a:solidFill>
                            <a:schemeClr val="tx1"/>
                          </a:solidFill>
                          <a:latin typeface="Arial" panose="020B0604020202020204" pitchFamily="34" charset="0"/>
                          <a:cs typeface="Angsana New" panose="02020603050405020304" pitchFamily="18" charset="-34"/>
                        </a:defRPr>
                      </a:lvl8pPr>
                      <a:lvl9pPr fontAlgn="base">
                        <a:spcBef>
                          <a:spcPct val="20000"/>
                        </a:spcBef>
                        <a:spcAft>
                          <a:spcPct val="0"/>
                        </a:spcAft>
                        <a:defRPr>
                          <a:solidFill>
                            <a:schemeClr val="tx1"/>
                          </a:solidFill>
                          <a:latin typeface="Arial" panose="020B0604020202020204" pitchFamily="34" charset="0"/>
                          <a:cs typeface="Angsana New" panose="02020603050405020304" pitchFamily="18" charset="-34"/>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th-TH" sz="900" b="0" i="0" u="none" strike="noStrike" cap="none" normalizeH="0" baseline="0" dirty="0" smtClean="0">
                        <a:ln>
                          <a:noFill/>
                        </a:ln>
                        <a:solidFill>
                          <a:schemeClr val="tx1"/>
                        </a:solidFill>
                        <a:effectLst/>
                        <a:latin typeface="Century Gothic" pitchFamily="34" charset="0"/>
                        <a:cs typeface="+mj-cs"/>
                      </a:endParaRPr>
                    </a:p>
                  </a:txBody>
                  <a:tcPr marL="91439" marR="91439" marT="34285" marB="34285"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cs typeface="Angsana New" panose="02020603050405020304" pitchFamily="18" charset="-34"/>
                        </a:defRPr>
                      </a:lvl1pPr>
                      <a:lvl2pPr>
                        <a:spcBef>
                          <a:spcPct val="20000"/>
                        </a:spcBef>
                        <a:defRPr sz="2400">
                          <a:solidFill>
                            <a:schemeClr val="tx1"/>
                          </a:solidFill>
                          <a:latin typeface="Arial" panose="020B0604020202020204" pitchFamily="34" charset="0"/>
                          <a:cs typeface="Angsana New" panose="02020603050405020304" pitchFamily="18" charset="-34"/>
                        </a:defRPr>
                      </a:lvl2pPr>
                      <a:lvl3pPr>
                        <a:spcBef>
                          <a:spcPct val="20000"/>
                        </a:spcBef>
                        <a:defRPr sz="2000">
                          <a:solidFill>
                            <a:schemeClr val="tx1"/>
                          </a:solidFill>
                          <a:latin typeface="Arial" panose="020B0604020202020204" pitchFamily="34" charset="0"/>
                          <a:cs typeface="Angsana New" panose="02020603050405020304" pitchFamily="18" charset="-34"/>
                        </a:defRPr>
                      </a:lvl3pPr>
                      <a:lvl4pPr>
                        <a:spcBef>
                          <a:spcPct val="20000"/>
                        </a:spcBef>
                        <a:defRPr>
                          <a:solidFill>
                            <a:schemeClr val="tx1"/>
                          </a:solidFill>
                          <a:latin typeface="Arial" panose="020B0604020202020204" pitchFamily="34" charset="0"/>
                          <a:cs typeface="Angsana New" panose="02020603050405020304" pitchFamily="18" charset="-34"/>
                        </a:defRPr>
                      </a:lvl4pPr>
                      <a:lvl5pPr>
                        <a:spcBef>
                          <a:spcPct val="20000"/>
                        </a:spcBef>
                        <a:defRPr>
                          <a:solidFill>
                            <a:schemeClr val="tx1"/>
                          </a:solidFill>
                          <a:latin typeface="Arial" panose="020B0604020202020204" pitchFamily="34" charset="0"/>
                          <a:cs typeface="Angsana New" panose="02020603050405020304" pitchFamily="18" charset="-34"/>
                        </a:defRPr>
                      </a:lvl5pPr>
                      <a:lvl6pPr fontAlgn="base">
                        <a:spcBef>
                          <a:spcPct val="20000"/>
                        </a:spcBef>
                        <a:spcAft>
                          <a:spcPct val="0"/>
                        </a:spcAft>
                        <a:defRPr>
                          <a:solidFill>
                            <a:schemeClr val="tx1"/>
                          </a:solidFill>
                          <a:latin typeface="Arial" panose="020B0604020202020204" pitchFamily="34" charset="0"/>
                          <a:cs typeface="Angsana New" panose="02020603050405020304" pitchFamily="18" charset="-34"/>
                        </a:defRPr>
                      </a:lvl6pPr>
                      <a:lvl7pPr fontAlgn="base">
                        <a:spcBef>
                          <a:spcPct val="20000"/>
                        </a:spcBef>
                        <a:spcAft>
                          <a:spcPct val="0"/>
                        </a:spcAft>
                        <a:defRPr>
                          <a:solidFill>
                            <a:schemeClr val="tx1"/>
                          </a:solidFill>
                          <a:latin typeface="Arial" panose="020B0604020202020204" pitchFamily="34" charset="0"/>
                          <a:cs typeface="Angsana New" panose="02020603050405020304" pitchFamily="18" charset="-34"/>
                        </a:defRPr>
                      </a:lvl7pPr>
                      <a:lvl8pPr fontAlgn="base">
                        <a:spcBef>
                          <a:spcPct val="20000"/>
                        </a:spcBef>
                        <a:spcAft>
                          <a:spcPct val="0"/>
                        </a:spcAft>
                        <a:defRPr>
                          <a:solidFill>
                            <a:schemeClr val="tx1"/>
                          </a:solidFill>
                          <a:latin typeface="Arial" panose="020B0604020202020204" pitchFamily="34" charset="0"/>
                          <a:cs typeface="Angsana New" panose="02020603050405020304" pitchFamily="18" charset="-34"/>
                        </a:defRPr>
                      </a:lvl8pPr>
                      <a:lvl9pPr fontAlgn="base">
                        <a:spcBef>
                          <a:spcPct val="20000"/>
                        </a:spcBef>
                        <a:spcAft>
                          <a:spcPct val="0"/>
                        </a:spcAft>
                        <a:defRPr>
                          <a:solidFill>
                            <a:schemeClr val="tx1"/>
                          </a:solidFill>
                          <a:latin typeface="Arial" panose="020B0604020202020204" pitchFamily="34" charset="0"/>
                          <a:cs typeface="Angsana New" panose="02020603050405020304" pitchFamily="18" charset="-34"/>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th-TH" sz="900" b="0" i="0" u="none" strike="noStrike" cap="none" normalizeH="0" baseline="0" dirty="0" smtClean="0">
                        <a:ln>
                          <a:noFill/>
                        </a:ln>
                        <a:solidFill>
                          <a:schemeClr val="tx1"/>
                        </a:solidFill>
                        <a:effectLst/>
                        <a:latin typeface="Century Gothic" pitchFamily="34" charset="0"/>
                        <a:cs typeface="+mj-cs"/>
                      </a:endParaRPr>
                    </a:p>
                  </a:txBody>
                  <a:tcPr marL="91439" marR="91439" marT="34285" marB="34285"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cs typeface="Angsana New" panose="02020603050405020304" pitchFamily="18" charset="-34"/>
                        </a:defRPr>
                      </a:lvl1pPr>
                      <a:lvl2pPr>
                        <a:spcBef>
                          <a:spcPct val="20000"/>
                        </a:spcBef>
                        <a:defRPr sz="2400">
                          <a:solidFill>
                            <a:schemeClr val="tx1"/>
                          </a:solidFill>
                          <a:latin typeface="Arial" panose="020B0604020202020204" pitchFamily="34" charset="0"/>
                          <a:cs typeface="Angsana New" panose="02020603050405020304" pitchFamily="18" charset="-34"/>
                        </a:defRPr>
                      </a:lvl2pPr>
                      <a:lvl3pPr>
                        <a:spcBef>
                          <a:spcPct val="20000"/>
                        </a:spcBef>
                        <a:defRPr sz="2000">
                          <a:solidFill>
                            <a:schemeClr val="tx1"/>
                          </a:solidFill>
                          <a:latin typeface="Arial" panose="020B0604020202020204" pitchFamily="34" charset="0"/>
                          <a:cs typeface="Angsana New" panose="02020603050405020304" pitchFamily="18" charset="-34"/>
                        </a:defRPr>
                      </a:lvl3pPr>
                      <a:lvl4pPr>
                        <a:spcBef>
                          <a:spcPct val="20000"/>
                        </a:spcBef>
                        <a:defRPr>
                          <a:solidFill>
                            <a:schemeClr val="tx1"/>
                          </a:solidFill>
                          <a:latin typeface="Arial" panose="020B0604020202020204" pitchFamily="34" charset="0"/>
                          <a:cs typeface="Angsana New" panose="02020603050405020304" pitchFamily="18" charset="-34"/>
                        </a:defRPr>
                      </a:lvl4pPr>
                      <a:lvl5pPr>
                        <a:spcBef>
                          <a:spcPct val="20000"/>
                        </a:spcBef>
                        <a:defRPr>
                          <a:solidFill>
                            <a:schemeClr val="tx1"/>
                          </a:solidFill>
                          <a:latin typeface="Arial" panose="020B0604020202020204" pitchFamily="34" charset="0"/>
                          <a:cs typeface="Angsana New" panose="02020603050405020304" pitchFamily="18" charset="-34"/>
                        </a:defRPr>
                      </a:lvl5pPr>
                      <a:lvl6pPr fontAlgn="base">
                        <a:spcBef>
                          <a:spcPct val="20000"/>
                        </a:spcBef>
                        <a:spcAft>
                          <a:spcPct val="0"/>
                        </a:spcAft>
                        <a:defRPr>
                          <a:solidFill>
                            <a:schemeClr val="tx1"/>
                          </a:solidFill>
                          <a:latin typeface="Arial" panose="020B0604020202020204" pitchFamily="34" charset="0"/>
                          <a:cs typeface="Angsana New" panose="02020603050405020304" pitchFamily="18" charset="-34"/>
                        </a:defRPr>
                      </a:lvl6pPr>
                      <a:lvl7pPr fontAlgn="base">
                        <a:spcBef>
                          <a:spcPct val="20000"/>
                        </a:spcBef>
                        <a:spcAft>
                          <a:spcPct val="0"/>
                        </a:spcAft>
                        <a:defRPr>
                          <a:solidFill>
                            <a:schemeClr val="tx1"/>
                          </a:solidFill>
                          <a:latin typeface="Arial" panose="020B0604020202020204" pitchFamily="34" charset="0"/>
                          <a:cs typeface="Angsana New" panose="02020603050405020304" pitchFamily="18" charset="-34"/>
                        </a:defRPr>
                      </a:lvl7pPr>
                      <a:lvl8pPr fontAlgn="base">
                        <a:spcBef>
                          <a:spcPct val="20000"/>
                        </a:spcBef>
                        <a:spcAft>
                          <a:spcPct val="0"/>
                        </a:spcAft>
                        <a:defRPr>
                          <a:solidFill>
                            <a:schemeClr val="tx1"/>
                          </a:solidFill>
                          <a:latin typeface="Arial" panose="020B0604020202020204" pitchFamily="34" charset="0"/>
                          <a:cs typeface="Angsana New" panose="02020603050405020304" pitchFamily="18" charset="-34"/>
                        </a:defRPr>
                      </a:lvl8pPr>
                      <a:lvl9pPr fontAlgn="base">
                        <a:spcBef>
                          <a:spcPct val="20000"/>
                        </a:spcBef>
                        <a:spcAft>
                          <a:spcPct val="0"/>
                        </a:spcAft>
                        <a:defRPr>
                          <a:solidFill>
                            <a:schemeClr val="tx1"/>
                          </a:solidFill>
                          <a:latin typeface="Arial" panose="020B0604020202020204" pitchFamily="34" charset="0"/>
                          <a:cs typeface="Angsana New" panose="02020603050405020304" pitchFamily="18" charset="-34"/>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th-TH" sz="900" b="0" i="0" u="none" strike="noStrike" cap="none" normalizeH="0" baseline="0" dirty="0" smtClean="0">
                        <a:ln>
                          <a:noFill/>
                        </a:ln>
                        <a:solidFill>
                          <a:schemeClr val="tx1"/>
                        </a:solidFill>
                        <a:effectLst/>
                        <a:latin typeface="Century Gothic" pitchFamily="34" charset="0"/>
                        <a:cs typeface="+mj-cs"/>
                      </a:endParaRPr>
                    </a:p>
                  </a:txBody>
                  <a:tcPr marL="91439" marR="91439" marT="34285" marB="34285"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cs typeface="Angsana New" panose="02020603050405020304" pitchFamily="18" charset="-34"/>
                        </a:defRPr>
                      </a:lvl1pPr>
                      <a:lvl2pPr>
                        <a:spcBef>
                          <a:spcPct val="20000"/>
                        </a:spcBef>
                        <a:defRPr sz="2400">
                          <a:solidFill>
                            <a:schemeClr val="tx1"/>
                          </a:solidFill>
                          <a:latin typeface="Arial" panose="020B0604020202020204" pitchFamily="34" charset="0"/>
                          <a:cs typeface="Angsana New" panose="02020603050405020304" pitchFamily="18" charset="-34"/>
                        </a:defRPr>
                      </a:lvl2pPr>
                      <a:lvl3pPr>
                        <a:spcBef>
                          <a:spcPct val="20000"/>
                        </a:spcBef>
                        <a:defRPr sz="2000">
                          <a:solidFill>
                            <a:schemeClr val="tx1"/>
                          </a:solidFill>
                          <a:latin typeface="Arial" panose="020B0604020202020204" pitchFamily="34" charset="0"/>
                          <a:cs typeface="Angsana New" panose="02020603050405020304" pitchFamily="18" charset="-34"/>
                        </a:defRPr>
                      </a:lvl3pPr>
                      <a:lvl4pPr>
                        <a:spcBef>
                          <a:spcPct val="20000"/>
                        </a:spcBef>
                        <a:defRPr>
                          <a:solidFill>
                            <a:schemeClr val="tx1"/>
                          </a:solidFill>
                          <a:latin typeface="Arial" panose="020B0604020202020204" pitchFamily="34" charset="0"/>
                          <a:cs typeface="Angsana New" panose="02020603050405020304" pitchFamily="18" charset="-34"/>
                        </a:defRPr>
                      </a:lvl4pPr>
                      <a:lvl5pPr>
                        <a:spcBef>
                          <a:spcPct val="20000"/>
                        </a:spcBef>
                        <a:defRPr>
                          <a:solidFill>
                            <a:schemeClr val="tx1"/>
                          </a:solidFill>
                          <a:latin typeface="Arial" panose="020B0604020202020204" pitchFamily="34" charset="0"/>
                          <a:cs typeface="Angsana New" panose="02020603050405020304" pitchFamily="18" charset="-34"/>
                        </a:defRPr>
                      </a:lvl5pPr>
                      <a:lvl6pPr fontAlgn="base">
                        <a:spcBef>
                          <a:spcPct val="20000"/>
                        </a:spcBef>
                        <a:spcAft>
                          <a:spcPct val="0"/>
                        </a:spcAft>
                        <a:defRPr>
                          <a:solidFill>
                            <a:schemeClr val="tx1"/>
                          </a:solidFill>
                          <a:latin typeface="Arial" panose="020B0604020202020204" pitchFamily="34" charset="0"/>
                          <a:cs typeface="Angsana New" panose="02020603050405020304" pitchFamily="18" charset="-34"/>
                        </a:defRPr>
                      </a:lvl6pPr>
                      <a:lvl7pPr fontAlgn="base">
                        <a:spcBef>
                          <a:spcPct val="20000"/>
                        </a:spcBef>
                        <a:spcAft>
                          <a:spcPct val="0"/>
                        </a:spcAft>
                        <a:defRPr>
                          <a:solidFill>
                            <a:schemeClr val="tx1"/>
                          </a:solidFill>
                          <a:latin typeface="Arial" panose="020B0604020202020204" pitchFamily="34" charset="0"/>
                          <a:cs typeface="Angsana New" panose="02020603050405020304" pitchFamily="18" charset="-34"/>
                        </a:defRPr>
                      </a:lvl7pPr>
                      <a:lvl8pPr fontAlgn="base">
                        <a:spcBef>
                          <a:spcPct val="20000"/>
                        </a:spcBef>
                        <a:spcAft>
                          <a:spcPct val="0"/>
                        </a:spcAft>
                        <a:defRPr>
                          <a:solidFill>
                            <a:schemeClr val="tx1"/>
                          </a:solidFill>
                          <a:latin typeface="Arial" panose="020B0604020202020204" pitchFamily="34" charset="0"/>
                          <a:cs typeface="Angsana New" panose="02020603050405020304" pitchFamily="18" charset="-34"/>
                        </a:defRPr>
                      </a:lvl8pPr>
                      <a:lvl9pPr fontAlgn="base">
                        <a:spcBef>
                          <a:spcPct val="20000"/>
                        </a:spcBef>
                        <a:spcAft>
                          <a:spcPct val="0"/>
                        </a:spcAft>
                        <a:defRPr>
                          <a:solidFill>
                            <a:schemeClr val="tx1"/>
                          </a:solidFill>
                          <a:latin typeface="Arial" panose="020B0604020202020204" pitchFamily="34" charset="0"/>
                          <a:cs typeface="Angsana New" panose="02020603050405020304" pitchFamily="18" charset="-34"/>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1100" b="0" i="0" u="none" strike="noStrike" kern="1200" cap="none" normalizeH="0" baseline="0" dirty="0" smtClean="0">
                          <a:ln>
                            <a:noFill/>
                          </a:ln>
                          <a:solidFill>
                            <a:schemeClr val="tx1"/>
                          </a:solidFill>
                          <a:effectLst/>
                          <a:latin typeface="Calibri" pitchFamily="34" charset="0"/>
                          <a:ea typeface="+mn-ea"/>
                          <a:cs typeface="+mj-cs"/>
                        </a:rPr>
                        <a:t>17,292</a:t>
                      </a:r>
                      <a:endParaRPr kumimoji="0" lang="th-TH" sz="1100" b="0" i="0" u="none" strike="noStrike" kern="1200" cap="none" normalizeH="0" baseline="0" dirty="0" smtClean="0">
                        <a:ln>
                          <a:noFill/>
                        </a:ln>
                        <a:solidFill>
                          <a:schemeClr val="tx1"/>
                        </a:solidFill>
                        <a:effectLst/>
                        <a:latin typeface="Calibri" pitchFamily="34" charset="0"/>
                        <a:ea typeface="+mn-ea"/>
                        <a:cs typeface="+mj-cs"/>
                      </a:endParaRPr>
                    </a:p>
                  </a:txBody>
                  <a:tcPr marL="91439" marR="91439" marT="34285" marB="34285"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342889">
                <a:tc>
                  <a:txBody>
                    <a:bodyPr/>
                    <a:lstStyle>
                      <a:lvl1pPr>
                        <a:spcBef>
                          <a:spcPct val="20000"/>
                        </a:spcBef>
                        <a:defRPr sz="2800">
                          <a:solidFill>
                            <a:schemeClr val="tx1"/>
                          </a:solidFill>
                          <a:latin typeface="Arial" panose="020B0604020202020204" pitchFamily="34" charset="0"/>
                          <a:cs typeface="Angsana New" panose="02020603050405020304" pitchFamily="18" charset="-34"/>
                        </a:defRPr>
                      </a:lvl1pPr>
                      <a:lvl2pPr>
                        <a:spcBef>
                          <a:spcPct val="20000"/>
                        </a:spcBef>
                        <a:defRPr sz="2400">
                          <a:solidFill>
                            <a:schemeClr val="tx1"/>
                          </a:solidFill>
                          <a:latin typeface="Arial" panose="020B0604020202020204" pitchFamily="34" charset="0"/>
                          <a:cs typeface="Angsana New" panose="02020603050405020304" pitchFamily="18" charset="-34"/>
                        </a:defRPr>
                      </a:lvl2pPr>
                      <a:lvl3pPr>
                        <a:spcBef>
                          <a:spcPct val="20000"/>
                        </a:spcBef>
                        <a:defRPr sz="2000">
                          <a:solidFill>
                            <a:schemeClr val="tx1"/>
                          </a:solidFill>
                          <a:latin typeface="Arial" panose="020B0604020202020204" pitchFamily="34" charset="0"/>
                          <a:cs typeface="Angsana New" panose="02020603050405020304" pitchFamily="18" charset="-34"/>
                        </a:defRPr>
                      </a:lvl3pPr>
                      <a:lvl4pPr>
                        <a:spcBef>
                          <a:spcPct val="20000"/>
                        </a:spcBef>
                        <a:defRPr>
                          <a:solidFill>
                            <a:schemeClr val="tx1"/>
                          </a:solidFill>
                          <a:latin typeface="Arial" panose="020B0604020202020204" pitchFamily="34" charset="0"/>
                          <a:cs typeface="Angsana New" panose="02020603050405020304" pitchFamily="18" charset="-34"/>
                        </a:defRPr>
                      </a:lvl4pPr>
                      <a:lvl5pPr>
                        <a:spcBef>
                          <a:spcPct val="20000"/>
                        </a:spcBef>
                        <a:defRPr>
                          <a:solidFill>
                            <a:schemeClr val="tx1"/>
                          </a:solidFill>
                          <a:latin typeface="Arial" panose="020B0604020202020204" pitchFamily="34" charset="0"/>
                          <a:cs typeface="Angsana New" panose="02020603050405020304" pitchFamily="18" charset="-34"/>
                        </a:defRPr>
                      </a:lvl5pPr>
                      <a:lvl6pPr fontAlgn="base">
                        <a:spcBef>
                          <a:spcPct val="20000"/>
                        </a:spcBef>
                        <a:spcAft>
                          <a:spcPct val="0"/>
                        </a:spcAft>
                        <a:defRPr>
                          <a:solidFill>
                            <a:schemeClr val="tx1"/>
                          </a:solidFill>
                          <a:latin typeface="Arial" panose="020B0604020202020204" pitchFamily="34" charset="0"/>
                          <a:cs typeface="Angsana New" panose="02020603050405020304" pitchFamily="18" charset="-34"/>
                        </a:defRPr>
                      </a:lvl6pPr>
                      <a:lvl7pPr fontAlgn="base">
                        <a:spcBef>
                          <a:spcPct val="20000"/>
                        </a:spcBef>
                        <a:spcAft>
                          <a:spcPct val="0"/>
                        </a:spcAft>
                        <a:defRPr>
                          <a:solidFill>
                            <a:schemeClr val="tx1"/>
                          </a:solidFill>
                          <a:latin typeface="Arial" panose="020B0604020202020204" pitchFamily="34" charset="0"/>
                          <a:cs typeface="Angsana New" panose="02020603050405020304" pitchFamily="18" charset="-34"/>
                        </a:defRPr>
                      </a:lvl7pPr>
                      <a:lvl8pPr fontAlgn="base">
                        <a:spcBef>
                          <a:spcPct val="20000"/>
                        </a:spcBef>
                        <a:spcAft>
                          <a:spcPct val="0"/>
                        </a:spcAft>
                        <a:defRPr>
                          <a:solidFill>
                            <a:schemeClr val="tx1"/>
                          </a:solidFill>
                          <a:latin typeface="Arial" panose="020B0604020202020204" pitchFamily="34" charset="0"/>
                          <a:cs typeface="Angsana New" panose="02020603050405020304" pitchFamily="18" charset="-34"/>
                        </a:defRPr>
                      </a:lvl8pPr>
                      <a:lvl9pPr fontAlgn="base">
                        <a:spcBef>
                          <a:spcPct val="20000"/>
                        </a:spcBef>
                        <a:spcAft>
                          <a:spcPct val="0"/>
                        </a:spcAft>
                        <a:defRPr>
                          <a:solidFill>
                            <a:schemeClr val="tx1"/>
                          </a:solidFill>
                          <a:latin typeface="Arial" panose="020B0604020202020204" pitchFamily="34" charset="0"/>
                          <a:cs typeface="Angsana New" panose="02020603050405020304" pitchFamily="18" charset="-34"/>
                        </a:defRPr>
                      </a:lvl9p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US" sz="1000" b="0" i="0" u="none" strike="noStrike" cap="none" normalizeH="0" baseline="0" dirty="0" smtClean="0">
                          <a:ln>
                            <a:noFill/>
                          </a:ln>
                          <a:solidFill>
                            <a:schemeClr val="tx1"/>
                          </a:solidFill>
                          <a:effectLst/>
                          <a:latin typeface="Arial" pitchFamily="34" charset="0"/>
                          <a:cs typeface="+mj-cs"/>
                        </a:rPr>
                        <a:t>4. </a:t>
                      </a:r>
                      <a:r>
                        <a:rPr kumimoji="0" lang="th-TH" sz="1300" b="1" i="0" u="none" strike="noStrike" kern="1200" cap="none" normalizeH="0" baseline="0" dirty="0" smtClean="0">
                          <a:ln>
                            <a:noFill/>
                          </a:ln>
                          <a:solidFill>
                            <a:schemeClr val="tx1"/>
                          </a:solidFill>
                          <a:effectLst/>
                          <a:latin typeface="Calibri" pitchFamily="34" charset="0"/>
                          <a:ea typeface="+mn-ea"/>
                          <a:cs typeface="+mj-cs"/>
                        </a:rPr>
                        <a:t>นครรปฐม – หัวหิน</a:t>
                      </a:r>
                      <a:r>
                        <a:rPr kumimoji="0" lang="en-US" sz="900" b="0" i="0" u="none" strike="noStrike" cap="none" normalizeH="0" baseline="0" dirty="0" smtClean="0">
                          <a:ln>
                            <a:noFill/>
                          </a:ln>
                          <a:solidFill>
                            <a:schemeClr val="tx1"/>
                          </a:solidFill>
                          <a:effectLst/>
                          <a:latin typeface="Arial" pitchFamily="34" charset="0"/>
                          <a:cs typeface="+mj-cs"/>
                        </a:rPr>
                        <a:t>(165 </a:t>
                      </a:r>
                      <a:r>
                        <a:rPr kumimoji="0" lang="th-TH" sz="900" b="0" i="0" u="none" strike="noStrike" cap="none" normalizeH="0" baseline="0" dirty="0" smtClean="0">
                          <a:ln>
                            <a:noFill/>
                          </a:ln>
                          <a:solidFill>
                            <a:schemeClr val="tx1"/>
                          </a:solidFill>
                          <a:effectLst/>
                          <a:latin typeface="Arial" pitchFamily="34" charset="0"/>
                          <a:cs typeface="+mj-cs"/>
                        </a:rPr>
                        <a:t>กม.</a:t>
                      </a:r>
                      <a:r>
                        <a:rPr kumimoji="0" lang="en-US" sz="1000" b="0" i="0" u="none" strike="noStrike" cap="none" normalizeH="0" baseline="0" dirty="0" smtClean="0">
                          <a:ln>
                            <a:noFill/>
                          </a:ln>
                          <a:solidFill>
                            <a:schemeClr val="tx1"/>
                          </a:solidFill>
                          <a:effectLst/>
                          <a:latin typeface="Arial" pitchFamily="34" charset="0"/>
                          <a:cs typeface="+mj-cs"/>
                        </a:rPr>
                        <a:t>)</a:t>
                      </a:r>
                      <a:endParaRPr kumimoji="0" lang="th-TH" sz="1000" b="0" i="0" u="none" strike="noStrike" cap="none" normalizeH="0" baseline="0" dirty="0" smtClean="0">
                        <a:ln>
                          <a:noFill/>
                        </a:ln>
                        <a:solidFill>
                          <a:schemeClr val="tx1"/>
                        </a:solidFill>
                        <a:effectLst/>
                        <a:latin typeface="Arial" pitchFamily="34" charset="0"/>
                        <a:cs typeface="+mj-cs"/>
                      </a:endParaRPr>
                    </a:p>
                  </a:txBody>
                  <a:tcPr marL="91439" marR="91439" marT="34285" marB="34285"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cs typeface="Angsana New" panose="02020603050405020304" pitchFamily="18" charset="-34"/>
                        </a:defRPr>
                      </a:lvl1pPr>
                      <a:lvl2pPr>
                        <a:spcBef>
                          <a:spcPct val="20000"/>
                        </a:spcBef>
                        <a:defRPr sz="2400">
                          <a:solidFill>
                            <a:schemeClr val="tx1"/>
                          </a:solidFill>
                          <a:latin typeface="Arial" panose="020B0604020202020204" pitchFamily="34" charset="0"/>
                          <a:cs typeface="Angsana New" panose="02020603050405020304" pitchFamily="18" charset="-34"/>
                        </a:defRPr>
                      </a:lvl2pPr>
                      <a:lvl3pPr>
                        <a:spcBef>
                          <a:spcPct val="20000"/>
                        </a:spcBef>
                        <a:defRPr sz="2000">
                          <a:solidFill>
                            <a:schemeClr val="tx1"/>
                          </a:solidFill>
                          <a:latin typeface="Arial" panose="020B0604020202020204" pitchFamily="34" charset="0"/>
                          <a:cs typeface="Angsana New" panose="02020603050405020304" pitchFamily="18" charset="-34"/>
                        </a:defRPr>
                      </a:lvl3pPr>
                      <a:lvl4pPr>
                        <a:spcBef>
                          <a:spcPct val="20000"/>
                        </a:spcBef>
                        <a:defRPr>
                          <a:solidFill>
                            <a:schemeClr val="tx1"/>
                          </a:solidFill>
                          <a:latin typeface="Arial" panose="020B0604020202020204" pitchFamily="34" charset="0"/>
                          <a:cs typeface="Angsana New" panose="02020603050405020304" pitchFamily="18" charset="-34"/>
                        </a:defRPr>
                      </a:lvl4pPr>
                      <a:lvl5pPr>
                        <a:spcBef>
                          <a:spcPct val="20000"/>
                        </a:spcBef>
                        <a:defRPr>
                          <a:solidFill>
                            <a:schemeClr val="tx1"/>
                          </a:solidFill>
                          <a:latin typeface="Arial" panose="020B0604020202020204" pitchFamily="34" charset="0"/>
                          <a:cs typeface="Angsana New" panose="02020603050405020304" pitchFamily="18" charset="-34"/>
                        </a:defRPr>
                      </a:lvl5pPr>
                      <a:lvl6pPr fontAlgn="base">
                        <a:spcBef>
                          <a:spcPct val="20000"/>
                        </a:spcBef>
                        <a:spcAft>
                          <a:spcPct val="0"/>
                        </a:spcAft>
                        <a:defRPr>
                          <a:solidFill>
                            <a:schemeClr val="tx1"/>
                          </a:solidFill>
                          <a:latin typeface="Arial" panose="020B0604020202020204" pitchFamily="34" charset="0"/>
                          <a:cs typeface="Angsana New" panose="02020603050405020304" pitchFamily="18" charset="-34"/>
                        </a:defRPr>
                      </a:lvl6pPr>
                      <a:lvl7pPr fontAlgn="base">
                        <a:spcBef>
                          <a:spcPct val="20000"/>
                        </a:spcBef>
                        <a:spcAft>
                          <a:spcPct val="0"/>
                        </a:spcAft>
                        <a:defRPr>
                          <a:solidFill>
                            <a:schemeClr val="tx1"/>
                          </a:solidFill>
                          <a:latin typeface="Arial" panose="020B0604020202020204" pitchFamily="34" charset="0"/>
                          <a:cs typeface="Angsana New" panose="02020603050405020304" pitchFamily="18" charset="-34"/>
                        </a:defRPr>
                      </a:lvl7pPr>
                      <a:lvl8pPr fontAlgn="base">
                        <a:spcBef>
                          <a:spcPct val="20000"/>
                        </a:spcBef>
                        <a:spcAft>
                          <a:spcPct val="0"/>
                        </a:spcAft>
                        <a:defRPr>
                          <a:solidFill>
                            <a:schemeClr val="tx1"/>
                          </a:solidFill>
                          <a:latin typeface="Arial" panose="020B0604020202020204" pitchFamily="34" charset="0"/>
                          <a:cs typeface="Angsana New" panose="02020603050405020304" pitchFamily="18" charset="-34"/>
                        </a:defRPr>
                      </a:lvl8pPr>
                      <a:lvl9pPr fontAlgn="base">
                        <a:spcBef>
                          <a:spcPct val="20000"/>
                        </a:spcBef>
                        <a:spcAft>
                          <a:spcPct val="0"/>
                        </a:spcAft>
                        <a:defRPr>
                          <a:solidFill>
                            <a:schemeClr val="tx1"/>
                          </a:solidFill>
                          <a:latin typeface="Arial" panose="020B0604020202020204" pitchFamily="34" charset="0"/>
                          <a:cs typeface="Angsana New" panose="02020603050405020304" pitchFamily="18" charset="-34"/>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th-TH" sz="900" b="0" i="0" u="none" strike="noStrike" cap="none" normalizeH="0" baseline="0" dirty="0" smtClean="0">
                        <a:ln>
                          <a:noFill/>
                        </a:ln>
                        <a:solidFill>
                          <a:schemeClr val="tx1"/>
                        </a:solidFill>
                        <a:effectLst/>
                        <a:latin typeface="Century Gothic" pitchFamily="34" charset="0"/>
                        <a:cs typeface="+mj-cs"/>
                      </a:endParaRPr>
                    </a:p>
                  </a:txBody>
                  <a:tcPr marL="91439" marR="91439" marT="34285" marB="34285"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cs typeface="Angsana New" panose="02020603050405020304" pitchFamily="18" charset="-34"/>
                        </a:defRPr>
                      </a:lvl1pPr>
                      <a:lvl2pPr>
                        <a:spcBef>
                          <a:spcPct val="20000"/>
                        </a:spcBef>
                        <a:defRPr sz="2400">
                          <a:solidFill>
                            <a:schemeClr val="tx1"/>
                          </a:solidFill>
                          <a:latin typeface="Arial" panose="020B0604020202020204" pitchFamily="34" charset="0"/>
                          <a:cs typeface="Angsana New" panose="02020603050405020304" pitchFamily="18" charset="-34"/>
                        </a:defRPr>
                      </a:lvl2pPr>
                      <a:lvl3pPr>
                        <a:spcBef>
                          <a:spcPct val="20000"/>
                        </a:spcBef>
                        <a:defRPr sz="2000">
                          <a:solidFill>
                            <a:schemeClr val="tx1"/>
                          </a:solidFill>
                          <a:latin typeface="Arial" panose="020B0604020202020204" pitchFamily="34" charset="0"/>
                          <a:cs typeface="Angsana New" panose="02020603050405020304" pitchFamily="18" charset="-34"/>
                        </a:defRPr>
                      </a:lvl3pPr>
                      <a:lvl4pPr>
                        <a:spcBef>
                          <a:spcPct val="20000"/>
                        </a:spcBef>
                        <a:defRPr>
                          <a:solidFill>
                            <a:schemeClr val="tx1"/>
                          </a:solidFill>
                          <a:latin typeface="Arial" panose="020B0604020202020204" pitchFamily="34" charset="0"/>
                          <a:cs typeface="Angsana New" panose="02020603050405020304" pitchFamily="18" charset="-34"/>
                        </a:defRPr>
                      </a:lvl4pPr>
                      <a:lvl5pPr>
                        <a:spcBef>
                          <a:spcPct val="20000"/>
                        </a:spcBef>
                        <a:defRPr>
                          <a:solidFill>
                            <a:schemeClr val="tx1"/>
                          </a:solidFill>
                          <a:latin typeface="Arial" panose="020B0604020202020204" pitchFamily="34" charset="0"/>
                          <a:cs typeface="Angsana New" panose="02020603050405020304" pitchFamily="18" charset="-34"/>
                        </a:defRPr>
                      </a:lvl5pPr>
                      <a:lvl6pPr fontAlgn="base">
                        <a:spcBef>
                          <a:spcPct val="20000"/>
                        </a:spcBef>
                        <a:spcAft>
                          <a:spcPct val="0"/>
                        </a:spcAft>
                        <a:defRPr>
                          <a:solidFill>
                            <a:schemeClr val="tx1"/>
                          </a:solidFill>
                          <a:latin typeface="Arial" panose="020B0604020202020204" pitchFamily="34" charset="0"/>
                          <a:cs typeface="Angsana New" panose="02020603050405020304" pitchFamily="18" charset="-34"/>
                        </a:defRPr>
                      </a:lvl6pPr>
                      <a:lvl7pPr fontAlgn="base">
                        <a:spcBef>
                          <a:spcPct val="20000"/>
                        </a:spcBef>
                        <a:spcAft>
                          <a:spcPct val="0"/>
                        </a:spcAft>
                        <a:defRPr>
                          <a:solidFill>
                            <a:schemeClr val="tx1"/>
                          </a:solidFill>
                          <a:latin typeface="Arial" panose="020B0604020202020204" pitchFamily="34" charset="0"/>
                          <a:cs typeface="Angsana New" panose="02020603050405020304" pitchFamily="18" charset="-34"/>
                        </a:defRPr>
                      </a:lvl7pPr>
                      <a:lvl8pPr fontAlgn="base">
                        <a:spcBef>
                          <a:spcPct val="20000"/>
                        </a:spcBef>
                        <a:spcAft>
                          <a:spcPct val="0"/>
                        </a:spcAft>
                        <a:defRPr>
                          <a:solidFill>
                            <a:schemeClr val="tx1"/>
                          </a:solidFill>
                          <a:latin typeface="Arial" panose="020B0604020202020204" pitchFamily="34" charset="0"/>
                          <a:cs typeface="Angsana New" panose="02020603050405020304" pitchFamily="18" charset="-34"/>
                        </a:defRPr>
                      </a:lvl8pPr>
                      <a:lvl9pPr fontAlgn="base">
                        <a:spcBef>
                          <a:spcPct val="20000"/>
                        </a:spcBef>
                        <a:spcAft>
                          <a:spcPct val="0"/>
                        </a:spcAft>
                        <a:defRPr>
                          <a:solidFill>
                            <a:schemeClr val="tx1"/>
                          </a:solidFill>
                          <a:latin typeface="Arial" panose="020B0604020202020204" pitchFamily="34" charset="0"/>
                          <a:cs typeface="Angsana New" panose="02020603050405020304" pitchFamily="18" charset="-34"/>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th-TH" sz="900" b="0" i="0" u="none" strike="noStrike" cap="none" normalizeH="0" baseline="0" dirty="0" smtClean="0">
                        <a:ln>
                          <a:noFill/>
                        </a:ln>
                        <a:solidFill>
                          <a:schemeClr val="tx1"/>
                        </a:solidFill>
                        <a:effectLst/>
                        <a:latin typeface="Century Gothic" pitchFamily="34" charset="0"/>
                        <a:cs typeface="+mj-cs"/>
                      </a:endParaRPr>
                    </a:p>
                  </a:txBody>
                  <a:tcPr marL="91439" marR="91439" marT="34285" marB="34285"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cs typeface="Angsana New" panose="02020603050405020304" pitchFamily="18" charset="-34"/>
                        </a:defRPr>
                      </a:lvl1pPr>
                      <a:lvl2pPr>
                        <a:spcBef>
                          <a:spcPct val="20000"/>
                        </a:spcBef>
                        <a:defRPr sz="2400">
                          <a:solidFill>
                            <a:schemeClr val="tx1"/>
                          </a:solidFill>
                          <a:latin typeface="Arial" panose="020B0604020202020204" pitchFamily="34" charset="0"/>
                          <a:cs typeface="Angsana New" panose="02020603050405020304" pitchFamily="18" charset="-34"/>
                        </a:defRPr>
                      </a:lvl2pPr>
                      <a:lvl3pPr>
                        <a:spcBef>
                          <a:spcPct val="20000"/>
                        </a:spcBef>
                        <a:defRPr sz="2000">
                          <a:solidFill>
                            <a:schemeClr val="tx1"/>
                          </a:solidFill>
                          <a:latin typeface="Arial" panose="020B0604020202020204" pitchFamily="34" charset="0"/>
                          <a:cs typeface="Angsana New" panose="02020603050405020304" pitchFamily="18" charset="-34"/>
                        </a:defRPr>
                      </a:lvl3pPr>
                      <a:lvl4pPr>
                        <a:spcBef>
                          <a:spcPct val="20000"/>
                        </a:spcBef>
                        <a:defRPr>
                          <a:solidFill>
                            <a:schemeClr val="tx1"/>
                          </a:solidFill>
                          <a:latin typeface="Arial" panose="020B0604020202020204" pitchFamily="34" charset="0"/>
                          <a:cs typeface="Angsana New" panose="02020603050405020304" pitchFamily="18" charset="-34"/>
                        </a:defRPr>
                      </a:lvl4pPr>
                      <a:lvl5pPr>
                        <a:spcBef>
                          <a:spcPct val="20000"/>
                        </a:spcBef>
                        <a:defRPr>
                          <a:solidFill>
                            <a:schemeClr val="tx1"/>
                          </a:solidFill>
                          <a:latin typeface="Arial" panose="020B0604020202020204" pitchFamily="34" charset="0"/>
                          <a:cs typeface="Angsana New" panose="02020603050405020304" pitchFamily="18" charset="-34"/>
                        </a:defRPr>
                      </a:lvl5pPr>
                      <a:lvl6pPr fontAlgn="base">
                        <a:spcBef>
                          <a:spcPct val="20000"/>
                        </a:spcBef>
                        <a:spcAft>
                          <a:spcPct val="0"/>
                        </a:spcAft>
                        <a:defRPr>
                          <a:solidFill>
                            <a:schemeClr val="tx1"/>
                          </a:solidFill>
                          <a:latin typeface="Arial" panose="020B0604020202020204" pitchFamily="34" charset="0"/>
                          <a:cs typeface="Angsana New" panose="02020603050405020304" pitchFamily="18" charset="-34"/>
                        </a:defRPr>
                      </a:lvl6pPr>
                      <a:lvl7pPr fontAlgn="base">
                        <a:spcBef>
                          <a:spcPct val="20000"/>
                        </a:spcBef>
                        <a:spcAft>
                          <a:spcPct val="0"/>
                        </a:spcAft>
                        <a:defRPr>
                          <a:solidFill>
                            <a:schemeClr val="tx1"/>
                          </a:solidFill>
                          <a:latin typeface="Arial" panose="020B0604020202020204" pitchFamily="34" charset="0"/>
                          <a:cs typeface="Angsana New" panose="02020603050405020304" pitchFamily="18" charset="-34"/>
                        </a:defRPr>
                      </a:lvl7pPr>
                      <a:lvl8pPr fontAlgn="base">
                        <a:spcBef>
                          <a:spcPct val="20000"/>
                        </a:spcBef>
                        <a:spcAft>
                          <a:spcPct val="0"/>
                        </a:spcAft>
                        <a:defRPr>
                          <a:solidFill>
                            <a:schemeClr val="tx1"/>
                          </a:solidFill>
                          <a:latin typeface="Arial" panose="020B0604020202020204" pitchFamily="34" charset="0"/>
                          <a:cs typeface="Angsana New" panose="02020603050405020304" pitchFamily="18" charset="-34"/>
                        </a:defRPr>
                      </a:lvl8pPr>
                      <a:lvl9pPr fontAlgn="base">
                        <a:spcBef>
                          <a:spcPct val="20000"/>
                        </a:spcBef>
                        <a:spcAft>
                          <a:spcPct val="0"/>
                        </a:spcAft>
                        <a:defRPr>
                          <a:solidFill>
                            <a:schemeClr val="tx1"/>
                          </a:solidFill>
                          <a:latin typeface="Arial" panose="020B0604020202020204" pitchFamily="34" charset="0"/>
                          <a:cs typeface="Angsana New" panose="02020603050405020304" pitchFamily="18" charset="-34"/>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th-TH" sz="900" b="0" i="0" u="none" strike="noStrike" cap="none" normalizeH="0" baseline="0" dirty="0" smtClean="0">
                        <a:ln>
                          <a:noFill/>
                        </a:ln>
                        <a:solidFill>
                          <a:schemeClr val="tx1"/>
                        </a:solidFill>
                        <a:effectLst/>
                        <a:latin typeface="Century Gothic" pitchFamily="34" charset="0"/>
                        <a:cs typeface="+mj-cs"/>
                      </a:endParaRPr>
                    </a:p>
                  </a:txBody>
                  <a:tcPr marL="91439" marR="91439" marT="34285" marB="34285"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cs typeface="Angsana New" panose="02020603050405020304" pitchFamily="18" charset="-34"/>
                        </a:defRPr>
                      </a:lvl1pPr>
                      <a:lvl2pPr>
                        <a:spcBef>
                          <a:spcPct val="20000"/>
                        </a:spcBef>
                        <a:defRPr sz="2400">
                          <a:solidFill>
                            <a:schemeClr val="tx1"/>
                          </a:solidFill>
                          <a:latin typeface="Arial" panose="020B0604020202020204" pitchFamily="34" charset="0"/>
                          <a:cs typeface="Angsana New" panose="02020603050405020304" pitchFamily="18" charset="-34"/>
                        </a:defRPr>
                      </a:lvl2pPr>
                      <a:lvl3pPr>
                        <a:spcBef>
                          <a:spcPct val="20000"/>
                        </a:spcBef>
                        <a:defRPr sz="2000">
                          <a:solidFill>
                            <a:schemeClr val="tx1"/>
                          </a:solidFill>
                          <a:latin typeface="Arial" panose="020B0604020202020204" pitchFamily="34" charset="0"/>
                          <a:cs typeface="Angsana New" panose="02020603050405020304" pitchFamily="18" charset="-34"/>
                        </a:defRPr>
                      </a:lvl3pPr>
                      <a:lvl4pPr>
                        <a:spcBef>
                          <a:spcPct val="20000"/>
                        </a:spcBef>
                        <a:defRPr>
                          <a:solidFill>
                            <a:schemeClr val="tx1"/>
                          </a:solidFill>
                          <a:latin typeface="Arial" panose="020B0604020202020204" pitchFamily="34" charset="0"/>
                          <a:cs typeface="Angsana New" panose="02020603050405020304" pitchFamily="18" charset="-34"/>
                        </a:defRPr>
                      </a:lvl4pPr>
                      <a:lvl5pPr>
                        <a:spcBef>
                          <a:spcPct val="20000"/>
                        </a:spcBef>
                        <a:defRPr>
                          <a:solidFill>
                            <a:schemeClr val="tx1"/>
                          </a:solidFill>
                          <a:latin typeface="Arial" panose="020B0604020202020204" pitchFamily="34" charset="0"/>
                          <a:cs typeface="Angsana New" panose="02020603050405020304" pitchFamily="18" charset="-34"/>
                        </a:defRPr>
                      </a:lvl5pPr>
                      <a:lvl6pPr fontAlgn="base">
                        <a:spcBef>
                          <a:spcPct val="20000"/>
                        </a:spcBef>
                        <a:spcAft>
                          <a:spcPct val="0"/>
                        </a:spcAft>
                        <a:defRPr>
                          <a:solidFill>
                            <a:schemeClr val="tx1"/>
                          </a:solidFill>
                          <a:latin typeface="Arial" panose="020B0604020202020204" pitchFamily="34" charset="0"/>
                          <a:cs typeface="Angsana New" panose="02020603050405020304" pitchFamily="18" charset="-34"/>
                        </a:defRPr>
                      </a:lvl6pPr>
                      <a:lvl7pPr fontAlgn="base">
                        <a:spcBef>
                          <a:spcPct val="20000"/>
                        </a:spcBef>
                        <a:spcAft>
                          <a:spcPct val="0"/>
                        </a:spcAft>
                        <a:defRPr>
                          <a:solidFill>
                            <a:schemeClr val="tx1"/>
                          </a:solidFill>
                          <a:latin typeface="Arial" panose="020B0604020202020204" pitchFamily="34" charset="0"/>
                          <a:cs typeface="Angsana New" panose="02020603050405020304" pitchFamily="18" charset="-34"/>
                        </a:defRPr>
                      </a:lvl7pPr>
                      <a:lvl8pPr fontAlgn="base">
                        <a:spcBef>
                          <a:spcPct val="20000"/>
                        </a:spcBef>
                        <a:spcAft>
                          <a:spcPct val="0"/>
                        </a:spcAft>
                        <a:defRPr>
                          <a:solidFill>
                            <a:schemeClr val="tx1"/>
                          </a:solidFill>
                          <a:latin typeface="Arial" panose="020B0604020202020204" pitchFamily="34" charset="0"/>
                          <a:cs typeface="Angsana New" panose="02020603050405020304" pitchFamily="18" charset="-34"/>
                        </a:defRPr>
                      </a:lvl8pPr>
                      <a:lvl9pPr fontAlgn="base">
                        <a:spcBef>
                          <a:spcPct val="20000"/>
                        </a:spcBef>
                        <a:spcAft>
                          <a:spcPct val="0"/>
                        </a:spcAft>
                        <a:defRPr>
                          <a:solidFill>
                            <a:schemeClr val="tx1"/>
                          </a:solidFill>
                          <a:latin typeface="Arial" panose="020B0604020202020204" pitchFamily="34" charset="0"/>
                          <a:cs typeface="Angsana New" panose="02020603050405020304" pitchFamily="18" charset="-34"/>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th-TH" sz="900" b="0" i="0" u="none" strike="noStrike" cap="none" normalizeH="0" baseline="0" dirty="0" smtClean="0">
                        <a:ln>
                          <a:noFill/>
                        </a:ln>
                        <a:solidFill>
                          <a:schemeClr val="tx1"/>
                        </a:solidFill>
                        <a:effectLst/>
                        <a:latin typeface="Century Gothic" pitchFamily="34" charset="0"/>
                        <a:cs typeface="+mj-cs"/>
                      </a:endParaRPr>
                    </a:p>
                  </a:txBody>
                  <a:tcPr marL="91439" marR="91439" marT="34285" marB="34285"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cs typeface="Angsana New" panose="02020603050405020304" pitchFamily="18" charset="-34"/>
                        </a:defRPr>
                      </a:lvl1pPr>
                      <a:lvl2pPr>
                        <a:spcBef>
                          <a:spcPct val="20000"/>
                        </a:spcBef>
                        <a:defRPr sz="2400">
                          <a:solidFill>
                            <a:schemeClr val="tx1"/>
                          </a:solidFill>
                          <a:latin typeface="Arial" panose="020B0604020202020204" pitchFamily="34" charset="0"/>
                          <a:cs typeface="Angsana New" panose="02020603050405020304" pitchFamily="18" charset="-34"/>
                        </a:defRPr>
                      </a:lvl2pPr>
                      <a:lvl3pPr>
                        <a:spcBef>
                          <a:spcPct val="20000"/>
                        </a:spcBef>
                        <a:defRPr sz="2000">
                          <a:solidFill>
                            <a:schemeClr val="tx1"/>
                          </a:solidFill>
                          <a:latin typeface="Arial" panose="020B0604020202020204" pitchFamily="34" charset="0"/>
                          <a:cs typeface="Angsana New" panose="02020603050405020304" pitchFamily="18" charset="-34"/>
                        </a:defRPr>
                      </a:lvl3pPr>
                      <a:lvl4pPr>
                        <a:spcBef>
                          <a:spcPct val="20000"/>
                        </a:spcBef>
                        <a:defRPr>
                          <a:solidFill>
                            <a:schemeClr val="tx1"/>
                          </a:solidFill>
                          <a:latin typeface="Arial" panose="020B0604020202020204" pitchFamily="34" charset="0"/>
                          <a:cs typeface="Angsana New" panose="02020603050405020304" pitchFamily="18" charset="-34"/>
                        </a:defRPr>
                      </a:lvl4pPr>
                      <a:lvl5pPr>
                        <a:spcBef>
                          <a:spcPct val="20000"/>
                        </a:spcBef>
                        <a:defRPr>
                          <a:solidFill>
                            <a:schemeClr val="tx1"/>
                          </a:solidFill>
                          <a:latin typeface="Arial" panose="020B0604020202020204" pitchFamily="34" charset="0"/>
                          <a:cs typeface="Angsana New" panose="02020603050405020304" pitchFamily="18" charset="-34"/>
                        </a:defRPr>
                      </a:lvl5pPr>
                      <a:lvl6pPr fontAlgn="base">
                        <a:spcBef>
                          <a:spcPct val="20000"/>
                        </a:spcBef>
                        <a:spcAft>
                          <a:spcPct val="0"/>
                        </a:spcAft>
                        <a:defRPr>
                          <a:solidFill>
                            <a:schemeClr val="tx1"/>
                          </a:solidFill>
                          <a:latin typeface="Arial" panose="020B0604020202020204" pitchFamily="34" charset="0"/>
                          <a:cs typeface="Angsana New" panose="02020603050405020304" pitchFamily="18" charset="-34"/>
                        </a:defRPr>
                      </a:lvl6pPr>
                      <a:lvl7pPr fontAlgn="base">
                        <a:spcBef>
                          <a:spcPct val="20000"/>
                        </a:spcBef>
                        <a:spcAft>
                          <a:spcPct val="0"/>
                        </a:spcAft>
                        <a:defRPr>
                          <a:solidFill>
                            <a:schemeClr val="tx1"/>
                          </a:solidFill>
                          <a:latin typeface="Arial" panose="020B0604020202020204" pitchFamily="34" charset="0"/>
                          <a:cs typeface="Angsana New" panose="02020603050405020304" pitchFamily="18" charset="-34"/>
                        </a:defRPr>
                      </a:lvl7pPr>
                      <a:lvl8pPr fontAlgn="base">
                        <a:spcBef>
                          <a:spcPct val="20000"/>
                        </a:spcBef>
                        <a:spcAft>
                          <a:spcPct val="0"/>
                        </a:spcAft>
                        <a:defRPr>
                          <a:solidFill>
                            <a:schemeClr val="tx1"/>
                          </a:solidFill>
                          <a:latin typeface="Arial" panose="020B0604020202020204" pitchFamily="34" charset="0"/>
                          <a:cs typeface="Angsana New" panose="02020603050405020304" pitchFamily="18" charset="-34"/>
                        </a:defRPr>
                      </a:lvl8pPr>
                      <a:lvl9pPr fontAlgn="base">
                        <a:spcBef>
                          <a:spcPct val="20000"/>
                        </a:spcBef>
                        <a:spcAft>
                          <a:spcPct val="0"/>
                        </a:spcAft>
                        <a:defRPr>
                          <a:solidFill>
                            <a:schemeClr val="tx1"/>
                          </a:solidFill>
                          <a:latin typeface="Arial" panose="020B0604020202020204" pitchFamily="34" charset="0"/>
                          <a:cs typeface="Angsana New" panose="02020603050405020304" pitchFamily="18" charset="-34"/>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th-TH" sz="900" b="0" i="0" u="none" strike="noStrike" cap="none" normalizeH="0" baseline="0" dirty="0" smtClean="0">
                        <a:ln>
                          <a:noFill/>
                        </a:ln>
                        <a:solidFill>
                          <a:schemeClr val="tx1"/>
                        </a:solidFill>
                        <a:effectLst/>
                        <a:latin typeface="Century Gothic" pitchFamily="34" charset="0"/>
                        <a:cs typeface="+mj-cs"/>
                      </a:endParaRPr>
                    </a:p>
                  </a:txBody>
                  <a:tcPr marL="91439" marR="91439" marT="34285" marB="34285"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cs typeface="Angsana New" panose="02020603050405020304" pitchFamily="18" charset="-34"/>
                        </a:defRPr>
                      </a:lvl1pPr>
                      <a:lvl2pPr>
                        <a:spcBef>
                          <a:spcPct val="20000"/>
                        </a:spcBef>
                        <a:defRPr sz="2400">
                          <a:solidFill>
                            <a:schemeClr val="tx1"/>
                          </a:solidFill>
                          <a:latin typeface="Arial" panose="020B0604020202020204" pitchFamily="34" charset="0"/>
                          <a:cs typeface="Angsana New" panose="02020603050405020304" pitchFamily="18" charset="-34"/>
                        </a:defRPr>
                      </a:lvl2pPr>
                      <a:lvl3pPr>
                        <a:spcBef>
                          <a:spcPct val="20000"/>
                        </a:spcBef>
                        <a:defRPr sz="2000">
                          <a:solidFill>
                            <a:schemeClr val="tx1"/>
                          </a:solidFill>
                          <a:latin typeface="Arial" panose="020B0604020202020204" pitchFamily="34" charset="0"/>
                          <a:cs typeface="Angsana New" panose="02020603050405020304" pitchFamily="18" charset="-34"/>
                        </a:defRPr>
                      </a:lvl3pPr>
                      <a:lvl4pPr>
                        <a:spcBef>
                          <a:spcPct val="20000"/>
                        </a:spcBef>
                        <a:defRPr>
                          <a:solidFill>
                            <a:schemeClr val="tx1"/>
                          </a:solidFill>
                          <a:latin typeface="Arial" panose="020B0604020202020204" pitchFamily="34" charset="0"/>
                          <a:cs typeface="Angsana New" panose="02020603050405020304" pitchFamily="18" charset="-34"/>
                        </a:defRPr>
                      </a:lvl4pPr>
                      <a:lvl5pPr>
                        <a:spcBef>
                          <a:spcPct val="20000"/>
                        </a:spcBef>
                        <a:defRPr>
                          <a:solidFill>
                            <a:schemeClr val="tx1"/>
                          </a:solidFill>
                          <a:latin typeface="Arial" panose="020B0604020202020204" pitchFamily="34" charset="0"/>
                          <a:cs typeface="Angsana New" panose="02020603050405020304" pitchFamily="18" charset="-34"/>
                        </a:defRPr>
                      </a:lvl5pPr>
                      <a:lvl6pPr fontAlgn="base">
                        <a:spcBef>
                          <a:spcPct val="20000"/>
                        </a:spcBef>
                        <a:spcAft>
                          <a:spcPct val="0"/>
                        </a:spcAft>
                        <a:defRPr>
                          <a:solidFill>
                            <a:schemeClr val="tx1"/>
                          </a:solidFill>
                          <a:latin typeface="Arial" panose="020B0604020202020204" pitchFamily="34" charset="0"/>
                          <a:cs typeface="Angsana New" panose="02020603050405020304" pitchFamily="18" charset="-34"/>
                        </a:defRPr>
                      </a:lvl6pPr>
                      <a:lvl7pPr fontAlgn="base">
                        <a:spcBef>
                          <a:spcPct val="20000"/>
                        </a:spcBef>
                        <a:spcAft>
                          <a:spcPct val="0"/>
                        </a:spcAft>
                        <a:defRPr>
                          <a:solidFill>
                            <a:schemeClr val="tx1"/>
                          </a:solidFill>
                          <a:latin typeface="Arial" panose="020B0604020202020204" pitchFamily="34" charset="0"/>
                          <a:cs typeface="Angsana New" panose="02020603050405020304" pitchFamily="18" charset="-34"/>
                        </a:defRPr>
                      </a:lvl7pPr>
                      <a:lvl8pPr fontAlgn="base">
                        <a:spcBef>
                          <a:spcPct val="20000"/>
                        </a:spcBef>
                        <a:spcAft>
                          <a:spcPct val="0"/>
                        </a:spcAft>
                        <a:defRPr>
                          <a:solidFill>
                            <a:schemeClr val="tx1"/>
                          </a:solidFill>
                          <a:latin typeface="Arial" panose="020B0604020202020204" pitchFamily="34" charset="0"/>
                          <a:cs typeface="Angsana New" panose="02020603050405020304" pitchFamily="18" charset="-34"/>
                        </a:defRPr>
                      </a:lvl8pPr>
                      <a:lvl9pPr fontAlgn="base">
                        <a:spcBef>
                          <a:spcPct val="20000"/>
                        </a:spcBef>
                        <a:spcAft>
                          <a:spcPct val="0"/>
                        </a:spcAft>
                        <a:defRPr>
                          <a:solidFill>
                            <a:schemeClr val="tx1"/>
                          </a:solidFill>
                          <a:latin typeface="Arial" panose="020B0604020202020204" pitchFamily="34" charset="0"/>
                          <a:cs typeface="Angsana New" panose="02020603050405020304" pitchFamily="18" charset="-34"/>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1100" b="0" i="0" u="none" strike="noStrike" kern="1200" cap="none" normalizeH="0" baseline="0" dirty="0" smtClean="0">
                          <a:ln>
                            <a:noFill/>
                          </a:ln>
                          <a:solidFill>
                            <a:schemeClr val="tx1"/>
                          </a:solidFill>
                          <a:effectLst/>
                          <a:latin typeface="Calibri" pitchFamily="34" charset="0"/>
                          <a:ea typeface="+mn-ea"/>
                          <a:cs typeface="+mj-cs"/>
                        </a:rPr>
                        <a:t>20,038</a:t>
                      </a:r>
                      <a:endParaRPr kumimoji="0" lang="th-TH" sz="1100" b="0" i="0" u="none" strike="noStrike" kern="1200" cap="none" normalizeH="0" baseline="0" dirty="0" smtClean="0">
                        <a:ln>
                          <a:noFill/>
                        </a:ln>
                        <a:solidFill>
                          <a:schemeClr val="tx1"/>
                        </a:solidFill>
                        <a:effectLst/>
                        <a:latin typeface="Calibri" pitchFamily="34" charset="0"/>
                        <a:ea typeface="+mn-ea"/>
                        <a:cs typeface="+mj-cs"/>
                      </a:endParaRPr>
                    </a:p>
                  </a:txBody>
                  <a:tcPr marL="91439" marR="91439" marT="34285" marB="34285"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342889">
                <a:tc>
                  <a:txBody>
                    <a:bodyPr/>
                    <a:lstStyle>
                      <a:lvl1pPr>
                        <a:spcBef>
                          <a:spcPct val="20000"/>
                        </a:spcBef>
                        <a:defRPr sz="2800">
                          <a:solidFill>
                            <a:schemeClr val="tx1"/>
                          </a:solidFill>
                          <a:latin typeface="Arial" panose="020B0604020202020204" pitchFamily="34" charset="0"/>
                          <a:cs typeface="Angsana New" panose="02020603050405020304" pitchFamily="18" charset="-34"/>
                        </a:defRPr>
                      </a:lvl1pPr>
                      <a:lvl2pPr>
                        <a:spcBef>
                          <a:spcPct val="20000"/>
                        </a:spcBef>
                        <a:defRPr sz="2400">
                          <a:solidFill>
                            <a:schemeClr val="tx1"/>
                          </a:solidFill>
                          <a:latin typeface="Arial" panose="020B0604020202020204" pitchFamily="34" charset="0"/>
                          <a:cs typeface="Angsana New" panose="02020603050405020304" pitchFamily="18" charset="-34"/>
                        </a:defRPr>
                      </a:lvl2pPr>
                      <a:lvl3pPr>
                        <a:spcBef>
                          <a:spcPct val="20000"/>
                        </a:spcBef>
                        <a:defRPr sz="2000">
                          <a:solidFill>
                            <a:schemeClr val="tx1"/>
                          </a:solidFill>
                          <a:latin typeface="Arial" panose="020B0604020202020204" pitchFamily="34" charset="0"/>
                          <a:cs typeface="Angsana New" panose="02020603050405020304" pitchFamily="18" charset="-34"/>
                        </a:defRPr>
                      </a:lvl3pPr>
                      <a:lvl4pPr>
                        <a:spcBef>
                          <a:spcPct val="20000"/>
                        </a:spcBef>
                        <a:defRPr>
                          <a:solidFill>
                            <a:schemeClr val="tx1"/>
                          </a:solidFill>
                          <a:latin typeface="Arial" panose="020B0604020202020204" pitchFamily="34" charset="0"/>
                          <a:cs typeface="Angsana New" panose="02020603050405020304" pitchFamily="18" charset="-34"/>
                        </a:defRPr>
                      </a:lvl4pPr>
                      <a:lvl5pPr>
                        <a:spcBef>
                          <a:spcPct val="20000"/>
                        </a:spcBef>
                        <a:defRPr>
                          <a:solidFill>
                            <a:schemeClr val="tx1"/>
                          </a:solidFill>
                          <a:latin typeface="Arial" panose="020B0604020202020204" pitchFamily="34" charset="0"/>
                          <a:cs typeface="Angsana New" panose="02020603050405020304" pitchFamily="18" charset="-34"/>
                        </a:defRPr>
                      </a:lvl5pPr>
                      <a:lvl6pPr fontAlgn="base">
                        <a:spcBef>
                          <a:spcPct val="20000"/>
                        </a:spcBef>
                        <a:spcAft>
                          <a:spcPct val="0"/>
                        </a:spcAft>
                        <a:defRPr>
                          <a:solidFill>
                            <a:schemeClr val="tx1"/>
                          </a:solidFill>
                          <a:latin typeface="Arial" panose="020B0604020202020204" pitchFamily="34" charset="0"/>
                          <a:cs typeface="Angsana New" panose="02020603050405020304" pitchFamily="18" charset="-34"/>
                        </a:defRPr>
                      </a:lvl6pPr>
                      <a:lvl7pPr fontAlgn="base">
                        <a:spcBef>
                          <a:spcPct val="20000"/>
                        </a:spcBef>
                        <a:spcAft>
                          <a:spcPct val="0"/>
                        </a:spcAft>
                        <a:defRPr>
                          <a:solidFill>
                            <a:schemeClr val="tx1"/>
                          </a:solidFill>
                          <a:latin typeface="Arial" panose="020B0604020202020204" pitchFamily="34" charset="0"/>
                          <a:cs typeface="Angsana New" panose="02020603050405020304" pitchFamily="18" charset="-34"/>
                        </a:defRPr>
                      </a:lvl7pPr>
                      <a:lvl8pPr fontAlgn="base">
                        <a:spcBef>
                          <a:spcPct val="20000"/>
                        </a:spcBef>
                        <a:spcAft>
                          <a:spcPct val="0"/>
                        </a:spcAft>
                        <a:defRPr>
                          <a:solidFill>
                            <a:schemeClr val="tx1"/>
                          </a:solidFill>
                          <a:latin typeface="Arial" panose="020B0604020202020204" pitchFamily="34" charset="0"/>
                          <a:cs typeface="Angsana New" panose="02020603050405020304" pitchFamily="18" charset="-34"/>
                        </a:defRPr>
                      </a:lvl8pPr>
                      <a:lvl9pPr fontAlgn="base">
                        <a:spcBef>
                          <a:spcPct val="20000"/>
                        </a:spcBef>
                        <a:spcAft>
                          <a:spcPct val="0"/>
                        </a:spcAft>
                        <a:defRPr>
                          <a:solidFill>
                            <a:schemeClr val="tx1"/>
                          </a:solidFill>
                          <a:latin typeface="Arial" panose="020B0604020202020204" pitchFamily="34" charset="0"/>
                          <a:cs typeface="Angsana New" panose="02020603050405020304" pitchFamily="18" charset="-34"/>
                        </a:defRPr>
                      </a:lvl9p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US" sz="1000" b="0" i="0" u="none" strike="noStrike" cap="none" normalizeH="0" baseline="0" dirty="0" smtClean="0">
                          <a:ln>
                            <a:noFill/>
                          </a:ln>
                          <a:solidFill>
                            <a:schemeClr val="tx1"/>
                          </a:solidFill>
                          <a:effectLst/>
                          <a:latin typeface="Arial" pitchFamily="34" charset="0"/>
                          <a:cs typeface="+mj-cs"/>
                        </a:rPr>
                        <a:t>5. </a:t>
                      </a:r>
                      <a:r>
                        <a:rPr kumimoji="0" lang="th-TH" sz="1300" b="1" i="0" u="none" strike="noStrike" kern="1200" cap="none" normalizeH="0" baseline="0" dirty="0" smtClean="0">
                          <a:ln>
                            <a:noFill/>
                          </a:ln>
                          <a:solidFill>
                            <a:schemeClr val="tx1"/>
                          </a:solidFill>
                          <a:effectLst/>
                          <a:latin typeface="Calibri" pitchFamily="34" charset="0"/>
                          <a:ea typeface="+mn-ea"/>
                          <a:cs typeface="+mj-cs"/>
                        </a:rPr>
                        <a:t>มาบกะเบา – จิระ</a:t>
                      </a:r>
                      <a:r>
                        <a:rPr kumimoji="0" lang="en-US" sz="1000" b="0" i="0" u="none" strike="noStrike" cap="none" normalizeH="0" baseline="0" dirty="0" smtClean="0">
                          <a:ln>
                            <a:noFill/>
                          </a:ln>
                          <a:solidFill>
                            <a:schemeClr val="tx1"/>
                          </a:solidFill>
                          <a:effectLst/>
                          <a:latin typeface="Arial" pitchFamily="34" charset="0"/>
                          <a:cs typeface="+mj-cs"/>
                        </a:rPr>
                        <a:t> (132 </a:t>
                      </a:r>
                      <a:r>
                        <a:rPr kumimoji="0" lang="th-TH" sz="1000" b="0" i="0" u="none" strike="noStrike" cap="none" normalizeH="0" baseline="0" dirty="0" smtClean="0">
                          <a:ln>
                            <a:noFill/>
                          </a:ln>
                          <a:solidFill>
                            <a:schemeClr val="tx1"/>
                          </a:solidFill>
                          <a:effectLst/>
                          <a:latin typeface="Arial" pitchFamily="34" charset="0"/>
                          <a:cs typeface="+mj-cs"/>
                        </a:rPr>
                        <a:t> กม</a:t>
                      </a:r>
                      <a:r>
                        <a:rPr kumimoji="0" lang="en-US" sz="1000" b="0" i="0" u="none" strike="noStrike" cap="none" normalizeH="0" baseline="0" dirty="0" smtClean="0">
                          <a:ln>
                            <a:noFill/>
                          </a:ln>
                          <a:solidFill>
                            <a:schemeClr val="tx1"/>
                          </a:solidFill>
                          <a:effectLst/>
                          <a:latin typeface="Arial" pitchFamily="34" charset="0"/>
                          <a:cs typeface="+mj-cs"/>
                        </a:rPr>
                        <a:t>.)</a:t>
                      </a:r>
                      <a:endParaRPr kumimoji="0" lang="th-TH" sz="1000" b="0" i="0" u="none" strike="noStrike" cap="none" normalizeH="0" baseline="0" dirty="0" smtClean="0">
                        <a:ln>
                          <a:noFill/>
                        </a:ln>
                        <a:solidFill>
                          <a:schemeClr val="tx1"/>
                        </a:solidFill>
                        <a:effectLst/>
                        <a:latin typeface="Arial" pitchFamily="34" charset="0"/>
                        <a:cs typeface="+mj-cs"/>
                      </a:endParaRPr>
                    </a:p>
                  </a:txBody>
                  <a:tcPr marL="91439" marR="91439" marT="34285" marB="34285"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cs typeface="Angsana New" panose="02020603050405020304" pitchFamily="18" charset="-34"/>
                        </a:defRPr>
                      </a:lvl1pPr>
                      <a:lvl2pPr>
                        <a:spcBef>
                          <a:spcPct val="20000"/>
                        </a:spcBef>
                        <a:defRPr sz="2400">
                          <a:solidFill>
                            <a:schemeClr val="tx1"/>
                          </a:solidFill>
                          <a:latin typeface="Arial" panose="020B0604020202020204" pitchFamily="34" charset="0"/>
                          <a:cs typeface="Angsana New" panose="02020603050405020304" pitchFamily="18" charset="-34"/>
                        </a:defRPr>
                      </a:lvl2pPr>
                      <a:lvl3pPr>
                        <a:spcBef>
                          <a:spcPct val="20000"/>
                        </a:spcBef>
                        <a:defRPr sz="2000">
                          <a:solidFill>
                            <a:schemeClr val="tx1"/>
                          </a:solidFill>
                          <a:latin typeface="Arial" panose="020B0604020202020204" pitchFamily="34" charset="0"/>
                          <a:cs typeface="Angsana New" panose="02020603050405020304" pitchFamily="18" charset="-34"/>
                        </a:defRPr>
                      </a:lvl3pPr>
                      <a:lvl4pPr>
                        <a:spcBef>
                          <a:spcPct val="20000"/>
                        </a:spcBef>
                        <a:defRPr>
                          <a:solidFill>
                            <a:schemeClr val="tx1"/>
                          </a:solidFill>
                          <a:latin typeface="Arial" panose="020B0604020202020204" pitchFamily="34" charset="0"/>
                          <a:cs typeface="Angsana New" panose="02020603050405020304" pitchFamily="18" charset="-34"/>
                        </a:defRPr>
                      </a:lvl4pPr>
                      <a:lvl5pPr>
                        <a:spcBef>
                          <a:spcPct val="20000"/>
                        </a:spcBef>
                        <a:defRPr>
                          <a:solidFill>
                            <a:schemeClr val="tx1"/>
                          </a:solidFill>
                          <a:latin typeface="Arial" panose="020B0604020202020204" pitchFamily="34" charset="0"/>
                          <a:cs typeface="Angsana New" panose="02020603050405020304" pitchFamily="18" charset="-34"/>
                        </a:defRPr>
                      </a:lvl5pPr>
                      <a:lvl6pPr fontAlgn="base">
                        <a:spcBef>
                          <a:spcPct val="20000"/>
                        </a:spcBef>
                        <a:spcAft>
                          <a:spcPct val="0"/>
                        </a:spcAft>
                        <a:defRPr>
                          <a:solidFill>
                            <a:schemeClr val="tx1"/>
                          </a:solidFill>
                          <a:latin typeface="Arial" panose="020B0604020202020204" pitchFamily="34" charset="0"/>
                          <a:cs typeface="Angsana New" panose="02020603050405020304" pitchFamily="18" charset="-34"/>
                        </a:defRPr>
                      </a:lvl6pPr>
                      <a:lvl7pPr fontAlgn="base">
                        <a:spcBef>
                          <a:spcPct val="20000"/>
                        </a:spcBef>
                        <a:spcAft>
                          <a:spcPct val="0"/>
                        </a:spcAft>
                        <a:defRPr>
                          <a:solidFill>
                            <a:schemeClr val="tx1"/>
                          </a:solidFill>
                          <a:latin typeface="Arial" panose="020B0604020202020204" pitchFamily="34" charset="0"/>
                          <a:cs typeface="Angsana New" panose="02020603050405020304" pitchFamily="18" charset="-34"/>
                        </a:defRPr>
                      </a:lvl7pPr>
                      <a:lvl8pPr fontAlgn="base">
                        <a:spcBef>
                          <a:spcPct val="20000"/>
                        </a:spcBef>
                        <a:spcAft>
                          <a:spcPct val="0"/>
                        </a:spcAft>
                        <a:defRPr>
                          <a:solidFill>
                            <a:schemeClr val="tx1"/>
                          </a:solidFill>
                          <a:latin typeface="Arial" panose="020B0604020202020204" pitchFamily="34" charset="0"/>
                          <a:cs typeface="Angsana New" panose="02020603050405020304" pitchFamily="18" charset="-34"/>
                        </a:defRPr>
                      </a:lvl8pPr>
                      <a:lvl9pPr fontAlgn="base">
                        <a:spcBef>
                          <a:spcPct val="20000"/>
                        </a:spcBef>
                        <a:spcAft>
                          <a:spcPct val="0"/>
                        </a:spcAft>
                        <a:defRPr>
                          <a:solidFill>
                            <a:schemeClr val="tx1"/>
                          </a:solidFill>
                          <a:latin typeface="Arial" panose="020B0604020202020204" pitchFamily="34" charset="0"/>
                          <a:cs typeface="Angsana New" panose="02020603050405020304" pitchFamily="18" charset="-34"/>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th-TH" sz="900" b="0" i="0" u="none" strike="noStrike" cap="none" normalizeH="0" baseline="0" dirty="0" smtClean="0">
                        <a:ln>
                          <a:noFill/>
                        </a:ln>
                        <a:solidFill>
                          <a:schemeClr val="tx1"/>
                        </a:solidFill>
                        <a:effectLst/>
                        <a:latin typeface="Century Gothic" pitchFamily="34" charset="0"/>
                        <a:cs typeface="+mj-cs"/>
                      </a:endParaRPr>
                    </a:p>
                  </a:txBody>
                  <a:tcPr marL="91439" marR="91439" marT="34285" marB="34285"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cs typeface="Angsana New" panose="02020603050405020304" pitchFamily="18" charset="-34"/>
                        </a:defRPr>
                      </a:lvl1pPr>
                      <a:lvl2pPr>
                        <a:spcBef>
                          <a:spcPct val="20000"/>
                        </a:spcBef>
                        <a:defRPr sz="2400">
                          <a:solidFill>
                            <a:schemeClr val="tx1"/>
                          </a:solidFill>
                          <a:latin typeface="Arial" panose="020B0604020202020204" pitchFamily="34" charset="0"/>
                          <a:cs typeface="Angsana New" panose="02020603050405020304" pitchFamily="18" charset="-34"/>
                        </a:defRPr>
                      </a:lvl2pPr>
                      <a:lvl3pPr>
                        <a:spcBef>
                          <a:spcPct val="20000"/>
                        </a:spcBef>
                        <a:defRPr sz="2000">
                          <a:solidFill>
                            <a:schemeClr val="tx1"/>
                          </a:solidFill>
                          <a:latin typeface="Arial" panose="020B0604020202020204" pitchFamily="34" charset="0"/>
                          <a:cs typeface="Angsana New" panose="02020603050405020304" pitchFamily="18" charset="-34"/>
                        </a:defRPr>
                      </a:lvl3pPr>
                      <a:lvl4pPr>
                        <a:spcBef>
                          <a:spcPct val="20000"/>
                        </a:spcBef>
                        <a:defRPr>
                          <a:solidFill>
                            <a:schemeClr val="tx1"/>
                          </a:solidFill>
                          <a:latin typeface="Arial" panose="020B0604020202020204" pitchFamily="34" charset="0"/>
                          <a:cs typeface="Angsana New" panose="02020603050405020304" pitchFamily="18" charset="-34"/>
                        </a:defRPr>
                      </a:lvl4pPr>
                      <a:lvl5pPr>
                        <a:spcBef>
                          <a:spcPct val="20000"/>
                        </a:spcBef>
                        <a:defRPr>
                          <a:solidFill>
                            <a:schemeClr val="tx1"/>
                          </a:solidFill>
                          <a:latin typeface="Arial" panose="020B0604020202020204" pitchFamily="34" charset="0"/>
                          <a:cs typeface="Angsana New" panose="02020603050405020304" pitchFamily="18" charset="-34"/>
                        </a:defRPr>
                      </a:lvl5pPr>
                      <a:lvl6pPr fontAlgn="base">
                        <a:spcBef>
                          <a:spcPct val="20000"/>
                        </a:spcBef>
                        <a:spcAft>
                          <a:spcPct val="0"/>
                        </a:spcAft>
                        <a:defRPr>
                          <a:solidFill>
                            <a:schemeClr val="tx1"/>
                          </a:solidFill>
                          <a:latin typeface="Arial" panose="020B0604020202020204" pitchFamily="34" charset="0"/>
                          <a:cs typeface="Angsana New" panose="02020603050405020304" pitchFamily="18" charset="-34"/>
                        </a:defRPr>
                      </a:lvl6pPr>
                      <a:lvl7pPr fontAlgn="base">
                        <a:spcBef>
                          <a:spcPct val="20000"/>
                        </a:spcBef>
                        <a:spcAft>
                          <a:spcPct val="0"/>
                        </a:spcAft>
                        <a:defRPr>
                          <a:solidFill>
                            <a:schemeClr val="tx1"/>
                          </a:solidFill>
                          <a:latin typeface="Arial" panose="020B0604020202020204" pitchFamily="34" charset="0"/>
                          <a:cs typeface="Angsana New" panose="02020603050405020304" pitchFamily="18" charset="-34"/>
                        </a:defRPr>
                      </a:lvl7pPr>
                      <a:lvl8pPr fontAlgn="base">
                        <a:spcBef>
                          <a:spcPct val="20000"/>
                        </a:spcBef>
                        <a:spcAft>
                          <a:spcPct val="0"/>
                        </a:spcAft>
                        <a:defRPr>
                          <a:solidFill>
                            <a:schemeClr val="tx1"/>
                          </a:solidFill>
                          <a:latin typeface="Arial" panose="020B0604020202020204" pitchFamily="34" charset="0"/>
                          <a:cs typeface="Angsana New" panose="02020603050405020304" pitchFamily="18" charset="-34"/>
                        </a:defRPr>
                      </a:lvl8pPr>
                      <a:lvl9pPr fontAlgn="base">
                        <a:spcBef>
                          <a:spcPct val="20000"/>
                        </a:spcBef>
                        <a:spcAft>
                          <a:spcPct val="0"/>
                        </a:spcAft>
                        <a:defRPr>
                          <a:solidFill>
                            <a:schemeClr val="tx1"/>
                          </a:solidFill>
                          <a:latin typeface="Arial" panose="020B0604020202020204" pitchFamily="34" charset="0"/>
                          <a:cs typeface="Angsana New" panose="02020603050405020304" pitchFamily="18" charset="-34"/>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th-TH" sz="900" b="0" i="0" u="none" strike="noStrike" cap="none" normalizeH="0" baseline="0" dirty="0" smtClean="0">
                        <a:ln>
                          <a:noFill/>
                        </a:ln>
                        <a:solidFill>
                          <a:schemeClr val="tx1"/>
                        </a:solidFill>
                        <a:effectLst/>
                        <a:latin typeface="Century Gothic" pitchFamily="34" charset="0"/>
                        <a:cs typeface="+mj-cs"/>
                      </a:endParaRPr>
                    </a:p>
                  </a:txBody>
                  <a:tcPr marL="91439" marR="91439" marT="34285" marB="34285"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cs typeface="Angsana New" panose="02020603050405020304" pitchFamily="18" charset="-34"/>
                        </a:defRPr>
                      </a:lvl1pPr>
                      <a:lvl2pPr>
                        <a:spcBef>
                          <a:spcPct val="20000"/>
                        </a:spcBef>
                        <a:defRPr sz="2400">
                          <a:solidFill>
                            <a:schemeClr val="tx1"/>
                          </a:solidFill>
                          <a:latin typeface="Arial" panose="020B0604020202020204" pitchFamily="34" charset="0"/>
                          <a:cs typeface="Angsana New" panose="02020603050405020304" pitchFamily="18" charset="-34"/>
                        </a:defRPr>
                      </a:lvl2pPr>
                      <a:lvl3pPr>
                        <a:spcBef>
                          <a:spcPct val="20000"/>
                        </a:spcBef>
                        <a:defRPr sz="2000">
                          <a:solidFill>
                            <a:schemeClr val="tx1"/>
                          </a:solidFill>
                          <a:latin typeface="Arial" panose="020B0604020202020204" pitchFamily="34" charset="0"/>
                          <a:cs typeface="Angsana New" panose="02020603050405020304" pitchFamily="18" charset="-34"/>
                        </a:defRPr>
                      </a:lvl3pPr>
                      <a:lvl4pPr>
                        <a:spcBef>
                          <a:spcPct val="20000"/>
                        </a:spcBef>
                        <a:defRPr>
                          <a:solidFill>
                            <a:schemeClr val="tx1"/>
                          </a:solidFill>
                          <a:latin typeface="Arial" panose="020B0604020202020204" pitchFamily="34" charset="0"/>
                          <a:cs typeface="Angsana New" panose="02020603050405020304" pitchFamily="18" charset="-34"/>
                        </a:defRPr>
                      </a:lvl4pPr>
                      <a:lvl5pPr>
                        <a:spcBef>
                          <a:spcPct val="20000"/>
                        </a:spcBef>
                        <a:defRPr>
                          <a:solidFill>
                            <a:schemeClr val="tx1"/>
                          </a:solidFill>
                          <a:latin typeface="Arial" panose="020B0604020202020204" pitchFamily="34" charset="0"/>
                          <a:cs typeface="Angsana New" panose="02020603050405020304" pitchFamily="18" charset="-34"/>
                        </a:defRPr>
                      </a:lvl5pPr>
                      <a:lvl6pPr fontAlgn="base">
                        <a:spcBef>
                          <a:spcPct val="20000"/>
                        </a:spcBef>
                        <a:spcAft>
                          <a:spcPct val="0"/>
                        </a:spcAft>
                        <a:defRPr>
                          <a:solidFill>
                            <a:schemeClr val="tx1"/>
                          </a:solidFill>
                          <a:latin typeface="Arial" panose="020B0604020202020204" pitchFamily="34" charset="0"/>
                          <a:cs typeface="Angsana New" panose="02020603050405020304" pitchFamily="18" charset="-34"/>
                        </a:defRPr>
                      </a:lvl6pPr>
                      <a:lvl7pPr fontAlgn="base">
                        <a:spcBef>
                          <a:spcPct val="20000"/>
                        </a:spcBef>
                        <a:spcAft>
                          <a:spcPct val="0"/>
                        </a:spcAft>
                        <a:defRPr>
                          <a:solidFill>
                            <a:schemeClr val="tx1"/>
                          </a:solidFill>
                          <a:latin typeface="Arial" panose="020B0604020202020204" pitchFamily="34" charset="0"/>
                          <a:cs typeface="Angsana New" panose="02020603050405020304" pitchFamily="18" charset="-34"/>
                        </a:defRPr>
                      </a:lvl7pPr>
                      <a:lvl8pPr fontAlgn="base">
                        <a:spcBef>
                          <a:spcPct val="20000"/>
                        </a:spcBef>
                        <a:spcAft>
                          <a:spcPct val="0"/>
                        </a:spcAft>
                        <a:defRPr>
                          <a:solidFill>
                            <a:schemeClr val="tx1"/>
                          </a:solidFill>
                          <a:latin typeface="Arial" panose="020B0604020202020204" pitchFamily="34" charset="0"/>
                          <a:cs typeface="Angsana New" panose="02020603050405020304" pitchFamily="18" charset="-34"/>
                        </a:defRPr>
                      </a:lvl8pPr>
                      <a:lvl9pPr fontAlgn="base">
                        <a:spcBef>
                          <a:spcPct val="20000"/>
                        </a:spcBef>
                        <a:spcAft>
                          <a:spcPct val="0"/>
                        </a:spcAft>
                        <a:defRPr>
                          <a:solidFill>
                            <a:schemeClr val="tx1"/>
                          </a:solidFill>
                          <a:latin typeface="Arial" panose="020B0604020202020204" pitchFamily="34" charset="0"/>
                          <a:cs typeface="Angsana New" panose="02020603050405020304" pitchFamily="18" charset="-34"/>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th-TH" sz="900" b="0" i="0" u="none" strike="noStrike" cap="none" normalizeH="0" baseline="0" dirty="0" smtClean="0">
                        <a:ln>
                          <a:noFill/>
                        </a:ln>
                        <a:solidFill>
                          <a:schemeClr val="tx1"/>
                        </a:solidFill>
                        <a:effectLst/>
                        <a:latin typeface="Century Gothic" pitchFamily="34" charset="0"/>
                        <a:cs typeface="+mj-cs"/>
                      </a:endParaRPr>
                    </a:p>
                  </a:txBody>
                  <a:tcPr marL="91439" marR="91439" marT="34285" marB="34285"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cs typeface="Angsana New" panose="02020603050405020304" pitchFamily="18" charset="-34"/>
                        </a:defRPr>
                      </a:lvl1pPr>
                      <a:lvl2pPr>
                        <a:spcBef>
                          <a:spcPct val="20000"/>
                        </a:spcBef>
                        <a:defRPr sz="2400">
                          <a:solidFill>
                            <a:schemeClr val="tx1"/>
                          </a:solidFill>
                          <a:latin typeface="Arial" panose="020B0604020202020204" pitchFamily="34" charset="0"/>
                          <a:cs typeface="Angsana New" panose="02020603050405020304" pitchFamily="18" charset="-34"/>
                        </a:defRPr>
                      </a:lvl2pPr>
                      <a:lvl3pPr>
                        <a:spcBef>
                          <a:spcPct val="20000"/>
                        </a:spcBef>
                        <a:defRPr sz="2000">
                          <a:solidFill>
                            <a:schemeClr val="tx1"/>
                          </a:solidFill>
                          <a:latin typeface="Arial" panose="020B0604020202020204" pitchFamily="34" charset="0"/>
                          <a:cs typeface="Angsana New" panose="02020603050405020304" pitchFamily="18" charset="-34"/>
                        </a:defRPr>
                      </a:lvl3pPr>
                      <a:lvl4pPr>
                        <a:spcBef>
                          <a:spcPct val="20000"/>
                        </a:spcBef>
                        <a:defRPr>
                          <a:solidFill>
                            <a:schemeClr val="tx1"/>
                          </a:solidFill>
                          <a:latin typeface="Arial" panose="020B0604020202020204" pitchFamily="34" charset="0"/>
                          <a:cs typeface="Angsana New" panose="02020603050405020304" pitchFamily="18" charset="-34"/>
                        </a:defRPr>
                      </a:lvl4pPr>
                      <a:lvl5pPr>
                        <a:spcBef>
                          <a:spcPct val="20000"/>
                        </a:spcBef>
                        <a:defRPr>
                          <a:solidFill>
                            <a:schemeClr val="tx1"/>
                          </a:solidFill>
                          <a:latin typeface="Arial" panose="020B0604020202020204" pitchFamily="34" charset="0"/>
                          <a:cs typeface="Angsana New" panose="02020603050405020304" pitchFamily="18" charset="-34"/>
                        </a:defRPr>
                      </a:lvl5pPr>
                      <a:lvl6pPr fontAlgn="base">
                        <a:spcBef>
                          <a:spcPct val="20000"/>
                        </a:spcBef>
                        <a:spcAft>
                          <a:spcPct val="0"/>
                        </a:spcAft>
                        <a:defRPr>
                          <a:solidFill>
                            <a:schemeClr val="tx1"/>
                          </a:solidFill>
                          <a:latin typeface="Arial" panose="020B0604020202020204" pitchFamily="34" charset="0"/>
                          <a:cs typeface="Angsana New" panose="02020603050405020304" pitchFamily="18" charset="-34"/>
                        </a:defRPr>
                      </a:lvl6pPr>
                      <a:lvl7pPr fontAlgn="base">
                        <a:spcBef>
                          <a:spcPct val="20000"/>
                        </a:spcBef>
                        <a:spcAft>
                          <a:spcPct val="0"/>
                        </a:spcAft>
                        <a:defRPr>
                          <a:solidFill>
                            <a:schemeClr val="tx1"/>
                          </a:solidFill>
                          <a:latin typeface="Arial" panose="020B0604020202020204" pitchFamily="34" charset="0"/>
                          <a:cs typeface="Angsana New" panose="02020603050405020304" pitchFamily="18" charset="-34"/>
                        </a:defRPr>
                      </a:lvl7pPr>
                      <a:lvl8pPr fontAlgn="base">
                        <a:spcBef>
                          <a:spcPct val="20000"/>
                        </a:spcBef>
                        <a:spcAft>
                          <a:spcPct val="0"/>
                        </a:spcAft>
                        <a:defRPr>
                          <a:solidFill>
                            <a:schemeClr val="tx1"/>
                          </a:solidFill>
                          <a:latin typeface="Arial" panose="020B0604020202020204" pitchFamily="34" charset="0"/>
                          <a:cs typeface="Angsana New" panose="02020603050405020304" pitchFamily="18" charset="-34"/>
                        </a:defRPr>
                      </a:lvl8pPr>
                      <a:lvl9pPr fontAlgn="base">
                        <a:spcBef>
                          <a:spcPct val="20000"/>
                        </a:spcBef>
                        <a:spcAft>
                          <a:spcPct val="0"/>
                        </a:spcAft>
                        <a:defRPr>
                          <a:solidFill>
                            <a:schemeClr val="tx1"/>
                          </a:solidFill>
                          <a:latin typeface="Arial" panose="020B0604020202020204" pitchFamily="34" charset="0"/>
                          <a:cs typeface="Angsana New" panose="02020603050405020304" pitchFamily="18" charset="-34"/>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th-TH" sz="900" b="0" i="0" u="none" strike="noStrike" cap="none" normalizeH="0" baseline="0" dirty="0" smtClean="0">
                        <a:ln>
                          <a:noFill/>
                        </a:ln>
                        <a:solidFill>
                          <a:schemeClr val="tx1"/>
                        </a:solidFill>
                        <a:effectLst/>
                        <a:latin typeface="Century Gothic" pitchFamily="34" charset="0"/>
                        <a:cs typeface="+mj-cs"/>
                      </a:endParaRPr>
                    </a:p>
                  </a:txBody>
                  <a:tcPr marL="91439" marR="91439" marT="34285" marB="34285"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cs typeface="Angsana New" panose="02020603050405020304" pitchFamily="18" charset="-34"/>
                        </a:defRPr>
                      </a:lvl1pPr>
                      <a:lvl2pPr>
                        <a:spcBef>
                          <a:spcPct val="20000"/>
                        </a:spcBef>
                        <a:defRPr sz="2400">
                          <a:solidFill>
                            <a:schemeClr val="tx1"/>
                          </a:solidFill>
                          <a:latin typeface="Arial" panose="020B0604020202020204" pitchFamily="34" charset="0"/>
                          <a:cs typeface="Angsana New" panose="02020603050405020304" pitchFamily="18" charset="-34"/>
                        </a:defRPr>
                      </a:lvl2pPr>
                      <a:lvl3pPr>
                        <a:spcBef>
                          <a:spcPct val="20000"/>
                        </a:spcBef>
                        <a:defRPr sz="2000">
                          <a:solidFill>
                            <a:schemeClr val="tx1"/>
                          </a:solidFill>
                          <a:latin typeface="Arial" panose="020B0604020202020204" pitchFamily="34" charset="0"/>
                          <a:cs typeface="Angsana New" panose="02020603050405020304" pitchFamily="18" charset="-34"/>
                        </a:defRPr>
                      </a:lvl3pPr>
                      <a:lvl4pPr>
                        <a:spcBef>
                          <a:spcPct val="20000"/>
                        </a:spcBef>
                        <a:defRPr>
                          <a:solidFill>
                            <a:schemeClr val="tx1"/>
                          </a:solidFill>
                          <a:latin typeface="Arial" panose="020B0604020202020204" pitchFamily="34" charset="0"/>
                          <a:cs typeface="Angsana New" panose="02020603050405020304" pitchFamily="18" charset="-34"/>
                        </a:defRPr>
                      </a:lvl4pPr>
                      <a:lvl5pPr>
                        <a:spcBef>
                          <a:spcPct val="20000"/>
                        </a:spcBef>
                        <a:defRPr>
                          <a:solidFill>
                            <a:schemeClr val="tx1"/>
                          </a:solidFill>
                          <a:latin typeface="Arial" panose="020B0604020202020204" pitchFamily="34" charset="0"/>
                          <a:cs typeface="Angsana New" panose="02020603050405020304" pitchFamily="18" charset="-34"/>
                        </a:defRPr>
                      </a:lvl5pPr>
                      <a:lvl6pPr fontAlgn="base">
                        <a:spcBef>
                          <a:spcPct val="20000"/>
                        </a:spcBef>
                        <a:spcAft>
                          <a:spcPct val="0"/>
                        </a:spcAft>
                        <a:defRPr>
                          <a:solidFill>
                            <a:schemeClr val="tx1"/>
                          </a:solidFill>
                          <a:latin typeface="Arial" panose="020B0604020202020204" pitchFamily="34" charset="0"/>
                          <a:cs typeface="Angsana New" panose="02020603050405020304" pitchFamily="18" charset="-34"/>
                        </a:defRPr>
                      </a:lvl6pPr>
                      <a:lvl7pPr fontAlgn="base">
                        <a:spcBef>
                          <a:spcPct val="20000"/>
                        </a:spcBef>
                        <a:spcAft>
                          <a:spcPct val="0"/>
                        </a:spcAft>
                        <a:defRPr>
                          <a:solidFill>
                            <a:schemeClr val="tx1"/>
                          </a:solidFill>
                          <a:latin typeface="Arial" panose="020B0604020202020204" pitchFamily="34" charset="0"/>
                          <a:cs typeface="Angsana New" panose="02020603050405020304" pitchFamily="18" charset="-34"/>
                        </a:defRPr>
                      </a:lvl7pPr>
                      <a:lvl8pPr fontAlgn="base">
                        <a:spcBef>
                          <a:spcPct val="20000"/>
                        </a:spcBef>
                        <a:spcAft>
                          <a:spcPct val="0"/>
                        </a:spcAft>
                        <a:defRPr>
                          <a:solidFill>
                            <a:schemeClr val="tx1"/>
                          </a:solidFill>
                          <a:latin typeface="Arial" panose="020B0604020202020204" pitchFamily="34" charset="0"/>
                          <a:cs typeface="Angsana New" panose="02020603050405020304" pitchFamily="18" charset="-34"/>
                        </a:defRPr>
                      </a:lvl8pPr>
                      <a:lvl9pPr fontAlgn="base">
                        <a:spcBef>
                          <a:spcPct val="20000"/>
                        </a:spcBef>
                        <a:spcAft>
                          <a:spcPct val="0"/>
                        </a:spcAft>
                        <a:defRPr>
                          <a:solidFill>
                            <a:schemeClr val="tx1"/>
                          </a:solidFill>
                          <a:latin typeface="Arial" panose="020B0604020202020204" pitchFamily="34" charset="0"/>
                          <a:cs typeface="Angsana New" panose="02020603050405020304" pitchFamily="18" charset="-34"/>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th-TH" sz="900" b="0" i="0" u="none" strike="noStrike" cap="none" normalizeH="0" baseline="0" dirty="0" smtClean="0">
                        <a:ln>
                          <a:noFill/>
                        </a:ln>
                        <a:solidFill>
                          <a:schemeClr val="tx1"/>
                        </a:solidFill>
                        <a:effectLst/>
                        <a:latin typeface="Century Gothic" pitchFamily="34" charset="0"/>
                        <a:cs typeface="+mj-cs"/>
                      </a:endParaRPr>
                    </a:p>
                  </a:txBody>
                  <a:tcPr marL="91439" marR="91439" marT="34285" marB="34285"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cs typeface="Angsana New" panose="02020603050405020304" pitchFamily="18" charset="-34"/>
                        </a:defRPr>
                      </a:lvl1pPr>
                      <a:lvl2pPr>
                        <a:spcBef>
                          <a:spcPct val="20000"/>
                        </a:spcBef>
                        <a:defRPr sz="2400">
                          <a:solidFill>
                            <a:schemeClr val="tx1"/>
                          </a:solidFill>
                          <a:latin typeface="Arial" panose="020B0604020202020204" pitchFamily="34" charset="0"/>
                          <a:cs typeface="Angsana New" panose="02020603050405020304" pitchFamily="18" charset="-34"/>
                        </a:defRPr>
                      </a:lvl2pPr>
                      <a:lvl3pPr>
                        <a:spcBef>
                          <a:spcPct val="20000"/>
                        </a:spcBef>
                        <a:defRPr sz="2000">
                          <a:solidFill>
                            <a:schemeClr val="tx1"/>
                          </a:solidFill>
                          <a:latin typeface="Arial" panose="020B0604020202020204" pitchFamily="34" charset="0"/>
                          <a:cs typeface="Angsana New" panose="02020603050405020304" pitchFamily="18" charset="-34"/>
                        </a:defRPr>
                      </a:lvl3pPr>
                      <a:lvl4pPr>
                        <a:spcBef>
                          <a:spcPct val="20000"/>
                        </a:spcBef>
                        <a:defRPr>
                          <a:solidFill>
                            <a:schemeClr val="tx1"/>
                          </a:solidFill>
                          <a:latin typeface="Arial" panose="020B0604020202020204" pitchFamily="34" charset="0"/>
                          <a:cs typeface="Angsana New" panose="02020603050405020304" pitchFamily="18" charset="-34"/>
                        </a:defRPr>
                      </a:lvl4pPr>
                      <a:lvl5pPr>
                        <a:spcBef>
                          <a:spcPct val="20000"/>
                        </a:spcBef>
                        <a:defRPr>
                          <a:solidFill>
                            <a:schemeClr val="tx1"/>
                          </a:solidFill>
                          <a:latin typeface="Arial" panose="020B0604020202020204" pitchFamily="34" charset="0"/>
                          <a:cs typeface="Angsana New" panose="02020603050405020304" pitchFamily="18" charset="-34"/>
                        </a:defRPr>
                      </a:lvl5pPr>
                      <a:lvl6pPr fontAlgn="base">
                        <a:spcBef>
                          <a:spcPct val="20000"/>
                        </a:spcBef>
                        <a:spcAft>
                          <a:spcPct val="0"/>
                        </a:spcAft>
                        <a:defRPr>
                          <a:solidFill>
                            <a:schemeClr val="tx1"/>
                          </a:solidFill>
                          <a:latin typeface="Arial" panose="020B0604020202020204" pitchFamily="34" charset="0"/>
                          <a:cs typeface="Angsana New" panose="02020603050405020304" pitchFamily="18" charset="-34"/>
                        </a:defRPr>
                      </a:lvl6pPr>
                      <a:lvl7pPr fontAlgn="base">
                        <a:spcBef>
                          <a:spcPct val="20000"/>
                        </a:spcBef>
                        <a:spcAft>
                          <a:spcPct val="0"/>
                        </a:spcAft>
                        <a:defRPr>
                          <a:solidFill>
                            <a:schemeClr val="tx1"/>
                          </a:solidFill>
                          <a:latin typeface="Arial" panose="020B0604020202020204" pitchFamily="34" charset="0"/>
                          <a:cs typeface="Angsana New" panose="02020603050405020304" pitchFamily="18" charset="-34"/>
                        </a:defRPr>
                      </a:lvl7pPr>
                      <a:lvl8pPr fontAlgn="base">
                        <a:spcBef>
                          <a:spcPct val="20000"/>
                        </a:spcBef>
                        <a:spcAft>
                          <a:spcPct val="0"/>
                        </a:spcAft>
                        <a:defRPr>
                          <a:solidFill>
                            <a:schemeClr val="tx1"/>
                          </a:solidFill>
                          <a:latin typeface="Arial" panose="020B0604020202020204" pitchFamily="34" charset="0"/>
                          <a:cs typeface="Angsana New" panose="02020603050405020304" pitchFamily="18" charset="-34"/>
                        </a:defRPr>
                      </a:lvl8pPr>
                      <a:lvl9pPr fontAlgn="base">
                        <a:spcBef>
                          <a:spcPct val="20000"/>
                        </a:spcBef>
                        <a:spcAft>
                          <a:spcPct val="0"/>
                        </a:spcAft>
                        <a:defRPr>
                          <a:solidFill>
                            <a:schemeClr val="tx1"/>
                          </a:solidFill>
                          <a:latin typeface="Arial" panose="020B0604020202020204" pitchFamily="34" charset="0"/>
                          <a:cs typeface="Angsana New" panose="02020603050405020304" pitchFamily="18" charset="-34"/>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1100" b="0" i="0" u="none" strike="noStrike" kern="1200" cap="none" normalizeH="0" baseline="0" dirty="0" smtClean="0">
                          <a:ln>
                            <a:noFill/>
                          </a:ln>
                          <a:solidFill>
                            <a:schemeClr val="tx1"/>
                          </a:solidFill>
                          <a:effectLst/>
                          <a:latin typeface="Calibri" pitchFamily="34" charset="0"/>
                          <a:ea typeface="+mn-ea"/>
                          <a:cs typeface="+mj-cs"/>
                        </a:rPr>
                        <a:t>29,855</a:t>
                      </a:r>
                      <a:endParaRPr kumimoji="0" lang="th-TH" sz="1100" b="0" i="0" u="none" strike="noStrike" kern="1200" cap="none" normalizeH="0" baseline="0" dirty="0" smtClean="0">
                        <a:ln>
                          <a:noFill/>
                        </a:ln>
                        <a:solidFill>
                          <a:schemeClr val="tx1"/>
                        </a:solidFill>
                        <a:effectLst/>
                        <a:latin typeface="Calibri" pitchFamily="34" charset="0"/>
                        <a:ea typeface="+mn-ea"/>
                        <a:cs typeface="+mj-cs"/>
                      </a:endParaRPr>
                    </a:p>
                  </a:txBody>
                  <a:tcPr marL="91439" marR="91439" marT="34285" marB="34285"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342889">
                <a:tc>
                  <a:txBody>
                    <a:bodyPr/>
                    <a:lstStyle>
                      <a:lvl1pPr>
                        <a:spcBef>
                          <a:spcPct val="20000"/>
                        </a:spcBef>
                        <a:defRPr sz="2800">
                          <a:solidFill>
                            <a:schemeClr val="tx1"/>
                          </a:solidFill>
                          <a:latin typeface="Arial" panose="020B0604020202020204" pitchFamily="34" charset="0"/>
                          <a:cs typeface="Angsana New" panose="02020603050405020304" pitchFamily="18" charset="-34"/>
                        </a:defRPr>
                      </a:lvl1pPr>
                      <a:lvl2pPr>
                        <a:spcBef>
                          <a:spcPct val="20000"/>
                        </a:spcBef>
                        <a:defRPr sz="2400">
                          <a:solidFill>
                            <a:schemeClr val="tx1"/>
                          </a:solidFill>
                          <a:latin typeface="Arial" panose="020B0604020202020204" pitchFamily="34" charset="0"/>
                          <a:cs typeface="Angsana New" panose="02020603050405020304" pitchFamily="18" charset="-34"/>
                        </a:defRPr>
                      </a:lvl2pPr>
                      <a:lvl3pPr>
                        <a:spcBef>
                          <a:spcPct val="20000"/>
                        </a:spcBef>
                        <a:defRPr sz="2000">
                          <a:solidFill>
                            <a:schemeClr val="tx1"/>
                          </a:solidFill>
                          <a:latin typeface="Arial" panose="020B0604020202020204" pitchFamily="34" charset="0"/>
                          <a:cs typeface="Angsana New" panose="02020603050405020304" pitchFamily="18" charset="-34"/>
                        </a:defRPr>
                      </a:lvl3pPr>
                      <a:lvl4pPr>
                        <a:spcBef>
                          <a:spcPct val="20000"/>
                        </a:spcBef>
                        <a:defRPr>
                          <a:solidFill>
                            <a:schemeClr val="tx1"/>
                          </a:solidFill>
                          <a:latin typeface="Arial" panose="020B0604020202020204" pitchFamily="34" charset="0"/>
                          <a:cs typeface="Angsana New" panose="02020603050405020304" pitchFamily="18" charset="-34"/>
                        </a:defRPr>
                      </a:lvl4pPr>
                      <a:lvl5pPr>
                        <a:spcBef>
                          <a:spcPct val="20000"/>
                        </a:spcBef>
                        <a:defRPr>
                          <a:solidFill>
                            <a:schemeClr val="tx1"/>
                          </a:solidFill>
                          <a:latin typeface="Arial" panose="020B0604020202020204" pitchFamily="34" charset="0"/>
                          <a:cs typeface="Angsana New" panose="02020603050405020304" pitchFamily="18" charset="-34"/>
                        </a:defRPr>
                      </a:lvl5pPr>
                      <a:lvl6pPr fontAlgn="base">
                        <a:spcBef>
                          <a:spcPct val="20000"/>
                        </a:spcBef>
                        <a:spcAft>
                          <a:spcPct val="0"/>
                        </a:spcAft>
                        <a:defRPr>
                          <a:solidFill>
                            <a:schemeClr val="tx1"/>
                          </a:solidFill>
                          <a:latin typeface="Arial" panose="020B0604020202020204" pitchFamily="34" charset="0"/>
                          <a:cs typeface="Angsana New" panose="02020603050405020304" pitchFamily="18" charset="-34"/>
                        </a:defRPr>
                      </a:lvl6pPr>
                      <a:lvl7pPr fontAlgn="base">
                        <a:spcBef>
                          <a:spcPct val="20000"/>
                        </a:spcBef>
                        <a:spcAft>
                          <a:spcPct val="0"/>
                        </a:spcAft>
                        <a:defRPr>
                          <a:solidFill>
                            <a:schemeClr val="tx1"/>
                          </a:solidFill>
                          <a:latin typeface="Arial" panose="020B0604020202020204" pitchFamily="34" charset="0"/>
                          <a:cs typeface="Angsana New" panose="02020603050405020304" pitchFamily="18" charset="-34"/>
                        </a:defRPr>
                      </a:lvl7pPr>
                      <a:lvl8pPr fontAlgn="base">
                        <a:spcBef>
                          <a:spcPct val="20000"/>
                        </a:spcBef>
                        <a:spcAft>
                          <a:spcPct val="0"/>
                        </a:spcAft>
                        <a:defRPr>
                          <a:solidFill>
                            <a:schemeClr val="tx1"/>
                          </a:solidFill>
                          <a:latin typeface="Arial" panose="020B0604020202020204" pitchFamily="34" charset="0"/>
                          <a:cs typeface="Angsana New" panose="02020603050405020304" pitchFamily="18" charset="-34"/>
                        </a:defRPr>
                      </a:lvl8pPr>
                      <a:lvl9pPr fontAlgn="base">
                        <a:spcBef>
                          <a:spcPct val="20000"/>
                        </a:spcBef>
                        <a:spcAft>
                          <a:spcPct val="0"/>
                        </a:spcAft>
                        <a:defRPr>
                          <a:solidFill>
                            <a:schemeClr val="tx1"/>
                          </a:solidFill>
                          <a:latin typeface="Arial" panose="020B0604020202020204" pitchFamily="34" charset="0"/>
                          <a:cs typeface="Angsana New" panose="02020603050405020304" pitchFamily="18" charset="-34"/>
                        </a:defRPr>
                      </a:lvl9p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US" sz="1000" b="0" i="0" u="none" strike="noStrike" cap="none" normalizeH="0" baseline="0" dirty="0" smtClean="0">
                          <a:ln>
                            <a:noFill/>
                          </a:ln>
                          <a:solidFill>
                            <a:schemeClr val="tx1"/>
                          </a:solidFill>
                          <a:effectLst/>
                          <a:latin typeface="Arial" pitchFamily="34" charset="0"/>
                          <a:cs typeface="+mj-cs"/>
                        </a:rPr>
                        <a:t>6. </a:t>
                      </a:r>
                      <a:r>
                        <a:rPr kumimoji="0" lang="th-TH" sz="1300" b="1" i="0" u="none" strike="noStrike" kern="1200" cap="none" normalizeH="0" baseline="0" dirty="0" smtClean="0">
                          <a:ln>
                            <a:noFill/>
                          </a:ln>
                          <a:solidFill>
                            <a:schemeClr val="tx1"/>
                          </a:solidFill>
                          <a:effectLst/>
                          <a:latin typeface="Calibri" pitchFamily="34" charset="0"/>
                          <a:ea typeface="+mn-ea"/>
                          <a:cs typeface="+mj-cs"/>
                        </a:rPr>
                        <a:t>ลพบุรี – ปากน้ำโพ</a:t>
                      </a:r>
                      <a:r>
                        <a:rPr kumimoji="0" lang="en-US" sz="1000" b="0" i="0" u="none" strike="noStrike" cap="none" normalizeH="0" baseline="0" dirty="0" smtClean="0">
                          <a:ln>
                            <a:noFill/>
                          </a:ln>
                          <a:solidFill>
                            <a:schemeClr val="tx1"/>
                          </a:solidFill>
                          <a:effectLst/>
                          <a:latin typeface="Arial" pitchFamily="34" charset="0"/>
                          <a:cs typeface="+mj-cs"/>
                        </a:rPr>
                        <a:t>(148 </a:t>
                      </a:r>
                      <a:r>
                        <a:rPr kumimoji="0" lang="th-TH" sz="1000" b="0" i="0" u="none" strike="noStrike" cap="none" normalizeH="0" baseline="0" dirty="0" smtClean="0">
                          <a:ln>
                            <a:noFill/>
                          </a:ln>
                          <a:solidFill>
                            <a:schemeClr val="tx1"/>
                          </a:solidFill>
                          <a:effectLst/>
                          <a:latin typeface="Arial" pitchFamily="34" charset="0"/>
                          <a:cs typeface="+mj-cs"/>
                        </a:rPr>
                        <a:t>กม</a:t>
                      </a:r>
                      <a:r>
                        <a:rPr kumimoji="0" lang="en-US" sz="1000" b="0" i="0" u="none" strike="noStrike" cap="none" normalizeH="0" baseline="0" dirty="0" smtClean="0">
                          <a:ln>
                            <a:noFill/>
                          </a:ln>
                          <a:solidFill>
                            <a:schemeClr val="tx1"/>
                          </a:solidFill>
                          <a:effectLst/>
                          <a:latin typeface="Arial" pitchFamily="34" charset="0"/>
                          <a:cs typeface="+mj-cs"/>
                        </a:rPr>
                        <a:t>.)</a:t>
                      </a:r>
                      <a:endParaRPr kumimoji="0" lang="th-TH" sz="1000" b="0" i="0" u="none" strike="noStrike" cap="none" normalizeH="0" baseline="0" dirty="0" smtClean="0">
                        <a:ln>
                          <a:noFill/>
                        </a:ln>
                        <a:solidFill>
                          <a:schemeClr val="tx1"/>
                        </a:solidFill>
                        <a:effectLst/>
                        <a:latin typeface="Arial" pitchFamily="34" charset="0"/>
                        <a:cs typeface="+mj-cs"/>
                      </a:endParaRPr>
                    </a:p>
                  </a:txBody>
                  <a:tcPr marL="91439" marR="91439" marT="34285" marB="34285"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cs typeface="Angsana New" panose="02020603050405020304" pitchFamily="18" charset="-34"/>
                        </a:defRPr>
                      </a:lvl1pPr>
                      <a:lvl2pPr>
                        <a:spcBef>
                          <a:spcPct val="20000"/>
                        </a:spcBef>
                        <a:defRPr sz="2400">
                          <a:solidFill>
                            <a:schemeClr val="tx1"/>
                          </a:solidFill>
                          <a:latin typeface="Arial" panose="020B0604020202020204" pitchFamily="34" charset="0"/>
                          <a:cs typeface="Angsana New" panose="02020603050405020304" pitchFamily="18" charset="-34"/>
                        </a:defRPr>
                      </a:lvl2pPr>
                      <a:lvl3pPr>
                        <a:spcBef>
                          <a:spcPct val="20000"/>
                        </a:spcBef>
                        <a:defRPr sz="2000">
                          <a:solidFill>
                            <a:schemeClr val="tx1"/>
                          </a:solidFill>
                          <a:latin typeface="Arial" panose="020B0604020202020204" pitchFamily="34" charset="0"/>
                          <a:cs typeface="Angsana New" panose="02020603050405020304" pitchFamily="18" charset="-34"/>
                        </a:defRPr>
                      </a:lvl3pPr>
                      <a:lvl4pPr>
                        <a:spcBef>
                          <a:spcPct val="20000"/>
                        </a:spcBef>
                        <a:defRPr>
                          <a:solidFill>
                            <a:schemeClr val="tx1"/>
                          </a:solidFill>
                          <a:latin typeface="Arial" panose="020B0604020202020204" pitchFamily="34" charset="0"/>
                          <a:cs typeface="Angsana New" panose="02020603050405020304" pitchFamily="18" charset="-34"/>
                        </a:defRPr>
                      </a:lvl4pPr>
                      <a:lvl5pPr>
                        <a:spcBef>
                          <a:spcPct val="20000"/>
                        </a:spcBef>
                        <a:defRPr>
                          <a:solidFill>
                            <a:schemeClr val="tx1"/>
                          </a:solidFill>
                          <a:latin typeface="Arial" panose="020B0604020202020204" pitchFamily="34" charset="0"/>
                          <a:cs typeface="Angsana New" panose="02020603050405020304" pitchFamily="18" charset="-34"/>
                        </a:defRPr>
                      </a:lvl5pPr>
                      <a:lvl6pPr fontAlgn="base">
                        <a:spcBef>
                          <a:spcPct val="20000"/>
                        </a:spcBef>
                        <a:spcAft>
                          <a:spcPct val="0"/>
                        </a:spcAft>
                        <a:defRPr>
                          <a:solidFill>
                            <a:schemeClr val="tx1"/>
                          </a:solidFill>
                          <a:latin typeface="Arial" panose="020B0604020202020204" pitchFamily="34" charset="0"/>
                          <a:cs typeface="Angsana New" panose="02020603050405020304" pitchFamily="18" charset="-34"/>
                        </a:defRPr>
                      </a:lvl6pPr>
                      <a:lvl7pPr fontAlgn="base">
                        <a:spcBef>
                          <a:spcPct val="20000"/>
                        </a:spcBef>
                        <a:spcAft>
                          <a:spcPct val="0"/>
                        </a:spcAft>
                        <a:defRPr>
                          <a:solidFill>
                            <a:schemeClr val="tx1"/>
                          </a:solidFill>
                          <a:latin typeface="Arial" panose="020B0604020202020204" pitchFamily="34" charset="0"/>
                          <a:cs typeface="Angsana New" panose="02020603050405020304" pitchFamily="18" charset="-34"/>
                        </a:defRPr>
                      </a:lvl7pPr>
                      <a:lvl8pPr fontAlgn="base">
                        <a:spcBef>
                          <a:spcPct val="20000"/>
                        </a:spcBef>
                        <a:spcAft>
                          <a:spcPct val="0"/>
                        </a:spcAft>
                        <a:defRPr>
                          <a:solidFill>
                            <a:schemeClr val="tx1"/>
                          </a:solidFill>
                          <a:latin typeface="Arial" panose="020B0604020202020204" pitchFamily="34" charset="0"/>
                          <a:cs typeface="Angsana New" panose="02020603050405020304" pitchFamily="18" charset="-34"/>
                        </a:defRPr>
                      </a:lvl8pPr>
                      <a:lvl9pPr fontAlgn="base">
                        <a:spcBef>
                          <a:spcPct val="20000"/>
                        </a:spcBef>
                        <a:spcAft>
                          <a:spcPct val="0"/>
                        </a:spcAft>
                        <a:defRPr>
                          <a:solidFill>
                            <a:schemeClr val="tx1"/>
                          </a:solidFill>
                          <a:latin typeface="Arial" panose="020B0604020202020204" pitchFamily="34" charset="0"/>
                          <a:cs typeface="Angsana New" panose="02020603050405020304" pitchFamily="18" charset="-34"/>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th-TH" sz="900" b="0" i="0" u="none" strike="noStrike" cap="none" normalizeH="0" baseline="0" dirty="0" smtClean="0">
                        <a:ln>
                          <a:noFill/>
                        </a:ln>
                        <a:solidFill>
                          <a:schemeClr val="tx1"/>
                        </a:solidFill>
                        <a:effectLst/>
                        <a:latin typeface="Century Gothic" pitchFamily="34" charset="0"/>
                        <a:cs typeface="+mj-cs"/>
                      </a:endParaRPr>
                    </a:p>
                  </a:txBody>
                  <a:tcPr marL="91439" marR="91439" marT="34285" marB="34285"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cs typeface="Angsana New" panose="02020603050405020304" pitchFamily="18" charset="-34"/>
                        </a:defRPr>
                      </a:lvl1pPr>
                      <a:lvl2pPr>
                        <a:spcBef>
                          <a:spcPct val="20000"/>
                        </a:spcBef>
                        <a:defRPr sz="2400">
                          <a:solidFill>
                            <a:schemeClr val="tx1"/>
                          </a:solidFill>
                          <a:latin typeface="Arial" panose="020B0604020202020204" pitchFamily="34" charset="0"/>
                          <a:cs typeface="Angsana New" panose="02020603050405020304" pitchFamily="18" charset="-34"/>
                        </a:defRPr>
                      </a:lvl2pPr>
                      <a:lvl3pPr>
                        <a:spcBef>
                          <a:spcPct val="20000"/>
                        </a:spcBef>
                        <a:defRPr sz="2000">
                          <a:solidFill>
                            <a:schemeClr val="tx1"/>
                          </a:solidFill>
                          <a:latin typeface="Arial" panose="020B0604020202020204" pitchFamily="34" charset="0"/>
                          <a:cs typeface="Angsana New" panose="02020603050405020304" pitchFamily="18" charset="-34"/>
                        </a:defRPr>
                      </a:lvl3pPr>
                      <a:lvl4pPr>
                        <a:spcBef>
                          <a:spcPct val="20000"/>
                        </a:spcBef>
                        <a:defRPr>
                          <a:solidFill>
                            <a:schemeClr val="tx1"/>
                          </a:solidFill>
                          <a:latin typeface="Arial" panose="020B0604020202020204" pitchFamily="34" charset="0"/>
                          <a:cs typeface="Angsana New" panose="02020603050405020304" pitchFamily="18" charset="-34"/>
                        </a:defRPr>
                      </a:lvl4pPr>
                      <a:lvl5pPr>
                        <a:spcBef>
                          <a:spcPct val="20000"/>
                        </a:spcBef>
                        <a:defRPr>
                          <a:solidFill>
                            <a:schemeClr val="tx1"/>
                          </a:solidFill>
                          <a:latin typeface="Arial" panose="020B0604020202020204" pitchFamily="34" charset="0"/>
                          <a:cs typeface="Angsana New" panose="02020603050405020304" pitchFamily="18" charset="-34"/>
                        </a:defRPr>
                      </a:lvl5pPr>
                      <a:lvl6pPr fontAlgn="base">
                        <a:spcBef>
                          <a:spcPct val="20000"/>
                        </a:spcBef>
                        <a:spcAft>
                          <a:spcPct val="0"/>
                        </a:spcAft>
                        <a:defRPr>
                          <a:solidFill>
                            <a:schemeClr val="tx1"/>
                          </a:solidFill>
                          <a:latin typeface="Arial" panose="020B0604020202020204" pitchFamily="34" charset="0"/>
                          <a:cs typeface="Angsana New" panose="02020603050405020304" pitchFamily="18" charset="-34"/>
                        </a:defRPr>
                      </a:lvl6pPr>
                      <a:lvl7pPr fontAlgn="base">
                        <a:spcBef>
                          <a:spcPct val="20000"/>
                        </a:spcBef>
                        <a:spcAft>
                          <a:spcPct val="0"/>
                        </a:spcAft>
                        <a:defRPr>
                          <a:solidFill>
                            <a:schemeClr val="tx1"/>
                          </a:solidFill>
                          <a:latin typeface="Arial" panose="020B0604020202020204" pitchFamily="34" charset="0"/>
                          <a:cs typeface="Angsana New" panose="02020603050405020304" pitchFamily="18" charset="-34"/>
                        </a:defRPr>
                      </a:lvl7pPr>
                      <a:lvl8pPr fontAlgn="base">
                        <a:spcBef>
                          <a:spcPct val="20000"/>
                        </a:spcBef>
                        <a:spcAft>
                          <a:spcPct val="0"/>
                        </a:spcAft>
                        <a:defRPr>
                          <a:solidFill>
                            <a:schemeClr val="tx1"/>
                          </a:solidFill>
                          <a:latin typeface="Arial" panose="020B0604020202020204" pitchFamily="34" charset="0"/>
                          <a:cs typeface="Angsana New" panose="02020603050405020304" pitchFamily="18" charset="-34"/>
                        </a:defRPr>
                      </a:lvl8pPr>
                      <a:lvl9pPr fontAlgn="base">
                        <a:spcBef>
                          <a:spcPct val="20000"/>
                        </a:spcBef>
                        <a:spcAft>
                          <a:spcPct val="0"/>
                        </a:spcAft>
                        <a:defRPr>
                          <a:solidFill>
                            <a:schemeClr val="tx1"/>
                          </a:solidFill>
                          <a:latin typeface="Arial" panose="020B0604020202020204" pitchFamily="34" charset="0"/>
                          <a:cs typeface="Angsana New" panose="02020603050405020304" pitchFamily="18" charset="-34"/>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th-TH" sz="900" b="0" i="0" u="none" strike="noStrike" cap="none" normalizeH="0" baseline="0" dirty="0" smtClean="0">
                        <a:ln>
                          <a:noFill/>
                        </a:ln>
                        <a:solidFill>
                          <a:schemeClr val="tx1"/>
                        </a:solidFill>
                        <a:effectLst/>
                        <a:latin typeface="Century Gothic" pitchFamily="34" charset="0"/>
                        <a:cs typeface="+mj-cs"/>
                      </a:endParaRPr>
                    </a:p>
                  </a:txBody>
                  <a:tcPr marL="91439" marR="91439" marT="34285" marB="34285"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cs typeface="Angsana New" panose="02020603050405020304" pitchFamily="18" charset="-34"/>
                        </a:defRPr>
                      </a:lvl1pPr>
                      <a:lvl2pPr>
                        <a:spcBef>
                          <a:spcPct val="20000"/>
                        </a:spcBef>
                        <a:defRPr sz="2400">
                          <a:solidFill>
                            <a:schemeClr val="tx1"/>
                          </a:solidFill>
                          <a:latin typeface="Arial" panose="020B0604020202020204" pitchFamily="34" charset="0"/>
                          <a:cs typeface="Angsana New" panose="02020603050405020304" pitchFamily="18" charset="-34"/>
                        </a:defRPr>
                      </a:lvl2pPr>
                      <a:lvl3pPr>
                        <a:spcBef>
                          <a:spcPct val="20000"/>
                        </a:spcBef>
                        <a:defRPr sz="2000">
                          <a:solidFill>
                            <a:schemeClr val="tx1"/>
                          </a:solidFill>
                          <a:latin typeface="Arial" panose="020B0604020202020204" pitchFamily="34" charset="0"/>
                          <a:cs typeface="Angsana New" panose="02020603050405020304" pitchFamily="18" charset="-34"/>
                        </a:defRPr>
                      </a:lvl3pPr>
                      <a:lvl4pPr>
                        <a:spcBef>
                          <a:spcPct val="20000"/>
                        </a:spcBef>
                        <a:defRPr>
                          <a:solidFill>
                            <a:schemeClr val="tx1"/>
                          </a:solidFill>
                          <a:latin typeface="Arial" panose="020B0604020202020204" pitchFamily="34" charset="0"/>
                          <a:cs typeface="Angsana New" panose="02020603050405020304" pitchFamily="18" charset="-34"/>
                        </a:defRPr>
                      </a:lvl4pPr>
                      <a:lvl5pPr>
                        <a:spcBef>
                          <a:spcPct val="20000"/>
                        </a:spcBef>
                        <a:defRPr>
                          <a:solidFill>
                            <a:schemeClr val="tx1"/>
                          </a:solidFill>
                          <a:latin typeface="Arial" panose="020B0604020202020204" pitchFamily="34" charset="0"/>
                          <a:cs typeface="Angsana New" panose="02020603050405020304" pitchFamily="18" charset="-34"/>
                        </a:defRPr>
                      </a:lvl5pPr>
                      <a:lvl6pPr fontAlgn="base">
                        <a:spcBef>
                          <a:spcPct val="20000"/>
                        </a:spcBef>
                        <a:spcAft>
                          <a:spcPct val="0"/>
                        </a:spcAft>
                        <a:defRPr>
                          <a:solidFill>
                            <a:schemeClr val="tx1"/>
                          </a:solidFill>
                          <a:latin typeface="Arial" panose="020B0604020202020204" pitchFamily="34" charset="0"/>
                          <a:cs typeface="Angsana New" panose="02020603050405020304" pitchFamily="18" charset="-34"/>
                        </a:defRPr>
                      </a:lvl6pPr>
                      <a:lvl7pPr fontAlgn="base">
                        <a:spcBef>
                          <a:spcPct val="20000"/>
                        </a:spcBef>
                        <a:spcAft>
                          <a:spcPct val="0"/>
                        </a:spcAft>
                        <a:defRPr>
                          <a:solidFill>
                            <a:schemeClr val="tx1"/>
                          </a:solidFill>
                          <a:latin typeface="Arial" panose="020B0604020202020204" pitchFamily="34" charset="0"/>
                          <a:cs typeface="Angsana New" panose="02020603050405020304" pitchFamily="18" charset="-34"/>
                        </a:defRPr>
                      </a:lvl7pPr>
                      <a:lvl8pPr fontAlgn="base">
                        <a:spcBef>
                          <a:spcPct val="20000"/>
                        </a:spcBef>
                        <a:spcAft>
                          <a:spcPct val="0"/>
                        </a:spcAft>
                        <a:defRPr>
                          <a:solidFill>
                            <a:schemeClr val="tx1"/>
                          </a:solidFill>
                          <a:latin typeface="Arial" panose="020B0604020202020204" pitchFamily="34" charset="0"/>
                          <a:cs typeface="Angsana New" panose="02020603050405020304" pitchFamily="18" charset="-34"/>
                        </a:defRPr>
                      </a:lvl8pPr>
                      <a:lvl9pPr fontAlgn="base">
                        <a:spcBef>
                          <a:spcPct val="20000"/>
                        </a:spcBef>
                        <a:spcAft>
                          <a:spcPct val="0"/>
                        </a:spcAft>
                        <a:defRPr>
                          <a:solidFill>
                            <a:schemeClr val="tx1"/>
                          </a:solidFill>
                          <a:latin typeface="Arial" panose="020B0604020202020204" pitchFamily="34" charset="0"/>
                          <a:cs typeface="Angsana New" panose="02020603050405020304" pitchFamily="18" charset="-34"/>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th-TH" sz="900" b="0" i="0" u="none" strike="noStrike" cap="none" normalizeH="0" baseline="0" dirty="0" smtClean="0">
                        <a:ln>
                          <a:noFill/>
                        </a:ln>
                        <a:solidFill>
                          <a:schemeClr val="tx1"/>
                        </a:solidFill>
                        <a:effectLst/>
                        <a:latin typeface="Century Gothic" pitchFamily="34" charset="0"/>
                        <a:cs typeface="+mj-cs"/>
                      </a:endParaRPr>
                    </a:p>
                  </a:txBody>
                  <a:tcPr marL="91439" marR="91439" marT="34285" marB="34285"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cs typeface="Angsana New" panose="02020603050405020304" pitchFamily="18" charset="-34"/>
                        </a:defRPr>
                      </a:lvl1pPr>
                      <a:lvl2pPr>
                        <a:spcBef>
                          <a:spcPct val="20000"/>
                        </a:spcBef>
                        <a:defRPr sz="2400">
                          <a:solidFill>
                            <a:schemeClr val="tx1"/>
                          </a:solidFill>
                          <a:latin typeface="Arial" panose="020B0604020202020204" pitchFamily="34" charset="0"/>
                          <a:cs typeface="Angsana New" panose="02020603050405020304" pitchFamily="18" charset="-34"/>
                        </a:defRPr>
                      </a:lvl2pPr>
                      <a:lvl3pPr>
                        <a:spcBef>
                          <a:spcPct val="20000"/>
                        </a:spcBef>
                        <a:defRPr sz="2000">
                          <a:solidFill>
                            <a:schemeClr val="tx1"/>
                          </a:solidFill>
                          <a:latin typeface="Arial" panose="020B0604020202020204" pitchFamily="34" charset="0"/>
                          <a:cs typeface="Angsana New" panose="02020603050405020304" pitchFamily="18" charset="-34"/>
                        </a:defRPr>
                      </a:lvl3pPr>
                      <a:lvl4pPr>
                        <a:spcBef>
                          <a:spcPct val="20000"/>
                        </a:spcBef>
                        <a:defRPr>
                          <a:solidFill>
                            <a:schemeClr val="tx1"/>
                          </a:solidFill>
                          <a:latin typeface="Arial" panose="020B0604020202020204" pitchFamily="34" charset="0"/>
                          <a:cs typeface="Angsana New" panose="02020603050405020304" pitchFamily="18" charset="-34"/>
                        </a:defRPr>
                      </a:lvl4pPr>
                      <a:lvl5pPr>
                        <a:spcBef>
                          <a:spcPct val="20000"/>
                        </a:spcBef>
                        <a:defRPr>
                          <a:solidFill>
                            <a:schemeClr val="tx1"/>
                          </a:solidFill>
                          <a:latin typeface="Arial" panose="020B0604020202020204" pitchFamily="34" charset="0"/>
                          <a:cs typeface="Angsana New" panose="02020603050405020304" pitchFamily="18" charset="-34"/>
                        </a:defRPr>
                      </a:lvl5pPr>
                      <a:lvl6pPr fontAlgn="base">
                        <a:spcBef>
                          <a:spcPct val="20000"/>
                        </a:spcBef>
                        <a:spcAft>
                          <a:spcPct val="0"/>
                        </a:spcAft>
                        <a:defRPr>
                          <a:solidFill>
                            <a:schemeClr val="tx1"/>
                          </a:solidFill>
                          <a:latin typeface="Arial" panose="020B0604020202020204" pitchFamily="34" charset="0"/>
                          <a:cs typeface="Angsana New" panose="02020603050405020304" pitchFamily="18" charset="-34"/>
                        </a:defRPr>
                      </a:lvl6pPr>
                      <a:lvl7pPr fontAlgn="base">
                        <a:spcBef>
                          <a:spcPct val="20000"/>
                        </a:spcBef>
                        <a:spcAft>
                          <a:spcPct val="0"/>
                        </a:spcAft>
                        <a:defRPr>
                          <a:solidFill>
                            <a:schemeClr val="tx1"/>
                          </a:solidFill>
                          <a:latin typeface="Arial" panose="020B0604020202020204" pitchFamily="34" charset="0"/>
                          <a:cs typeface="Angsana New" panose="02020603050405020304" pitchFamily="18" charset="-34"/>
                        </a:defRPr>
                      </a:lvl7pPr>
                      <a:lvl8pPr fontAlgn="base">
                        <a:spcBef>
                          <a:spcPct val="20000"/>
                        </a:spcBef>
                        <a:spcAft>
                          <a:spcPct val="0"/>
                        </a:spcAft>
                        <a:defRPr>
                          <a:solidFill>
                            <a:schemeClr val="tx1"/>
                          </a:solidFill>
                          <a:latin typeface="Arial" panose="020B0604020202020204" pitchFamily="34" charset="0"/>
                          <a:cs typeface="Angsana New" panose="02020603050405020304" pitchFamily="18" charset="-34"/>
                        </a:defRPr>
                      </a:lvl8pPr>
                      <a:lvl9pPr fontAlgn="base">
                        <a:spcBef>
                          <a:spcPct val="20000"/>
                        </a:spcBef>
                        <a:spcAft>
                          <a:spcPct val="0"/>
                        </a:spcAft>
                        <a:defRPr>
                          <a:solidFill>
                            <a:schemeClr val="tx1"/>
                          </a:solidFill>
                          <a:latin typeface="Arial" panose="020B0604020202020204" pitchFamily="34" charset="0"/>
                          <a:cs typeface="Angsana New" panose="02020603050405020304" pitchFamily="18" charset="-34"/>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th-TH" sz="900" b="0" i="0" u="none" strike="noStrike" cap="none" normalizeH="0" baseline="0" dirty="0" smtClean="0">
                        <a:ln>
                          <a:noFill/>
                        </a:ln>
                        <a:solidFill>
                          <a:schemeClr val="tx1"/>
                        </a:solidFill>
                        <a:effectLst/>
                        <a:latin typeface="Century Gothic" pitchFamily="34" charset="0"/>
                        <a:cs typeface="+mj-cs"/>
                      </a:endParaRPr>
                    </a:p>
                  </a:txBody>
                  <a:tcPr marL="91439" marR="91439" marT="34285" marB="34285"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cs typeface="Angsana New" panose="02020603050405020304" pitchFamily="18" charset="-34"/>
                        </a:defRPr>
                      </a:lvl1pPr>
                      <a:lvl2pPr>
                        <a:spcBef>
                          <a:spcPct val="20000"/>
                        </a:spcBef>
                        <a:defRPr sz="2400">
                          <a:solidFill>
                            <a:schemeClr val="tx1"/>
                          </a:solidFill>
                          <a:latin typeface="Arial" panose="020B0604020202020204" pitchFamily="34" charset="0"/>
                          <a:cs typeface="Angsana New" panose="02020603050405020304" pitchFamily="18" charset="-34"/>
                        </a:defRPr>
                      </a:lvl2pPr>
                      <a:lvl3pPr>
                        <a:spcBef>
                          <a:spcPct val="20000"/>
                        </a:spcBef>
                        <a:defRPr sz="2000">
                          <a:solidFill>
                            <a:schemeClr val="tx1"/>
                          </a:solidFill>
                          <a:latin typeface="Arial" panose="020B0604020202020204" pitchFamily="34" charset="0"/>
                          <a:cs typeface="Angsana New" panose="02020603050405020304" pitchFamily="18" charset="-34"/>
                        </a:defRPr>
                      </a:lvl3pPr>
                      <a:lvl4pPr>
                        <a:spcBef>
                          <a:spcPct val="20000"/>
                        </a:spcBef>
                        <a:defRPr>
                          <a:solidFill>
                            <a:schemeClr val="tx1"/>
                          </a:solidFill>
                          <a:latin typeface="Arial" panose="020B0604020202020204" pitchFamily="34" charset="0"/>
                          <a:cs typeface="Angsana New" panose="02020603050405020304" pitchFamily="18" charset="-34"/>
                        </a:defRPr>
                      </a:lvl4pPr>
                      <a:lvl5pPr>
                        <a:spcBef>
                          <a:spcPct val="20000"/>
                        </a:spcBef>
                        <a:defRPr>
                          <a:solidFill>
                            <a:schemeClr val="tx1"/>
                          </a:solidFill>
                          <a:latin typeface="Arial" panose="020B0604020202020204" pitchFamily="34" charset="0"/>
                          <a:cs typeface="Angsana New" panose="02020603050405020304" pitchFamily="18" charset="-34"/>
                        </a:defRPr>
                      </a:lvl5pPr>
                      <a:lvl6pPr fontAlgn="base">
                        <a:spcBef>
                          <a:spcPct val="20000"/>
                        </a:spcBef>
                        <a:spcAft>
                          <a:spcPct val="0"/>
                        </a:spcAft>
                        <a:defRPr>
                          <a:solidFill>
                            <a:schemeClr val="tx1"/>
                          </a:solidFill>
                          <a:latin typeface="Arial" panose="020B0604020202020204" pitchFamily="34" charset="0"/>
                          <a:cs typeface="Angsana New" panose="02020603050405020304" pitchFamily="18" charset="-34"/>
                        </a:defRPr>
                      </a:lvl6pPr>
                      <a:lvl7pPr fontAlgn="base">
                        <a:spcBef>
                          <a:spcPct val="20000"/>
                        </a:spcBef>
                        <a:spcAft>
                          <a:spcPct val="0"/>
                        </a:spcAft>
                        <a:defRPr>
                          <a:solidFill>
                            <a:schemeClr val="tx1"/>
                          </a:solidFill>
                          <a:latin typeface="Arial" panose="020B0604020202020204" pitchFamily="34" charset="0"/>
                          <a:cs typeface="Angsana New" panose="02020603050405020304" pitchFamily="18" charset="-34"/>
                        </a:defRPr>
                      </a:lvl7pPr>
                      <a:lvl8pPr fontAlgn="base">
                        <a:spcBef>
                          <a:spcPct val="20000"/>
                        </a:spcBef>
                        <a:spcAft>
                          <a:spcPct val="0"/>
                        </a:spcAft>
                        <a:defRPr>
                          <a:solidFill>
                            <a:schemeClr val="tx1"/>
                          </a:solidFill>
                          <a:latin typeface="Arial" panose="020B0604020202020204" pitchFamily="34" charset="0"/>
                          <a:cs typeface="Angsana New" panose="02020603050405020304" pitchFamily="18" charset="-34"/>
                        </a:defRPr>
                      </a:lvl8pPr>
                      <a:lvl9pPr fontAlgn="base">
                        <a:spcBef>
                          <a:spcPct val="20000"/>
                        </a:spcBef>
                        <a:spcAft>
                          <a:spcPct val="0"/>
                        </a:spcAft>
                        <a:defRPr>
                          <a:solidFill>
                            <a:schemeClr val="tx1"/>
                          </a:solidFill>
                          <a:latin typeface="Arial" panose="020B0604020202020204" pitchFamily="34" charset="0"/>
                          <a:cs typeface="Angsana New" panose="02020603050405020304" pitchFamily="18" charset="-34"/>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th-TH" sz="900" b="0" i="0" u="none" strike="noStrike" cap="none" normalizeH="0" baseline="0" dirty="0" smtClean="0">
                        <a:ln>
                          <a:noFill/>
                        </a:ln>
                        <a:solidFill>
                          <a:schemeClr val="tx1"/>
                        </a:solidFill>
                        <a:effectLst/>
                        <a:latin typeface="Century Gothic" pitchFamily="34" charset="0"/>
                        <a:cs typeface="+mj-cs"/>
                      </a:endParaRPr>
                    </a:p>
                  </a:txBody>
                  <a:tcPr marL="91439" marR="91439" marT="34285" marB="34285"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a:spcBef>
                          <a:spcPct val="20000"/>
                        </a:spcBef>
                        <a:defRPr sz="2800">
                          <a:solidFill>
                            <a:schemeClr val="tx1"/>
                          </a:solidFill>
                          <a:latin typeface="Arial" panose="020B0604020202020204" pitchFamily="34" charset="0"/>
                          <a:cs typeface="Angsana New" panose="02020603050405020304" pitchFamily="18" charset="-34"/>
                        </a:defRPr>
                      </a:lvl1pPr>
                      <a:lvl2pPr>
                        <a:spcBef>
                          <a:spcPct val="20000"/>
                        </a:spcBef>
                        <a:defRPr sz="2400">
                          <a:solidFill>
                            <a:schemeClr val="tx1"/>
                          </a:solidFill>
                          <a:latin typeface="Arial" panose="020B0604020202020204" pitchFamily="34" charset="0"/>
                          <a:cs typeface="Angsana New" panose="02020603050405020304" pitchFamily="18" charset="-34"/>
                        </a:defRPr>
                      </a:lvl2pPr>
                      <a:lvl3pPr>
                        <a:spcBef>
                          <a:spcPct val="20000"/>
                        </a:spcBef>
                        <a:defRPr sz="2000">
                          <a:solidFill>
                            <a:schemeClr val="tx1"/>
                          </a:solidFill>
                          <a:latin typeface="Arial" panose="020B0604020202020204" pitchFamily="34" charset="0"/>
                          <a:cs typeface="Angsana New" panose="02020603050405020304" pitchFamily="18" charset="-34"/>
                        </a:defRPr>
                      </a:lvl3pPr>
                      <a:lvl4pPr>
                        <a:spcBef>
                          <a:spcPct val="20000"/>
                        </a:spcBef>
                        <a:defRPr>
                          <a:solidFill>
                            <a:schemeClr val="tx1"/>
                          </a:solidFill>
                          <a:latin typeface="Arial" panose="020B0604020202020204" pitchFamily="34" charset="0"/>
                          <a:cs typeface="Angsana New" panose="02020603050405020304" pitchFamily="18" charset="-34"/>
                        </a:defRPr>
                      </a:lvl4pPr>
                      <a:lvl5pPr>
                        <a:spcBef>
                          <a:spcPct val="20000"/>
                        </a:spcBef>
                        <a:defRPr>
                          <a:solidFill>
                            <a:schemeClr val="tx1"/>
                          </a:solidFill>
                          <a:latin typeface="Arial" panose="020B0604020202020204" pitchFamily="34" charset="0"/>
                          <a:cs typeface="Angsana New" panose="02020603050405020304" pitchFamily="18" charset="-34"/>
                        </a:defRPr>
                      </a:lvl5pPr>
                      <a:lvl6pPr fontAlgn="base">
                        <a:spcBef>
                          <a:spcPct val="20000"/>
                        </a:spcBef>
                        <a:spcAft>
                          <a:spcPct val="0"/>
                        </a:spcAft>
                        <a:defRPr>
                          <a:solidFill>
                            <a:schemeClr val="tx1"/>
                          </a:solidFill>
                          <a:latin typeface="Arial" panose="020B0604020202020204" pitchFamily="34" charset="0"/>
                          <a:cs typeface="Angsana New" panose="02020603050405020304" pitchFamily="18" charset="-34"/>
                        </a:defRPr>
                      </a:lvl6pPr>
                      <a:lvl7pPr fontAlgn="base">
                        <a:spcBef>
                          <a:spcPct val="20000"/>
                        </a:spcBef>
                        <a:spcAft>
                          <a:spcPct val="0"/>
                        </a:spcAft>
                        <a:defRPr>
                          <a:solidFill>
                            <a:schemeClr val="tx1"/>
                          </a:solidFill>
                          <a:latin typeface="Arial" panose="020B0604020202020204" pitchFamily="34" charset="0"/>
                          <a:cs typeface="Angsana New" panose="02020603050405020304" pitchFamily="18" charset="-34"/>
                        </a:defRPr>
                      </a:lvl7pPr>
                      <a:lvl8pPr fontAlgn="base">
                        <a:spcBef>
                          <a:spcPct val="20000"/>
                        </a:spcBef>
                        <a:spcAft>
                          <a:spcPct val="0"/>
                        </a:spcAft>
                        <a:defRPr>
                          <a:solidFill>
                            <a:schemeClr val="tx1"/>
                          </a:solidFill>
                          <a:latin typeface="Arial" panose="020B0604020202020204" pitchFamily="34" charset="0"/>
                          <a:cs typeface="Angsana New" panose="02020603050405020304" pitchFamily="18" charset="-34"/>
                        </a:defRPr>
                      </a:lvl8pPr>
                      <a:lvl9pPr fontAlgn="base">
                        <a:spcBef>
                          <a:spcPct val="20000"/>
                        </a:spcBef>
                        <a:spcAft>
                          <a:spcPct val="0"/>
                        </a:spcAft>
                        <a:defRPr>
                          <a:solidFill>
                            <a:schemeClr val="tx1"/>
                          </a:solidFill>
                          <a:latin typeface="Arial" panose="020B0604020202020204" pitchFamily="34" charset="0"/>
                          <a:cs typeface="Angsana New" panose="02020603050405020304" pitchFamily="18" charset="-34"/>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1100" b="0" i="0" u="none" strike="noStrike" kern="1200" cap="none" normalizeH="0" baseline="0" dirty="0" smtClean="0">
                          <a:ln>
                            <a:noFill/>
                          </a:ln>
                          <a:solidFill>
                            <a:schemeClr val="tx1"/>
                          </a:solidFill>
                          <a:effectLst/>
                          <a:latin typeface="Calibri" pitchFamily="34" charset="0"/>
                          <a:ea typeface="+mn-ea"/>
                          <a:cs typeface="+mj-cs"/>
                        </a:rPr>
                        <a:t>24,842</a:t>
                      </a:r>
                      <a:endParaRPr kumimoji="0" lang="th-TH" sz="1100" b="0" i="0" u="none" strike="noStrike" kern="1200" cap="none" normalizeH="0" baseline="0" dirty="0" smtClean="0">
                        <a:ln>
                          <a:noFill/>
                        </a:ln>
                        <a:solidFill>
                          <a:schemeClr val="tx1"/>
                        </a:solidFill>
                        <a:effectLst/>
                        <a:latin typeface="Calibri" pitchFamily="34" charset="0"/>
                        <a:ea typeface="+mn-ea"/>
                        <a:cs typeface="+mj-cs"/>
                      </a:endParaRPr>
                    </a:p>
                  </a:txBody>
                  <a:tcPr marL="91439" marR="91439" marT="34285" marB="34285"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1"/>
                    </a:solidFill>
                  </a:tcPr>
                </a:tc>
              </a:tr>
              <a:tr h="260593">
                <a:tc gridSpan="6">
                  <a:txBody>
                    <a:bodyPr/>
                    <a:lstStyle>
                      <a:lvl1pPr>
                        <a:spcBef>
                          <a:spcPct val="20000"/>
                        </a:spcBef>
                        <a:defRPr sz="2800">
                          <a:solidFill>
                            <a:schemeClr val="tx1"/>
                          </a:solidFill>
                          <a:latin typeface="Arial" panose="020B0604020202020204" pitchFamily="34" charset="0"/>
                          <a:cs typeface="Angsana New" panose="02020603050405020304" pitchFamily="18" charset="-34"/>
                        </a:defRPr>
                      </a:lvl1pPr>
                      <a:lvl2pPr>
                        <a:spcBef>
                          <a:spcPct val="20000"/>
                        </a:spcBef>
                        <a:defRPr sz="2400">
                          <a:solidFill>
                            <a:schemeClr val="tx1"/>
                          </a:solidFill>
                          <a:latin typeface="Arial" panose="020B0604020202020204" pitchFamily="34" charset="0"/>
                          <a:cs typeface="Angsana New" panose="02020603050405020304" pitchFamily="18" charset="-34"/>
                        </a:defRPr>
                      </a:lvl2pPr>
                      <a:lvl3pPr>
                        <a:spcBef>
                          <a:spcPct val="20000"/>
                        </a:spcBef>
                        <a:defRPr sz="2000">
                          <a:solidFill>
                            <a:schemeClr val="tx1"/>
                          </a:solidFill>
                          <a:latin typeface="Arial" panose="020B0604020202020204" pitchFamily="34" charset="0"/>
                          <a:cs typeface="Angsana New" panose="02020603050405020304" pitchFamily="18" charset="-34"/>
                        </a:defRPr>
                      </a:lvl3pPr>
                      <a:lvl4pPr>
                        <a:spcBef>
                          <a:spcPct val="20000"/>
                        </a:spcBef>
                        <a:defRPr>
                          <a:solidFill>
                            <a:schemeClr val="tx1"/>
                          </a:solidFill>
                          <a:latin typeface="Arial" panose="020B0604020202020204" pitchFamily="34" charset="0"/>
                          <a:cs typeface="Angsana New" panose="02020603050405020304" pitchFamily="18" charset="-34"/>
                        </a:defRPr>
                      </a:lvl4pPr>
                      <a:lvl5pPr>
                        <a:spcBef>
                          <a:spcPct val="20000"/>
                        </a:spcBef>
                        <a:defRPr>
                          <a:solidFill>
                            <a:schemeClr val="tx1"/>
                          </a:solidFill>
                          <a:latin typeface="Arial" panose="020B0604020202020204" pitchFamily="34" charset="0"/>
                          <a:cs typeface="Angsana New" panose="02020603050405020304" pitchFamily="18" charset="-34"/>
                        </a:defRPr>
                      </a:lvl5pPr>
                      <a:lvl6pPr fontAlgn="base">
                        <a:spcBef>
                          <a:spcPct val="20000"/>
                        </a:spcBef>
                        <a:spcAft>
                          <a:spcPct val="0"/>
                        </a:spcAft>
                        <a:defRPr>
                          <a:solidFill>
                            <a:schemeClr val="tx1"/>
                          </a:solidFill>
                          <a:latin typeface="Arial" panose="020B0604020202020204" pitchFamily="34" charset="0"/>
                          <a:cs typeface="Angsana New" panose="02020603050405020304" pitchFamily="18" charset="-34"/>
                        </a:defRPr>
                      </a:lvl6pPr>
                      <a:lvl7pPr fontAlgn="base">
                        <a:spcBef>
                          <a:spcPct val="20000"/>
                        </a:spcBef>
                        <a:spcAft>
                          <a:spcPct val="0"/>
                        </a:spcAft>
                        <a:defRPr>
                          <a:solidFill>
                            <a:schemeClr val="tx1"/>
                          </a:solidFill>
                          <a:latin typeface="Arial" panose="020B0604020202020204" pitchFamily="34" charset="0"/>
                          <a:cs typeface="Angsana New" panose="02020603050405020304" pitchFamily="18" charset="-34"/>
                        </a:defRPr>
                      </a:lvl7pPr>
                      <a:lvl8pPr fontAlgn="base">
                        <a:spcBef>
                          <a:spcPct val="20000"/>
                        </a:spcBef>
                        <a:spcAft>
                          <a:spcPct val="0"/>
                        </a:spcAft>
                        <a:defRPr>
                          <a:solidFill>
                            <a:schemeClr val="tx1"/>
                          </a:solidFill>
                          <a:latin typeface="Arial" panose="020B0604020202020204" pitchFamily="34" charset="0"/>
                          <a:cs typeface="Angsana New" panose="02020603050405020304" pitchFamily="18" charset="-34"/>
                        </a:defRPr>
                      </a:lvl8pPr>
                      <a:lvl9pPr fontAlgn="base">
                        <a:spcBef>
                          <a:spcPct val="20000"/>
                        </a:spcBef>
                        <a:spcAft>
                          <a:spcPct val="0"/>
                        </a:spcAft>
                        <a:defRPr>
                          <a:solidFill>
                            <a:schemeClr val="tx1"/>
                          </a:solidFill>
                          <a:latin typeface="Arial" panose="020B0604020202020204" pitchFamily="34" charset="0"/>
                          <a:cs typeface="Angsana New" panose="02020603050405020304" pitchFamily="18" charset="-34"/>
                        </a:defRPr>
                      </a:lvl9pPr>
                    </a:lstStyle>
                    <a:p>
                      <a:pPr marL="0" marR="0" lvl="0" indent="0" algn="r" defTabSz="914400" rtl="0" eaLnBrk="1" fontAlgn="base" latinLnBrk="0" hangingPunct="1">
                        <a:lnSpc>
                          <a:spcPct val="100000"/>
                        </a:lnSpc>
                        <a:spcBef>
                          <a:spcPct val="20000"/>
                        </a:spcBef>
                        <a:spcAft>
                          <a:spcPct val="0"/>
                        </a:spcAft>
                        <a:buClrTx/>
                        <a:buSzTx/>
                        <a:buFontTx/>
                        <a:buNone/>
                        <a:tabLst/>
                      </a:pPr>
                      <a:r>
                        <a:rPr kumimoji="0" lang="th-TH" sz="1300" b="1" i="0" u="none" strike="noStrike" cap="none" normalizeH="0" baseline="0" dirty="0" smtClean="0">
                          <a:ln>
                            <a:noFill/>
                          </a:ln>
                          <a:solidFill>
                            <a:schemeClr val="tx1"/>
                          </a:solidFill>
                          <a:effectLst/>
                          <a:latin typeface="BrowalliaUPC" pitchFamily="34" charset="-34"/>
                          <a:cs typeface="+mj-cs"/>
                        </a:rPr>
                        <a:t>รวม</a:t>
                      </a:r>
                    </a:p>
                  </a:txBody>
                  <a:tcPr marL="91439" marR="91439" marT="34285" marB="34285"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hMerge="1">
                  <a:txBody>
                    <a:bodyPr/>
                    <a:lstStyle/>
                    <a:p>
                      <a:endParaRPr lang="th-TH"/>
                    </a:p>
                  </a:txBody>
                  <a:tcPr/>
                </a:tc>
                <a:tc hMerge="1">
                  <a:txBody>
                    <a:bodyPr/>
                    <a:lstStyle/>
                    <a:p>
                      <a:endParaRPr lang="th-TH"/>
                    </a:p>
                  </a:txBody>
                  <a:tcPr/>
                </a:tc>
                <a:tc hMerge="1">
                  <a:txBody>
                    <a:bodyPr/>
                    <a:lstStyle/>
                    <a:p>
                      <a:endParaRPr lang="th-TH"/>
                    </a:p>
                  </a:txBody>
                  <a:tcPr/>
                </a:tc>
                <a:tc hMerge="1">
                  <a:txBody>
                    <a:bodyPr/>
                    <a:lstStyle/>
                    <a:p>
                      <a:endParaRPr lang="th-TH"/>
                    </a:p>
                  </a:txBody>
                  <a:tcPr/>
                </a:tc>
                <a:tc hMerge="1">
                  <a:txBody>
                    <a:bodyPr/>
                    <a:lstStyle/>
                    <a:p>
                      <a:endParaRPr lang="th-TH"/>
                    </a:p>
                  </a:txBody>
                  <a:tcPr/>
                </a:tc>
                <a:tc>
                  <a:txBody>
                    <a:bodyPr/>
                    <a:lstStyle>
                      <a:lvl1pPr>
                        <a:spcBef>
                          <a:spcPct val="20000"/>
                        </a:spcBef>
                        <a:defRPr sz="2800">
                          <a:solidFill>
                            <a:schemeClr val="tx1"/>
                          </a:solidFill>
                          <a:latin typeface="Arial" panose="020B0604020202020204" pitchFamily="34" charset="0"/>
                          <a:cs typeface="Angsana New" panose="02020603050405020304" pitchFamily="18" charset="-34"/>
                        </a:defRPr>
                      </a:lvl1pPr>
                      <a:lvl2pPr>
                        <a:spcBef>
                          <a:spcPct val="20000"/>
                        </a:spcBef>
                        <a:defRPr sz="2400">
                          <a:solidFill>
                            <a:schemeClr val="tx1"/>
                          </a:solidFill>
                          <a:latin typeface="Arial" panose="020B0604020202020204" pitchFamily="34" charset="0"/>
                          <a:cs typeface="Angsana New" panose="02020603050405020304" pitchFamily="18" charset="-34"/>
                        </a:defRPr>
                      </a:lvl2pPr>
                      <a:lvl3pPr>
                        <a:spcBef>
                          <a:spcPct val="20000"/>
                        </a:spcBef>
                        <a:defRPr sz="2000">
                          <a:solidFill>
                            <a:schemeClr val="tx1"/>
                          </a:solidFill>
                          <a:latin typeface="Arial" panose="020B0604020202020204" pitchFamily="34" charset="0"/>
                          <a:cs typeface="Angsana New" panose="02020603050405020304" pitchFamily="18" charset="-34"/>
                        </a:defRPr>
                      </a:lvl3pPr>
                      <a:lvl4pPr>
                        <a:spcBef>
                          <a:spcPct val="20000"/>
                        </a:spcBef>
                        <a:defRPr>
                          <a:solidFill>
                            <a:schemeClr val="tx1"/>
                          </a:solidFill>
                          <a:latin typeface="Arial" panose="020B0604020202020204" pitchFamily="34" charset="0"/>
                          <a:cs typeface="Angsana New" panose="02020603050405020304" pitchFamily="18" charset="-34"/>
                        </a:defRPr>
                      </a:lvl4pPr>
                      <a:lvl5pPr>
                        <a:spcBef>
                          <a:spcPct val="20000"/>
                        </a:spcBef>
                        <a:defRPr>
                          <a:solidFill>
                            <a:schemeClr val="tx1"/>
                          </a:solidFill>
                          <a:latin typeface="Arial" panose="020B0604020202020204" pitchFamily="34" charset="0"/>
                          <a:cs typeface="Angsana New" panose="02020603050405020304" pitchFamily="18" charset="-34"/>
                        </a:defRPr>
                      </a:lvl5pPr>
                      <a:lvl6pPr fontAlgn="base">
                        <a:spcBef>
                          <a:spcPct val="20000"/>
                        </a:spcBef>
                        <a:spcAft>
                          <a:spcPct val="0"/>
                        </a:spcAft>
                        <a:defRPr>
                          <a:solidFill>
                            <a:schemeClr val="tx1"/>
                          </a:solidFill>
                          <a:latin typeface="Arial" panose="020B0604020202020204" pitchFamily="34" charset="0"/>
                          <a:cs typeface="Angsana New" panose="02020603050405020304" pitchFamily="18" charset="-34"/>
                        </a:defRPr>
                      </a:lvl6pPr>
                      <a:lvl7pPr fontAlgn="base">
                        <a:spcBef>
                          <a:spcPct val="20000"/>
                        </a:spcBef>
                        <a:spcAft>
                          <a:spcPct val="0"/>
                        </a:spcAft>
                        <a:defRPr>
                          <a:solidFill>
                            <a:schemeClr val="tx1"/>
                          </a:solidFill>
                          <a:latin typeface="Arial" panose="020B0604020202020204" pitchFamily="34" charset="0"/>
                          <a:cs typeface="Angsana New" panose="02020603050405020304" pitchFamily="18" charset="-34"/>
                        </a:defRPr>
                      </a:lvl7pPr>
                      <a:lvl8pPr fontAlgn="base">
                        <a:spcBef>
                          <a:spcPct val="20000"/>
                        </a:spcBef>
                        <a:spcAft>
                          <a:spcPct val="0"/>
                        </a:spcAft>
                        <a:defRPr>
                          <a:solidFill>
                            <a:schemeClr val="tx1"/>
                          </a:solidFill>
                          <a:latin typeface="Arial" panose="020B0604020202020204" pitchFamily="34" charset="0"/>
                          <a:cs typeface="Angsana New" panose="02020603050405020304" pitchFamily="18" charset="-34"/>
                        </a:defRPr>
                      </a:lvl8pPr>
                      <a:lvl9pPr fontAlgn="base">
                        <a:spcBef>
                          <a:spcPct val="20000"/>
                        </a:spcBef>
                        <a:spcAft>
                          <a:spcPct val="0"/>
                        </a:spcAft>
                        <a:defRPr>
                          <a:solidFill>
                            <a:schemeClr val="tx1"/>
                          </a:solidFill>
                          <a:latin typeface="Arial" panose="020B0604020202020204" pitchFamily="34" charset="0"/>
                          <a:cs typeface="Angsana New" panose="02020603050405020304" pitchFamily="18" charset="-34"/>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1100" b="1" i="0" u="none" strike="noStrike" kern="1200" cap="none" normalizeH="0" baseline="0" dirty="0" smtClean="0">
                          <a:ln>
                            <a:noFill/>
                          </a:ln>
                          <a:solidFill>
                            <a:schemeClr val="tx1"/>
                          </a:solidFill>
                          <a:effectLst/>
                          <a:latin typeface="Calibri" pitchFamily="34" charset="0"/>
                          <a:ea typeface="+mn-ea"/>
                          <a:cs typeface="+mj-cs"/>
                        </a:rPr>
                        <a:t>129,308</a:t>
                      </a:r>
                      <a:endParaRPr kumimoji="0" lang="th-TH" sz="1100" b="1" i="0" u="none" strike="noStrike" kern="1200" cap="none" normalizeH="0" baseline="0" dirty="0" smtClean="0">
                        <a:ln>
                          <a:noFill/>
                        </a:ln>
                        <a:solidFill>
                          <a:schemeClr val="tx1"/>
                        </a:solidFill>
                        <a:effectLst/>
                        <a:latin typeface="Calibri" pitchFamily="34" charset="0"/>
                        <a:ea typeface="+mn-ea"/>
                        <a:cs typeface="+mj-cs"/>
                      </a:endParaRPr>
                    </a:p>
                  </a:txBody>
                  <a:tcPr marL="91439" marR="91439" marT="34285" marB="34285"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chemeClr val="bg1"/>
                    </a:solidFill>
                  </a:tcPr>
                </a:tc>
              </a:tr>
            </a:tbl>
          </a:graphicData>
        </a:graphic>
      </p:graphicFrame>
      <p:sp>
        <p:nvSpPr>
          <p:cNvPr id="53" name="Rounded Rectangle 52">
            <a:hlinkClick r:id="" action="ppaction://noaction"/>
          </p:cNvPr>
          <p:cNvSpPr/>
          <p:nvPr/>
        </p:nvSpPr>
        <p:spPr>
          <a:xfrm>
            <a:off x="12457" y="555526"/>
            <a:ext cx="5286400" cy="402026"/>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anchor="ctr">
            <a:spAutoFit/>
          </a:bodyPr>
          <a:lstStyle/>
          <a:p>
            <a:pPr eaLnBrk="1" hangingPunct="1">
              <a:lnSpc>
                <a:spcPts val="1800"/>
              </a:lnSpc>
              <a:defRPr/>
            </a:pPr>
            <a:r>
              <a:rPr lang="th-TH" b="1" dirty="0" smtClean="0">
                <a:solidFill>
                  <a:schemeClr val="tx1"/>
                </a:solidFill>
                <a:latin typeface="TH SarabunPSK" pitchFamily="34" charset="-34"/>
                <a:cs typeface="TH SarabunPSK" pitchFamily="34" charset="-34"/>
              </a:rPr>
              <a:t>แผนงาน 1.</a:t>
            </a:r>
            <a:r>
              <a:rPr lang="th-TH" sz="1600" dirty="0" smtClean="0">
                <a:solidFill>
                  <a:schemeClr val="tx1"/>
                </a:solidFill>
                <a:latin typeface="TH SarabunPSK" pitchFamily="34" charset="-34"/>
                <a:cs typeface="TH SarabunPSK" pitchFamily="34" charset="-34"/>
              </a:rPr>
              <a:t>  </a:t>
            </a:r>
            <a:r>
              <a:rPr lang="th-TH" sz="2400" b="1" dirty="0" smtClean="0">
                <a:solidFill>
                  <a:schemeClr val="tx1"/>
                </a:solidFill>
                <a:latin typeface="TH SarabunPSK" pitchFamily="34" charset="-34"/>
                <a:cs typeface="TH SarabunPSK" pitchFamily="34" charset="-34"/>
              </a:rPr>
              <a:t>การพัฒนาโครงข่ายรถไฟระหว่างเมือง</a:t>
            </a:r>
            <a:endParaRPr lang="th-TH" sz="2400" b="1" dirty="0">
              <a:solidFill>
                <a:schemeClr val="tx1"/>
              </a:solidFill>
              <a:latin typeface="TH SarabunPSK" pitchFamily="34" charset="-34"/>
              <a:cs typeface="TH SarabunPSK" pitchFamily="34" charset="-34"/>
            </a:endParaRPr>
          </a:p>
        </p:txBody>
      </p:sp>
      <p:sp>
        <p:nvSpPr>
          <p:cNvPr id="54" name="Rectangle 53"/>
          <p:cNvSpPr/>
          <p:nvPr/>
        </p:nvSpPr>
        <p:spPr>
          <a:xfrm>
            <a:off x="117256" y="1086524"/>
            <a:ext cx="5174824" cy="693138"/>
          </a:xfrm>
          <a:prstGeom prst="rect">
            <a:avLst/>
          </a:prstGeom>
        </p:spPr>
        <p:txBody>
          <a:bodyPr wrap="square">
            <a:spAutoFit/>
          </a:bodyPr>
          <a:lstStyle/>
          <a:p>
            <a:pPr algn="ctr" fontAlgn="auto">
              <a:lnSpc>
                <a:spcPts val="2300"/>
              </a:lnSpc>
              <a:spcBef>
                <a:spcPts val="1200"/>
              </a:spcBef>
              <a:spcAft>
                <a:spcPts val="0"/>
              </a:spcAft>
            </a:pPr>
            <a:r>
              <a:rPr lang="en-US" sz="2200" b="1" dirty="0" smtClean="0">
                <a:solidFill>
                  <a:schemeClr val="accent1">
                    <a:lumMod val="75000"/>
                  </a:schemeClr>
                </a:solidFill>
                <a:latin typeface="TH SarabunPSK" pitchFamily="34" charset="-34"/>
                <a:cs typeface="TH SarabunPSK" pitchFamily="34" charset="-34"/>
              </a:rPr>
              <a:t>“</a:t>
            </a:r>
            <a:r>
              <a:rPr lang="th-TH" sz="2200" b="1" dirty="0" smtClean="0">
                <a:solidFill>
                  <a:srgbClr val="002060"/>
                </a:solidFill>
                <a:latin typeface="TH SarabunPSK" pitchFamily="34" charset="-34"/>
                <a:cs typeface="TH SarabunPSK" pitchFamily="34" charset="-34"/>
              </a:rPr>
              <a:t>การพัฒนาทางคู่ </a:t>
            </a:r>
            <a:r>
              <a:rPr lang="en-US" sz="2200" b="1" dirty="0" smtClean="0">
                <a:solidFill>
                  <a:srgbClr val="002060"/>
                </a:solidFill>
                <a:latin typeface="TH SarabunPSK" pitchFamily="34" charset="-34"/>
                <a:cs typeface="TH SarabunPSK" pitchFamily="34" charset="-34"/>
              </a:rPr>
              <a:t>3 </a:t>
            </a:r>
            <a:r>
              <a:rPr lang="th-TH" sz="2200" b="1" dirty="0" smtClean="0">
                <a:solidFill>
                  <a:srgbClr val="002060"/>
                </a:solidFill>
                <a:latin typeface="TH SarabunPSK" pitchFamily="34" charset="-34"/>
                <a:cs typeface="TH SarabunPSK" pitchFamily="34" charset="-34"/>
              </a:rPr>
              <a:t>เส้นทาง </a:t>
            </a:r>
            <a:r>
              <a:rPr lang="en-US" sz="2200" b="1" dirty="0" smtClean="0">
                <a:solidFill>
                  <a:srgbClr val="002060"/>
                </a:solidFill>
                <a:latin typeface="TH SarabunPSK" pitchFamily="34" charset="-34"/>
                <a:cs typeface="TH SarabunPSK" pitchFamily="34" charset="-34"/>
              </a:rPr>
              <a:t> </a:t>
            </a:r>
            <a:r>
              <a:rPr lang="th-TH" sz="2200" b="1" dirty="0" smtClean="0">
                <a:latin typeface="TH SarabunPSK" pitchFamily="34" charset="-34"/>
                <a:cs typeface="TH SarabunPSK" pitchFamily="34" charset="-34"/>
              </a:rPr>
              <a:t>ภายใต้แผนพัฒนาทางคู่ระยะเร่งด่วน </a:t>
            </a:r>
            <a:r>
              <a:rPr lang="en-US" sz="2200" b="1" dirty="0" smtClean="0">
                <a:latin typeface="TH SarabunPSK" pitchFamily="34" charset="-34"/>
                <a:cs typeface="TH SarabunPSK" pitchFamily="34" charset="-34"/>
              </a:rPr>
              <a:t>6 </a:t>
            </a:r>
            <a:r>
              <a:rPr lang="th-TH" sz="2200" b="1" dirty="0" smtClean="0">
                <a:latin typeface="TH SarabunPSK" pitchFamily="34" charset="-34"/>
                <a:cs typeface="TH SarabunPSK" pitchFamily="34" charset="-34"/>
              </a:rPr>
              <a:t>เส้นทาง</a:t>
            </a:r>
            <a:r>
              <a:rPr lang="en-US" sz="2200" b="1" dirty="0" smtClean="0">
                <a:latin typeface="TH SarabunPSK" pitchFamily="34" charset="-34"/>
                <a:cs typeface="TH SarabunPSK" pitchFamily="34" charset="-34"/>
              </a:rPr>
              <a:t>”</a:t>
            </a:r>
            <a:endParaRPr lang="th-TH" sz="2200" b="1" dirty="0">
              <a:latin typeface="TH SarabunPSK" pitchFamily="34" charset="-34"/>
              <a:cs typeface="TH SarabunPSK" pitchFamily="34" charset="-34"/>
            </a:endParaRPr>
          </a:p>
        </p:txBody>
      </p:sp>
      <p:sp>
        <p:nvSpPr>
          <p:cNvPr id="10" name="RbNavigator"/>
          <p:cNvSpPr txBox="1"/>
          <p:nvPr/>
        </p:nvSpPr>
        <p:spPr>
          <a:xfrm>
            <a:off x="107504" y="92614"/>
            <a:ext cx="444744" cy="246888"/>
          </a:xfrm>
          <a:prstGeom prst="rect">
            <a:avLst/>
          </a:prstGeom>
          <a:solidFill>
            <a:srgbClr val="003F56"/>
          </a:solidFill>
          <a:ln w="9525">
            <a:noFill/>
          </a:ln>
        </p:spPr>
        <p:txBody>
          <a:bodyPr vert="horz" wrap="none" lIns="0" tIns="0" rIns="0" bIns="0" rtlCol="0" anchor="ctr">
            <a:noAutofit/>
          </a:bodyPr>
          <a:lstStyle/>
          <a:p>
            <a:pPr marL="0" marR="0" lvl="0" indent="0" algn="ctr" defTabSz="914400" eaLnBrk="1" fontAlgn="auto" latinLnBrk="0" hangingPunct="1">
              <a:lnSpc>
                <a:spcPct val="90000"/>
              </a:lnSpc>
              <a:spcBef>
                <a:spcPts val="400"/>
              </a:spcBef>
              <a:spcAft>
                <a:spcPts val="0"/>
              </a:spcAft>
              <a:buClr>
                <a:srgbClr val="000000"/>
              </a:buClr>
              <a:buSzPct val="100000"/>
              <a:buFontTx/>
              <a:buNone/>
              <a:tabLst/>
              <a:defRPr/>
            </a:pPr>
            <a:r>
              <a:rPr kumimoji="1" lang="en-US" b="1" kern="0" dirty="0" smtClean="0">
                <a:solidFill>
                  <a:srgbClr val="FFFFFF"/>
                </a:solidFill>
                <a:latin typeface="TH SarabunPSK" pitchFamily="34" charset="-34"/>
                <a:cs typeface="TH SarabunPSK" pitchFamily="34" charset="-34"/>
              </a:rPr>
              <a:t>6</a:t>
            </a:r>
            <a:endParaRPr kumimoji="1" lang="en-US" b="1" i="0" u="none" strike="noStrike" kern="0" cap="none" spc="0" normalizeH="0" baseline="0" noProof="0" dirty="0" smtClean="0">
              <a:ln>
                <a:noFill/>
              </a:ln>
              <a:solidFill>
                <a:srgbClr val="FFFFFF"/>
              </a:solidFill>
              <a:effectLst/>
              <a:uLnTx/>
              <a:uFillTx/>
              <a:latin typeface="TH SarabunPSK" pitchFamily="34" charset="-34"/>
              <a:cs typeface="TH SarabunPSK" pitchFamily="34" charset="-34"/>
            </a:endParaRPr>
          </a:p>
        </p:txBody>
      </p:sp>
      <p:sp>
        <p:nvSpPr>
          <p:cNvPr id="12" name="RbSticker"/>
          <p:cNvSpPr txBox="1"/>
          <p:nvPr/>
        </p:nvSpPr>
        <p:spPr>
          <a:xfrm>
            <a:off x="611560" y="22749"/>
            <a:ext cx="4574970" cy="388761"/>
          </a:xfrm>
          <a:prstGeom prst="rect">
            <a:avLst/>
          </a:prstGeom>
          <a:noFill/>
          <a:ln w="9525">
            <a:noFill/>
          </a:ln>
        </p:spPr>
        <p:txBody>
          <a:bodyPr vert="horz" wrap="none" lIns="0" tIns="0" rIns="0" bIns="0" rtlCol="0" anchor="ctr">
            <a:spAutoFit/>
          </a:bodyPr>
          <a:lstStyle/>
          <a:p>
            <a:pPr lvl="0">
              <a:lnSpc>
                <a:spcPct val="90000"/>
              </a:lnSpc>
              <a:spcBef>
                <a:spcPts val="400"/>
              </a:spcBef>
              <a:buSzPct val="100000"/>
              <a:defRPr/>
            </a:pPr>
            <a:r>
              <a:rPr lang="th-TH" b="1" kern="0" dirty="0">
                <a:solidFill>
                  <a:srgbClr val="003F56"/>
                </a:solidFill>
                <a:latin typeface="TH SarabunPSK" pitchFamily="34" charset="-34"/>
                <a:cs typeface="TH SarabunPSK" pitchFamily="34" charset="-34"/>
              </a:rPr>
              <a:t>โครงการลงทุนที่สำคัญ</a:t>
            </a:r>
            <a:r>
              <a:rPr lang="th-TH" b="1" kern="0" dirty="0" smtClean="0">
                <a:solidFill>
                  <a:srgbClr val="003F56"/>
                </a:solidFill>
                <a:latin typeface="TH SarabunPSK" pitchFamily="34" charset="-34"/>
                <a:cs typeface="TH SarabunPSK" pitchFamily="34" charset="-34"/>
              </a:rPr>
              <a:t>ในช่วงปี 2558  </a:t>
            </a:r>
            <a:r>
              <a:rPr lang="th-TH" b="1" kern="0" dirty="0">
                <a:solidFill>
                  <a:srgbClr val="003F56"/>
                </a:solidFill>
                <a:latin typeface="TH SarabunPSK" pitchFamily="34" charset="-34"/>
                <a:cs typeface="TH SarabunPSK" pitchFamily="34" charset="-34"/>
              </a:rPr>
              <a:t>- </a:t>
            </a:r>
            <a:r>
              <a:rPr lang="th-TH" b="1" kern="0" dirty="0" smtClean="0">
                <a:solidFill>
                  <a:srgbClr val="003F56"/>
                </a:solidFill>
                <a:latin typeface="TH SarabunPSK" pitchFamily="34" charset="-34"/>
                <a:cs typeface="TH SarabunPSK" pitchFamily="34" charset="-34"/>
              </a:rPr>
              <a:t>256</a:t>
            </a:r>
            <a:r>
              <a:rPr lang="en-US" b="1" kern="0" dirty="0" smtClean="0">
                <a:solidFill>
                  <a:srgbClr val="003F56"/>
                </a:solidFill>
                <a:latin typeface="TH SarabunPSK" pitchFamily="34" charset="-34"/>
                <a:cs typeface="TH SarabunPSK" pitchFamily="34" charset="-34"/>
              </a:rPr>
              <a:t>0</a:t>
            </a:r>
            <a:r>
              <a:rPr lang="th-TH" b="1" kern="0" dirty="0" smtClean="0">
                <a:solidFill>
                  <a:srgbClr val="003F56"/>
                </a:solidFill>
                <a:latin typeface="TH SarabunPSK" pitchFamily="34" charset="-34"/>
                <a:cs typeface="TH SarabunPSK" pitchFamily="34" charset="-34"/>
              </a:rPr>
              <a:t> </a:t>
            </a:r>
            <a:endParaRPr lang="th-TH" b="1" kern="0" dirty="0">
              <a:solidFill>
                <a:srgbClr val="003F56"/>
              </a:solidFill>
              <a:latin typeface="TH SarabunPSK" pitchFamily="34" charset="-34"/>
              <a:cs typeface="TH SarabunPSK" pitchFamily="34" charset="-34"/>
            </a:endParaRPr>
          </a:p>
        </p:txBody>
      </p:sp>
      <p:sp>
        <p:nvSpPr>
          <p:cNvPr id="13" name="Oval 12"/>
          <p:cNvSpPr/>
          <p:nvPr/>
        </p:nvSpPr>
        <p:spPr>
          <a:xfrm>
            <a:off x="103072" y="2616462"/>
            <a:ext cx="251520" cy="216024"/>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th-TH"/>
          </a:p>
        </p:txBody>
      </p:sp>
      <p:sp>
        <p:nvSpPr>
          <p:cNvPr id="14" name="Oval 13"/>
          <p:cNvSpPr/>
          <p:nvPr/>
        </p:nvSpPr>
        <p:spPr>
          <a:xfrm>
            <a:off x="107504" y="3867894"/>
            <a:ext cx="251520" cy="216024"/>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th-TH"/>
          </a:p>
        </p:txBody>
      </p:sp>
      <p:sp>
        <p:nvSpPr>
          <p:cNvPr id="15" name="Oval 14"/>
          <p:cNvSpPr/>
          <p:nvPr/>
        </p:nvSpPr>
        <p:spPr>
          <a:xfrm>
            <a:off x="107504" y="3521502"/>
            <a:ext cx="251520" cy="216024"/>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th-TH"/>
          </a:p>
        </p:txBody>
      </p:sp>
    </p:spTree>
    <p:extLst>
      <p:ext uri="{BB962C8B-B14F-4D97-AF65-F5344CB8AC3E}">
        <p14:creationId xmlns:p14="http://schemas.microsoft.com/office/powerpoint/2010/main" xmlns="" val="3044518294"/>
      </p:ext>
    </p:extLst>
  </p:cSld>
  <p:clrMapOvr>
    <a:masterClrMapping/>
  </p:clrMapOvr>
  <p:transition spd="med" advClick="0">
    <p:fade thruBlk="1"/>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7" name="Picture 3" descr="C:\Users\JINTAW~1\AppData\Local\Temp\Rar$DI01.171\เธฃเธ–เนเธเนเธ—เธขเธเธตเธ.jpg"/>
          <p:cNvPicPr>
            <a:picLocks noChangeAspect="1" noChangeArrowheads="1"/>
          </p:cNvPicPr>
          <p:nvPr/>
        </p:nvPicPr>
        <p:blipFill>
          <a:blip r:embed="rId4" cstate="print"/>
          <a:srcRect/>
          <a:stretch>
            <a:fillRect/>
          </a:stretch>
        </p:blipFill>
        <p:spPr bwMode="auto">
          <a:xfrm>
            <a:off x="4716018" y="234097"/>
            <a:ext cx="4358609" cy="4806534"/>
          </a:xfrm>
          <a:prstGeom prst="rect">
            <a:avLst/>
          </a:prstGeom>
          <a:noFill/>
        </p:spPr>
      </p:pic>
      <p:sp>
        <p:nvSpPr>
          <p:cNvPr id="3" name="Oval 2"/>
          <p:cNvSpPr/>
          <p:nvPr/>
        </p:nvSpPr>
        <p:spPr>
          <a:xfrm>
            <a:off x="6372200" y="2119089"/>
            <a:ext cx="216024" cy="162018"/>
          </a:xfrm>
          <a:prstGeom prst="ellipse">
            <a:avLst/>
          </a:prstGeom>
          <a:solidFill>
            <a:schemeClr val="bg1"/>
          </a:solidFill>
          <a:ln w="3175"/>
        </p:spPr>
        <p:style>
          <a:lnRef idx="2">
            <a:schemeClr val="dk1"/>
          </a:lnRef>
          <a:fillRef idx="1">
            <a:schemeClr val="lt1"/>
          </a:fillRef>
          <a:effectRef idx="0">
            <a:schemeClr val="dk1"/>
          </a:effectRef>
          <a:fontRef idx="minor">
            <a:schemeClr val="dk1"/>
          </a:fontRef>
        </p:style>
        <p:txBody>
          <a:bodyPr rtlCol="0" anchor="ctr"/>
          <a:lstStyle/>
          <a:p>
            <a:pPr algn="ctr"/>
            <a:r>
              <a:rPr lang="en-US" sz="1800" dirty="0" smtClean="0">
                <a:latin typeface="TH SarabunPSK" pitchFamily="34" charset="-34"/>
                <a:cs typeface="TH SarabunPSK" pitchFamily="34" charset="-34"/>
              </a:rPr>
              <a:t>1</a:t>
            </a:r>
            <a:endParaRPr lang="en-US" dirty="0">
              <a:latin typeface="TH SarabunPSK" pitchFamily="34" charset="-34"/>
              <a:cs typeface="TH SarabunPSK" pitchFamily="34" charset="-34"/>
            </a:endParaRPr>
          </a:p>
        </p:txBody>
      </p:sp>
      <p:sp>
        <p:nvSpPr>
          <p:cNvPr id="52" name="Oval 51"/>
          <p:cNvSpPr/>
          <p:nvPr/>
        </p:nvSpPr>
        <p:spPr>
          <a:xfrm>
            <a:off x="6967437" y="2289333"/>
            <a:ext cx="216024" cy="162018"/>
          </a:xfrm>
          <a:prstGeom prst="ellipse">
            <a:avLst/>
          </a:prstGeom>
          <a:solidFill>
            <a:schemeClr val="bg1"/>
          </a:solidFill>
          <a:ln w="3175"/>
        </p:spPr>
        <p:style>
          <a:lnRef idx="2">
            <a:schemeClr val="dk1"/>
          </a:lnRef>
          <a:fillRef idx="1">
            <a:schemeClr val="lt1"/>
          </a:fillRef>
          <a:effectRef idx="0">
            <a:schemeClr val="dk1"/>
          </a:effectRef>
          <a:fontRef idx="minor">
            <a:schemeClr val="dk1"/>
          </a:fontRef>
        </p:style>
        <p:txBody>
          <a:bodyPr rtlCol="0" anchor="ctr"/>
          <a:lstStyle/>
          <a:p>
            <a:pPr algn="ctr"/>
            <a:r>
              <a:rPr lang="en-US" sz="1800" dirty="0" smtClean="0">
                <a:latin typeface="TH SarabunPSK" pitchFamily="34" charset="-34"/>
                <a:cs typeface="TH SarabunPSK" pitchFamily="34" charset="-34"/>
              </a:rPr>
              <a:t>2</a:t>
            </a:r>
            <a:endParaRPr lang="en-US" dirty="0">
              <a:latin typeface="TH SarabunPSK" pitchFamily="34" charset="-34"/>
              <a:cs typeface="TH SarabunPSK" pitchFamily="34" charset="-34"/>
            </a:endParaRPr>
          </a:p>
        </p:txBody>
      </p:sp>
      <p:sp>
        <p:nvSpPr>
          <p:cNvPr id="53" name="Oval 52"/>
          <p:cNvSpPr/>
          <p:nvPr/>
        </p:nvSpPr>
        <p:spPr>
          <a:xfrm>
            <a:off x="6859425" y="1815666"/>
            <a:ext cx="216024" cy="162018"/>
          </a:xfrm>
          <a:prstGeom prst="ellipse">
            <a:avLst/>
          </a:prstGeom>
          <a:solidFill>
            <a:schemeClr val="bg1"/>
          </a:solidFill>
          <a:ln w="3175"/>
        </p:spPr>
        <p:style>
          <a:lnRef idx="2">
            <a:schemeClr val="dk1"/>
          </a:lnRef>
          <a:fillRef idx="1">
            <a:schemeClr val="lt1"/>
          </a:fillRef>
          <a:effectRef idx="0">
            <a:schemeClr val="dk1"/>
          </a:effectRef>
          <a:fontRef idx="minor">
            <a:schemeClr val="dk1"/>
          </a:fontRef>
        </p:style>
        <p:txBody>
          <a:bodyPr rtlCol="0" anchor="ctr"/>
          <a:lstStyle/>
          <a:p>
            <a:pPr algn="ctr"/>
            <a:r>
              <a:rPr lang="en-US" sz="1800" dirty="0" smtClean="0">
                <a:latin typeface="TH SarabunPSK" pitchFamily="34" charset="-34"/>
                <a:cs typeface="TH SarabunPSK" pitchFamily="34" charset="-34"/>
              </a:rPr>
              <a:t>3</a:t>
            </a:r>
            <a:endParaRPr lang="en-US" dirty="0">
              <a:latin typeface="TH SarabunPSK" pitchFamily="34" charset="-34"/>
              <a:cs typeface="TH SarabunPSK" pitchFamily="34" charset="-34"/>
            </a:endParaRPr>
          </a:p>
        </p:txBody>
      </p:sp>
      <p:sp>
        <p:nvSpPr>
          <p:cNvPr id="54" name="Oval 53"/>
          <p:cNvSpPr/>
          <p:nvPr/>
        </p:nvSpPr>
        <p:spPr>
          <a:xfrm>
            <a:off x="7596336" y="1437624"/>
            <a:ext cx="216024" cy="162018"/>
          </a:xfrm>
          <a:prstGeom prst="ellipse">
            <a:avLst/>
          </a:prstGeom>
          <a:solidFill>
            <a:schemeClr val="bg1"/>
          </a:solidFill>
          <a:ln w="3175"/>
        </p:spPr>
        <p:style>
          <a:lnRef idx="2">
            <a:schemeClr val="dk1"/>
          </a:lnRef>
          <a:fillRef idx="1">
            <a:schemeClr val="lt1"/>
          </a:fillRef>
          <a:effectRef idx="0">
            <a:schemeClr val="dk1"/>
          </a:effectRef>
          <a:fontRef idx="minor">
            <a:schemeClr val="dk1"/>
          </a:fontRef>
        </p:style>
        <p:txBody>
          <a:bodyPr rtlCol="0" anchor="ctr"/>
          <a:lstStyle/>
          <a:p>
            <a:pPr algn="ctr"/>
            <a:r>
              <a:rPr lang="en-US" sz="1800" dirty="0" smtClean="0">
                <a:latin typeface="TH SarabunPSK" pitchFamily="34" charset="-34"/>
                <a:cs typeface="TH SarabunPSK" pitchFamily="34" charset="-34"/>
              </a:rPr>
              <a:t>4</a:t>
            </a:r>
            <a:endParaRPr lang="en-US" dirty="0">
              <a:latin typeface="TH SarabunPSK" pitchFamily="34" charset="-34"/>
              <a:cs typeface="TH SarabunPSK" pitchFamily="34" charset="-34"/>
            </a:endParaRPr>
          </a:p>
        </p:txBody>
      </p:sp>
      <p:sp>
        <p:nvSpPr>
          <p:cNvPr id="55" name="กล่องข้อความ 9"/>
          <p:cNvSpPr txBox="1"/>
          <p:nvPr/>
        </p:nvSpPr>
        <p:spPr>
          <a:xfrm>
            <a:off x="248242" y="4502491"/>
            <a:ext cx="4143404" cy="369332"/>
          </a:xfrm>
          <a:prstGeom prst="rect">
            <a:avLst/>
          </a:prstGeom>
          <a:noFill/>
        </p:spPr>
        <p:txBody>
          <a:bodyPr wrap="square" rtlCol="0">
            <a:spAutoFit/>
          </a:bodyPr>
          <a:lstStyle/>
          <a:p>
            <a:pPr eaLnBrk="1" hangingPunct="1"/>
            <a:r>
              <a:rPr lang="th-TH" sz="1800" dirty="0" smtClean="0">
                <a:latin typeface="TH SarabunPSK" pitchFamily="34" charset="-34"/>
                <a:cs typeface="TH SarabunPSK" pitchFamily="34" charset="-34"/>
              </a:rPr>
              <a:t>มูลค่าการลงทุนประมาณ 400,000 ลบ. </a:t>
            </a:r>
            <a:endParaRPr lang="th-TH" sz="1800" dirty="0">
              <a:latin typeface="TH SarabunPSK" pitchFamily="34" charset="-34"/>
              <a:cs typeface="TH SarabunPSK" pitchFamily="34" charset="-34"/>
            </a:endParaRPr>
          </a:p>
        </p:txBody>
      </p:sp>
      <p:sp>
        <p:nvSpPr>
          <p:cNvPr id="16" name="Rectangle 3"/>
          <p:cNvSpPr txBox="1">
            <a:spLocks noChangeArrowheads="1"/>
          </p:cNvSpPr>
          <p:nvPr>
            <p:custDataLst>
              <p:tags r:id="rId1"/>
            </p:custDataLst>
          </p:nvPr>
        </p:nvSpPr>
        <p:spPr bwMode="gray">
          <a:xfrm>
            <a:off x="152400" y="943604"/>
            <a:ext cx="4572000" cy="1124090"/>
          </a:xfrm>
          <a:prstGeom prst="rect">
            <a:avLst/>
          </a:prstGeom>
        </p:spPr>
        <p:txBody>
          <a:bodyPr vert="horz" wrap="square" lIns="91440" tIns="45720" rIns="91440" bIns="45720" rtlCol="0" anchor="ctr">
            <a:spAutoFit/>
          </a:bodyPr>
          <a:lstStyle/>
          <a:p>
            <a:pPr marL="0" lvl="2" algn="ctr">
              <a:lnSpc>
                <a:spcPts val="2000"/>
              </a:lnSpc>
            </a:pPr>
            <a:r>
              <a:rPr lang="en-US" sz="2000" b="1" dirty="0" smtClean="0">
                <a:latin typeface="TH SarabunPSK" pitchFamily="34" charset="-34"/>
                <a:cs typeface="TH SarabunPSK" pitchFamily="34" charset="-34"/>
              </a:rPr>
              <a:t>“</a:t>
            </a:r>
            <a:r>
              <a:rPr lang="th-TH" sz="2000" b="1" dirty="0" smtClean="0">
                <a:solidFill>
                  <a:srgbClr val="0070C0"/>
                </a:solidFill>
                <a:latin typeface="TH SarabunPSK" pitchFamily="34" charset="-34"/>
                <a:cs typeface="TH SarabunPSK" pitchFamily="34" charset="-34"/>
              </a:rPr>
              <a:t>ความร่วมมือระหว่างรัฐบาลไทย – จีนในการพัฒนารถไฟขนาดทางมาตรฐาน 1.435 ม. </a:t>
            </a:r>
            <a:r>
              <a:rPr lang="th-TH" sz="2000" b="1" dirty="0" smtClean="0">
                <a:solidFill>
                  <a:srgbClr val="002060"/>
                </a:solidFill>
                <a:latin typeface="TH SarabunPSK" pitchFamily="34" charset="-34"/>
                <a:cs typeface="TH SarabunPSK" pitchFamily="34" charset="-34"/>
              </a:rPr>
              <a:t>แบ่งเส้นทางออกเป็น 4 ช่วง อยู่</a:t>
            </a:r>
            <a:r>
              <a:rPr lang="th-TH" sz="2000" b="1" dirty="0">
                <a:solidFill>
                  <a:srgbClr val="002060"/>
                </a:solidFill>
                <a:latin typeface="TH SarabunPSK" pitchFamily="34" charset="-34"/>
                <a:cs typeface="TH SarabunPSK" pitchFamily="34" charset="-34"/>
              </a:rPr>
              <a:t>ระหว่างการศึกษาความเหมาะสมโครงการ </a:t>
            </a:r>
            <a:r>
              <a:rPr lang="th-TH" sz="2000" b="1" dirty="0" smtClean="0">
                <a:solidFill>
                  <a:srgbClr val="002060"/>
                </a:solidFill>
                <a:latin typeface="TH SarabunPSK" pitchFamily="34" charset="-34"/>
                <a:cs typeface="TH SarabunPSK" pitchFamily="34" charset="-34"/>
              </a:rPr>
              <a:t>และ</a:t>
            </a:r>
            <a:r>
              <a:rPr lang="th-TH" sz="2000" b="1" dirty="0">
                <a:solidFill>
                  <a:srgbClr val="002060"/>
                </a:solidFill>
                <a:latin typeface="TH SarabunPSK" pitchFamily="34" charset="-34"/>
                <a:cs typeface="TH SarabunPSK" pitchFamily="34" charset="-34"/>
              </a:rPr>
              <a:t>การศึกษาออกแบบรายละเอียด</a:t>
            </a:r>
            <a:r>
              <a:rPr lang="th-TH" sz="2000" b="1" dirty="0" smtClean="0">
                <a:solidFill>
                  <a:srgbClr val="002060"/>
                </a:solidFill>
                <a:latin typeface="TH SarabunPSK" pitchFamily="34" charset="-34"/>
                <a:cs typeface="TH SarabunPSK" pitchFamily="34" charset="-34"/>
              </a:rPr>
              <a:t>โครงการ</a:t>
            </a:r>
            <a:r>
              <a:rPr lang="en-US" sz="2000" b="1" dirty="0" smtClean="0">
                <a:latin typeface="TH SarabunPSK" pitchFamily="34" charset="-34"/>
                <a:cs typeface="TH SarabunPSK" pitchFamily="34" charset="-34"/>
              </a:rPr>
              <a:t>”</a:t>
            </a:r>
            <a:endParaRPr lang="th-TH" sz="2000" b="1" dirty="0">
              <a:latin typeface="TH SarabunPSK" pitchFamily="34" charset="-34"/>
              <a:cs typeface="TH SarabunPSK" pitchFamily="34" charset="-34"/>
            </a:endParaRPr>
          </a:p>
        </p:txBody>
      </p:sp>
      <p:graphicFrame>
        <p:nvGraphicFramePr>
          <p:cNvPr id="17" name="Table 16"/>
          <p:cNvGraphicFramePr>
            <a:graphicFrameLocks noGrp="1"/>
          </p:cNvGraphicFramePr>
          <p:nvPr>
            <p:extLst>
              <p:ext uri="{D42A27DB-BD31-4B8C-83A1-F6EECF244321}">
                <p14:modId xmlns:p14="http://schemas.microsoft.com/office/powerpoint/2010/main" xmlns="" val="3065575393"/>
              </p:ext>
            </p:extLst>
          </p:nvPr>
        </p:nvGraphicFramePr>
        <p:xfrm>
          <a:off x="252971" y="2233838"/>
          <a:ext cx="4463046" cy="2105660"/>
        </p:xfrm>
        <a:graphic>
          <a:graphicData uri="http://schemas.openxmlformats.org/drawingml/2006/table">
            <a:tbl>
              <a:tblPr firstRow="1" bandRow="1">
                <a:tableStyleId>{5C22544A-7EE6-4342-B048-85BDC9FD1C3A}</a:tableStyleId>
              </a:tblPr>
              <a:tblGrid>
                <a:gridCol w="2519462"/>
                <a:gridCol w="1027790"/>
                <a:gridCol w="915794"/>
              </a:tblGrid>
              <a:tr h="322115">
                <a:tc>
                  <a:txBody>
                    <a:bodyPr/>
                    <a:lstStyle/>
                    <a:p>
                      <a:pPr algn="ctr">
                        <a:lnSpc>
                          <a:spcPts val="1600"/>
                        </a:lnSpc>
                      </a:pPr>
                      <a:r>
                        <a:rPr lang="th-TH" sz="1600" b="1" dirty="0" smtClean="0">
                          <a:solidFill>
                            <a:schemeClr val="tx1"/>
                          </a:solidFill>
                          <a:latin typeface="TH SarabunPSK" pitchFamily="34" charset="-34"/>
                          <a:cs typeface="TH SarabunPSK" pitchFamily="34" charset="-34"/>
                        </a:rPr>
                        <a:t>เส้นทาง</a:t>
                      </a:r>
                      <a:endParaRPr lang="th-TH" sz="1600" b="1" dirty="0">
                        <a:solidFill>
                          <a:schemeClr val="tx1"/>
                        </a:solidFill>
                        <a:latin typeface="TH SarabunPSK" pitchFamily="34" charset="-34"/>
                        <a:cs typeface="TH SarabunPSK" pitchFamily="34" charset="-34"/>
                      </a:endParaRPr>
                    </a:p>
                  </a:txBody>
                  <a:tcPr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lumMod val="20000"/>
                        <a:lumOff val="80000"/>
                      </a:schemeClr>
                    </a:solidFill>
                  </a:tcPr>
                </a:tc>
                <a:tc>
                  <a:txBody>
                    <a:bodyPr/>
                    <a:lstStyle/>
                    <a:p>
                      <a:pPr algn="ctr">
                        <a:lnSpc>
                          <a:spcPts val="1600"/>
                        </a:lnSpc>
                      </a:pPr>
                      <a:r>
                        <a:rPr lang="th-TH" sz="1600" b="1" spc="-60" baseline="0" dirty="0" smtClean="0">
                          <a:solidFill>
                            <a:schemeClr val="tx1"/>
                          </a:solidFill>
                          <a:latin typeface="TH SarabunPSK" pitchFamily="34" charset="-34"/>
                          <a:cs typeface="TH SarabunPSK" pitchFamily="34" charset="-34"/>
                        </a:rPr>
                        <a:t>ระยะทาง (กม.)</a:t>
                      </a:r>
                      <a:endParaRPr lang="th-TH" sz="1600" b="1" spc="-60" baseline="0" dirty="0">
                        <a:solidFill>
                          <a:schemeClr val="tx1"/>
                        </a:solidFill>
                        <a:latin typeface="TH SarabunPSK" pitchFamily="34" charset="-34"/>
                        <a:cs typeface="TH SarabunPSK" pitchFamily="34" charset="-34"/>
                      </a:endParaRPr>
                    </a:p>
                  </a:txBody>
                  <a:tcPr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lumMod val="20000"/>
                        <a:lumOff val="80000"/>
                      </a:schemeClr>
                    </a:solidFill>
                  </a:tcPr>
                </a:tc>
                <a:tc>
                  <a:txBody>
                    <a:bodyPr/>
                    <a:lstStyle/>
                    <a:p>
                      <a:pPr algn="ctr">
                        <a:lnSpc>
                          <a:spcPts val="1600"/>
                        </a:lnSpc>
                      </a:pPr>
                      <a:r>
                        <a:rPr lang="th-TH" sz="1600" b="1" dirty="0" smtClean="0">
                          <a:solidFill>
                            <a:schemeClr val="tx1"/>
                          </a:solidFill>
                          <a:latin typeface="TH SarabunPSK" pitchFamily="34" charset="-34"/>
                          <a:cs typeface="TH SarabunPSK" pitchFamily="34" charset="-34"/>
                        </a:rPr>
                        <a:t>หน่วยงานรับผิดชอบ</a:t>
                      </a:r>
                      <a:endParaRPr lang="th-TH" sz="1600" b="1" dirty="0">
                        <a:solidFill>
                          <a:schemeClr val="tx1"/>
                        </a:solidFill>
                        <a:latin typeface="TH SarabunPSK" pitchFamily="34" charset="-34"/>
                        <a:cs typeface="TH SarabunPSK" pitchFamily="34" charset="-34"/>
                      </a:endParaRPr>
                    </a:p>
                  </a:txBody>
                  <a:tcPr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lumMod val="20000"/>
                        <a:lumOff val="80000"/>
                      </a:schemeClr>
                    </a:solidFill>
                  </a:tcPr>
                </a:tc>
              </a:tr>
              <a:tr h="191807">
                <a:tc>
                  <a:txBody>
                    <a:bodyPr/>
                    <a:lstStyle/>
                    <a:p>
                      <a:pPr algn="l">
                        <a:lnSpc>
                          <a:spcPts val="1600"/>
                        </a:lnSpc>
                      </a:pPr>
                      <a:r>
                        <a:rPr lang="th-TH" sz="1600" b="1" dirty="0" smtClean="0">
                          <a:solidFill>
                            <a:srgbClr val="FF0000"/>
                          </a:solidFill>
                          <a:latin typeface="TH SarabunPSK" pitchFamily="34" charset="-34"/>
                          <a:cs typeface="TH SarabunPSK" pitchFamily="34" charset="-34"/>
                        </a:rPr>
                        <a:t>ช่วง 1 เส้นทางกรุงเทพ-แก่งคอย</a:t>
                      </a:r>
                      <a:endParaRPr lang="th-TH" sz="1600" b="1" dirty="0">
                        <a:solidFill>
                          <a:srgbClr val="FF0000"/>
                        </a:solidFill>
                        <a:latin typeface="TH SarabunPSK" pitchFamily="34" charset="-34"/>
                        <a:cs typeface="TH SarabunPSK" pitchFamily="34" charset="-34"/>
                      </a:endParaRPr>
                    </a:p>
                  </a:txBody>
                  <a:tcPr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a:lnSpc>
                          <a:spcPts val="1600"/>
                        </a:lnSpc>
                      </a:pPr>
                      <a:r>
                        <a:rPr lang="en-US" sz="1600" b="0" dirty="0" smtClean="0">
                          <a:solidFill>
                            <a:srgbClr val="FF0000"/>
                          </a:solidFill>
                          <a:latin typeface="TH SarabunPSK" pitchFamily="34" charset="-34"/>
                          <a:cs typeface="TH SarabunPSK" pitchFamily="34" charset="-34"/>
                        </a:rPr>
                        <a:t>133</a:t>
                      </a:r>
                      <a:r>
                        <a:rPr lang="th-TH" sz="1600" b="0" dirty="0" smtClean="0">
                          <a:solidFill>
                            <a:srgbClr val="FF0000"/>
                          </a:solidFill>
                          <a:latin typeface="TH SarabunPSK" pitchFamily="34" charset="-34"/>
                          <a:cs typeface="TH SarabunPSK" pitchFamily="34" charset="-34"/>
                        </a:rPr>
                        <a:t>.0</a:t>
                      </a:r>
                      <a:endParaRPr lang="th-TH" sz="1600" b="0" dirty="0">
                        <a:solidFill>
                          <a:srgbClr val="FF0000"/>
                        </a:solidFill>
                        <a:latin typeface="TH SarabunPSK" pitchFamily="34" charset="-34"/>
                        <a:cs typeface="TH SarabunPSK" pitchFamily="34" charset="-34"/>
                      </a:endParaRPr>
                    </a:p>
                  </a:txBody>
                  <a:tcPr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rowSpan="5">
                  <a:txBody>
                    <a:bodyPr/>
                    <a:lstStyle/>
                    <a:p>
                      <a:pPr algn="ctr">
                        <a:lnSpc>
                          <a:spcPts val="1600"/>
                        </a:lnSpc>
                      </a:pPr>
                      <a:r>
                        <a:rPr lang="th-TH" sz="1600" b="1" spc="0" baseline="0" dirty="0" smtClean="0">
                          <a:solidFill>
                            <a:schemeClr val="tx1"/>
                          </a:solidFill>
                          <a:latin typeface="TH SarabunPSK" pitchFamily="34" charset="-34"/>
                          <a:cs typeface="TH SarabunPSK" pitchFamily="34" charset="-34"/>
                        </a:rPr>
                        <a:t>สนข./รฟท.</a:t>
                      </a:r>
                      <a:endParaRPr lang="th-TH" sz="1600" b="1" spc="0" baseline="0" dirty="0">
                        <a:solidFill>
                          <a:schemeClr val="tx1"/>
                        </a:solidFill>
                        <a:latin typeface="TH SarabunPSK" pitchFamily="34" charset="-34"/>
                        <a:cs typeface="TH SarabunPSK" pitchFamily="34" charset="-34"/>
                      </a:endParaRPr>
                    </a:p>
                  </a:txBody>
                  <a:tcPr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214155">
                <a:tc gridSpan="2">
                  <a:txBody>
                    <a:bodyPr/>
                    <a:lstStyle/>
                    <a:p>
                      <a:pPr marL="0" marR="0" indent="0" algn="l" defTabSz="914400" rtl="0" eaLnBrk="1" fontAlgn="auto" latinLnBrk="0" hangingPunct="1">
                        <a:lnSpc>
                          <a:spcPts val="1600"/>
                        </a:lnSpc>
                        <a:spcBef>
                          <a:spcPts val="0"/>
                        </a:spcBef>
                        <a:spcAft>
                          <a:spcPts val="0"/>
                        </a:spcAft>
                        <a:buClrTx/>
                        <a:buSzTx/>
                        <a:buFontTx/>
                        <a:buNone/>
                        <a:tabLst/>
                        <a:defRPr/>
                      </a:pPr>
                      <a:r>
                        <a:rPr lang="th-TH" sz="1600" b="1" baseline="0" dirty="0" smtClean="0">
                          <a:solidFill>
                            <a:srgbClr val="002060"/>
                          </a:solidFill>
                          <a:latin typeface="TH SarabunPSK" pitchFamily="34" charset="-34"/>
                          <a:cs typeface="TH SarabunPSK" pitchFamily="34" charset="-34"/>
                        </a:rPr>
                        <a:t>เส้นทางหนองคาย - มาบตาพุด </a:t>
                      </a:r>
                      <a:endParaRPr lang="en-US" sz="1600" b="1" baseline="0" dirty="0" smtClean="0">
                        <a:solidFill>
                          <a:srgbClr val="002060"/>
                        </a:solidFill>
                        <a:latin typeface="TH SarabunPSK" pitchFamily="34" charset="-34"/>
                        <a:cs typeface="TH SarabunPSK" pitchFamily="34" charset="-34"/>
                      </a:endParaRPr>
                    </a:p>
                  </a:txBody>
                  <a:tcPr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algn="ctr">
                        <a:lnSpc>
                          <a:spcPct val="100000"/>
                        </a:lnSpc>
                      </a:pPr>
                      <a:endParaRPr lang="th-TH" sz="1800" b="0" dirty="0">
                        <a:solidFill>
                          <a:srgbClr val="00B050"/>
                        </a:solidFill>
                        <a:latin typeface="BrowalliaUPC" pitchFamily="34" charset="-34"/>
                        <a:cs typeface="BrowalliaUPC" pitchFamily="34" charset="-34"/>
                      </a:endParaRPr>
                    </a:p>
                  </a:txBody>
                  <a:tcPr marT="38100" marB="381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vMerge="1">
                  <a:txBody>
                    <a:bodyPr/>
                    <a:lstStyle/>
                    <a:p>
                      <a:endParaRPr lang="en-US"/>
                    </a:p>
                  </a:txBody>
                  <a:tcPr/>
                </a:tc>
              </a:tr>
              <a:tr h="211991">
                <a:tc>
                  <a:txBody>
                    <a:bodyPr/>
                    <a:lstStyle/>
                    <a:p>
                      <a:pPr marL="0" marR="0" indent="0" algn="l" defTabSz="914400" rtl="0" eaLnBrk="1" fontAlgn="auto" latinLnBrk="0" hangingPunct="1">
                        <a:lnSpc>
                          <a:spcPts val="1600"/>
                        </a:lnSpc>
                        <a:spcBef>
                          <a:spcPts val="0"/>
                        </a:spcBef>
                        <a:spcAft>
                          <a:spcPts val="0"/>
                        </a:spcAft>
                        <a:buClrTx/>
                        <a:buSzTx/>
                        <a:buFontTx/>
                        <a:buNone/>
                        <a:tabLst/>
                        <a:defRPr/>
                      </a:pPr>
                      <a:r>
                        <a:rPr lang="th-TH" sz="1600" b="1" dirty="0" smtClean="0">
                          <a:solidFill>
                            <a:srgbClr val="00B050"/>
                          </a:solidFill>
                          <a:latin typeface="TH SarabunPSK" pitchFamily="34" charset="-34"/>
                          <a:cs typeface="TH SarabunPSK" pitchFamily="34" charset="-34"/>
                        </a:rPr>
                        <a:t>ช่วง</a:t>
                      </a:r>
                      <a:r>
                        <a:rPr lang="en-US" sz="1600" b="1" baseline="0" dirty="0" smtClean="0">
                          <a:solidFill>
                            <a:srgbClr val="00B050"/>
                          </a:solidFill>
                          <a:latin typeface="TH SarabunPSK" pitchFamily="34" charset="-34"/>
                          <a:cs typeface="TH SarabunPSK" pitchFamily="34" charset="-34"/>
                        </a:rPr>
                        <a:t> 2 </a:t>
                      </a:r>
                      <a:r>
                        <a:rPr lang="th-TH" sz="1600" b="1" baseline="0" dirty="0" smtClean="0">
                          <a:solidFill>
                            <a:srgbClr val="00B050"/>
                          </a:solidFill>
                          <a:latin typeface="TH SarabunPSK" pitchFamily="34" charset="-34"/>
                          <a:cs typeface="TH SarabunPSK" pitchFamily="34" charset="-34"/>
                        </a:rPr>
                        <a:t>แก่งคอย-มาบตาพุด</a:t>
                      </a:r>
                      <a:endParaRPr lang="en-US" sz="1600" b="1" baseline="0" dirty="0" smtClean="0">
                        <a:solidFill>
                          <a:srgbClr val="00B050"/>
                        </a:solidFill>
                        <a:latin typeface="TH SarabunPSK" pitchFamily="34" charset="-34"/>
                        <a:cs typeface="TH SarabunPSK" pitchFamily="34" charset="-34"/>
                      </a:endParaRPr>
                    </a:p>
                  </a:txBody>
                  <a:tcPr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a:lnSpc>
                          <a:spcPts val="1600"/>
                        </a:lnSpc>
                      </a:pPr>
                      <a:r>
                        <a:rPr lang="en-US" sz="1600" b="0" dirty="0" smtClean="0">
                          <a:solidFill>
                            <a:srgbClr val="00B050"/>
                          </a:solidFill>
                          <a:latin typeface="TH SarabunPSK" pitchFamily="34" charset="-34"/>
                          <a:cs typeface="TH SarabunPSK" pitchFamily="34" charset="-34"/>
                        </a:rPr>
                        <a:t>246.5</a:t>
                      </a:r>
                      <a:endParaRPr lang="th-TH" sz="1600" b="0" dirty="0">
                        <a:solidFill>
                          <a:srgbClr val="00B050"/>
                        </a:solidFill>
                        <a:latin typeface="TH SarabunPSK" pitchFamily="34" charset="-34"/>
                        <a:cs typeface="TH SarabunPSK" pitchFamily="34" charset="-34"/>
                      </a:endParaRPr>
                    </a:p>
                  </a:txBody>
                  <a:tcPr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vMerge="1">
                  <a:txBody>
                    <a:bodyPr/>
                    <a:lstStyle/>
                    <a:p>
                      <a:endParaRPr lang="en-US"/>
                    </a:p>
                  </a:txBody>
                  <a:tcPr/>
                </a:tc>
              </a:tr>
              <a:tr h="187603">
                <a:tc>
                  <a:txBody>
                    <a:bodyPr/>
                    <a:lstStyle/>
                    <a:p>
                      <a:pPr marL="0" marR="0" indent="0" algn="l" defTabSz="914400" rtl="0" eaLnBrk="1" fontAlgn="auto" latinLnBrk="0" hangingPunct="1">
                        <a:lnSpc>
                          <a:spcPts val="1600"/>
                        </a:lnSpc>
                        <a:spcBef>
                          <a:spcPts val="0"/>
                        </a:spcBef>
                        <a:spcAft>
                          <a:spcPts val="0"/>
                        </a:spcAft>
                        <a:buClrTx/>
                        <a:buSzTx/>
                        <a:buFontTx/>
                        <a:buNone/>
                        <a:tabLst/>
                        <a:defRPr/>
                      </a:pPr>
                      <a:r>
                        <a:rPr lang="th-TH" sz="1600" b="1" dirty="0" smtClean="0">
                          <a:solidFill>
                            <a:srgbClr val="002060"/>
                          </a:solidFill>
                          <a:latin typeface="TH SarabunPSK" pitchFamily="34" charset="-34"/>
                          <a:cs typeface="TH SarabunPSK" pitchFamily="34" charset="-34"/>
                        </a:rPr>
                        <a:t>ช่วง 3 แก่งคอย -นครราชสีมา</a:t>
                      </a:r>
                      <a:endParaRPr lang="en-US" sz="1600" b="1" dirty="0" smtClean="0">
                        <a:solidFill>
                          <a:srgbClr val="002060"/>
                        </a:solidFill>
                        <a:latin typeface="TH SarabunPSK" pitchFamily="34" charset="-34"/>
                        <a:cs typeface="TH SarabunPSK" pitchFamily="34" charset="-34"/>
                      </a:endParaRPr>
                    </a:p>
                  </a:txBody>
                  <a:tcPr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a:lnSpc>
                          <a:spcPts val="1600"/>
                        </a:lnSpc>
                      </a:pPr>
                      <a:r>
                        <a:rPr lang="en-US" sz="1600" b="0" dirty="0" smtClean="0">
                          <a:solidFill>
                            <a:srgbClr val="002060"/>
                          </a:solidFill>
                          <a:latin typeface="TH SarabunPSK" pitchFamily="34" charset="-34"/>
                          <a:cs typeface="TH SarabunPSK" pitchFamily="34" charset="-34"/>
                        </a:rPr>
                        <a:t>138.5</a:t>
                      </a:r>
                      <a:endParaRPr lang="th-TH" sz="1600" b="0" dirty="0">
                        <a:solidFill>
                          <a:srgbClr val="002060"/>
                        </a:solidFill>
                        <a:latin typeface="TH SarabunPSK" pitchFamily="34" charset="-34"/>
                        <a:cs typeface="TH SarabunPSK" pitchFamily="34" charset="-34"/>
                      </a:endParaRPr>
                    </a:p>
                  </a:txBody>
                  <a:tcPr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vMerge="1">
                  <a:txBody>
                    <a:bodyPr/>
                    <a:lstStyle/>
                    <a:p>
                      <a:pPr>
                        <a:lnSpc>
                          <a:spcPct val="100000"/>
                        </a:lnSpc>
                      </a:pPr>
                      <a:endParaRPr lang="th-TH" sz="1800" b="1" dirty="0">
                        <a:solidFill>
                          <a:schemeClr val="tx1"/>
                        </a:solidFill>
                        <a:latin typeface="TH SarabunPSK" pitchFamily="34" charset="-34"/>
                        <a:cs typeface="TH SarabunPSK" pitchFamily="34" charset="-34"/>
                      </a:endParaRPr>
                    </a:p>
                  </a:txBody>
                  <a:tcPr anchor="ctr">
                    <a:solidFill>
                      <a:schemeClr val="bg1"/>
                    </a:solidFill>
                  </a:tcPr>
                </a:tc>
              </a:tr>
              <a:tr h="176995">
                <a:tc>
                  <a:txBody>
                    <a:bodyPr/>
                    <a:lstStyle/>
                    <a:p>
                      <a:pPr algn="l">
                        <a:lnSpc>
                          <a:spcPts val="1600"/>
                        </a:lnSpc>
                      </a:pPr>
                      <a:r>
                        <a:rPr lang="th-TH" sz="1600" b="1" dirty="0" smtClean="0">
                          <a:solidFill>
                            <a:srgbClr val="0070C0"/>
                          </a:solidFill>
                          <a:latin typeface="TH SarabunPSK" pitchFamily="34" charset="-34"/>
                          <a:cs typeface="TH SarabunPSK" pitchFamily="34" charset="-34"/>
                        </a:rPr>
                        <a:t>ช่วง 4 นครราชสีมา - หนองคาย</a:t>
                      </a:r>
                      <a:endParaRPr lang="en-US" sz="1600" b="1" dirty="0" smtClean="0">
                        <a:solidFill>
                          <a:srgbClr val="0070C0"/>
                        </a:solidFill>
                        <a:latin typeface="TH SarabunPSK" pitchFamily="34" charset="-34"/>
                        <a:cs typeface="TH SarabunPSK" pitchFamily="34" charset="-34"/>
                      </a:endParaRPr>
                    </a:p>
                  </a:txBody>
                  <a:tcPr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r">
                        <a:lnSpc>
                          <a:spcPts val="1600"/>
                        </a:lnSpc>
                      </a:pPr>
                      <a:r>
                        <a:rPr lang="en-US" sz="1600" b="0" dirty="0" smtClean="0">
                          <a:solidFill>
                            <a:srgbClr val="0070C0"/>
                          </a:solidFill>
                          <a:latin typeface="TH SarabunPSK" pitchFamily="34" charset="-34"/>
                          <a:cs typeface="TH SarabunPSK" pitchFamily="34" charset="-34"/>
                        </a:rPr>
                        <a:t>355</a:t>
                      </a:r>
                      <a:r>
                        <a:rPr lang="th-TH" sz="1600" b="0" dirty="0" smtClean="0">
                          <a:solidFill>
                            <a:srgbClr val="0070C0"/>
                          </a:solidFill>
                          <a:latin typeface="TH SarabunPSK" pitchFamily="34" charset="-34"/>
                          <a:cs typeface="TH SarabunPSK" pitchFamily="34" charset="-34"/>
                        </a:rPr>
                        <a:t>.0</a:t>
                      </a:r>
                      <a:endParaRPr lang="th-TH" sz="1600" b="0" dirty="0">
                        <a:solidFill>
                          <a:srgbClr val="0070C0"/>
                        </a:solidFill>
                        <a:latin typeface="TH SarabunPSK" pitchFamily="34" charset="-34"/>
                        <a:cs typeface="TH SarabunPSK" pitchFamily="34" charset="-34"/>
                      </a:endParaRPr>
                    </a:p>
                  </a:txBody>
                  <a:tcPr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vMerge="1">
                  <a:txBody>
                    <a:bodyPr/>
                    <a:lstStyle/>
                    <a:p>
                      <a:pPr>
                        <a:lnSpc>
                          <a:spcPct val="100000"/>
                        </a:lnSpc>
                      </a:pPr>
                      <a:endParaRPr lang="th-TH" sz="1800" b="1" dirty="0">
                        <a:solidFill>
                          <a:schemeClr val="tx1"/>
                        </a:solidFill>
                        <a:latin typeface="TH SarabunPSK" pitchFamily="34" charset="-34"/>
                        <a:cs typeface="TH SarabunPSK" pitchFamily="34" charset="-34"/>
                      </a:endParaRPr>
                    </a:p>
                  </a:txBody>
                  <a:tcPr anchor="ctr">
                    <a:solidFill>
                      <a:schemeClr val="bg1"/>
                    </a:solidFill>
                  </a:tcPr>
                </a:tc>
              </a:tr>
              <a:tr h="260619">
                <a:tc>
                  <a:txBody>
                    <a:bodyPr/>
                    <a:lstStyle/>
                    <a:p>
                      <a:pPr algn="r">
                        <a:lnSpc>
                          <a:spcPts val="1600"/>
                        </a:lnSpc>
                      </a:pPr>
                      <a:r>
                        <a:rPr lang="th-TH" sz="1600" b="1" dirty="0" smtClean="0">
                          <a:solidFill>
                            <a:schemeClr val="tx1"/>
                          </a:solidFill>
                          <a:latin typeface="TH SarabunPSK" pitchFamily="34" charset="-34"/>
                          <a:cs typeface="TH SarabunPSK" pitchFamily="34" charset="-34"/>
                        </a:rPr>
                        <a:t>รวม</a:t>
                      </a:r>
                      <a:endParaRPr lang="th-TH" sz="1600" b="1" dirty="0">
                        <a:solidFill>
                          <a:schemeClr val="tx1"/>
                        </a:solidFill>
                        <a:latin typeface="TH SarabunPSK" pitchFamily="34" charset="-34"/>
                        <a:cs typeface="TH SarabunPSK" pitchFamily="34" charset="-34"/>
                      </a:endParaRPr>
                    </a:p>
                  </a:txBody>
                  <a:tcPr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tc gridSpan="2">
                  <a:txBody>
                    <a:bodyPr/>
                    <a:lstStyle/>
                    <a:p>
                      <a:pPr algn="ctr">
                        <a:lnSpc>
                          <a:spcPts val="1600"/>
                        </a:lnSpc>
                      </a:pPr>
                      <a:r>
                        <a:rPr lang="en-US" sz="1600" b="1" dirty="0" smtClean="0">
                          <a:solidFill>
                            <a:schemeClr val="tx1"/>
                          </a:solidFill>
                          <a:latin typeface="TH SarabunPSK" pitchFamily="34" charset="-34"/>
                          <a:cs typeface="TH SarabunPSK" pitchFamily="34" charset="-34"/>
                        </a:rPr>
                        <a:t>873</a:t>
                      </a:r>
                      <a:endParaRPr lang="th-TH" sz="1600" b="1" dirty="0">
                        <a:solidFill>
                          <a:schemeClr val="tx1"/>
                        </a:solidFill>
                        <a:latin typeface="TH SarabunPSK" pitchFamily="34" charset="-34"/>
                        <a:cs typeface="TH SarabunPSK" pitchFamily="34" charset="-34"/>
                      </a:endParaRPr>
                    </a:p>
                  </a:txBody>
                  <a:tcPr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tc hMerge="1">
                  <a:txBody>
                    <a:bodyPr/>
                    <a:lstStyle/>
                    <a:p>
                      <a:pPr>
                        <a:lnSpc>
                          <a:spcPct val="100000"/>
                        </a:lnSpc>
                      </a:pPr>
                      <a:endParaRPr lang="th-TH" sz="1800" b="1" dirty="0">
                        <a:solidFill>
                          <a:schemeClr val="bg1"/>
                        </a:solidFill>
                        <a:latin typeface="BrowalliaUPC" pitchFamily="34" charset="-34"/>
                        <a:cs typeface="BrowalliaUPC" pitchFamily="34" charset="-34"/>
                      </a:endParaRPr>
                    </a:p>
                  </a:txBody>
                  <a:tcPr marT="38100" marB="381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6">
                        <a:lumMod val="20000"/>
                        <a:lumOff val="80000"/>
                      </a:schemeClr>
                    </a:solidFill>
                  </a:tcPr>
                </a:tc>
              </a:tr>
            </a:tbl>
          </a:graphicData>
        </a:graphic>
      </p:graphicFrame>
      <p:sp>
        <p:nvSpPr>
          <p:cNvPr id="19" name="RbNavigator"/>
          <p:cNvSpPr txBox="1"/>
          <p:nvPr/>
        </p:nvSpPr>
        <p:spPr>
          <a:xfrm>
            <a:off x="107504" y="92614"/>
            <a:ext cx="444744" cy="246888"/>
          </a:xfrm>
          <a:prstGeom prst="rect">
            <a:avLst/>
          </a:prstGeom>
          <a:solidFill>
            <a:srgbClr val="003F56"/>
          </a:solidFill>
          <a:ln w="9525">
            <a:noFill/>
          </a:ln>
        </p:spPr>
        <p:txBody>
          <a:bodyPr vert="horz" wrap="none" lIns="0" tIns="0" rIns="0" bIns="0" rtlCol="0" anchor="ctr">
            <a:noAutofit/>
          </a:bodyPr>
          <a:lstStyle/>
          <a:p>
            <a:pPr marL="0" marR="0" lvl="0" indent="0" algn="ctr" defTabSz="914400" eaLnBrk="1" fontAlgn="auto" latinLnBrk="0" hangingPunct="1">
              <a:lnSpc>
                <a:spcPct val="90000"/>
              </a:lnSpc>
              <a:spcBef>
                <a:spcPts val="400"/>
              </a:spcBef>
              <a:spcAft>
                <a:spcPts val="0"/>
              </a:spcAft>
              <a:buClr>
                <a:srgbClr val="000000"/>
              </a:buClr>
              <a:buSzPct val="100000"/>
              <a:buFontTx/>
              <a:buNone/>
              <a:tabLst/>
              <a:defRPr/>
            </a:pPr>
            <a:r>
              <a:rPr kumimoji="1" lang="en-US" b="1" i="0" u="none" strike="noStrike" kern="0" cap="none" spc="0" normalizeH="0" baseline="0" noProof="0" dirty="0" smtClean="0">
                <a:ln>
                  <a:noFill/>
                </a:ln>
                <a:solidFill>
                  <a:srgbClr val="FFFFFF"/>
                </a:solidFill>
                <a:effectLst/>
                <a:uLnTx/>
                <a:uFillTx/>
                <a:latin typeface="TH SarabunPSK" pitchFamily="34" charset="-34"/>
                <a:cs typeface="TH SarabunPSK" pitchFamily="34" charset="-34"/>
              </a:rPr>
              <a:t>6</a:t>
            </a:r>
          </a:p>
        </p:txBody>
      </p:sp>
      <p:sp>
        <p:nvSpPr>
          <p:cNvPr id="20" name="RbSticker"/>
          <p:cNvSpPr txBox="1"/>
          <p:nvPr/>
        </p:nvSpPr>
        <p:spPr>
          <a:xfrm>
            <a:off x="611560" y="22749"/>
            <a:ext cx="4574970" cy="388761"/>
          </a:xfrm>
          <a:prstGeom prst="rect">
            <a:avLst/>
          </a:prstGeom>
          <a:noFill/>
          <a:ln w="9525">
            <a:noFill/>
          </a:ln>
        </p:spPr>
        <p:txBody>
          <a:bodyPr vert="horz" wrap="none" lIns="0" tIns="0" rIns="0" bIns="0" rtlCol="0" anchor="ctr">
            <a:spAutoFit/>
          </a:bodyPr>
          <a:lstStyle/>
          <a:p>
            <a:pPr lvl="0">
              <a:lnSpc>
                <a:spcPct val="90000"/>
              </a:lnSpc>
              <a:spcBef>
                <a:spcPts val="400"/>
              </a:spcBef>
              <a:buSzPct val="100000"/>
              <a:defRPr/>
            </a:pPr>
            <a:r>
              <a:rPr lang="th-TH" b="1" kern="0" dirty="0">
                <a:solidFill>
                  <a:srgbClr val="003F56"/>
                </a:solidFill>
                <a:latin typeface="TH SarabunPSK" pitchFamily="34" charset="-34"/>
                <a:cs typeface="TH SarabunPSK" pitchFamily="34" charset="-34"/>
              </a:rPr>
              <a:t>โครงการลงทุนที่สำคัญ</a:t>
            </a:r>
            <a:r>
              <a:rPr lang="th-TH" b="1" kern="0" dirty="0" smtClean="0">
                <a:solidFill>
                  <a:srgbClr val="003F56"/>
                </a:solidFill>
                <a:latin typeface="TH SarabunPSK" pitchFamily="34" charset="-34"/>
                <a:cs typeface="TH SarabunPSK" pitchFamily="34" charset="-34"/>
              </a:rPr>
              <a:t>ในช่วงปี 2558  </a:t>
            </a:r>
            <a:r>
              <a:rPr lang="th-TH" b="1" kern="0" dirty="0">
                <a:solidFill>
                  <a:srgbClr val="003F56"/>
                </a:solidFill>
                <a:latin typeface="TH SarabunPSK" pitchFamily="34" charset="-34"/>
                <a:cs typeface="TH SarabunPSK" pitchFamily="34" charset="-34"/>
              </a:rPr>
              <a:t>- </a:t>
            </a:r>
            <a:r>
              <a:rPr lang="th-TH" b="1" kern="0" dirty="0" smtClean="0">
                <a:solidFill>
                  <a:srgbClr val="003F56"/>
                </a:solidFill>
                <a:latin typeface="TH SarabunPSK" pitchFamily="34" charset="-34"/>
                <a:cs typeface="TH SarabunPSK" pitchFamily="34" charset="-34"/>
              </a:rPr>
              <a:t>256</a:t>
            </a:r>
            <a:r>
              <a:rPr lang="en-US" b="1" kern="0" dirty="0" smtClean="0">
                <a:solidFill>
                  <a:srgbClr val="003F56"/>
                </a:solidFill>
                <a:latin typeface="TH SarabunPSK" pitchFamily="34" charset="-34"/>
                <a:cs typeface="TH SarabunPSK" pitchFamily="34" charset="-34"/>
              </a:rPr>
              <a:t>0</a:t>
            </a:r>
            <a:r>
              <a:rPr lang="th-TH" b="1" kern="0" dirty="0" smtClean="0">
                <a:solidFill>
                  <a:srgbClr val="003F56"/>
                </a:solidFill>
                <a:latin typeface="TH SarabunPSK" pitchFamily="34" charset="-34"/>
                <a:cs typeface="TH SarabunPSK" pitchFamily="34" charset="-34"/>
              </a:rPr>
              <a:t> </a:t>
            </a:r>
            <a:endParaRPr lang="th-TH" b="1" kern="0" dirty="0">
              <a:solidFill>
                <a:srgbClr val="003F56"/>
              </a:solidFill>
              <a:latin typeface="TH SarabunPSK" pitchFamily="34" charset="-34"/>
              <a:cs typeface="TH SarabunPSK" pitchFamily="34" charset="-34"/>
            </a:endParaRPr>
          </a:p>
        </p:txBody>
      </p:sp>
      <p:sp>
        <p:nvSpPr>
          <p:cNvPr id="21" name="Rounded Rectangle 20">
            <a:hlinkClick r:id="" action="ppaction://noaction"/>
          </p:cNvPr>
          <p:cNvSpPr/>
          <p:nvPr/>
        </p:nvSpPr>
        <p:spPr>
          <a:xfrm>
            <a:off x="12457" y="555526"/>
            <a:ext cx="5286400" cy="402026"/>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anchor="ctr">
            <a:spAutoFit/>
          </a:bodyPr>
          <a:lstStyle/>
          <a:p>
            <a:pPr eaLnBrk="1" hangingPunct="1">
              <a:lnSpc>
                <a:spcPts val="1800"/>
              </a:lnSpc>
              <a:defRPr/>
            </a:pPr>
            <a:r>
              <a:rPr lang="th-TH" b="1" dirty="0" smtClean="0">
                <a:solidFill>
                  <a:schemeClr val="tx1"/>
                </a:solidFill>
                <a:latin typeface="TH SarabunPSK" pitchFamily="34" charset="-34"/>
                <a:cs typeface="TH SarabunPSK" pitchFamily="34" charset="-34"/>
              </a:rPr>
              <a:t>แผนงาน 1.</a:t>
            </a:r>
            <a:r>
              <a:rPr lang="th-TH" sz="1600" dirty="0" smtClean="0">
                <a:solidFill>
                  <a:schemeClr val="tx1"/>
                </a:solidFill>
                <a:latin typeface="TH SarabunPSK" pitchFamily="34" charset="-34"/>
                <a:cs typeface="TH SarabunPSK" pitchFamily="34" charset="-34"/>
              </a:rPr>
              <a:t>  </a:t>
            </a:r>
            <a:r>
              <a:rPr lang="th-TH" sz="2400" b="1" dirty="0" smtClean="0">
                <a:solidFill>
                  <a:schemeClr val="tx1"/>
                </a:solidFill>
                <a:latin typeface="TH SarabunPSK" pitchFamily="34" charset="-34"/>
                <a:cs typeface="TH SarabunPSK" pitchFamily="34" charset="-34"/>
              </a:rPr>
              <a:t>การพัฒนาโครงข่ายรถไฟระหว่างเมือง</a:t>
            </a:r>
            <a:endParaRPr lang="th-TH" sz="2400" b="1" dirty="0">
              <a:solidFill>
                <a:schemeClr val="tx1"/>
              </a:solidFill>
              <a:latin typeface="TH SarabunPSK" pitchFamily="34" charset="-34"/>
              <a:cs typeface="TH SarabunPSK" pitchFamily="34" charset="-34"/>
            </a:endParaRPr>
          </a:p>
        </p:txBody>
      </p:sp>
    </p:spTree>
    <p:extLst>
      <p:ext uri="{BB962C8B-B14F-4D97-AF65-F5344CB8AC3E}">
        <p14:creationId xmlns:p14="http://schemas.microsoft.com/office/powerpoint/2010/main" xmlns="" val="2889729723"/>
      </p:ext>
    </p:extLst>
  </p:cSld>
  <p:clrMapOvr>
    <a:masterClrMapping/>
  </p:clrMapOvr>
  <p:transition spd="med" advClick="0">
    <p:fade thruBlk="1"/>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1" name="Table 50"/>
          <p:cNvGraphicFramePr>
            <a:graphicFrameLocks noGrp="1"/>
          </p:cNvGraphicFramePr>
          <p:nvPr>
            <p:extLst>
              <p:ext uri="{D42A27DB-BD31-4B8C-83A1-F6EECF244321}">
                <p14:modId xmlns:p14="http://schemas.microsoft.com/office/powerpoint/2010/main" xmlns="" val="387406631"/>
              </p:ext>
            </p:extLst>
          </p:nvPr>
        </p:nvGraphicFramePr>
        <p:xfrm>
          <a:off x="190756" y="1748790"/>
          <a:ext cx="4862035" cy="2314202"/>
        </p:xfrm>
        <a:graphic>
          <a:graphicData uri="http://schemas.openxmlformats.org/drawingml/2006/table">
            <a:tbl>
              <a:tblPr firstRow="1" bandRow="1">
                <a:tableStyleId>{5C22544A-7EE6-4342-B048-85BDC9FD1C3A}</a:tableStyleId>
              </a:tblPr>
              <a:tblGrid>
                <a:gridCol w="2791238"/>
                <a:gridCol w="1091079"/>
                <a:gridCol w="979718"/>
              </a:tblGrid>
              <a:tr h="562356">
                <a:tc>
                  <a:txBody>
                    <a:bodyPr/>
                    <a:lstStyle/>
                    <a:p>
                      <a:pPr algn="ctr">
                        <a:lnSpc>
                          <a:spcPct val="100000"/>
                        </a:lnSpc>
                      </a:pPr>
                      <a:r>
                        <a:rPr lang="th-TH" sz="1600" b="1" dirty="0" smtClean="0">
                          <a:solidFill>
                            <a:schemeClr val="tx1"/>
                          </a:solidFill>
                          <a:latin typeface="BrowalliaUPC" pitchFamily="34" charset="-34"/>
                          <a:cs typeface="BrowalliaUPC" pitchFamily="34" charset="-34"/>
                        </a:rPr>
                        <a:t>เส้นทาง</a:t>
                      </a:r>
                      <a:endParaRPr lang="th-TH" sz="1600" b="1" dirty="0">
                        <a:solidFill>
                          <a:schemeClr val="tx1"/>
                        </a:solidFill>
                        <a:latin typeface="BrowalliaUPC" pitchFamily="34" charset="-34"/>
                        <a:cs typeface="BrowalliaUPC" pitchFamily="34" charset="-34"/>
                      </a:endParaRPr>
                    </a:p>
                  </a:txBody>
                  <a:tcPr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lumMod val="20000"/>
                        <a:lumOff val="80000"/>
                      </a:schemeClr>
                    </a:solidFill>
                  </a:tcPr>
                </a:tc>
                <a:tc>
                  <a:txBody>
                    <a:bodyPr/>
                    <a:lstStyle/>
                    <a:p>
                      <a:pPr algn="ctr">
                        <a:lnSpc>
                          <a:spcPct val="100000"/>
                        </a:lnSpc>
                      </a:pPr>
                      <a:r>
                        <a:rPr lang="th-TH" sz="1600" b="1" spc="-60" baseline="0" dirty="0" smtClean="0">
                          <a:solidFill>
                            <a:schemeClr val="tx1"/>
                          </a:solidFill>
                          <a:latin typeface="BrowalliaUPC" pitchFamily="34" charset="-34"/>
                          <a:cs typeface="BrowalliaUPC" pitchFamily="34" charset="-34"/>
                        </a:rPr>
                        <a:t>ระยะทาง (กม.)</a:t>
                      </a:r>
                      <a:endParaRPr lang="th-TH" sz="1600" b="1" spc="-60" baseline="0" dirty="0">
                        <a:solidFill>
                          <a:schemeClr val="tx1"/>
                        </a:solidFill>
                        <a:latin typeface="BrowalliaUPC" pitchFamily="34" charset="-34"/>
                        <a:cs typeface="BrowalliaUPC" pitchFamily="34" charset="-34"/>
                      </a:endParaRPr>
                    </a:p>
                  </a:txBody>
                  <a:tcPr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lumMod val="20000"/>
                        <a:lumOff val="80000"/>
                      </a:schemeClr>
                    </a:solidFill>
                  </a:tcPr>
                </a:tc>
                <a:tc>
                  <a:txBody>
                    <a:bodyPr/>
                    <a:lstStyle/>
                    <a:p>
                      <a:pPr algn="ctr">
                        <a:lnSpc>
                          <a:spcPct val="100000"/>
                        </a:lnSpc>
                      </a:pPr>
                      <a:r>
                        <a:rPr lang="th-TH" sz="1600" b="1" dirty="0" smtClean="0">
                          <a:solidFill>
                            <a:schemeClr val="tx1"/>
                          </a:solidFill>
                          <a:latin typeface="BrowalliaUPC" pitchFamily="34" charset="-34"/>
                          <a:cs typeface="BrowalliaUPC" pitchFamily="34" charset="-34"/>
                        </a:rPr>
                        <a:t>หน่วยงานรับผิดชอบ</a:t>
                      </a:r>
                      <a:endParaRPr lang="th-TH" sz="1600" b="1" dirty="0">
                        <a:solidFill>
                          <a:schemeClr val="tx1"/>
                        </a:solidFill>
                        <a:latin typeface="BrowalliaUPC" pitchFamily="34" charset="-34"/>
                        <a:cs typeface="BrowalliaUPC" pitchFamily="34" charset="-34"/>
                      </a:endParaRPr>
                    </a:p>
                  </a:txBody>
                  <a:tcPr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lumMod val="20000"/>
                        <a:lumOff val="80000"/>
                      </a:schemeClr>
                    </a:solidFill>
                  </a:tcPr>
                </a:tc>
              </a:tr>
              <a:tr h="562356">
                <a:tc>
                  <a:txBody>
                    <a:bodyPr/>
                    <a:lstStyle/>
                    <a:p>
                      <a:pPr marL="342900" indent="-342900">
                        <a:lnSpc>
                          <a:spcPct val="100000"/>
                        </a:lnSpc>
                        <a:buAutoNum type="arabicPeriod"/>
                      </a:pPr>
                      <a:r>
                        <a:rPr lang="th-TH" sz="1600" b="1" dirty="0" smtClean="0">
                          <a:solidFill>
                            <a:srgbClr val="FF0000"/>
                          </a:solidFill>
                          <a:latin typeface="BrowalliaUPC" pitchFamily="34" charset="-34"/>
                          <a:cs typeface="BrowalliaUPC" pitchFamily="34" charset="-34"/>
                        </a:rPr>
                        <a:t>ช่วงกรุงเทพฯ – เชียงใหม่ </a:t>
                      </a:r>
                    </a:p>
                    <a:p>
                      <a:pPr marL="0" indent="0">
                        <a:lnSpc>
                          <a:spcPct val="100000"/>
                        </a:lnSpc>
                        <a:buNone/>
                      </a:pPr>
                      <a:r>
                        <a:rPr lang="th-TH" sz="1600" b="1" dirty="0" smtClean="0">
                          <a:solidFill>
                            <a:srgbClr val="FF0000"/>
                          </a:solidFill>
                          <a:latin typeface="BrowalliaUPC" pitchFamily="34" charset="-34"/>
                          <a:cs typeface="BrowalliaUPC" pitchFamily="34" charset="-34"/>
                        </a:rPr>
                        <a:t>วงเงินลงทุน</a:t>
                      </a:r>
                      <a:r>
                        <a:rPr lang="th-TH" sz="1600" b="1" kern="1200" dirty="0" smtClean="0">
                          <a:solidFill>
                            <a:srgbClr val="FF0000"/>
                          </a:solidFill>
                          <a:latin typeface="BrowalliaUPC" pitchFamily="34" charset="-34"/>
                          <a:ea typeface="+mn-ea"/>
                          <a:cs typeface="BrowalliaUPC" pitchFamily="34" charset="-34"/>
                        </a:rPr>
                        <a:t>ประมาณ  </a:t>
                      </a:r>
                      <a:r>
                        <a:rPr lang="en-US" sz="1600" b="1" kern="1200" dirty="0" smtClean="0">
                          <a:solidFill>
                            <a:srgbClr val="FF0000"/>
                          </a:solidFill>
                          <a:latin typeface="BrowalliaUPC" pitchFamily="34" charset="-34"/>
                          <a:ea typeface="+mn-ea"/>
                          <a:cs typeface="BrowalliaUPC" pitchFamily="34" charset="-34"/>
                        </a:rPr>
                        <a:t>449,473.75</a:t>
                      </a:r>
                      <a:r>
                        <a:rPr lang="th-TH" sz="1600" b="1" kern="1200" dirty="0" smtClean="0">
                          <a:solidFill>
                            <a:srgbClr val="FF0000"/>
                          </a:solidFill>
                          <a:latin typeface="BrowalliaUPC" pitchFamily="34" charset="-34"/>
                          <a:ea typeface="+mn-ea"/>
                          <a:cs typeface="BrowalliaUPC" pitchFamily="34" charset="-34"/>
                        </a:rPr>
                        <a:t> ลบ.</a:t>
                      </a:r>
                      <a:endParaRPr lang="en-US" sz="1600" b="1" kern="1200" dirty="0" smtClean="0">
                        <a:solidFill>
                          <a:srgbClr val="FF0000"/>
                        </a:solidFill>
                        <a:latin typeface="BrowalliaUPC" pitchFamily="34" charset="-34"/>
                        <a:ea typeface="+mn-ea"/>
                        <a:cs typeface="BrowalliaUPC" pitchFamily="34" charset="-34"/>
                      </a:endParaRPr>
                    </a:p>
                  </a:txBody>
                  <a:tcPr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lnSpc>
                          <a:spcPct val="100000"/>
                        </a:lnSpc>
                      </a:pPr>
                      <a:r>
                        <a:rPr lang="en-US" sz="1600" b="0" dirty="0" smtClean="0">
                          <a:solidFill>
                            <a:srgbClr val="FF0000"/>
                          </a:solidFill>
                          <a:latin typeface="BrowalliaUPC" pitchFamily="34" charset="-34"/>
                          <a:cs typeface="BrowalliaUPC" pitchFamily="34" charset="-34"/>
                        </a:rPr>
                        <a:t>672</a:t>
                      </a:r>
                      <a:endParaRPr lang="th-TH" sz="1600" b="0" dirty="0">
                        <a:solidFill>
                          <a:srgbClr val="FF0000"/>
                        </a:solidFill>
                        <a:latin typeface="BrowalliaUPC" pitchFamily="34" charset="-34"/>
                        <a:cs typeface="BrowalliaUPC" pitchFamily="34" charset="-34"/>
                      </a:endParaRPr>
                    </a:p>
                  </a:txBody>
                  <a:tcPr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rowSpan="3">
                  <a:txBody>
                    <a:bodyPr/>
                    <a:lstStyle/>
                    <a:p>
                      <a:pPr algn="ctr">
                        <a:lnSpc>
                          <a:spcPct val="100000"/>
                        </a:lnSpc>
                      </a:pPr>
                      <a:r>
                        <a:rPr lang="th-TH" sz="1600" b="1" spc="0" baseline="0" dirty="0" smtClean="0">
                          <a:solidFill>
                            <a:schemeClr val="tx1"/>
                          </a:solidFill>
                          <a:latin typeface="BrowalliaUPC" pitchFamily="34" charset="-34"/>
                          <a:cs typeface="BrowalliaUPC" pitchFamily="34" charset="-34"/>
                        </a:rPr>
                        <a:t>สนข./รฟท.</a:t>
                      </a:r>
                      <a:endParaRPr lang="th-TH" sz="1600" b="1" spc="0" baseline="0" dirty="0">
                        <a:solidFill>
                          <a:schemeClr val="tx1"/>
                        </a:solidFill>
                        <a:latin typeface="BrowalliaUPC" pitchFamily="34" charset="-34"/>
                        <a:cs typeface="BrowalliaUPC" pitchFamily="34" charset="-34"/>
                      </a:endParaRPr>
                    </a:p>
                  </a:txBody>
                  <a:tcPr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809244">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b="1" kern="1200" dirty="0" smtClean="0">
                          <a:solidFill>
                            <a:srgbClr val="0070C0"/>
                          </a:solidFill>
                          <a:latin typeface="BrowalliaUPC" pitchFamily="34" charset="-34"/>
                          <a:ea typeface="+mn-ea"/>
                          <a:cs typeface="BrowalliaUPC" pitchFamily="34" charset="-34"/>
                        </a:rPr>
                        <a:t>2. </a:t>
                      </a:r>
                      <a:r>
                        <a:rPr lang="th-TH" sz="1600" b="1" kern="1200" dirty="0" smtClean="0">
                          <a:solidFill>
                            <a:srgbClr val="0070C0"/>
                          </a:solidFill>
                          <a:latin typeface="BrowalliaUPC" pitchFamily="34" charset="-34"/>
                          <a:ea typeface="+mn-ea"/>
                          <a:cs typeface="BrowalliaUPC" pitchFamily="34" charset="-34"/>
                        </a:rPr>
                        <a:t>ช่วงแนวระเบียงเศรษฐกิจเหนือ-ใต้ </a:t>
                      </a:r>
                    </a:p>
                    <a:p>
                      <a:pPr marL="0" marR="0" indent="0" algn="l" defTabSz="914400" rtl="0" eaLnBrk="1" fontAlgn="auto" latinLnBrk="0" hangingPunct="1">
                        <a:lnSpc>
                          <a:spcPct val="100000"/>
                        </a:lnSpc>
                        <a:spcBef>
                          <a:spcPts val="0"/>
                        </a:spcBef>
                        <a:spcAft>
                          <a:spcPts val="0"/>
                        </a:spcAft>
                        <a:buClrTx/>
                        <a:buSzTx/>
                        <a:buFontTx/>
                        <a:buNone/>
                        <a:tabLst/>
                        <a:defRPr/>
                      </a:pPr>
                      <a:r>
                        <a:rPr lang="th-TH" sz="1600" b="1" kern="1200" dirty="0" smtClean="0">
                          <a:solidFill>
                            <a:srgbClr val="0070C0"/>
                          </a:solidFill>
                          <a:latin typeface="BrowalliaUPC" pitchFamily="34" charset="-34"/>
                          <a:ea typeface="+mn-ea"/>
                          <a:cs typeface="BrowalliaUPC" pitchFamily="34" charset="-34"/>
                        </a:rPr>
                        <a:t>(กาญจนบุรี</a:t>
                      </a:r>
                      <a:r>
                        <a:rPr lang="th-TH" sz="1600" b="1" dirty="0" smtClean="0">
                          <a:solidFill>
                            <a:srgbClr val="0070C0"/>
                          </a:solidFill>
                          <a:latin typeface="BrowalliaUPC" pitchFamily="34" charset="-34"/>
                          <a:cs typeface="BrowalliaUPC" pitchFamily="34" charset="-34"/>
                        </a:rPr>
                        <a:t>-กรุงเทพฯ กรุงเทพฯ-สระแก้ว และกรุงเทพฯ-แหลมฉบัง )</a:t>
                      </a:r>
                      <a:endParaRPr lang="en-US" sz="1600" b="0" dirty="0" smtClean="0">
                        <a:solidFill>
                          <a:srgbClr val="0070C0"/>
                        </a:solidFill>
                        <a:latin typeface="BrowalliaUPC" pitchFamily="34" charset="-34"/>
                        <a:cs typeface="BrowalliaUPC" pitchFamily="34" charset="-34"/>
                      </a:endParaRPr>
                    </a:p>
                  </a:txBody>
                  <a:tcPr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lnSpc>
                          <a:spcPct val="100000"/>
                        </a:lnSpc>
                      </a:pPr>
                      <a:r>
                        <a:rPr lang="en-SG" sz="1600" b="1" kern="1200" dirty="0" smtClean="0">
                          <a:solidFill>
                            <a:srgbClr val="0070C0"/>
                          </a:solidFill>
                          <a:latin typeface="BrowalliaUPC" pitchFamily="34" charset="-34"/>
                          <a:ea typeface="+mn-ea"/>
                          <a:cs typeface="BrowalliaUPC" pitchFamily="34" charset="-34"/>
                        </a:rPr>
                        <a:t>574</a:t>
                      </a:r>
                      <a:endParaRPr lang="th-TH" sz="1600" b="1" kern="1200" dirty="0">
                        <a:solidFill>
                          <a:srgbClr val="0070C0"/>
                        </a:solidFill>
                        <a:latin typeface="BrowalliaUPC" pitchFamily="34" charset="-34"/>
                        <a:ea typeface="+mn-ea"/>
                        <a:cs typeface="BrowalliaUPC" pitchFamily="34" charset="-34"/>
                      </a:endParaRPr>
                    </a:p>
                  </a:txBody>
                  <a:tcPr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vMerge="1">
                  <a:txBody>
                    <a:bodyPr/>
                    <a:lstStyle/>
                    <a:p>
                      <a:endParaRPr lang="en-US"/>
                    </a:p>
                  </a:txBody>
                  <a:tcPr/>
                </a:tc>
              </a:tr>
              <a:tr h="380246">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b="1" dirty="0" smtClean="0">
                          <a:solidFill>
                            <a:schemeClr val="accent6">
                              <a:lumMod val="75000"/>
                            </a:schemeClr>
                          </a:solidFill>
                          <a:latin typeface="BrowalliaUPC" pitchFamily="34" charset="-34"/>
                          <a:cs typeface="BrowalliaUPC" pitchFamily="34" charset="-34"/>
                        </a:rPr>
                        <a:t>3. </a:t>
                      </a:r>
                      <a:r>
                        <a:rPr lang="th-TH" sz="1600" b="1" dirty="0" smtClean="0">
                          <a:solidFill>
                            <a:schemeClr val="accent6">
                              <a:lumMod val="75000"/>
                            </a:schemeClr>
                          </a:solidFill>
                          <a:latin typeface="BrowalliaUPC" pitchFamily="34" charset="-34"/>
                          <a:cs typeface="BrowalliaUPC" pitchFamily="34" charset="-34"/>
                        </a:rPr>
                        <a:t>แม่สอด-มุกดาหาร</a:t>
                      </a:r>
                      <a:endParaRPr lang="th-TH" sz="1600" b="0" dirty="0" smtClean="0">
                        <a:solidFill>
                          <a:schemeClr val="accent6">
                            <a:lumMod val="75000"/>
                          </a:schemeClr>
                        </a:solidFill>
                        <a:latin typeface="BrowalliaUPC" pitchFamily="34" charset="-34"/>
                        <a:cs typeface="BrowalliaUPC" pitchFamily="34" charset="-34"/>
                      </a:endParaRPr>
                    </a:p>
                  </a:txBody>
                  <a:tcPr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lnSpc>
                          <a:spcPct val="100000"/>
                        </a:lnSpc>
                      </a:pPr>
                      <a:r>
                        <a:rPr lang="en-SG" sz="1600" b="0" dirty="0" smtClean="0">
                          <a:solidFill>
                            <a:schemeClr val="accent6">
                              <a:lumMod val="75000"/>
                            </a:schemeClr>
                          </a:solidFill>
                          <a:latin typeface="BrowalliaUPC" pitchFamily="34" charset="-34"/>
                          <a:cs typeface="BrowalliaUPC" pitchFamily="34" charset="-34"/>
                        </a:rPr>
                        <a:t>718</a:t>
                      </a:r>
                      <a:endParaRPr lang="th-TH" sz="1600" b="0" dirty="0">
                        <a:solidFill>
                          <a:schemeClr val="accent6">
                            <a:lumMod val="75000"/>
                          </a:schemeClr>
                        </a:solidFill>
                        <a:latin typeface="BrowalliaUPC" pitchFamily="34" charset="-34"/>
                        <a:cs typeface="BrowalliaUPC" pitchFamily="34" charset="-34"/>
                      </a:endParaRPr>
                    </a:p>
                  </a:txBody>
                  <a:tcPr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vMerge="1">
                  <a:txBody>
                    <a:bodyPr/>
                    <a:lstStyle/>
                    <a:p>
                      <a:pPr>
                        <a:lnSpc>
                          <a:spcPct val="100000"/>
                        </a:lnSpc>
                      </a:pPr>
                      <a:endParaRPr lang="th-TH" sz="1800" b="1" dirty="0">
                        <a:solidFill>
                          <a:schemeClr val="tx1"/>
                        </a:solidFill>
                        <a:latin typeface="TH SarabunPSK" pitchFamily="34" charset="-34"/>
                        <a:cs typeface="TH SarabunPSK" pitchFamily="34" charset="-34"/>
                      </a:endParaRPr>
                    </a:p>
                  </a:txBody>
                  <a:tcPr anchor="ctr">
                    <a:solidFill>
                      <a:schemeClr val="bg1"/>
                    </a:solidFill>
                  </a:tcPr>
                </a:tc>
              </a:tr>
            </a:tbl>
          </a:graphicData>
        </a:graphic>
      </p:graphicFrame>
      <p:pic>
        <p:nvPicPr>
          <p:cNvPr id="5125" name="Picture 5"/>
          <p:cNvPicPr>
            <a:picLocks noChangeAspect="1" noChangeArrowheads="1"/>
          </p:cNvPicPr>
          <p:nvPr/>
        </p:nvPicPr>
        <p:blipFill>
          <a:blip r:embed="rId4" cstate="print">
            <a:extLst>
              <a:ext uri="{28A0092B-C50C-407E-A947-70E740481C1C}">
                <a14:useLocalDpi xmlns:a14="http://schemas.microsoft.com/office/drawing/2010/main" xmlns="" val="0"/>
              </a:ext>
            </a:extLst>
          </a:blip>
          <a:srcRect/>
          <a:stretch>
            <a:fillRect/>
          </a:stretch>
        </p:blipFill>
        <p:spPr bwMode="auto">
          <a:xfrm>
            <a:off x="5148064" y="940964"/>
            <a:ext cx="3914173" cy="3620453"/>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10" name="Rectangle 3"/>
          <p:cNvSpPr txBox="1">
            <a:spLocks noChangeArrowheads="1"/>
          </p:cNvSpPr>
          <p:nvPr>
            <p:custDataLst>
              <p:tags r:id="rId1"/>
            </p:custDataLst>
          </p:nvPr>
        </p:nvSpPr>
        <p:spPr bwMode="gray">
          <a:xfrm>
            <a:off x="223943" y="933328"/>
            <a:ext cx="4780105" cy="707886"/>
          </a:xfrm>
          <a:prstGeom prst="rect">
            <a:avLst/>
          </a:prstGeom>
        </p:spPr>
        <p:txBody>
          <a:bodyPr vert="horz" wrap="square" lIns="91440" tIns="45720" rIns="91440" bIns="45720" rtlCol="0" anchor="ctr">
            <a:spAutoFit/>
          </a:bodyPr>
          <a:lstStyle/>
          <a:p>
            <a:pPr marL="0" lvl="2" algn="ctr"/>
            <a:r>
              <a:rPr lang="en-US" sz="2000" b="1" dirty="0" smtClean="0">
                <a:latin typeface="TH SarabunPSK" pitchFamily="34" charset="-34"/>
                <a:cs typeface="TH SarabunPSK" pitchFamily="34" charset="-34"/>
              </a:rPr>
              <a:t>“</a:t>
            </a:r>
            <a:r>
              <a:rPr lang="th-TH" sz="2000" b="1" dirty="0" smtClean="0">
                <a:solidFill>
                  <a:srgbClr val="0070C0"/>
                </a:solidFill>
                <a:latin typeface="TH SarabunPSK" pitchFamily="34" charset="-34"/>
                <a:cs typeface="TH SarabunPSK" pitchFamily="34" charset="-34"/>
              </a:rPr>
              <a:t>ความร่วมมือระหว่างรัฐบาลไทย - ญี่ปุ่น  </a:t>
            </a:r>
            <a:r>
              <a:rPr lang="th-TH" sz="2000" b="1" dirty="0" smtClean="0">
                <a:latin typeface="TH SarabunPSK" pitchFamily="34" charset="-34"/>
                <a:cs typeface="TH SarabunPSK" pitchFamily="34" charset="-34"/>
              </a:rPr>
              <a:t>ใน</a:t>
            </a:r>
            <a:r>
              <a:rPr lang="th-TH" sz="2000" b="1" dirty="0">
                <a:latin typeface="TH SarabunPSK" pitchFamily="34" charset="-34"/>
                <a:cs typeface="TH SarabunPSK" pitchFamily="34" charset="-34"/>
              </a:rPr>
              <a:t>การศึกษาความเหมาะสมโครงการของ</a:t>
            </a:r>
            <a:r>
              <a:rPr lang="th-TH" sz="2000" b="1" dirty="0">
                <a:solidFill>
                  <a:srgbClr val="0070C0"/>
                </a:solidFill>
                <a:latin typeface="TH SarabunPSK" pitchFamily="34" charset="-34"/>
                <a:cs typeface="TH SarabunPSK" pitchFamily="34" charset="-34"/>
              </a:rPr>
              <a:t>รถไฟความเร็วสูง </a:t>
            </a:r>
            <a:r>
              <a:rPr lang="en-US" sz="2000" b="1" dirty="0">
                <a:solidFill>
                  <a:srgbClr val="0070C0"/>
                </a:solidFill>
                <a:latin typeface="TH SarabunPSK" pitchFamily="34" charset="-34"/>
                <a:cs typeface="TH SarabunPSK" pitchFamily="34" charset="-34"/>
              </a:rPr>
              <a:t>3 </a:t>
            </a:r>
            <a:r>
              <a:rPr lang="th-TH" sz="2000" b="1" dirty="0" smtClean="0">
                <a:solidFill>
                  <a:srgbClr val="0070C0"/>
                </a:solidFill>
                <a:latin typeface="TH SarabunPSK" pitchFamily="34" charset="-34"/>
                <a:cs typeface="TH SarabunPSK" pitchFamily="34" charset="-34"/>
              </a:rPr>
              <a:t>เส้นทาง  </a:t>
            </a:r>
            <a:r>
              <a:rPr lang="en-US" sz="2000" b="1" dirty="0" smtClean="0">
                <a:latin typeface="TH SarabunPSK" pitchFamily="34" charset="-34"/>
                <a:cs typeface="TH SarabunPSK" pitchFamily="34" charset="-34"/>
              </a:rPr>
              <a:t>”</a:t>
            </a:r>
            <a:endParaRPr lang="th-TH" sz="2000" b="1" dirty="0">
              <a:latin typeface="TH SarabunPSK" pitchFamily="34" charset="-34"/>
              <a:cs typeface="TH SarabunPSK" pitchFamily="34" charset="-34"/>
            </a:endParaRPr>
          </a:p>
        </p:txBody>
      </p:sp>
      <p:sp>
        <p:nvSpPr>
          <p:cNvPr id="12" name="Oval 11"/>
          <p:cNvSpPr/>
          <p:nvPr/>
        </p:nvSpPr>
        <p:spPr>
          <a:xfrm>
            <a:off x="216024" y="2355726"/>
            <a:ext cx="251520" cy="216024"/>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th-TH"/>
          </a:p>
        </p:txBody>
      </p:sp>
      <p:sp>
        <p:nvSpPr>
          <p:cNvPr id="13" name="RbNavigator"/>
          <p:cNvSpPr txBox="1"/>
          <p:nvPr/>
        </p:nvSpPr>
        <p:spPr>
          <a:xfrm>
            <a:off x="107504" y="92614"/>
            <a:ext cx="444744" cy="246888"/>
          </a:xfrm>
          <a:prstGeom prst="rect">
            <a:avLst/>
          </a:prstGeom>
          <a:solidFill>
            <a:srgbClr val="003F56"/>
          </a:solidFill>
          <a:ln w="9525">
            <a:noFill/>
          </a:ln>
        </p:spPr>
        <p:txBody>
          <a:bodyPr vert="horz" wrap="none" lIns="0" tIns="0" rIns="0" bIns="0" rtlCol="0" anchor="ctr">
            <a:noAutofit/>
          </a:bodyPr>
          <a:lstStyle/>
          <a:p>
            <a:pPr marL="0" marR="0" lvl="0" indent="0" algn="ctr" defTabSz="914400" eaLnBrk="1" fontAlgn="auto" latinLnBrk="0" hangingPunct="1">
              <a:lnSpc>
                <a:spcPct val="90000"/>
              </a:lnSpc>
              <a:spcBef>
                <a:spcPts val="400"/>
              </a:spcBef>
              <a:spcAft>
                <a:spcPts val="0"/>
              </a:spcAft>
              <a:buClr>
                <a:srgbClr val="000000"/>
              </a:buClr>
              <a:buSzPct val="100000"/>
              <a:buFontTx/>
              <a:buNone/>
              <a:tabLst/>
              <a:defRPr/>
            </a:pPr>
            <a:r>
              <a:rPr kumimoji="1" lang="en-US" b="1" i="0" u="none" strike="noStrike" kern="0" cap="none" spc="0" normalizeH="0" baseline="0" noProof="0" dirty="0" smtClean="0">
                <a:ln>
                  <a:noFill/>
                </a:ln>
                <a:solidFill>
                  <a:srgbClr val="FFFFFF"/>
                </a:solidFill>
                <a:effectLst/>
                <a:uLnTx/>
                <a:uFillTx/>
                <a:latin typeface="TH SarabunPSK" pitchFamily="34" charset="-34"/>
                <a:cs typeface="TH SarabunPSK" pitchFamily="34" charset="-34"/>
              </a:rPr>
              <a:t>6</a:t>
            </a:r>
          </a:p>
        </p:txBody>
      </p:sp>
      <p:sp>
        <p:nvSpPr>
          <p:cNvPr id="14" name="RbSticker"/>
          <p:cNvSpPr txBox="1"/>
          <p:nvPr/>
        </p:nvSpPr>
        <p:spPr>
          <a:xfrm>
            <a:off x="611560" y="22749"/>
            <a:ext cx="4574970" cy="388761"/>
          </a:xfrm>
          <a:prstGeom prst="rect">
            <a:avLst/>
          </a:prstGeom>
          <a:noFill/>
          <a:ln w="9525">
            <a:noFill/>
          </a:ln>
        </p:spPr>
        <p:txBody>
          <a:bodyPr vert="horz" wrap="none" lIns="0" tIns="0" rIns="0" bIns="0" rtlCol="0" anchor="ctr">
            <a:spAutoFit/>
          </a:bodyPr>
          <a:lstStyle/>
          <a:p>
            <a:pPr lvl="0">
              <a:lnSpc>
                <a:spcPct val="90000"/>
              </a:lnSpc>
              <a:spcBef>
                <a:spcPts val="400"/>
              </a:spcBef>
              <a:buSzPct val="100000"/>
              <a:defRPr/>
            </a:pPr>
            <a:r>
              <a:rPr lang="th-TH" b="1" kern="0" dirty="0">
                <a:solidFill>
                  <a:srgbClr val="003F56"/>
                </a:solidFill>
                <a:latin typeface="TH SarabunPSK" pitchFamily="34" charset="-34"/>
                <a:cs typeface="TH SarabunPSK" pitchFamily="34" charset="-34"/>
              </a:rPr>
              <a:t>โครงการลงทุนที่สำคัญ</a:t>
            </a:r>
            <a:r>
              <a:rPr lang="th-TH" b="1" kern="0" dirty="0" smtClean="0">
                <a:solidFill>
                  <a:srgbClr val="003F56"/>
                </a:solidFill>
                <a:latin typeface="TH SarabunPSK" pitchFamily="34" charset="-34"/>
                <a:cs typeface="TH SarabunPSK" pitchFamily="34" charset="-34"/>
              </a:rPr>
              <a:t>ในช่วงปี 2558  </a:t>
            </a:r>
            <a:r>
              <a:rPr lang="th-TH" b="1" kern="0" dirty="0">
                <a:solidFill>
                  <a:srgbClr val="003F56"/>
                </a:solidFill>
                <a:latin typeface="TH SarabunPSK" pitchFamily="34" charset="-34"/>
                <a:cs typeface="TH SarabunPSK" pitchFamily="34" charset="-34"/>
              </a:rPr>
              <a:t>- </a:t>
            </a:r>
            <a:r>
              <a:rPr lang="th-TH" b="1" kern="0" dirty="0" smtClean="0">
                <a:solidFill>
                  <a:srgbClr val="003F56"/>
                </a:solidFill>
                <a:latin typeface="TH SarabunPSK" pitchFamily="34" charset="-34"/>
                <a:cs typeface="TH SarabunPSK" pitchFamily="34" charset="-34"/>
              </a:rPr>
              <a:t>256</a:t>
            </a:r>
            <a:r>
              <a:rPr lang="en-US" b="1" kern="0" dirty="0" smtClean="0">
                <a:solidFill>
                  <a:srgbClr val="003F56"/>
                </a:solidFill>
                <a:latin typeface="TH SarabunPSK" pitchFamily="34" charset="-34"/>
                <a:cs typeface="TH SarabunPSK" pitchFamily="34" charset="-34"/>
              </a:rPr>
              <a:t>0</a:t>
            </a:r>
            <a:r>
              <a:rPr lang="th-TH" b="1" kern="0" dirty="0" smtClean="0">
                <a:solidFill>
                  <a:srgbClr val="003F56"/>
                </a:solidFill>
                <a:latin typeface="TH SarabunPSK" pitchFamily="34" charset="-34"/>
                <a:cs typeface="TH SarabunPSK" pitchFamily="34" charset="-34"/>
              </a:rPr>
              <a:t> </a:t>
            </a:r>
            <a:endParaRPr lang="th-TH" b="1" kern="0" dirty="0">
              <a:solidFill>
                <a:srgbClr val="003F56"/>
              </a:solidFill>
              <a:latin typeface="TH SarabunPSK" pitchFamily="34" charset="-34"/>
              <a:cs typeface="TH SarabunPSK" pitchFamily="34" charset="-34"/>
            </a:endParaRPr>
          </a:p>
        </p:txBody>
      </p:sp>
      <p:sp>
        <p:nvSpPr>
          <p:cNvPr id="15" name="Rounded Rectangle 14">
            <a:hlinkClick r:id="" action="ppaction://noaction"/>
          </p:cNvPr>
          <p:cNvSpPr/>
          <p:nvPr/>
        </p:nvSpPr>
        <p:spPr>
          <a:xfrm>
            <a:off x="12457" y="555526"/>
            <a:ext cx="5286400" cy="402026"/>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anchor="ctr">
            <a:spAutoFit/>
          </a:bodyPr>
          <a:lstStyle/>
          <a:p>
            <a:pPr eaLnBrk="1" hangingPunct="1">
              <a:lnSpc>
                <a:spcPts val="1800"/>
              </a:lnSpc>
              <a:defRPr/>
            </a:pPr>
            <a:r>
              <a:rPr lang="th-TH" b="1" dirty="0" smtClean="0">
                <a:solidFill>
                  <a:schemeClr val="tx1"/>
                </a:solidFill>
                <a:latin typeface="TH SarabunPSK" pitchFamily="34" charset="-34"/>
                <a:cs typeface="TH SarabunPSK" pitchFamily="34" charset="-34"/>
              </a:rPr>
              <a:t>แผนงาน 1.</a:t>
            </a:r>
            <a:r>
              <a:rPr lang="th-TH" sz="1600" dirty="0" smtClean="0">
                <a:solidFill>
                  <a:schemeClr val="tx1"/>
                </a:solidFill>
                <a:latin typeface="TH SarabunPSK" pitchFamily="34" charset="-34"/>
                <a:cs typeface="TH SarabunPSK" pitchFamily="34" charset="-34"/>
              </a:rPr>
              <a:t>  </a:t>
            </a:r>
            <a:r>
              <a:rPr lang="th-TH" sz="2400" b="1" dirty="0" smtClean="0">
                <a:solidFill>
                  <a:schemeClr val="tx1"/>
                </a:solidFill>
                <a:latin typeface="TH SarabunPSK" pitchFamily="34" charset="-34"/>
                <a:cs typeface="TH SarabunPSK" pitchFamily="34" charset="-34"/>
              </a:rPr>
              <a:t>การพัฒนาโครงข่ายรถไฟระหว่างเมือง</a:t>
            </a:r>
            <a:endParaRPr lang="th-TH" sz="2400" b="1" dirty="0">
              <a:solidFill>
                <a:schemeClr val="tx1"/>
              </a:solidFill>
              <a:latin typeface="TH SarabunPSK" pitchFamily="34" charset="-34"/>
              <a:cs typeface="TH SarabunPSK" pitchFamily="34" charset="-34"/>
            </a:endParaRPr>
          </a:p>
        </p:txBody>
      </p:sp>
    </p:spTree>
    <p:extLst>
      <p:ext uri="{BB962C8B-B14F-4D97-AF65-F5344CB8AC3E}">
        <p14:creationId xmlns:p14="http://schemas.microsoft.com/office/powerpoint/2010/main" xmlns="" val="3554108050"/>
      </p:ext>
    </p:extLst>
  </p:cSld>
  <p:clrMapOvr>
    <a:masterClrMapping/>
  </p:clrMapOvr>
  <p:transition spd="med" advClick="0">
    <p:fade thruBlk="1"/>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3"/>
          <p:cNvSpPr txBox="1">
            <a:spLocks noChangeArrowheads="1"/>
          </p:cNvSpPr>
          <p:nvPr>
            <p:custDataLst>
              <p:tags r:id="rId1"/>
            </p:custDataLst>
          </p:nvPr>
        </p:nvSpPr>
        <p:spPr bwMode="gray">
          <a:xfrm>
            <a:off x="0" y="947504"/>
            <a:ext cx="4780105" cy="400110"/>
          </a:xfrm>
          <a:prstGeom prst="rect">
            <a:avLst/>
          </a:prstGeom>
        </p:spPr>
        <p:txBody>
          <a:bodyPr vert="horz" wrap="square" lIns="91440" tIns="45720" rIns="91440" bIns="45720" rtlCol="0" anchor="ctr">
            <a:spAutoFit/>
          </a:bodyPr>
          <a:lstStyle/>
          <a:p>
            <a:pPr marL="0" lvl="2" algn="ctr"/>
            <a:r>
              <a:rPr lang="en-US" sz="2000" b="1" dirty="0" smtClean="0">
                <a:latin typeface="TH SarabunPSK" pitchFamily="34" charset="-34"/>
                <a:cs typeface="TH SarabunPSK" pitchFamily="34" charset="-34"/>
              </a:rPr>
              <a:t>“</a:t>
            </a:r>
            <a:r>
              <a:rPr lang="th-TH" sz="2000" b="1" dirty="0" smtClean="0">
                <a:solidFill>
                  <a:srgbClr val="0070C0"/>
                </a:solidFill>
                <a:latin typeface="TH SarabunPSK" pitchFamily="34" charset="-34"/>
                <a:cs typeface="TH SarabunPSK" pitchFamily="34" charset="-34"/>
              </a:rPr>
              <a:t>การพัฒนารถไฟทางคู่ขนาดทางมาตรฐาน </a:t>
            </a:r>
            <a:r>
              <a:rPr lang="en-US" sz="2000" b="1" dirty="0" smtClean="0">
                <a:solidFill>
                  <a:srgbClr val="0070C0"/>
                </a:solidFill>
                <a:latin typeface="TH SarabunPSK" pitchFamily="34" charset="-34"/>
                <a:cs typeface="TH SarabunPSK" pitchFamily="34" charset="-34"/>
              </a:rPr>
              <a:t>2</a:t>
            </a:r>
            <a:r>
              <a:rPr lang="th-TH" sz="2000" b="1" dirty="0" smtClean="0">
                <a:solidFill>
                  <a:srgbClr val="0070C0"/>
                </a:solidFill>
                <a:latin typeface="TH SarabunPSK" pitchFamily="34" charset="-34"/>
                <a:cs typeface="TH SarabunPSK" pitchFamily="34" charset="-34"/>
              </a:rPr>
              <a:t> เส้นทาง </a:t>
            </a:r>
            <a:r>
              <a:rPr lang="en-US" sz="2000" b="1" dirty="0" smtClean="0">
                <a:latin typeface="TH SarabunPSK" pitchFamily="34" charset="-34"/>
                <a:cs typeface="TH SarabunPSK" pitchFamily="34" charset="-34"/>
              </a:rPr>
              <a:t>”</a:t>
            </a:r>
            <a:endParaRPr lang="th-TH" sz="2000" b="1" dirty="0">
              <a:latin typeface="TH SarabunPSK" pitchFamily="34" charset="-34"/>
              <a:cs typeface="TH SarabunPSK" pitchFamily="34" charset="-34"/>
            </a:endParaRPr>
          </a:p>
        </p:txBody>
      </p:sp>
      <p:pic>
        <p:nvPicPr>
          <p:cNvPr id="15" name="Picture 17" descr="untitled.JPG"/>
          <p:cNvPicPr>
            <a:picLocks noChangeAspect="1" noChangeArrowheads="1"/>
          </p:cNvPicPr>
          <p:nvPr/>
        </p:nvPicPr>
        <p:blipFill>
          <a:blip r:embed="rId4" cstate="print">
            <a:extLst>
              <a:ext uri="{28A0092B-C50C-407E-A947-70E740481C1C}">
                <a14:useLocalDpi xmlns:a14="http://schemas.microsoft.com/office/drawing/2010/main" xmlns="" val="0"/>
              </a:ext>
            </a:extLst>
          </a:blip>
          <a:srcRect t="33877" b="14873"/>
          <a:stretch>
            <a:fillRect/>
          </a:stretch>
        </p:blipFill>
        <p:spPr bwMode="auto">
          <a:xfrm>
            <a:off x="2771800" y="1491630"/>
            <a:ext cx="4490755" cy="36004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nvGrpSpPr>
          <p:cNvPr id="2" name="Group 16"/>
          <p:cNvGrpSpPr/>
          <p:nvPr/>
        </p:nvGrpSpPr>
        <p:grpSpPr>
          <a:xfrm>
            <a:off x="6660232" y="1275606"/>
            <a:ext cx="2160240" cy="2346570"/>
            <a:chOff x="119711" y="1099482"/>
            <a:chExt cx="5100361" cy="5691046"/>
          </a:xfrm>
        </p:grpSpPr>
        <p:pic>
          <p:nvPicPr>
            <p:cNvPr id="18" name="Picture 2" descr="C:\Users\Administrator\Desktop\206ALSR_แผนที่แสดงแนวเส้นทางโครงการ.jpg"/>
            <p:cNvPicPr>
              <a:picLocks noChangeAspect="1" noChangeArrowheads="1"/>
            </p:cNvPicPr>
            <p:nvPr/>
          </p:nvPicPr>
          <p:blipFill rotWithShape="1">
            <a:blip r:embed="rId5" cstate="print">
              <a:extLst>
                <a:ext uri="{28A0092B-C50C-407E-A947-70E740481C1C}">
                  <a14:useLocalDpi xmlns:a14="http://schemas.microsoft.com/office/drawing/2010/main" xmlns="" val="0"/>
                </a:ext>
              </a:extLst>
            </a:blip>
            <a:srcRect l="7828" t="18095" r="5471" b="12907"/>
            <a:stretch/>
          </p:blipFill>
          <p:spPr bwMode="auto">
            <a:xfrm>
              <a:off x="161364" y="1099482"/>
              <a:ext cx="5058708" cy="5691046"/>
            </a:xfrm>
            <a:prstGeom prst="rect">
              <a:avLst/>
            </a:prstGeom>
            <a:noFill/>
            <a:extLst>
              <a:ext uri="{909E8E84-426E-40DD-AFC4-6F175D3DCCD1}">
                <a14:hiddenFill xmlns:a14="http://schemas.microsoft.com/office/drawing/2010/main" xmlns="">
                  <a:solidFill>
                    <a:srgbClr val="FFFFFF"/>
                  </a:solidFill>
                </a14:hiddenFill>
              </a:ext>
            </a:extLst>
          </p:spPr>
        </p:pic>
        <p:grpSp>
          <p:nvGrpSpPr>
            <p:cNvPr id="3" name="กลุ่ม 109"/>
            <p:cNvGrpSpPr/>
            <p:nvPr/>
          </p:nvGrpSpPr>
          <p:grpSpPr>
            <a:xfrm>
              <a:off x="119711" y="1988840"/>
              <a:ext cx="995531" cy="369953"/>
              <a:chOff x="-2244368" y="2755638"/>
              <a:chExt cx="995531" cy="369953"/>
            </a:xfrm>
          </p:grpSpPr>
          <p:sp>
            <p:nvSpPr>
              <p:cNvPr id="44" name="แผนผังลำดับงาน: สิ้นสุด 111"/>
              <p:cNvSpPr/>
              <p:nvPr/>
            </p:nvSpPr>
            <p:spPr>
              <a:xfrm>
                <a:off x="-2192082" y="2769106"/>
                <a:ext cx="840168" cy="294309"/>
              </a:xfrm>
              <a:prstGeom prst="flowChartTerminator">
                <a:avLst/>
              </a:prstGeom>
              <a:ln/>
              <a:effectLst>
                <a:glow rad="63500">
                  <a:schemeClr val="accent6">
                    <a:satMod val="175000"/>
                    <a:alpha val="40000"/>
                  </a:schemeClr>
                </a:glow>
              </a:effectLst>
            </p:spPr>
            <p:style>
              <a:lnRef idx="2">
                <a:schemeClr val="accent2"/>
              </a:lnRef>
              <a:fillRef idx="1">
                <a:schemeClr val="lt1"/>
              </a:fillRef>
              <a:effectRef idx="0">
                <a:schemeClr val="accent2"/>
              </a:effectRef>
              <a:fontRef idx="minor">
                <a:schemeClr val="dk1"/>
              </a:fontRef>
            </p:style>
            <p:txBody>
              <a:bodyPr lIns="128016" tIns="64008" rIns="128016" bIns="64008" rtlCol="0" anchor="t"/>
              <a:lstStyle/>
              <a:p>
                <a:pPr algn="ctr"/>
                <a:endParaRPr lang="th-TH" sz="300" b="1" dirty="0" smtClean="0">
                  <a:solidFill>
                    <a:schemeClr val="tx2">
                      <a:lumMod val="75000"/>
                    </a:schemeClr>
                  </a:solidFill>
                  <a:latin typeface="Browallia New" pitchFamily="34" charset="-34"/>
                  <a:cs typeface="JasmineUPC" pitchFamily="18" charset="-34"/>
                </a:endParaRPr>
              </a:p>
            </p:txBody>
          </p:sp>
          <p:sp>
            <p:nvSpPr>
              <p:cNvPr id="45" name="TextBox 44"/>
              <p:cNvSpPr txBox="1"/>
              <p:nvPr/>
            </p:nvSpPr>
            <p:spPr>
              <a:xfrm>
                <a:off x="-2244368" y="2755638"/>
                <a:ext cx="995531" cy="369953"/>
              </a:xfrm>
              <a:prstGeom prst="rect">
                <a:avLst/>
              </a:prstGeom>
              <a:noFill/>
            </p:spPr>
            <p:txBody>
              <a:bodyPr wrap="none" rtlCol="0">
                <a:spAutoFit/>
              </a:bodyPr>
              <a:lstStyle/>
              <a:p>
                <a:r>
                  <a:rPr lang="en-US" sz="300" b="1" dirty="0" err="1" smtClean="0">
                    <a:solidFill>
                      <a:srgbClr val="FF0000"/>
                    </a:solidFill>
                    <a:effectLst>
                      <a:outerShdw blurRad="38100" dist="38100" dir="2700000" algn="tl">
                        <a:srgbClr val="000000">
                          <a:alpha val="43137"/>
                        </a:srgbClr>
                      </a:outerShdw>
                    </a:effectLst>
                    <a:cs typeface="JasmineUPC" pitchFamily="18" charset="-34"/>
                  </a:rPr>
                  <a:t>Makkasan</a:t>
                </a:r>
                <a:endParaRPr lang="th-TH" sz="300" b="1" dirty="0">
                  <a:solidFill>
                    <a:srgbClr val="FF0000"/>
                  </a:solidFill>
                  <a:effectLst>
                    <a:outerShdw blurRad="38100" dist="38100" dir="2700000" algn="tl">
                      <a:srgbClr val="000000">
                        <a:alpha val="43137"/>
                      </a:srgbClr>
                    </a:outerShdw>
                  </a:effectLst>
                  <a:cs typeface="JasmineUPC" pitchFamily="18" charset="-34"/>
                </a:endParaRPr>
              </a:p>
            </p:txBody>
          </p:sp>
        </p:grpSp>
        <p:sp>
          <p:nvSpPr>
            <p:cNvPr id="20" name="แผนผังลำดับงาน: ตัวเชื่อมต่อ 123"/>
            <p:cNvSpPr/>
            <p:nvPr/>
          </p:nvSpPr>
          <p:spPr>
            <a:xfrm>
              <a:off x="1089199" y="1889417"/>
              <a:ext cx="144000" cy="144000"/>
            </a:xfrm>
            <a:prstGeom prst="flowChartConnector">
              <a:avLst/>
            </a:prstGeom>
            <a:solidFill>
              <a:schemeClr val="accent5">
                <a:lumMod val="20000"/>
                <a:lumOff val="80000"/>
              </a:schemeClr>
            </a:solidFill>
            <a:ln>
              <a:solidFill>
                <a:srgbClr val="FF0000"/>
              </a:solidFill>
            </a:ln>
            <a:effectLst>
              <a:glow rad="63500">
                <a:schemeClr val="accent2">
                  <a:satMod val="175000"/>
                  <a:alpha val="40000"/>
                </a:schemeClr>
              </a:glow>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28016" tIns="64008" rIns="128016" bIns="64008" rtlCol="0" anchor="t"/>
            <a:lstStyle/>
            <a:p>
              <a:pPr algn="ctr"/>
              <a:endParaRPr lang="th-TH" sz="300" b="1" dirty="0" smtClean="0">
                <a:solidFill>
                  <a:schemeClr val="tx2">
                    <a:lumMod val="75000"/>
                  </a:schemeClr>
                </a:solidFill>
                <a:latin typeface="Browallia New" pitchFamily="34" charset="-34"/>
                <a:cs typeface="JasmineUPC" pitchFamily="18" charset="-34"/>
              </a:endParaRPr>
            </a:p>
          </p:txBody>
        </p:sp>
        <p:grpSp>
          <p:nvGrpSpPr>
            <p:cNvPr id="4" name="กลุ่ม 90"/>
            <p:cNvGrpSpPr/>
            <p:nvPr/>
          </p:nvGrpSpPr>
          <p:grpSpPr>
            <a:xfrm>
              <a:off x="1088667" y="2106899"/>
              <a:ext cx="1059113" cy="369953"/>
              <a:chOff x="-2235445" y="2755638"/>
              <a:chExt cx="888737" cy="369953"/>
            </a:xfrm>
          </p:grpSpPr>
          <p:sp>
            <p:nvSpPr>
              <p:cNvPr id="42" name="แผนผังลำดับงาน: สิ้นสุด 114"/>
              <p:cNvSpPr/>
              <p:nvPr/>
            </p:nvSpPr>
            <p:spPr>
              <a:xfrm>
                <a:off x="-2192082" y="2769106"/>
                <a:ext cx="840168" cy="294309"/>
              </a:xfrm>
              <a:prstGeom prst="flowChartTerminator">
                <a:avLst/>
              </a:prstGeom>
              <a:ln/>
              <a:effectLst>
                <a:glow rad="63500">
                  <a:schemeClr val="accent6">
                    <a:satMod val="175000"/>
                    <a:alpha val="40000"/>
                  </a:schemeClr>
                </a:glow>
              </a:effectLst>
            </p:spPr>
            <p:style>
              <a:lnRef idx="2">
                <a:schemeClr val="accent2"/>
              </a:lnRef>
              <a:fillRef idx="1">
                <a:schemeClr val="lt1"/>
              </a:fillRef>
              <a:effectRef idx="0">
                <a:schemeClr val="accent2"/>
              </a:effectRef>
              <a:fontRef idx="minor">
                <a:schemeClr val="dk1"/>
              </a:fontRef>
            </p:style>
            <p:txBody>
              <a:bodyPr lIns="128016" tIns="64008" rIns="128016" bIns="64008" rtlCol="0" anchor="t"/>
              <a:lstStyle/>
              <a:p>
                <a:pPr algn="ctr"/>
                <a:endParaRPr lang="th-TH" sz="300" b="1" dirty="0" smtClean="0">
                  <a:solidFill>
                    <a:schemeClr val="tx2">
                      <a:lumMod val="75000"/>
                    </a:schemeClr>
                  </a:solidFill>
                  <a:latin typeface="Browallia New" pitchFamily="34" charset="-34"/>
                  <a:cs typeface="JasmineUPC" pitchFamily="18" charset="-34"/>
                </a:endParaRPr>
              </a:p>
            </p:txBody>
          </p:sp>
          <p:sp>
            <p:nvSpPr>
              <p:cNvPr id="43" name="TextBox 42"/>
              <p:cNvSpPr txBox="1"/>
              <p:nvPr/>
            </p:nvSpPr>
            <p:spPr>
              <a:xfrm>
                <a:off x="-2235445" y="2755638"/>
                <a:ext cx="888737" cy="369953"/>
              </a:xfrm>
              <a:prstGeom prst="rect">
                <a:avLst/>
              </a:prstGeom>
              <a:noFill/>
            </p:spPr>
            <p:txBody>
              <a:bodyPr wrap="none" rtlCol="0">
                <a:spAutoFit/>
              </a:bodyPr>
              <a:lstStyle/>
              <a:p>
                <a:r>
                  <a:rPr lang="en-US" sz="300" b="1" dirty="0" err="1" smtClean="0">
                    <a:solidFill>
                      <a:srgbClr val="FF0000"/>
                    </a:solidFill>
                    <a:effectLst>
                      <a:outerShdw blurRad="38100" dist="38100" dir="2700000" algn="tl">
                        <a:srgbClr val="000000">
                          <a:alpha val="43137"/>
                        </a:srgbClr>
                      </a:outerShdw>
                    </a:effectLst>
                    <a:cs typeface="JasmineUPC" pitchFamily="18" charset="-34"/>
                  </a:rPr>
                  <a:t>Lat</a:t>
                </a:r>
                <a:r>
                  <a:rPr lang="en-US" sz="300" b="1" dirty="0" smtClean="0">
                    <a:solidFill>
                      <a:srgbClr val="FF0000"/>
                    </a:solidFill>
                    <a:effectLst>
                      <a:outerShdw blurRad="38100" dist="38100" dir="2700000" algn="tl">
                        <a:srgbClr val="000000">
                          <a:alpha val="43137"/>
                        </a:srgbClr>
                      </a:outerShdw>
                    </a:effectLst>
                    <a:cs typeface="JasmineUPC" pitchFamily="18" charset="-34"/>
                  </a:rPr>
                  <a:t> </a:t>
                </a:r>
                <a:r>
                  <a:rPr lang="en-US" sz="300" b="1" dirty="0" err="1" smtClean="0">
                    <a:solidFill>
                      <a:srgbClr val="FF0000"/>
                    </a:solidFill>
                    <a:effectLst>
                      <a:outerShdw blurRad="38100" dist="38100" dir="2700000" algn="tl">
                        <a:srgbClr val="000000">
                          <a:alpha val="43137"/>
                        </a:srgbClr>
                      </a:outerShdw>
                    </a:effectLst>
                    <a:cs typeface="JasmineUPC" pitchFamily="18" charset="-34"/>
                  </a:rPr>
                  <a:t>Krabang</a:t>
                </a:r>
                <a:endParaRPr lang="th-TH" sz="300" b="1" dirty="0">
                  <a:solidFill>
                    <a:srgbClr val="FF0000"/>
                  </a:solidFill>
                  <a:effectLst>
                    <a:outerShdw blurRad="38100" dist="38100" dir="2700000" algn="tl">
                      <a:srgbClr val="000000">
                        <a:alpha val="43137"/>
                      </a:srgbClr>
                    </a:outerShdw>
                  </a:effectLst>
                  <a:cs typeface="JasmineUPC" pitchFamily="18" charset="-34"/>
                </a:endParaRPr>
              </a:p>
            </p:txBody>
          </p:sp>
        </p:grpSp>
        <p:sp>
          <p:nvSpPr>
            <p:cNvPr id="22" name="แผนผังลำดับงาน: ตัวเชื่อมต่อ 118"/>
            <p:cNvSpPr/>
            <p:nvPr/>
          </p:nvSpPr>
          <p:spPr>
            <a:xfrm>
              <a:off x="2047520" y="2007476"/>
              <a:ext cx="144000" cy="144000"/>
            </a:xfrm>
            <a:prstGeom prst="flowChartConnector">
              <a:avLst/>
            </a:prstGeom>
            <a:solidFill>
              <a:schemeClr val="accent5">
                <a:lumMod val="20000"/>
                <a:lumOff val="80000"/>
              </a:schemeClr>
            </a:solidFill>
            <a:ln>
              <a:solidFill>
                <a:srgbClr val="FF0000"/>
              </a:solidFill>
            </a:ln>
            <a:effectLst>
              <a:glow rad="63500">
                <a:schemeClr val="accent2">
                  <a:satMod val="175000"/>
                  <a:alpha val="40000"/>
                </a:schemeClr>
              </a:glow>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28016" tIns="64008" rIns="128016" bIns="64008" rtlCol="0" anchor="t"/>
            <a:lstStyle/>
            <a:p>
              <a:pPr algn="ctr"/>
              <a:endParaRPr lang="th-TH" sz="300" b="1" dirty="0" smtClean="0">
                <a:solidFill>
                  <a:schemeClr val="tx2">
                    <a:lumMod val="75000"/>
                  </a:schemeClr>
                </a:solidFill>
                <a:latin typeface="Browallia New" pitchFamily="34" charset="-34"/>
                <a:cs typeface="JasmineUPC" pitchFamily="18" charset="-34"/>
              </a:endParaRPr>
            </a:p>
          </p:txBody>
        </p:sp>
        <p:grpSp>
          <p:nvGrpSpPr>
            <p:cNvPr id="5" name="กลุ่ม 120"/>
            <p:cNvGrpSpPr/>
            <p:nvPr/>
          </p:nvGrpSpPr>
          <p:grpSpPr>
            <a:xfrm>
              <a:off x="3461434" y="1799122"/>
              <a:ext cx="1257755" cy="369953"/>
              <a:chOff x="-2207181" y="2755638"/>
              <a:chExt cx="855267" cy="369953"/>
            </a:xfrm>
          </p:grpSpPr>
          <p:sp>
            <p:nvSpPr>
              <p:cNvPr id="40" name="แผนผังลำดับงาน: สิ้นสุด 121"/>
              <p:cNvSpPr/>
              <p:nvPr/>
            </p:nvSpPr>
            <p:spPr>
              <a:xfrm>
                <a:off x="-2192082" y="2769106"/>
                <a:ext cx="840168" cy="294309"/>
              </a:xfrm>
              <a:prstGeom prst="flowChartTerminator">
                <a:avLst/>
              </a:prstGeom>
              <a:ln/>
              <a:effectLst>
                <a:glow rad="63500">
                  <a:schemeClr val="accent6">
                    <a:satMod val="175000"/>
                    <a:alpha val="40000"/>
                  </a:schemeClr>
                </a:glow>
              </a:effectLst>
            </p:spPr>
            <p:style>
              <a:lnRef idx="2">
                <a:schemeClr val="accent2"/>
              </a:lnRef>
              <a:fillRef idx="1">
                <a:schemeClr val="lt1"/>
              </a:fillRef>
              <a:effectRef idx="0">
                <a:schemeClr val="accent2"/>
              </a:effectRef>
              <a:fontRef idx="minor">
                <a:schemeClr val="dk1"/>
              </a:fontRef>
            </p:style>
            <p:txBody>
              <a:bodyPr lIns="128016" tIns="64008" rIns="128016" bIns="64008" rtlCol="0" anchor="t"/>
              <a:lstStyle/>
              <a:p>
                <a:pPr algn="ctr"/>
                <a:endParaRPr lang="th-TH" sz="300" b="1" dirty="0" smtClean="0">
                  <a:solidFill>
                    <a:schemeClr val="tx2">
                      <a:lumMod val="75000"/>
                    </a:schemeClr>
                  </a:solidFill>
                  <a:latin typeface="Browallia New" pitchFamily="34" charset="-34"/>
                  <a:cs typeface="JasmineUPC" pitchFamily="18" charset="-34"/>
                </a:endParaRPr>
              </a:p>
            </p:txBody>
          </p:sp>
          <p:sp>
            <p:nvSpPr>
              <p:cNvPr id="41" name="TextBox 40"/>
              <p:cNvSpPr txBox="1"/>
              <p:nvPr/>
            </p:nvSpPr>
            <p:spPr>
              <a:xfrm>
                <a:off x="-2207181" y="2755638"/>
                <a:ext cx="803578" cy="369953"/>
              </a:xfrm>
              <a:prstGeom prst="rect">
                <a:avLst/>
              </a:prstGeom>
              <a:noFill/>
            </p:spPr>
            <p:txBody>
              <a:bodyPr wrap="none" rtlCol="0">
                <a:spAutoFit/>
              </a:bodyPr>
              <a:lstStyle/>
              <a:p>
                <a:r>
                  <a:rPr lang="en-US" sz="300" b="1" dirty="0" err="1" smtClean="0">
                    <a:solidFill>
                      <a:srgbClr val="FF0000"/>
                    </a:solidFill>
                    <a:effectLst>
                      <a:outerShdw blurRad="38100" dist="38100" dir="2700000" algn="tl">
                        <a:srgbClr val="000000">
                          <a:alpha val="43137"/>
                        </a:srgbClr>
                      </a:outerShdw>
                    </a:effectLst>
                    <a:cs typeface="JasmineUPC" pitchFamily="18" charset="-34"/>
                  </a:rPr>
                  <a:t>Chachoengsao</a:t>
                </a:r>
                <a:endParaRPr lang="th-TH" sz="300" b="1" dirty="0">
                  <a:solidFill>
                    <a:srgbClr val="FF0000"/>
                  </a:solidFill>
                  <a:effectLst>
                    <a:outerShdw blurRad="38100" dist="38100" dir="2700000" algn="tl">
                      <a:srgbClr val="000000">
                        <a:alpha val="43137"/>
                      </a:srgbClr>
                    </a:outerShdw>
                  </a:effectLst>
                  <a:cs typeface="JasmineUPC" pitchFamily="18" charset="-34"/>
                </a:endParaRPr>
              </a:p>
            </p:txBody>
          </p:sp>
        </p:grpSp>
        <p:sp>
          <p:nvSpPr>
            <p:cNvPr id="24" name="แผนผังลำดับงาน: ตัวเชื่อมต่อ 129"/>
            <p:cNvSpPr/>
            <p:nvPr/>
          </p:nvSpPr>
          <p:spPr>
            <a:xfrm>
              <a:off x="3142473" y="2108181"/>
              <a:ext cx="144000" cy="144000"/>
            </a:xfrm>
            <a:prstGeom prst="flowChartConnector">
              <a:avLst/>
            </a:prstGeom>
            <a:solidFill>
              <a:schemeClr val="accent5">
                <a:lumMod val="20000"/>
                <a:lumOff val="80000"/>
              </a:schemeClr>
            </a:solidFill>
            <a:ln>
              <a:solidFill>
                <a:srgbClr val="FF0000"/>
              </a:solidFill>
            </a:ln>
            <a:effectLst>
              <a:glow rad="63500">
                <a:schemeClr val="accent2">
                  <a:satMod val="175000"/>
                  <a:alpha val="40000"/>
                </a:schemeClr>
              </a:glow>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28016" tIns="64008" rIns="128016" bIns="64008" rtlCol="0" anchor="t"/>
            <a:lstStyle/>
            <a:p>
              <a:pPr algn="ctr"/>
              <a:endParaRPr lang="th-TH" sz="300" b="1" dirty="0" smtClean="0">
                <a:solidFill>
                  <a:schemeClr val="tx2">
                    <a:lumMod val="75000"/>
                  </a:schemeClr>
                </a:solidFill>
                <a:latin typeface="Browallia New" pitchFamily="34" charset="-34"/>
                <a:cs typeface="JasmineUPC" pitchFamily="18" charset="-34"/>
              </a:endParaRPr>
            </a:p>
          </p:txBody>
        </p:sp>
        <p:grpSp>
          <p:nvGrpSpPr>
            <p:cNvPr id="6" name="กลุ่ม 130"/>
            <p:cNvGrpSpPr/>
            <p:nvPr/>
          </p:nvGrpSpPr>
          <p:grpSpPr>
            <a:xfrm>
              <a:off x="3294874" y="3286250"/>
              <a:ext cx="958149" cy="369953"/>
              <a:chOff x="-2207181" y="2755638"/>
              <a:chExt cx="855267" cy="369953"/>
            </a:xfrm>
          </p:grpSpPr>
          <p:sp>
            <p:nvSpPr>
              <p:cNvPr id="38" name="แผนผังลำดับงาน: สิ้นสุด 131"/>
              <p:cNvSpPr/>
              <p:nvPr/>
            </p:nvSpPr>
            <p:spPr>
              <a:xfrm>
                <a:off x="-2192082" y="2769106"/>
                <a:ext cx="840168" cy="294309"/>
              </a:xfrm>
              <a:prstGeom prst="flowChartTerminator">
                <a:avLst/>
              </a:prstGeom>
              <a:ln/>
              <a:effectLst>
                <a:glow rad="63500">
                  <a:schemeClr val="accent6">
                    <a:satMod val="175000"/>
                    <a:alpha val="40000"/>
                  </a:schemeClr>
                </a:glow>
              </a:effectLst>
            </p:spPr>
            <p:style>
              <a:lnRef idx="2">
                <a:schemeClr val="accent2"/>
              </a:lnRef>
              <a:fillRef idx="1">
                <a:schemeClr val="lt1"/>
              </a:fillRef>
              <a:effectRef idx="0">
                <a:schemeClr val="accent2"/>
              </a:effectRef>
              <a:fontRef idx="minor">
                <a:schemeClr val="dk1"/>
              </a:fontRef>
            </p:style>
            <p:txBody>
              <a:bodyPr lIns="128016" tIns="64008" rIns="128016" bIns="64008" rtlCol="0" anchor="t"/>
              <a:lstStyle/>
              <a:p>
                <a:pPr algn="ctr"/>
                <a:endParaRPr lang="th-TH" sz="300" b="1" dirty="0" smtClean="0">
                  <a:solidFill>
                    <a:schemeClr val="tx2">
                      <a:lumMod val="75000"/>
                    </a:schemeClr>
                  </a:solidFill>
                  <a:latin typeface="Browallia New" pitchFamily="34" charset="-34"/>
                  <a:cs typeface="JasmineUPC" pitchFamily="18" charset="-34"/>
                </a:endParaRPr>
              </a:p>
            </p:txBody>
          </p:sp>
          <p:sp>
            <p:nvSpPr>
              <p:cNvPr id="39" name="TextBox 38"/>
              <p:cNvSpPr txBox="1"/>
              <p:nvPr/>
            </p:nvSpPr>
            <p:spPr>
              <a:xfrm>
                <a:off x="-2207181" y="2755638"/>
                <a:ext cx="844045" cy="369953"/>
              </a:xfrm>
              <a:prstGeom prst="rect">
                <a:avLst/>
              </a:prstGeom>
              <a:noFill/>
            </p:spPr>
            <p:txBody>
              <a:bodyPr wrap="none" rtlCol="0">
                <a:spAutoFit/>
              </a:bodyPr>
              <a:lstStyle/>
              <a:p>
                <a:r>
                  <a:rPr lang="en-US" sz="300" b="1" dirty="0" err="1" smtClean="0">
                    <a:solidFill>
                      <a:srgbClr val="FF0000"/>
                    </a:solidFill>
                    <a:effectLst>
                      <a:outerShdw blurRad="38100" dist="38100" dir="2700000" algn="tl">
                        <a:srgbClr val="000000">
                          <a:alpha val="43137"/>
                        </a:srgbClr>
                      </a:outerShdw>
                    </a:effectLst>
                    <a:cs typeface="JasmineUPC" pitchFamily="18" charset="-34"/>
                  </a:rPr>
                  <a:t>Chonburi</a:t>
                </a:r>
                <a:endParaRPr lang="th-TH" sz="300" b="1" dirty="0">
                  <a:solidFill>
                    <a:srgbClr val="FF0000"/>
                  </a:solidFill>
                  <a:effectLst>
                    <a:outerShdw blurRad="38100" dist="38100" dir="2700000" algn="tl">
                      <a:srgbClr val="000000">
                        <a:alpha val="43137"/>
                      </a:srgbClr>
                    </a:outerShdw>
                  </a:effectLst>
                  <a:cs typeface="JasmineUPC" pitchFamily="18" charset="-34"/>
                </a:endParaRPr>
              </a:p>
            </p:txBody>
          </p:sp>
        </p:grpSp>
        <p:sp>
          <p:nvSpPr>
            <p:cNvPr id="26" name="แผนผังลำดับงาน: ตัวเชื่อมต่อ 133"/>
            <p:cNvSpPr/>
            <p:nvPr/>
          </p:nvSpPr>
          <p:spPr>
            <a:xfrm>
              <a:off x="2975909" y="3450027"/>
              <a:ext cx="144000" cy="144000"/>
            </a:xfrm>
            <a:prstGeom prst="flowChartConnector">
              <a:avLst/>
            </a:prstGeom>
            <a:solidFill>
              <a:schemeClr val="accent5">
                <a:lumMod val="20000"/>
                <a:lumOff val="80000"/>
              </a:schemeClr>
            </a:solidFill>
            <a:ln>
              <a:solidFill>
                <a:srgbClr val="FF0000"/>
              </a:solidFill>
            </a:ln>
            <a:effectLst>
              <a:glow rad="63500">
                <a:schemeClr val="accent2">
                  <a:satMod val="175000"/>
                  <a:alpha val="40000"/>
                </a:schemeClr>
              </a:glow>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28016" tIns="64008" rIns="128016" bIns="64008" rtlCol="0" anchor="t"/>
            <a:lstStyle/>
            <a:p>
              <a:pPr algn="ctr"/>
              <a:endParaRPr lang="th-TH" sz="300" b="1" dirty="0" smtClean="0">
                <a:solidFill>
                  <a:schemeClr val="tx2">
                    <a:lumMod val="75000"/>
                  </a:schemeClr>
                </a:solidFill>
                <a:latin typeface="Browallia New" pitchFamily="34" charset="-34"/>
                <a:cs typeface="JasmineUPC" pitchFamily="18" charset="-34"/>
              </a:endParaRPr>
            </a:p>
          </p:txBody>
        </p:sp>
        <p:grpSp>
          <p:nvGrpSpPr>
            <p:cNvPr id="7" name="กลุ่ม 134"/>
            <p:cNvGrpSpPr/>
            <p:nvPr/>
          </p:nvGrpSpPr>
          <p:grpSpPr>
            <a:xfrm>
              <a:off x="3015540" y="4722721"/>
              <a:ext cx="912655" cy="369953"/>
              <a:chOff x="-2192082" y="2755638"/>
              <a:chExt cx="916790" cy="369953"/>
            </a:xfrm>
          </p:grpSpPr>
          <p:sp>
            <p:nvSpPr>
              <p:cNvPr id="36" name="แผนผังลำดับงาน: สิ้นสุด 135"/>
              <p:cNvSpPr/>
              <p:nvPr/>
            </p:nvSpPr>
            <p:spPr>
              <a:xfrm>
                <a:off x="-2192082" y="2769106"/>
                <a:ext cx="840168" cy="294309"/>
              </a:xfrm>
              <a:prstGeom prst="flowChartTerminator">
                <a:avLst/>
              </a:prstGeom>
              <a:ln/>
              <a:effectLst>
                <a:glow rad="63500">
                  <a:schemeClr val="accent6">
                    <a:satMod val="175000"/>
                    <a:alpha val="40000"/>
                  </a:schemeClr>
                </a:glow>
              </a:effectLst>
            </p:spPr>
            <p:style>
              <a:lnRef idx="2">
                <a:schemeClr val="accent2"/>
              </a:lnRef>
              <a:fillRef idx="1">
                <a:schemeClr val="lt1"/>
              </a:fillRef>
              <a:effectRef idx="0">
                <a:schemeClr val="accent2"/>
              </a:effectRef>
              <a:fontRef idx="minor">
                <a:schemeClr val="dk1"/>
              </a:fontRef>
            </p:style>
            <p:txBody>
              <a:bodyPr lIns="128016" tIns="64008" rIns="128016" bIns="64008" rtlCol="0" anchor="t"/>
              <a:lstStyle/>
              <a:p>
                <a:pPr algn="ctr"/>
                <a:endParaRPr lang="th-TH" sz="300" b="1" dirty="0" smtClean="0">
                  <a:solidFill>
                    <a:schemeClr val="tx2">
                      <a:lumMod val="75000"/>
                    </a:schemeClr>
                  </a:solidFill>
                  <a:latin typeface="Browallia New" pitchFamily="34" charset="-34"/>
                  <a:cs typeface="JasmineUPC" pitchFamily="18" charset="-34"/>
                </a:endParaRPr>
              </a:p>
            </p:txBody>
          </p:sp>
          <p:sp>
            <p:nvSpPr>
              <p:cNvPr id="37" name="TextBox 36"/>
              <p:cNvSpPr txBox="1"/>
              <p:nvPr/>
            </p:nvSpPr>
            <p:spPr>
              <a:xfrm>
                <a:off x="-2147592" y="2755638"/>
                <a:ext cx="872300" cy="369953"/>
              </a:xfrm>
              <a:prstGeom prst="rect">
                <a:avLst/>
              </a:prstGeom>
              <a:noFill/>
            </p:spPr>
            <p:txBody>
              <a:bodyPr wrap="none" rtlCol="0">
                <a:spAutoFit/>
              </a:bodyPr>
              <a:lstStyle/>
              <a:p>
                <a:r>
                  <a:rPr lang="en-US" sz="300" b="1" dirty="0" err="1" smtClean="0">
                    <a:solidFill>
                      <a:srgbClr val="FF0000"/>
                    </a:solidFill>
                    <a:effectLst>
                      <a:outerShdw blurRad="38100" dist="38100" dir="2700000" algn="tl">
                        <a:srgbClr val="000000">
                          <a:alpha val="43137"/>
                        </a:srgbClr>
                      </a:outerShdw>
                    </a:effectLst>
                    <a:cs typeface="JasmineUPC" pitchFamily="18" charset="-34"/>
                  </a:rPr>
                  <a:t>Pattaya</a:t>
                </a:r>
                <a:endParaRPr lang="th-TH" sz="300" b="1" dirty="0">
                  <a:solidFill>
                    <a:srgbClr val="FF0000"/>
                  </a:solidFill>
                  <a:effectLst>
                    <a:outerShdw blurRad="38100" dist="38100" dir="2700000" algn="tl">
                      <a:srgbClr val="000000">
                        <a:alpha val="43137"/>
                      </a:srgbClr>
                    </a:outerShdw>
                  </a:effectLst>
                  <a:cs typeface="JasmineUPC" pitchFamily="18" charset="-34"/>
                </a:endParaRPr>
              </a:p>
            </p:txBody>
          </p:sp>
        </p:grpSp>
        <p:sp>
          <p:nvSpPr>
            <p:cNvPr id="28" name="แผนผังลำดับงาน: ตัวเชื่อมต่อ 137"/>
            <p:cNvSpPr/>
            <p:nvPr/>
          </p:nvSpPr>
          <p:spPr>
            <a:xfrm>
              <a:off x="2681546" y="4886498"/>
              <a:ext cx="144000" cy="144000"/>
            </a:xfrm>
            <a:prstGeom prst="flowChartConnector">
              <a:avLst/>
            </a:prstGeom>
            <a:solidFill>
              <a:schemeClr val="accent5">
                <a:lumMod val="20000"/>
                <a:lumOff val="80000"/>
              </a:schemeClr>
            </a:solidFill>
            <a:ln>
              <a:solidFill>
                <a:srgbClr val="FF0000"/>
              </a:solidFill>
            </a:ln>
            <a:effectLst>
              <a:glow rad="63500">
                <a:schemeClr val="accent2">
                  <a:satMod val="175000"/>
                  <a:alpha val="40000"/>
                </a:schemeClr>
              </a:glow>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28016" tIns="64008" rIns="128016" bIns="64008" rtlCol="0" anchor="t"/>
            <a:lstStyle/>
            <a:p>
              <a:pPr algn="ctr"/>
              <a:endParaRPr lang="th-TH" sz="300" b="1" dirty="0" smtClean="0">
                <a:solidFill>
                  <a:schemeClr val="tx2">
                    <a:lumMod val="75000"/>
                  </a:schemeClr>
                </a:solidFill>
                <a:latin typeface="Browallia New" pitchFamily="34" charset="-34"/>
                <a:cs typeface="JasmineUPC" pitchFamily="18" charset="-34"/>
              </a:endParaRPr>
            </a:p>
          </p:txBody>
        </p:sp>
        <p:sp>
          <p:nvSpPr>
            <p:cNvPr id="29" name="แผนผังลำดับงาน: สิ้นสุด 138"/>
            <p:cNvSpPr/>
            <p:nvPr/>
          </p:nvSpPr>
          <p:spPr>
            <a:xfrm>
              <a:off x="3673398" y="5595450"/>
              <a:ext cx="836378" cy="294309"/>
            </a:xfrm>
            <a:prstGeom prst="flowChartTerminator">
              <a:avLst/>
            </a:prstGeom>
            <a:ln/>
            <a:effectLst>
              <a:glow rad="63500">
                <a:schemeClr val="accent6">
                  <a:satMod val="175000"/>
                  <a:alpha val="40000"/>
                </a:schemeClr>
              </a:glow>
            </a:effectLst>
          </p:spPr>
          <p:style>
            <a:lnRef idx="2">
              <a:schemeClr val="accent2"/>
            </a:lnRef>
            <a:fillRef idx="1">
              <a:schemeClr val="lt1"/>
            </a:fillRef>
            <a:effectRef idx="0">
              <a:schemeClr val="accent2"/>
            </a:effectRef>
            <a:fontRef idx="minor">
              <a:schemeClr val="dk1"/>
            </a:fontRef>
          </p:style>
          <p:txBody>
            <a:bodyPr lIns="128016" tIns="64008" rIns="128016" bIns="64008" rtlCol="0" anchor="t"/>
            <a:lstStyle/>
            <a:p>
              <a:pPr algn="ctr"/>
              <a:endParaRPr lang="th-TH" sz="300" b="1" dirty="0" smtClean="0">
                <a:solidFill>
                  <a:schemeClr val="tx2">
                    <a:lumMod val="75000"/>
                  </a:schemeClr>
                </a:solidFill>
                <a:latin typeface="Browallia New" pitchFamily="34" charset="-34"/>
                <a:cs typeface="JasmineUPC" pitchFamily="18" charset="-34"/>
              </a:endParaRPr>
            </a:p>
          </p:txBody>
        </p:sp>
        <p:sp>
          <p:nvSpPr>
            <p:cNvPr id="30" name="TextBox 29"/>
            <p:cNvSpPr txBox="1"/>
            <p:nvPr/>
          </p:nvSpPr>
          <p:spPr>
            <a:xfrm>
              <a:off x="3717687" y="5581982"/>
              <a:ext cx="859281" cy="369954"/>
            </a:xfrm>
            <a:prstGeom prst="rect">
              <a:avLst/>
            </a:prstGeom>
            <a:noFill/>
          </p:spPr>
          <p:txBody>
            <a:bodyPr wrap="none" rtlCol="0">
              <a:spAutoFit/>
            </a:bodyPr>
            <a:lstStyle/>
            <a:p>
              <a:r>
                <a:rPr lang="en-US" sz="300" b="1" dirty="0" err="1" smtClean="0">
                  <a:solidFill>
                    <a:srgbClr val="FF0000"/>
                  </a:solidFill>
                  <a:effectLst>
                    <a:outerShdw blurRad="38100" dist="38100" dir="2700000" algn="tl">
                      <a:srgbClr val="000000">
                        <a:alpha val="43137"/>
                      </a:srgbClr>
                    </a:outerShdw>
                  </a:effectLst>
                  <a:cs typeface="JasmineUPC" pitchFamily="18" charset="-34"/>
                </a:rPr>
                <a:t>Rayong</a:t>
              </a:r>
              <a:endParaRPr lang="th-TH" sz="300" b="1" dirty="0">
                <a:solidFill>
                  <a:srgbClr val="FF0000"/>
                </a:solidFill>
                <a:effectLst>
                  <a:outerShdw blurRad="38100" dist="38100" dir="2700000" algn="tl">
                    <a:srgbClr val="000000">
                      <a:alpha val="43137"/>
                    </a:srgbClr>
                  </a:outerShdw>
                </a:effectLst>
                <a:cs typeface="JasmineUPC" pitchFamily="18" charset="-34"/>
              </a:endParaRPr>
            </a:p>
          </p:txBody>
        </p:sp>
        <p:sp>
          <p:nvSpPr>
            <p:cNvPr id="31" name="แผนผังลำดับงาน: ตัวเชื่อมต่อ 140"/>
            <p:cNvSpPr/>
            <p:nvPr/>
          </p:nvSpPr>
          <p:spPr>
            <a:xfrm>
              <a:off x="3963664" y="5907662"/>
              <a:ext cx="144000" cy="144000"/>
            </a:xfrm>
            <a:prstGeom prst="flowChartConnector">
              <a:avLst/>
            </a:prstGeom>
            <a:solidFill>
              <a:schemeClr val="accent5">
                <a:lumMod val="20000"/>
                <a:lumOff val="80000"/>
              </a:schemeClr>
            </a:solidFill>
            <a:ln>
              <a:solidFill>
                <a:srgbClr val="FF0000"/>
              </a:solidFill>
            </a:ln>
            <a:effectLst>
              <a:glow rad="63500">
                <a:schemeClr val="accent2">
                  <a:satMod val="175000"/>
                  <a:alpha val="40000"/>
                </a:schemeClr>
              </a:glow>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28016" tIns="64008" rIns="128016" bIns="64008" rtlCol="0" anchor="t"/>
            <a:lstStyle/>
            <a:p>
              <a:pPr algn="ctr"/>
              <a:endParaRPr lang="th-TH" sz="300" b="1" dirty="0" smtClean="0">
                <a:solidFill>
                  <a:schemeClr val="tx2">
                    <a:lumMod val="75000"/>
                  </a:schemeClr>
                </a:solidFill>
                <a:latin typeface="Browallia New" pitchFamily="34" charset="-34"/>
                <a:cs typeface="JasmineUPC" pitchFamily="18" charset="-34"/>
              </a:endParaRPr>
            </a:p>
          </p:txBody>
        </p:sp>
        <p:grpSp>
          <p:nvGrpSpPr>
            <p:cNvPr id="8" name="กลุ่ม 29"/>
            <p:cNvGrpSpPr/>
            <p:nvPr/>
          </p:nvGrpSpPr>
          <p:grpSpPr>
            <a:xfrm>
              <a:off x="213650" y="1491345"/>
              <a:ext cx="921611" cy="369953"/>
              <a:chOff x="-2192082" y="2755638"/>
              <a:chExt cx="921611" cy="369953"/>
            </a:xfrm>
          </p:grpSpPr>
          <p:sp>
            <p:nvSpPr>
              <p:cNvPr id="34" name="แผนผังลำดับงาน: สิ้นสุด 30"/>
              <p:cNvSpPr/>
              <p:nvPr/>
            </p:nvSpPr>
            <p:spPr>
              <a:xfrm>
                <a:off x="-2192082" y="2769106"/>
                <a:ext cx="840168" cy="294309"/>
              </a:xfrm>
              <a:prstGeom prst="flowChartTerminator">
                <a:avLst/>
              </a:prstGeom>
              <a:ln/>
              <a:effectLst>
                <a:glow rad="63500">
                  <a:schemeClr val="accent6">
                    <a:satMod val="175000"/>
                    <a:alpha val="40000"/>
                  </a:schemeClr>
                </a:glow>
              </a:effectLst>
            </p:spPr>
            <p:style>
              <a:lnRef idx="2">
                <a:schemeClr val="accent2"/>
              </a:lnRef>
              <a:fillRef idx="1">
                <a:schemeClr val="lt1"/>
              </a:fillRef>
              <a:effectRef idx="0">
                <a:schemeClr val="accent2"/>
              </a:effectRef>
              <a:fontRef idx="minor">
                <a:schemeClr val="dk1"/>
              </a:fontRef>
            </p:style>
            <p:txBody>
              <a:bodyPr lIns="128016" tIns="64008" rIns="128016" bIns="64008" rtlCol="0" anchor="t"/>
              <a:lstStyle/>
              <a:p>
                <a:pPr algn="ctr"/>
                <a:endParaRPr lang="th-TH" sz="300" b="1" dirty="0" smtClean="0">
                  <a:solidFill>
                    <a:schemeClr val="tx2">
                      <a:lumMod val="75000"/>
                    </a:schemeClr>
                  </a:solidFill>
                  <a:latin typeface="Browallia New" pitchFamily="34" charset="-34"/>
                  <a:cs typeface="JasmineUPC" pitchFamily="18" charset="-34"/>
                </a:endParaRPr>
              </a:p>
            </p:txBody>
          </p:sp>
          <p:sp>
            <p:nvSpPr>
              <p:cNvPr id="35" name="TextBox 34"/>
              <p:cNvSpPr txBox="1"/>
              <p:nvPr/>
            </p:nvSpPr>
            <p:spPr>
              <a:xfrm>
                <a:off x="-2175168" y="2755638"/>
                <a:ext cx="904697" cy="369953"/>
              </a:xfrm>
              <a:prstGeom prst="rect">
                <a:avLst/>
              </a:prstGeom>
              <a:noFill/>
            </p:spPr>
            <p:txBody>
              <a:bodyPr wrap="none" rtlCol="0">
                <a:spAutoFit/>
              </a:bodyPr>
              <a:lstStyle/>
              <a:p>
                <a:r>
                  <a:rPr lang="en-US" sz="300" b="1" dirty="0" err="1" smtClean="0">
                    <a:solidFill>
                      <a:srgbClr val="FF0000"/>
                    </a:solidFill>
                    <a:effectLst>
                      <a:outerShdw blurRad="38100" dist="38100" dir="2700000" algn="tl">
                        <a:srgbClr val="000000">
                          <a:alpha val="43137"/>
                        </a:srgbClr>
                      </a:outerShdw>
                    </a:effectLst>
                    <a:cs typeface="JasmineUPC" pitchFamily="18" charset="-34"/>
                  </a:rPr>
                  <a:t>Bangsue</a:t>
                </a:r>
                <a:endParaRPr lang="th-TH" sz="300" b="1" dirty="0">
                  <a:solidFill>
                    <a:srgbClr val="FF0000"/>
                  </a:solidFill>
                  <a:effectLst>
                    <a:outerShdw blurRad="38100" dist="38100" dir="2700000" algn="tl">
                      <a:srgbClr val="000000">
                        <a:alpha val="43137"/>
                      </a:srgbClr>
                    </a:outerShdw>
                  </a:effectLst>
                  <a:cs typeface="JasmineUPC" pitchFamily="18" charset="-34"/>
                </a:endParaRPr>
              </a:p>
            </p:txBody>
          </p:sp>
        </p:grpSp>
        <p:sp>
          <p:nvSpPr>
            <p:cNvPr id="33" name="แผนผังลำดับงาน: ตัวเชื่อมต่อ 32"/>
            <p:cNvSpPr/>
            <p:nvPr/>
          </p:nvSpPr>
          <p:spPr>
            <a:xfrm>
              <a:off x="1232320" y="1579967"/>
              <a:ext cx="144000" cy="144000"/>
            </a:xfrm>
            <a:prstGeom prst="flowChartConnector">
              <a:avLst/>
            </a:prstGeom>
            <a:solidFill>
              <a:schemeClr val="accent5">
                <a:lumMod val="20000"/>
                <a:lumOff val="80000"/>
              </a:schemeClr>
            </a:solidFill>
            <a:ln>
              <a:solidFill>
                <a:srgbClr val="FF0000"/>
              </a:solidFill>
            </a:ln>
            <a:effectLst>
              <a:glow rad="63500">
                <a:schemeClr val="accent2">
                  <a:satMod val="175000"/>
                  <a:alpha val="40000"/>
                </a:schemeClr>
              </a:glow>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28016" tIns="64008" rIns="128016" bIns="64008" rtlCol="0" anchor="t"/>
            <a:lstStyle/>
            <a:p>
              <a:pPr algn="ctr"/>
              <a:endParaRPr lang="th-TH" sz="300" b="1" dirty="0" smtClean="0">
                <a:solidFill>
                  <a:schemeClr val="tx2">
                    <a:lumMod val="75000"/>
                  </a:schemeClr>
                </a:solidFill>
                <a:latin typeface="Browallia New" pitchFamily="34" charset="-34"/>
                <a:cs typeface="JasmineUPC" pitchFamily="18" charset="-34"/>
              </a:endParaRPr>
            </a:p>
          </p:txBody>
        </p:sp>
      </p:grpSp>
      <p:grpSp>
        <p:nvGrpSpPr>
          <p:cNvPr id="9" name="Group 46"/>
          <p:cNvGrpSpPr/>
          <p:nvPr/>
        </p:nvGrpSpPr>
        <p:grpSpPr>
          <a:xfrm>
            <a:off x="539552" y="1491630"/>
            <a:ext cx="2161622" cy="2658076"/>
            <a:chOff x="3627339" y="908720"/>
            <a:chExt cx="5338531" cy="5833274"/>
          </a:xfrm>
        </p:grpSpPr>
        <p:grpSp>
          <p:nvGrpSpPr>
            <p:cNvPr id="11" name="กลุ่ม 4"/>
            <p:cNvGrpSpPr/>
            <p:nvPr/>
          </p:nvGrpSpPr>
          <p:grpSpPr>
            <a:xfrm>
              <a:off x="3627339" y="908720"/>
              <a:ext cx="5338531" cy="5833274"/>
              <a:chOff x="3627339" y="785794"/>
              <a:chExt cx="5338531" cy="5833274"/>
            </a:xfrm>
          </p:grpSpPr>
          <p:grpSp>
            <p:nvGrpSpPr>
              <p:cNvPr id="12" name="กลุ่ม 8"/>
              <p:cNvGrpSpPr/>
              <p:nvPr/>
            </p:nvGrpSpPr>
            <p:grpSpPr>
              <a:xfrm>
                <a:off x="3644234" y="785794"/>
                <a:ext cx="5285661" cy="2452308"/>
                <a:chOff x="0" y="841717"/>
                <a:chExt cx="9156967" cy="5516126"/>
              </a:xfrm>
            </p:grpSpPr>
            <p:pic>
              <p:nvPicPr>
                <p:cNvPr id="74" name="Snagit_PPT6B23"/>
                <p:cNvPicPr>
                  <a:picLocks noChangeAspect="1"/>
                </p:cNvPicPr>
                <p:nvPr/>
              </p:nvPicPr>
              <p:blipFill rotWithShape="1">
                <a:blip r:embed="rId6" cstate="print">
                  <a:extLst>
                    <a:ext uri="{28A0092B-C50C-407E-A947-70E740481C1C}">
                      <a14:useLocalDpi xmlns:a14="http://schemas.microsoft.com/office/drawing/2010/main" xmlns="" val="0"/>
                    </a:ext>
                  </a:extLst>
                </a:blip>
                <a:srcRect l="371" r="1256" b="24961"/>
                <a:stretch/>
              </p:blipFill>
              <p:spPr>
                <a:xfrm>
                  <a:off x="0" y="3336598"/>
                  <a:ext cx="9156967" cy="3021245"/>
                </a:xfrm>
                <a:prstGeom prst="rect">
                  <a:avLst/>
                </a:prstGeom>
              </p:spPr>
            </p:pic>
            <p:pic>
              <p:nvPicPr>
                <p:cNvPr id="75" name="Snagit_PPT8019"/>
                <p:cNvPicPr>
                  <a:picLocks noChangeAspect="1"/>
                </p:cNvPicPr>
                <p:nvPr/>
              </p:nvPicPr>
              <p:blipFill>
                <a:blip r:embed="rId7" cstate="print">
                  <a:extLst>
                    <a:ext uri="{28A0092B-C50C-407E-A947-70E740481C1C}">
                      <a14:useLocalDpi xmlns:a14="http://schemas.microsoft.com/office/drawing/2010/main" xmlns="" val="0"/>
                    </a:ext>
                  </a:extLst>
                </a:blip>
                <a:stretch>
                  <a:fillRect/>
                </a:stretch>
              </p:blipFill>
              <p:spPr>
                <a:xfrm>
                  <a:off x="0" y="841717"/>
                  <a:ext cx="9156967" cy="4481543"/>
                </a:xfrm>
                <a:prstGeom prst="rect">
                  <a:avLst/>
                </a:prstGeom>
              </p:spPr>
            </p:pic>
          </p:grpSp>
          <p:grpSp>
            <p:nvGrpSpPr>
              <p:cNvPr id="13" name="กลุ่ม 9"/>
              <p:cNvGrpSpPr>
                <a:grpSpLocks noChangeAspect="1"/>
              </p:cNvGrpSpPr>
              <p:nvPr/>
            </p:nvGrpSpPr>
            <p:grpSpPr>
              <a:xfrm>
                <a:off x="3644160" y="2877512"/>
                <a:ext cx="5320328" cy="2485553"/>
                <a:chOff x="93705" y="865427"/>
                <a:chExt cx="8948569" cy="5428064"/>
              </a:xfrm>
            </p:grpSpPr>
            <p:pic>
              <p:nvPicPr>
                <p:cNvPr id="72" name="Snagit_PPTF858"/>
                <p:cNvPicPr>
                  <a:picLocks noChangeAspect="1"/>
                </p:cNvPicPr>
                <p:nvPr/>
              </p:nvPicPr>
              <p:blipFill rotWithShape="1">
                <a:blip r:embed="rId8" cstate="print">
                  <a:extLst>
                    <a:ext uri="{28A0092B-C50C-407E-A947-70E740481C1C}">
                      <a14:useLocalDpi xmlns:a14="http://schemas.microsoft.com/office/drawing/2010/main" xmlns="" val="0"/>
                    </a:ext>
                  </a:extLst>
                </a:blip>
                <a:srcRect l="1025" r="1086" b="50000"/>
                <a:stretch/>
              </p:blipFill>
              <p:spPr>
                <a:xfrm>
                  <a:off x="93705" y="4029619"/>
                  <a:ext cx="8948569" cy="2263872"/>
                </a:xfrm>
                <a:prstGeom prst="rect">
                  <a:avLst/>
                </a:prstGeom>
              </p:spPr>
            </p:pic>
            <p:pic>
              <p:nvPicPr>
                <p:cNvPr id="73" name="Snagit_PPTDAE8"/>
                <p:cNvPicPr>
                  <a:picLocks noChangeAspect="1"/>
                </p:cNvPicPr>
                <p:nvPr/>
              </p:nvPicPr>
              <p:blipFill rotWithShape="1">
                <a:blip r:embed="rId9" cstate="print">
                  <a:extLst>
                    <a:ext uri="{28A0092B-C50C-407E-A947-70E740481C1C}">
                      <a14:useLocalDpi xmlns:a14="http://schemas.microsoft.com/office/drawing/2010/main" xmlns="" val="0"/>
                    </a:ext>
                  </a:extLst>
                </a:blip>
                <a:srcRect l="1025" t="1544" r="1086"/>
                <a:stretch/>
              </p:blipFill>
              <p:spPr>
                <a:xfrm>
                  <a:off x="93705" y="865427"/>
                  <a:ext cx="8948569" cy="4457834"/>
                </a:xfrm>
                <a:prstGeom prst="rect">
                  <a:avLst/>
                </a:prstGeom>
              </p:spPr>
            </p:pic>
          </p:grpSp>
          <p:grpSp>
            <p:nvGrpSpPr>
              <p:cNvPr id="14" name="กลุ่ม 10"/>
              <p:cNvGrpSpPr/>
              <p:nvPr/>
            </p:nvGrpSpPr>
            <p:grpSpPr>
              <a:xfrm>
                <a:off x="3627339" y="4339147"/>
                <a:ext cx="5338531" cy="2279921"/>
                <a:chOff x="35496" y="476672"/>
                <a:chExt cx="9001000" cy="5128365"/>
              </a:xfrm>
            </p:grpSpPr>
            <p:pic>
              <p:nvPicPr>
                <p:cNvPr id="70" name="Snagit_PPT1AD7"/>
                <p:cNvPicPr>
                  <a:picLocks noChangeAspect="1"/>
                </p:cNvPicPr>
                <p:nvPr/>
              </p:nvPicPr>
              <p:blipFill rotWithShape="1">
                <a:blip r:embed="rId10" cstate="print">
                  <a:extLst>
                    <a:ext uri="{28A0092B-C50C-407E-A947-70E740481C1C}">
                      <a14:useLocalDpi xmlns:a14="http://schemas.microsoft.com/office/drawing/2010/main" xmlns="" val="0"/>
                    </a:ext>
                  </a:extLst>
                </a:blip>
                <a:srcRect l="530" r="1225" b="15376"/>
                <a:stretch/>
              </p:blipFill>
              <p:spPr>
                <a:xfrm>
                  <a:off x="35496" y="1764991"/>
                  <a:ext cx="9001000" cy="3840046"/>
                </a:xfrm>
                <a:prstGeom prst="rect">
                  <a:avLst/>
                </a:prstGeom>
              </p:spPr>
            </p:pic>
            <p:pic>
              <p:nvPicPr>
                <p:cNvPr id="71" name="Snagit_PPTF858"/>
                <p:cNvPicPr>
                  <a:picLocks noChangeAspect="1"/>
                </p:cNvPicPr>
                <p:nvPr/>
              </p:nvPicPr>
              <p:blipFill rotWithShape="1">
                <a:blip r:embed="rId11" cstate="print">
                  <a:extLst>
                    <a:ext uri="{28A0092B-C50C-407E-A947-70E740481C1C}">
                      <a14:useLocalDpi xmlns:a14="http://schemas.microsoft.com/office/drawing/2010/main" xmlns="" val="0"/>
                    </a:ext>
                  </a:extLst>
                </a:blip>
                <a:srcRect l="1176" t="910" r="1149" b="-5370"/>
                <a:stretch/>
              </p:blipFill>
              <p:spPr>
                <a:xfrm>
                  <a:off x="107504" y="476672"/>
                  <a:ext cx="8928992" cy="4729589"/>
                </a:xfrm>
                <a:prstGeom prst="rect">
                  <a:avLst/>
                </a:prstGeom>
              </p:spPr>
            </p:pic>
          </p:grpSp>
        </p:grpSp>
        <p:grpSp>
          <p:nvGrpSpPr>
            <p:cNvPr id="16" name="กลุ่ม 2"/>
            <p:cNvGrpSpPr/>
            <p:nvPr/>
          </p:nvGrpSpPr>
          <p:grpSpPr>
            <a:xfrm>
              <a:off x="4399268" y="1162106"/>
              <a:ext cx="4280312" cy="5413379"/>
              <a:chOff x="4399268" y="1162106"/>
              <a:chExt cx="4280312" cy="5413379"/>
            </a:xfrm>
          </p:grpSpPr>
          <p:sp>
            <p:nvSpPr>
              <p:cNvPr id="50" name="Rounded Rectangle 80"/>
              <p:cNvSpPr/>
              <p:nvPr/>
            </p:nvSpPr>
            <p:spPr>
              <a:xfrm>
                <a:off x="7707966" y="1466228"/>
                <a:ext cx="912793" cy="228599"/>
              </a:xfrm>
              <a:prstGeom prst="roundRect">
                <a:avLst/>
              </a:prstGeom>
              <a:solidFill>
                <a:srgbClr val="00B0F0"/>
              </a:solidFill>
              <a:ln>
                <a:solidFill>
                  <a:srgbClr val="002060"/>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th-TH" sz="300">
                  <a:latin typeface="Arial" pitchFamily="34" charset="0"/>
                </a:endParaRPr>
              </a:p>
            </p:txBody>
          </p:sp>
          <p:sp>
            <p:nvSpPr>
              <p:cNvPr id="52" name="สี่เหลี่ยมผืนผ้า 21"/>
              <p:cNvSpPr/>
              <p:nvPr/>
            </p:nvSpPr>
            <p:spPr>
              <a:xfrm>
                <a:off x="7752400" y="1463694"/>
                <a:ext cx="927180" cy="303943"/>
              </a:xfrm>
              <a:prstGeom prst="rect">
                <a:avLst/>
              </a:prstGeom>
            </p:spPr>
            <p:txBody>
              <a:bodyPr wrap="none">
                <a:spAutoFit/>
              </a:bodyPr>
              <a:lstStyle/>
              <a:p>
                <a:r>
                  <a:rPr lang="en-US" sz="300" dirty="0" smtClean="0">
                    <a:latin typeface="Arial" pitchFamily="34" charset="0"/>
                    <a:cs typeface="Arial" pitchFamily="34" charset="0"/>
                  </a:rPr>
                  <a:t>BANGKOK</a:t>
                </a:r>
                <a:endParaRPr lang="th-TH" sz="300" dirty="0">
                  <a:latin typeface="Arial" pitchFamily="34" charset="0"/>
                  <a:cs typeface="Arial" pitchFamily="34" charset="0"/>
                </a:endParaRPr>
              </a:p>
            </p:txBody>
          </p:sp>
          <p:sp>
            <p:nvSpPr>
              <p:cNvPr id="53" name="Rounded Rectangle 80"/>
              <p:cNvSpPr/>
              <p:nvPr/>
            </p:nvSpPr>
            <p:spPr>
              <a:xfrm>
                <a:off x="5526784" y="1370014"/>
                <a:ext cx="1205456" cy="210514"/>
              </a:xfrm>
              <a:prstGeom prst="roundRect">
                <a:avLst/>
              </a:prstGeom>
              <a:solidFill>
                <a:srgbClr val="00B0F0"/>
              </a:solidFill>
              <a:ln>
                <a:solidFill>
                  <a:srgbClr val="002060"/>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th-TH" sz="300">
                  <a:latin typeface="Arial" pitchFamily="34" charset="0"/>
                </a:endParaRPr>
              </a:p>
            </p:txBody>
          </p:sp>
          <p:sp>
            <p:nvSpPr>
              <p:cNvPr id="54" name="สี่เหลี่ยมผืนผ้า 23"/>
              <p:cNvSpPr/>
              <p:nvPr/>
            </p:nvSpPr>
            <p:spPr>
              <a:xfrm>
                <a:off x="5508106" y="1367481"/>
                <a:ext cx="1267646" cy="303943"/>
              </a:xfrm>
              <a:prstGeom prst="rect">
                <a:avLst/>
              </a:prstGeom>
            </p:spPr>
            <p:txBody>
              <a:bodyPr wrap="none">
                <a:spAutoFit/>
              </a:bodyPr>
              <a:lstStyle/>
              <a:p>
                <a:r>
                  <a:rPr lang="en-US" sz="300" dirty="0" smtClean="0">
                    <a:latin typeface="Arial" pitchFamily="34" charset="0"/>
                    <a:cs typeface="Arial" pitchFamily="34" charset="0"/>
                  </a:rPr>
                  <a:t>NAKORNPATHOM</a:t>
                </a:r>
                <a:endParaRPr lang="th-TH" sz="300" dirty="0">
                  <a:latin typeface="Arial" pitchFamily="34" charset="0"/>
                  <a:cs typeface="Arial" pitchFamily="34" charset="0"/>
                </a:endParaRPr>
              </a:p>
            </p:txBody>
          </p:sp>
          <p:sp>
            <p:nvSpPr>
              <p:cNvPr id="55" name="Rounded Rectangle 80"/>
              <p:cNvSpPr/>
              <p:nvPr/>
            </p:nvSpPr>
            <p:spPr>
              <a:xfrm>
                <a:off x="4689352" y="2333300"/>
                <a:ext cx="953874" cy="210514"/>
              </a:xfrm>
              <a:prstGeom prst="roundRect">
                <a:avLst/>
              </a:prstGeom>
              <a:solidFill>
                <a:srgbClr val="00B0F0"/>
              </a:solidFill>
              <a:ln>
                <a:solidFill>
                  <a:srgbClr val="002060"/>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th-TH" sz="300">
                  <a:latin typeface="Arial" pitchFamily="34" charset="0"/>
                </a:endParaRPr>
              </a:p>
            </p:txBody>
          </p:sp>
          <p:sp>
            <p:nvSpPr>
              <p:cNvPr id="56" name="สี่เหลี่ยมผืนผ้า 29"/>
              <p:cNvSpPr/>
              <p:nvPr/>
            </p:nvSpPr>
            <p:spPr>
              <a:xfrm>
                <a:off x="4670672" y="2330764"/>
                <a:ext cx="1069701" cy="303943"/>
              </a:xfrm>
              <a:prstGeom prst="rect">
                <a:avLst/>
              </a:prstGeom>
            </p:spPr>
            <p:txBody>
              <a:bodyPr wrap="none">
                <a:spAutoFit/>
              </a:bodyPr>
              <a:lstStyle/>
              <a:p>
                <a:r>
                  <a:rPr lang="en-US" sz="300" dirty="0" smtClean="0">
                    <a:latin typeface="Arial" pitchFamily="34" charset="0"/>
                    <a:cs typeface="Arial" pitchFamily="34" charset="0"/>
                  </a:rPr>
                  <a:t>RATCHABURI</a:t>
                </a:r>
                <a:endParaRPr lang="th-TH" sz="300" dirty="0">
                  <a:latin typeface="Arial" pitchFamily="34" charset="0"/>
                  <a:cs typeface="Arial" pitchFamily="34" charset="0"/>
                </a:endParaRPr>
              </a:p>
            </p:txBody>
          </p:sp>
          <p:sp>
            <p:nvSpPr>
              <p:cNvPr id="57" name="Rounded Rectangle 80"/>
              <p:cNvSpPr/>
              <p:nvPr/>
            </p:nvSpPr>
            <p:spPr>
              <a:xfrm>
                <a:off x="5194790" y="3915819"/>
                <a:ext cx="953874" cy="210514"/>
              </a:xfrm>
              <a:prstGeom prst="roundRect">
                <a:avLst/>
              </a:prstGeom>
              <a:solidFill>
                <a:srgbClr val="00B0F0"/>
              </a:solidFill>
              <a:ln>
                <a:solidFill>
                  <a:srgbClr val="002060"/>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th-TH" sz="300">
                  <a:latin typeface="Arial" pitchFamily="34" charset="0"/>
                </a:endParaRPr>
              </a:p>
            </p:txBody>
          </p:sp>
          <p:sp>
            <p:nvSpPr>
              <p:cNvPr id="58" name="สี่เหลี่ยมผืนผ้า 32"/>
              <p:cNvSpPr/>
              <p:nvPr/>
            </p:nvSpPr>
            <p:spPr>
              <a:xfrm>
                <a:off x="5176111" y="3913283"/>
                <a:ext cx="1065739" cy="303943"/>
              </a:xfrm>
              <a:prstGeom prst="rect">
                <a:avLst/>
              </a:prstGeom>
            </p:spPr>
            <p:txBody>
              <a:bodyPr wrap="none">
                <a:spAutoFit/>
              </a:bodyPr>
              <a:lstStyle/>
              <a:p>
                <a:r>
                  <a:rPr lang="en-US" sz="300" dirty="0" smtClean="0">
                    <a:latin typeface="Arial" pitchFamily="34" charset="0"/>
                    <a:cs typeface="Arial" pitchFamily="34" charset="0"/>
                  </a:rPr>
                  <a:t>PETCHABURI</a:t>
                </a:r>
                <a:endParaRPr lang="th-TH" sz="300" dirty="0">
                  <a:latin typeface="Arial" pitchFamily="34" charset="0"/>
                  <a:cs typeface="Arial" pitchFamily="34" charset="0"/>
                </a:endParaRPr>
              </a:p>
            </p:txBody>
          </p:sp>
          <p:sp>
            <p:nvSpPr>
              <p:cNvPr id="59" name="Rounded Rectangle 80"/>
              <p:cNvSpPr/>
              <p:nvPr/>
            </p:nvSpPr>
            <p:spPr>
              <a:xfrm>
                <a:off x="4405703" y="6221732"/>
                <a:ext cx="634160" cy="210514"/>
              </a:xfrm>
              <a:prstGeom prst="roundRect">
                <a:avLst/>
              </a:prstGeom>
              <a:solidFill>
                <a:srgbClr val="00B0F0"/>
              </a:solidFill>
              <a:ln>
                <a:solidFill>
                  <a:srgbClr val="002060"/>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th-TH" sz="300">
                  <a:latin typeface="Arial" pitchFamily="34" charset="0"/>
                </a:endParaRPr>
              </a:p>
            </p:txBody>
          </p:sp>
          <p:sp>
            <p:nvSpPr>
              <p:cNvPr id="60" name="สี่เหลี่ยมผืนผ้า 34"/>
              <p:cNvSpPr/>
              <p:nvPr/>
            </p:nvSpPr>
            <p:spPr>
              <a:xfrm>
                <a:off x="4399268" y="6209671"/>
                <a:ext cx="816331" cy="303943"/>
              </a:xfrm>
              <a:prstGeom prst="rect">
                <a:avLst/>
              </a:prstGeom>
            </p:spPr>
            <p:txBody>
              <a:bodyPr wrap="none">
                <a:spAutoFit/>
              </a:bodyPr>
              <a:lstStyle/>
              <a:p>
                <a:r>
                  <a:rPr lang="en-US" sz="300" dirty="0" smtClean="0">
                    <a:latin typeface="Arial" pitchFamily="34" charset="0"/>
                    <a:cs typeface="Arial" pitchFamily="34" charset="0"/>
                  </a:rPr>
                  <a:t>HUAHIN</a:t>
                </a:r>
                <a:endParaRPr lang="th-TH" sz="300" dirty="0">
                  <a:latin typeface="Arial" pitchFamily="34" charset="0"/>
                  <a:cs typeface="Arial" pitchFamily="34" charset="0"/>
                </a:endParaRPr>
              </a:p>
            </p:txBody>
          </p:sp>
          <p:sp>
            <p:nvSpPr>
              <p:cNvPr id="61" name="รูปแบบอิสระ 7"/>
              <p:cNvSpPr/>
              <p:nvPr/>
            </p:nvSpPr>
            <p:spPr>
              <a:xfrm>
                <a:off x="4536032" y="1225719"/>
                <a:ext cx="3486534" cy="5349766"/>
              </a:xfrm>
              <a:custGeom>
                <a:avLst/>
                <a:gdLst>
                  <a:gd name="connsiteX0" fmla="*/ 319177 w 319177"/>
                  <a:gd name="connsiteY0" fmla="*/ 0 h 474453"/>
                  <a:gd name="connsiteX1" fmla="*/ 301924 w 319177"/>
                  <a:gd name="connsiteY1" fmla="*/ 51759 h 474453"/>
                  <a:gd name="connsiteX2" fmla="*/ 267419 w 319177"/>
                  <a:gd name="connsiteY2" fmla="*/ 103517 h 474453"/>
                  <a:gd name="connsiteX3" fmla="*/ 215660 w 319177"/>
                  <a:gd name="connsiteY3" fmla="*/ 181155 h 474453"/>
                  <a:gd name="connsiteX4" fmla="*/ 181155 w 319177"/>
                  <a:gd name="connsiteY4" fmla="*/ 232914 h 474453"/>
                  <a:gd name="connsiteX5" fmla="*/ 163902 w 319177"/>
                  <a:gd name="connsiteY5" fmla="*/ 258793 h 474453"/>
                  <a:gd name="connsiteX6" fmla="*/ 138023 w 319177"/>
                  <a:gd name="connsiteY6" fmla="*/ 310551 h 474453"/>
                  <a:gd name="connsiteX7" fmla="*/ 120770 w 319177"/>
                  <a:gd name="connsiteY7" fmla="*/ 362310 h 474453"/>
                  <a:gd name="connsiteX8" fmla="*/ 51758 w 319177"/>
                  <a:gd name="connsiteY8" fmla="*/ 439947 h 474453"/>
                  <a:gd name="connsiteX9" fmla="*/ 0 w 319177"/>
                  <a:gd name="connsiteY9" fmla="*/ 474453 h 474453"/>
                  <a:gd name="connsiteX0" fmla="*/ 1354347 w 1354347"/>
                  <a:gd name="connsiteY0" fmla="*/ 0 h 802257"/>
                  <a:gd name="connsiteX1" fmla="*/ 301924 w 1354347"/>
                  <a:gd name="connsiteY1" fmla="*/ 379563 h 802257"/>
                  <a:gd name="connsiteX2" fmla="*/ 267419 w 1354347"/>
                  <a:gd name="connsiteY2" fmla="*/ 431321 h 802257"/>
                  <a:gd name="connsiteX3" fmla="*/ 215660 w 1354347"/>
                  <a:gd name="connsiteY3" fmla="*/ 508959 h 802257"/>
                  <a:gd name="connsiteX4" fmla="*/ 181155 w 1354347"/>
                  <a:gd name="connsiteY4" fmla="*/ 560718 h 802257"/>
                  <a:gd name="connsiteX5" fmla="*/ 163902 w 1354347"/>
                  <a:gd name="connsiteY5" fmla="*/ 586597 h 802257"/>
                  <a:gd name="connsiteX6" fmla="*/ 138023 w 1354347"/>
                  <a:gd name="connsiteY6" fmla="*/ 638355 h 802257"/>
                  <a:gd name="connsiteX7" fmla="*/ 120770 w 1354347"/>
                  <a:gd name="connsiteY7" fmla="*/ 690114 h 802257"/>
                  <a:gd name="connsiteX8" fmla="*/ 51758 w 1354347"/>
                  <a:gd name="connsiteY8" fmla="*/ 767751 h 802257"/>
                  <a:gd name="connsiteX9" fmla="*/ 0 w 1354347"/>
                  <a:gd name="connsiteY9" fmla="*/ 802257 h 802257"/>
                  <a:gd name="connsiteX0" fmla="*/ 1354347 w 1354347"/>
                  <a:gd name="connsiteY0" fmla="*/ 0 h 802257"/>
                  <a:gd name="connsiteX1" fmla="*/ 1026543 w 1354347"/>
                  <a:gd name="connsiteY1" fmla="*/ 138023 h 802257"/>
                  <a:gd name="connsiteX2" fmla="*/ 301924 w 1354347"/>
                  <a:gd name="connsiteY2" fmla="*/ 379563 h 802257"/>
                  <a:gd name="connsiteX3" fmla="*/ 267419 w 1354347"/>
                  <a:gd name="connsiteY3" fmla="*/ 431321 h 802257"/>
                  <a:gd name="connsiteX4" fmla="*/ 215660 w 1354347"/>
                  <a:gd name="connsiteY4" fmla="*/ 508959 h 802257"/>
                  <a:gd name="connsiteX5" fmla="*/ 181155 w 1354347"/>
                  <a:gd name="connsiteY5" fmla="*/ 560718 h 802257"/>
                  <a:gd name="connsiteX6" fmla="*/ 163902 w 1354347"/>
                  <a:gd name="connsiteY6" fmla="*/ 586597 h 802257"/>
                  <a:gd name="connsiteX7" fmla="*/ 138023 w 1354347"/>
                  <a:gd name="connsiteY7" fmla="*/ 638355 h 802257"/>
                  <a:gd name="connsiteX8" fmla="*/ 120770 w 1354347"/>
                  <a:gd name="connsiteY8" fmla="*/ 690114 h 802257"/>
                  <a:gd name="connsiteX9" fmla="*/ 51758 w 1354347"/>
                  <a:gd name="connsiteY9" fmla="*/ 767751 h 802257"/>
                  <a:gd name="connsiteX10" fmla="*/ 0 w 1354347"/>
                  <a:gd name="connsiteY10" fmla="*/ 802257 h 802257"/>
                  <a:gd name="connsiteX0" fmla="*/ 1354347 w 1354347"/>
                  <a:gd name="connsiteY0" fmla="*/ 0 h 802257"/>
                  <a:gd name="connsiteX1" fmla="*/ 1026543 w 1354347"/>
                  <a:gd name="connsiteY1" fmla="*/ 138023 h 802257"/>
                  <a:gd name="connsiteX2" fmla="*/ 672860 w 1354347"/>
                  <a:gd name="connsiteY2" fmla="*/ 94891 h 802257"/>
                  <a:gd name="connsiteX3" fmla="*/ 267419 w 1354347"/>
                  <a:gd name="connsiteY3" fmla="*/ 431321 h 802257"/>
                  <a:gd name="connsiteX4" fmla="*/ 215660 w 1354347"/>
                  <a:gd name="connsiteY4" fmla="*/ 508959 h 802257"/>
                  <a:gd name="connsiteX5" fmla="*/ 181155 w 1354347"/>
                  <a:gd name="connsiteY5" fmla="*/ 560718 h 802257"/>
                  <a:gd name="connsiteX6" fmla="*/ 163902 w 1354347"/>
                  <a:gd name="connsiteY6" fmla="*/ 586597 h 802257"/>
                  <a:gd name="connsiteX7" fmla="*/ 138023 w 1354347"/>
                  <a:gd name="connsiteY7" fmla="*/ 638355 h 802257"/>
                  <a:gd name="connsiteX8" fmla="*/ 120770 w 1354347"/>
                  <a:gd name="connsiteY8" fmla="*/ 690114 h 802257"/>
                  <a:gd name="connsiteX9" fmla="*/ 51758 w 1354347"/>
                  <a:gd name="connsiteY9" fmla="*/ 767751 h 802257"/>
                  <a:gd name="connsiteX10" fmla="*/ 0 w 1354347"/>
                  <a:gd name="connsiteY10" fmla="*/ 802257 h 802257"/>
                  <a:gd name="connsiteX0" fmla="*/ 1354347 w 1354347"/>
                  <a:gd name="connsiteY0" fmla="*/ 0 h 802257"/>
                  <a:gd name="connsiteX1" fmla="*/ 1026543 w 1354347"/>
                  <a:gd name="connsiteY1" fmla="*/ 138023 h 802257"/>
                  <a:gd name="connsiteX2" fmla="*/ 672860 w 1354347"/>
                  <a:gd name="connsiteY2" fmla="*/ 94891 h 802257"/>
                  <a:gd name="connsiteX3" fmla="*/ 267419 w 1354347"/>
                  <a:gd name="connsiteY3" fmla="*/ 431321 h 802257"/>
                  <a:gd name="connsiteX4" fmla="*/ 215660 w 1354347"/>
                  <a:gd name="connsiteY4" fmla="*/ 508959 h 802257"/>
                  <a:gd name="connsiteX5" fmla="*/ 181155 w 1354347"/>
                  <a:gd name="connsiteY5" fmla="*/ 560718 h 802257"/>
                  <a:gd name="connsiteX6" fmla="*/ 163902 w 1354347"/>
                  <a:gd name="connsiteY6" fmla="*/ 586597 h 802257"/>
                  <a:gd name="connsiteX7" fmla="*/ 138023 w 1354347"/>
                  <a:gd name="connsiteY7" fmla="*/ 638355 h 802257"/>
                  <a:gd name="connsiteX8" fmla="*/ 120770 w 1354347"/>
                  <a:gd name="connsiteY8" fmla="*/ 690114 h 802257"/>
                  <a:gd name="connsiteX9" fmla="*/ 51758 w 1354347"/>
                  <a:gd name="connsiteY9" fmla="*/ 767751 h 802257"/>
                  <a:gd name="connsiteX10" fmla="*/ 0 w 1354347"/>
                  <a:gd name="connsiteY10" fmla="*/ 802257 h 802257"/>
                  <a:gd name="connsiteX0" fmla="*/ 1354347 w 1354347"/>
                  <a:gd name="connsiteY0" fmla="*/ 0 h 802257"/>
                  <a:gd name="connsiteX1" fmla="*/ 1026543 w 1354347"/>
                  <a:gd name="connsiteY1" fmla="*/ 138023 h 802257"/>
                  <a:gd name="connsiteX2" fmla="*/ 879894 w 1354347"/>
                  <a:gd name="connsiteY2" fmla="*/ 120770 h 802257"/>
                  <a:gd name="connsiteX3" fmla="*/ 672860 w 1354347"/>
                  <a:gd name="connsiteY3" fmla="*/ 94891 h 802257"/>
                  <a:gd name="connsiteX4" fmla="*/ 267419 w 1354347"/>
                  <a:gd name="connsiteY4" fmla="*/ 431321 h 802257"/>
                  <a:gd name="connsiteX5" fmla="*/ 215660 w 1354347"/>
                  <a:gd name="connsiteY5" fmla="*/ 508959 h 802257"/>
                  <a:gd name="connsiteX6" fmla="*/ 181155 w 1354347"/>
                  <a:gd name="connsiteY6" fmla="*/ 560718 h 802257"/>
                  <a:gd name="connsiteX7" fmla="*/ 163902 w 1354347"/>
                  <a:gd name="connsiteY7" fmla="*/ 586597 h 802257"/>
                  <a:gd name="connsiteX8" fmla="*/ 138023 w 1354347"/>
                  <a:gd name="connsiteY8" fmla="*/ 638355 h 802257"/>
                  <a:gd name="connsiteX9" fmla="*/ 120770 w 1354347"/>
                  <a:gd name="connsiteY9" fmla="*/ 690114 h 802257"/>
                  <a:gd name="connsiteX10" fmla="*/ 51758 w 1354347"/>
                  <a:gd name="connsiteY10" fmla="*/ 767751 h 802257"/>
                  <a:gd name="connsiteX11" fmla="*/ 0 w 1354347"/>
                  <a:gd name="connsiteY11" fmla="*/ 802257 h 802257"/>
                  <a:gd name="connsiteX0" fmla="*/ 1393185 w 1393185"/>
                  <a:gd name="connsiteY0" fmla="*/ 0 h 802257"/>
                  <a:gd name="connsiteX1" fmla="*/ 1065381 w 1393185"/>
                  <a:gd name="connsiteY1" fmla="*/ 138023 h 802257"/>
                  <a:gd name="connsiteX2" fmla="*/ 918732 w 1393185"/>
                  <a:gd name="connsiteY2" fmla="*/ 120770 h 802257"/>
                  <a:gd name="connsiteX3" fmla="*/ 711698 w 1393185"/>
                  <a:gd name="connsiteY3" fmla="*/ 94891 h 802257"/>
                  <a:gd name="connsiteX4" fmla="*/ 12959 w 1393185"/>
                  <a:gd name="connsiteY4" fmla="*/ 69012 h 802257"/>
                  <a:gd name="connsiteX5" fmla="*/ 254498 w 1393185"/>
                  <a:gd name="connsiteY5" fmla="*/ 508959 h 802257"/>
                  <a:gd name="connsiteX6" fmla="*/ 219993 w 1393185"/>
                  <a:gd name="connsiteY6" fmla="*/ 560718 h 802257"/>
                  <a:gd name="connsiteX7" fmla="*/ 202740 w 1393185"/>
                  <a:gd name="connsiteY7" fmla="*/ 586597 h 802257"/>
                  <a:gd name="connsiteX8" fmla="*/ 176861 w 1393185"/>
                  <a:gd name="connsiteY8" fmla="*/ 638355 h 802257"/>
                  <a:gd name="connsiteX9" fmla="*/ 159608 w 1393185"/>
                  <a:gd name="connsiteY9" fmla="*/ 690114 h 802257"/>
                  <a:gd name="connsiteX10" fmla="*/ 90596 w 1393185"/>
                  <a:gd name="connsiteY10" fmla="*/ 767751 h 802257"/>
                  <a:gd name="connsiteX11" fmla="*/ 38838 w 1393185"/>
                  <a:gd name="connsiteY11" fmla="*/ 802257 h 802257"/>
                  <a:gd name="connsiteX0" fmla="*/ 1401016 w 1401016"/>
                  <a:gd name="connsiteY0" fmla="*/ 0 h 802257"/>
                  <a:gd name="connsiteX1" fmla="*/ 1073212 w 1401016"/>
                  <a:gd name="connsiteY1" fmla="*/ 138023 h 802257"/>
                  <a:gd name="connsiteX2" fmla="*/ 926563 w 1401016"/>
                  <a:gd name="connsiteY2" fmla="*/ 120770 h 802257"/>
                  <a:gd name="connsiteX3" fmla="*/ 719529 w 1401016"/>
                  <a:gd name="connsiteY3" fmla="*/ 94891 h 802257"/>
                  <a:gd name="connsiteX4" fmla="*/ 20790 w 1401016"/>
                  <a:gd name="connsiteY4" fmla="*/ 69012 h 802257"/>
                  <a:gd name="connsiteX5" fmla="*/ 262329 w 1401016"/>
                  <a:gd name="connsiteY5" fmla="*/ 508959 h 802257"/>
                  <a:gd name="connsiteX6" fmla="*/ 227824 w 1401016"/>
                  <a:gd name="connsiteY6" fmla="*/ 560718 h 802257"/>
                  <a:gd name="connsiteX7" fmla="*/ 210571 w 1401016"/>
                  <a:gd name="connsiteY7" fmla="*/ 586597 h 802257"/>
                  <a:gd name="connsiteX8" fmla="*/ 184692 w 1401016"/>
                  <a:gd name="connsiteY8" fmla="*/ 638355 h 802257"/>
                  <a:gd name="connsiteX9" fmla="*/ 167439 w 1401016"/>
                  <a:gd name="connsiteY9" fmla="*/ 690114 h 802257"/>
                  <a:gd name="connsiteX10" fmla="*/ 98427 w 1401016"/>
                  <a:gd name="connsiteY10" fmla="*/ 767751 h 802257"/>
                  <a:gd name="connsiteX11" fmla="*/ 46669 w 1401016"/>
                  <a:gd name="connsiteY11" fmla="*/ 802257 h 802257"/>
                  <a:gd name="connsiteX0" fmla="*/ 3165894 w 3165894"/>
                  <a:gd name="connsiteY0" fmla="*/ 0 h 2665562"/>
                  <a:gd name="connsiteX1" fmla="*/ 2838090 w 3165894"/>
                  <a:gd name="connsiteY1" fmla="*/ 138023 h 2665562"/>
                  <a:gd name="connsiteX2" fmla="*/ 2691441 w 3165894"/>
                  <a:gd name="connsiteY2" fmla="*/ 120770 h 2665562"/>
                  <a:gd name="connsiteX3" fmla="*/ 2484407 w 3165894"/>
                  <a:gd name="connsiteY3" fmla="*/ 94891 h 2665562"/>
                  <a:gd name="connsiteX4" fmla="*/ 1785668 w 3165894"/>
                  <a:gd name="connsiteY4" fmla="*/ 69012 h 2665562"/>
                  <a:gd name="connsiteX5" fmla="*/ 2027207 w 3165894"/>
                  <a:gd name="connsiteY5" fmla="*/ 508959 h 2665562"/>
                  <a:gd name="connsiteX6" fmla="*/ 1992702 w 3165894"/>
                  <a:gd name="connsiteY6" fmla="*/ 560718 h 2665562"/>
                  <a:gd name="connsiteX7" fmla="*/ 1975449 w 3165894"/>
                  <a:gd name="connsiteY7" fmla="*/ 586597 h 2665562"/>
                  <a:gd name="connsiteX8" fmla="*/ 1949570 w 3165894"/>
                  <a:gd name="connsiteY8" fmla="*/ 638355 h 2665562"/>
                  <a:gd name="connsiteX9" fmla="*/ 1932317 w 3165894"/>
                  <a:gd name="connsiteY9" fmla="*/ 690114 h 2665562"/>
                  <a:gd name="connsiteX10" fmla="*/ 1863305 w 3165894"/>
                  <a:gd name="connsiteY10" fmla="*/ 767751 h 2665562"/>
                  <a:gd name="connsiteX11" fmla="*/ 0 w 3165894"/>
                  <a:gd name="connsiteY11" fmla="*/ 2665562 h 2665562"/>
                  <a:gd name="connsiteX0" fmla="*/ 3502325 w 3502325"/>
                  <a:gd name="connsiteY0" fmla="*/ 0 h 2665562"/>
                  <a:gd name="connsiteX1" fmla="*/ 3174521 w 3502325"/>
                  <a:gd name="connsiteY1" fmla="*/ 138023 h 2665562"/>
                  <a:gd name="connsiteX2" fmla="*/ 3027872 w 3502325"/>
                  <a:gd name="connsiteY2" fmla="*/ 120770 h 2665562"/>
                  <a:gd name="connsiteX3" fmla="*/ 2820838 w 3502325"/>
                  <a:gd name="connsiteY3" fmla="*/ 94891 h 2665562"/>
                  <a:gd name="connsiteX4" fmla="*/ 2122099 w 3502325"/>
                  <a:gd name="connsiteY4" fmla="*/ 69012 h 2665562"/>
                  <a:gd name="connsiteX5" fmla="*/ 2363638 w 3502325"/>
                  <a:gd name="connsiteY5" fmla="*/ 508959 h 2665562"/>
                  <a:gd name="connsiteX6" fmla="*/ 2329133 w 3502325"/>
                  <a:gd name="connsiteY6" fmla="*/ 560718 h 2665562"/>
                  <a:gd name="connsiteX7" fmla="*/ 2311880 w 3502325"/>
                  <a:gd name="connsiteY7" fmla="*/ 586597 h 2665562"/>
                  <a:gd name="connsiteX8" fmla="*/ 2286001 w 3502325"/>
                  <a:gd name="connsiteY8" fmla="*/ 638355 h 2665562"/>
                  <a:gd name="connsiteX9" fmla="*/ 2268748 w 3502325"/>
                  <a:gd name="connsiteY9" fmla="*/ 690114 h 2665562"/>
                  <a:gd name="connsiteX10" fmla="*/ 0 w 3502325"/>
                  <a:gd name="connsiteY10" fmla="*/ 905774 h 2665562"/>
                  <a:gd name="connsiteX11" fmla="*/ 336431 w 3502325"/>
                  <a:gd name="connsiteY11" fmla="*/ 2665562 h 2665562"/>
                  <a:gd name="connsiteX0" fmla="*/ 3506643 w 3506643"/>
                  <a:gd name="connsiteY0" fmla="*/ 0 h 2665562"/>
                  <a:gd name="connsiteX1" fmla="*/ 3178839 w 3506643"/>
                  <a:gd name="connsiteY1" fmla="*/ 138023 h 2665562"/>
                  <a:gd name="connsiteX2" fmla="*/ 3032190 w 3506643"/>
                  <a:gd name="connsiteY2" fmla="*/ 120770 h 2665562"/>
                  <a:gd name="connsiteX3" fmla="*/ 2825156 w 3506643"/>
                  <a:gd name="connsiteY3" fmla="*/ 94891 h 2665562"/>
                  <a:gd name="connsiteX4" fmla="*/ 2126417 w 3506643"/>
                  <a:gd name="connsiteY4" fmla="*/ 69012 h 2665562"/>
                  <a:gd name="connsiteX5" fmla="*/ 2367956 w 3506643"/>
                  <a:gd name="connsiteY5" fmla="*/ 508959 h 2665562"/>
                  <a:gd name="connsiteX6" fmla="*/ 2333451 w 3506643"/>
                  <a:gd name="connsiteY6" fmla="*/ 560718 h 2665562"/>
                  <a:gd name="connsiteX7" fmla="*/ 2316198 w 3506643"/>
                  <a:gd name="connsiteY7" fmla="*/ 586597 h 2665562"/>
                  <a:gd name="connsiteX8" fmla="*/ 2290319 w 3506643"/>
                  <a:gd name="connsiteY8" fmla="*/ 638355 h 2665562"/>
                  <a:gd name="connsiteX9" fmla="*/ 2273066 w 3506643"/>
                  <a:gd name="connsiteY9" fmla="*/ 690114 h 2665562"/>
                  <a:gd name="connsiteX10" fmla="*/ 4318 w 3506643"/>
                  <a:gd name="connsiteY10" fmla="*/ 905774 h 2665562"/>
                  <a:gd name="connsiteX11" fmla="*/ 340749 w 3506643"/>
                  <a:gd name="connsiteY11" fmla="*/ 2665562 h 2665562"/>
                  <a:gd name="connsiteX0" fmla="*/ 3502559 w 3502559"/>
                  <a:gd name="connsiteY0" fmla="*/ 0 h 2665562"/>
                  <a:gd name="connsiteX1" fmla="*/ 3174755 w 3502559"/>
                  <a:gd name="connsiteY1" fmla="*/ 138023 h 2665562"/>
                  <a:gd name="connsiteX2" fmla="*/ 3028106 w 3502559"/>
                  <a:gd name="connsiteY2" fmla="*/ 120770 h 2665562"/>
                  <a:gd name="connsiteX3" fmla="*/ 2821072 w 3502559"/>
                  <a:gd name="connsiteY3" fmla="*/ 94891 h 2665562"/>
                  <a:gd name="connsiteX4" fmla="*/ 2122333 w 3502559"/>
                  <a:gd name="connsiteY4" fmla="*/ 69012 h 2665562"/>
                  <a:gd name="connsiteX5" fmla="*/ 2363872 w 3502559"/>
                  <a:gd name="connsiteY5" fmla="*/ 508959 h 2665562"/>
                  <a:gd name="connsiteX6" fmla="*/ 2329367 w 3502559"/>
                  <a:gd name="connsiteY6" fmla="*/ 560718 h 2665562"/>
                  <a:gd name="connsiteX7" fmla="*/ 2312114 w 3502559"/>
                  <a:gd name="connsiteY7" fmla="*/ 586597 h 2665562"/>
                  <a:gd name="connsiteX8" fmla="*/ 2286235 w 3502559"/>
                  <a:gd name="connsiteY8" fmla="*/ 638355 h 2665562"/>
                  <a:gd name="connsiteX9" fmla="*/ 388424 w 3502559"/>
                  <a:gd name="connsiteY9" fmla="*/ 43133 h 2665562"/>
                  <a:gd name="connsiteX10" fmla="*/ 234 w 3502559"/>
                  <a:gd name="connsiteY10" fmla="*/ 905774 h 2665562"/>
                  <a:gd name="connsiteX11" fmla="*/ 336665 w 3502559"/>
                  <a:gd name="connsiteY11" fmla="*/ 2665562 h 2665562"/>
                  <a:gd name="connsiteX0" fmla="*/ 3502559 w 3502559"/>
                  <a:gd name="connsiteY0" fmla="*/ 0 h 2665562"/>
                  <a:gd name="connsiteX1" fmla="*/ 3174755 w 3502559"/>
                  <a:gd name="connsiteY1" fmla="*/ 138023 h 2665562"/>
                  <a:gd name="connsiteX2" fmla="*/ 3028106 w 3502559"/>
                  <a:gd name="connsiteY2" fmla="*/ 120770 h 2665562"/>
                  <a:gd name="connsiteX3" fmla="*/ 2821072 w 3502559"/>
                  <a:gd name="connsiteY3" fmla="*/ 94891 h 2665562"/>
                  <a:gd name="connsiteX4" fmla="*/ 2122333 w 3502559"/>
                  <a:gd name="connsiteY4" fmla="*/ 69012 h 2665562"/>
                  <a:gd name="connsiteX5" fmla="*/ 2363872 w 3502559"/>
                  <a:gd name="connsiteY5" fmla="*/ 508959 h 2665562"/>
                  <a:gd name="connsiteX6" fmla="*/ 2329367 w 3502559"/>
                  <a:gd name="connsiteY6" fmla="*/ 560718 h 2665562"/>
                  <a:gd name="connsiteX7" fmla="*/ 2286235 w 3502559"/>
                  <a:gd name="connsiteY7" fmla="*/ 638355 h 2665562"/>
                  <a:gd name="connsiteX8" fmla="*/ 388424 w 3502559"/>
                  <a:gd name="connsiteY8" fmla="*/ 43133 h 2665562"/>
                  <a:gd name="connsiteX9" fmla="*/ 234 w 3502559"/>
                  <a:gd name="connsiteY9" fmla="*/ 905774 h 2665562"/>
                  <a:gd name="connsiteX10" fmla="*/ 336665 w 3502559"/>
                  <a:gd name="connsiteY10" fmla="*/ 2665562 h 2665562"/>
                  <a:gd name="connsiteX0" fmla="*/ 3502559 w 3502559"/>
                  <a:gd name="connsiteY0" fmla="*/ 0 h 2665562"/>
                  <a:gd name="connsiteX1" fmla="*/ 3174755 w 3502559"/>
                  <a:gd name="connsiteY1" fmla="*/ 138023 h 2665562"/>
                  <a:gd name="connsiteX2" fmla="*/ 3028106 w 3502559"/>
                  <a:gd name="connsiteY2" fmla="*/ 120770 h 2665562"/>
                  <a:gd name="connsiteX3" fmla="*/ 2821072 w 3502559"/>
                  <a:gd name="connsiteY3" fmla="*/ 94891 h 2665562"/>
                  <a:gd name="connsiteX4" fmla="*/ 2122333 w 3502559"/>
                  <a:gd name="connsiteY4" fmla="*/ 69012 h 2665562"/>
                  <a:gd name="connsiteX5" fmla="*/ 2363872 w 3502559"/>
                  <a:gd name="connsiteY5" fmla="*/ 508959 h 2665562"/>
                  <a:gd name="connsiteX6" fmla="*/ 2286235 w 3502559"/>
                  <a:gd name="connsiteY6" fmla="*/ 638355 h 2665562"/>
                  <a:gd name="connsiteX7" fmla="*/ 388424 w 3502559"/>
                  <a:gd name="connsiteY7" fmla="*/ 43133 h 2665562"/>
                  <a:gd name="connsiteX8" fmla="*/ 234 w 3502559"/>
                  <a:gd name="connsiteY8" fmla="*/ 905774 h 2665562"/>
                  <a:gd name="connsiteX9" fmla="*/ 336665 w 3502559"/>
                  <a:gd name="connsiteY9" fmla="*/ 2665562 h 2665562"/>
                  <a:gd name="connsiteX0" fmla="*/ 3502559 w 3502559"/>
                  <a:gd name="connsiteY0" fmla="*/ 0 h 2665562"/>
                  <a:gd name="connsiteX1" fmla="*/ 3174755 w 3502559"/>
                  <a:gd name="connsiteY1" fmla="*/ 138023 h 2665562"/>
                  <a:gd name="connsiteX2" fmla="*/ 3028106 w 3502559"/>
                  <a:gd name="connsiteY2" fmla="*/ 120770 h 2665562"/>
                  <a:gd name="connsiteX3" fmla="*/ 2821072 w 3502559"/>
                  <a:gd name="connsiteY3" fmla="*/ 94891 h 2665562"/>
                  <a:gd name="connsiteX4" fmla="*/ 2122333 w 3502559"/>
                  <a:gd name="connsiteY4" fmla="*/ 69012 h 2665562"/>
                  <a:gd name="connsiteX5" fmla="*/ 2286235 w 3502559"/>
                  <a:gd name="connsiteY5" fmla="*/ 638355 h 2665562"/>
                  <a:gd name="connsiteX6" fmla="*/ 388424 w 3502559"/>
                  <a:gd name="connsiteY6" fmla="*/ 43133 h 2665562"/>
                  <a:gd name="connsiteX7" fmla="*/ 234 w 3502559"/>
                  <a:gd name="connsiteY7" fmla="*/ 905774 h 2665562"/>
                  <a:gd name="connsiteX8" fmla="*/ 336665 w 3502559"/>
                  <a:gd name="connsiteY8" fmla="*/ 2665562 h 2665562"/>
                  <a:gd name="connsiteX0" fmla="*/ 3502559 w 3502559"/>
                  <a:gd name="connsiteY0" fmla="*/ 34849 h 2700411"/>
                  <a:gd name="connsiteX1" fmla="*/ 3174755 w 3502559"/>
                  <a:gd name="connsiteY1" fmla="*/ 172872 h 2700411"/>
                  <a:gd name="connsiteX2" fmla="*/ 3028106 w 3502559"/>
                  <a:gd name="connsiteY2" fmla="*/ 155619 h 2700411"/>
                  <a:gd name="connsiteX3" fmla="*/ 2821072 w 3502559"/>
                  <a:gd name="connsiteY3" fmla="*/ 129740 h 2700411"/>
                  <a:gd name="connsiteX4" fmla="*/ 2122333 w 3502559"/>
                  <a:gd name="connsiteY4" fmla="*/ 103861 h 2700411"/>
                  <a:gd name="connsiteX5" fmla="*/ 1147548 w 3502559"/>
                  <a:gd name="connsiteY5" fmla="*/ 43476 h 2700411"/>
                  <a:gd name="connsiteX6" fmla="*/ 388424 w 3502559"/>
                  <a:gd name="connsiteY6" fmla="*/ 77982 h 2700411"/>
                  <a:gd name="connsiteX7" fmla="*/ 234 w 3502559"/>
                  <a:gd name="connsiteY7" fmla="*/ 940623 h 2700411"/>
                  <a:gd name="connsiteX8" fmla="*/ 336665 w 3502559"/>
                  <a:gd name="connsiteY8" fmla="*/ 2700411 h 2700411"/>
                  <a:gd name="connsiteX0" fmla="*/ 3502559 w 3502559"/>
                  <a:gd name="connsiteY0" fmla="*/ 34028 h 2699590"/>
                  <a:gd name="connsiteX1" fmla="*/ 3174755 w 3502559"/>
                  <a:gd name="connsiteY1" fmla="*/ 172051 h 2699590"/>
                  <a:gd name="connsiteX2" fmla="*/ 3028106 w 3502559"/>
                  <a:gd name="connsiteY2" fmla="*/ 154798 h 2699590"/>
                  <a:gd name="connsiteX3" fmla="*/ 2821072 w 3502559"/>
                  <a:gd name="connsiteY3" fmla="*/ 128919 h 2699590"/>
                  <a:gd name="connsiteX4" fmla="*/ 2122333 w 3502559"/>
                  <a:gd name="connsiteY4" fmla="*/ 103040 h 2699590"/>
                  <a:gd name="connsiteX5" fmla="*/ 1604749 w 3502559"/>
                  <a:gd name="connsiteY5" fmla="*/ 85787 h 2699590"/>
                  <a:gd name="connsiteX6" fmla="*/ 1147548 w 3502559"/>
                  <a:gd name="connsiteY6" fmla="*/ 42655 h 2699590"/>
                  <a:gd name="connsiteX7" fmla="*/ 388424 w 3502559"/>
                  <a:gd name="connsiteY7" fmla="*/ 77161 h 2699590"/>
                  <a:gd name="connsiteX8" fmla="*/ 234 w 3502559"/>
                  <a:gd name="connsiteY8" fmla="*/ 939802 h 2699590"/>
                  <a:gd name="connsiteX9" fmla="*/ 336665 w 3502559"/>
                  <a:gd name="connsiteY9" fmla="*/ 2699590 h 2699590"/>
                  <a:gd name="connsiteX0" fmla="*/ 3502559 w 3502559"/>
                  <a:gd name="connsiteY0" fmla="*/ 31237 h 2696799"/>
                  <a:gd name="connsiteX1" fmla="*/ 3174755 w 3502559"/>
                  <a:gd name="connsiteY1" fmla="*/ 169260 h 2696799"/>
                  <a:gd name="connsiteX2" fmla="*/ 3028106 w 3502559"/>
                  <a:gd name="connsiteY2" fmla="*/ 152007 h 2696799"/>
                  <a:gd name="connsiteX3" fmla="*/ 2821072 w 3502559"/>
                  <a:gd name="connsiteY3" fmla="*/ 126128 h 2696799"/>
                  <a:gd name="connsiteX4" fmla="*/ 2122333 w 3502559"/>
                  <a:gd name="connsiteY4" fmla="*/ 100249 h 2696799"/>
                  <a:gd name="connsiteX5" fmla="*/ 1604749 w 3502559"/>
                  <a:gd name="connsiteY5" fmla="*/ 82996 h 2696799"/>
                  <a:gd name="connsiteX6" fmla="*/ 1380462 w 3502559"/>
                  <a:gd name="connsiteY6" fmla="*/ 22610 h 2696799"/>
                  <a:gd name="connsiteX7" fmla="*/ 1147548 w 3502559"/>
                  <a:gd name="connsiteY7" fmla="*/ 39864 h 2696799"/>
                  <a:gd name="connsiteX8" fmla="*/ 388424 w 3502559"/>
                  <a:gd name="connsiteY8" fmla="*/ 74370 h 2696799"/>
                  <a:gd name="connsiteX9" fmla="*/ 234 w 3502559"/>
                  <a:gd name="connsiteY9" fmla="*/ 937011 h 2696799"/>
                  <a:gd name="connsiteX10" fmla="*/ 336665 w 3502559"/>
                  <a:gd name="connsiteY10" fmla="*/ 2696799 h 2696799"/>
                  <a:gd name="connsiteX0" fmla="*/ 3502559 w 3502559"/>
                  <a:gd name="connsiteY0" fmla="*/ 35612 h 2701174"/>
                  <a:gd name="connsiteX1" fmla="*/ 3174755 w 3502559"/>
                  <a:gd name="connsiteY1" fmla="*/ 173635 h 2701174"/>
                  <a:gd name="connsiteX2" fmla="*/ 3028106 w 3502559"/>
                  <a:gd name="connsiteY2" fmla="*/ 156382 h 2701174"/>
                  <a:gd name="connsiteX3" fmla="*/ 2821072 w 3502559"/>
                  <a:gd name="connsiteY3" fmla="*/ 130503 h 2701174"/>
                  <a:gd name="connsiteX4" fmla="*/ 2122333 w 3502559"/>
                  <a:gd name="connsiteY4" fmla="*/ 104624 h 2701174"/>
                  <a:gd name="connsiteX5" fmla="*/ 1604749 w 3502559"/>
                  <a:gd name="connsiteY5" fmla="*/ 87371 h 2701174"/>
                  <a:gd name="connsiteX6" fmla="*/ 1380462 w 3502559"/>
                  <a:gd name="connsiteY6" fmla="*/ 26985 h 2701174"/>
                  <a:gd name="connsiteX7" fmla="*/ 1147548 w 3502559"/>
                  <a:gd name="connsiteY7" fmla="*/ 44239 h 2701174"/>
                  <a:gd name="connsiteX8" fmla="*/ 767986 w 3502559"/>
                  <a:gd name="connsiteY8" fmla="*/ 35612 h 2701174"/>
                  <a:gd name="connsiteX9" fmla="*/ 388424 w 3502559"/>
                  <a:gd name="connsiteY9" fmla="*/ 78745 h 2701174"/>
                  <a:gd name="connsiteX10" fmla="*/ 234 w 3502559"/>
                  <a:gd name="connsiteY10" fmla="*/ 941386 h 2701174"/>
                  <a:gd name="connsiteX11" fmla="*/ 336665 w 3502559"/>
                  <a:gd name="connsiteY11" fmla="*/ 2701174 h 2701174"/>
                  <a:gd name="connsiteX0" fmla="*/ 3502649 w 3502649"/>
                  <a:gd name="connsiteY0" fmla="*/ 10016 h 2675578"/>
                  <a:gd name="connsiteX1" fmla="*/ 3174845 w 3502649"/>
                  <a:gd name="connsiteY1" fmla="*/ 148039 h 2675578"/>
                  <a:gd name="connsiteX2" fmla="*/ 3028196 w 3502649"/>
                  <a:gd name="connsiteY2" fmla="*/ 130786 h 2675578"/>
                  <a:gd name="connsiteX3" fmla="*/ 2821162 w 3502649"/>
                  <a:gd name="connsiteY3" fmla="*/ 104907 h 2675578"/>
                  <a:gd name="connsiteX4" fmla="*/ 2122423 w 3502649"/>
                  <a:gd name="connsiteY4" fmla="*/ 79028 h 2675578"/>
                  <a:gd name="connsiteX5" fmla="*/ 1604839 w 3502649"/>
                  <a:gd name="connsiteY5" fmla="*/ 61775 h 2675578"/>
                  <a:gd name="connsiteX6" fmla="*/ 1380552 w 3502649"/>
                  <a:gd name="connsiteY6" fmla="*/ 1389 h 2675578"/>
                  <a:gd name="connsiteX7" fmla="*/ 1147638 w 3502649"/>
                  <a:gd name="connsiteY7" fmla="*/ 18643 h 2675578"/>
                  <a:gd name="connsiteX8" fmla="*/ 768076 w 3502649"/>
                  <a:gd name="connsiteY8" fmla="*/ 10016 h 2675578"/>
                  <a:gd name="connsiteX9" fmla="*/ 284997 w 3502649"/>
                  <a:gd name="connsiteY9" fmla="*/ 139414 h 2675578"/>
                  <a:gd name="connsiteX10" fmla="*/ 324 w 3502649"/>
                  <a:gd name="connsiteY10" fmla="*/ 915790 h 2675578"/>
                  <a:gd name="connsiteX11" fmla="*/ 336755 w 3502649"/>
                  <a:gd name="connsiteY11" fmla="*/ 2675578 h 2675578"/>
                  <a:gd name="connsiteX0" fmla="*/ 3506598 w 3506598"/>
                  <a:gd name="connsiteY0" fmla="*/ 10016 h 2675578"/>
                  <a:gd name="connsiteX1" fmla="*/ 3178794 w 3506598"/>
                  <a:gd name="connsiteY1" fmla="*/ 148039 h 2675578"/>
                  <a:gd name="connsiteX2" fmla="*/ 3032145 w 3506598"/>
                  <a:gd name="connsiteY2" fmla="*/ 130786 h 2675578"/>
                  <a:gd name="connsiteX3" fmla="*/ 2825111 w 3506598"/>
                  <a:gd name="connsiteY3" fmla="*/ 104907 h 2675578"/>
                  <a:gd name="connsiteX4" fmla="*/ 2126372 w 3506598"/>
                  <a:gd name="connsiteY4" fmla="*/ 79028 h 2675578"/>
                  <a:gd name="connsiteX5" fmla="*/ 1608788 w 3506598"/>
                  <a:gd name="connsiteY5" fmla="*/ 61775 h 2675578"/>
                  <a:gd name="connsiteX6" fmla="*/ 1384501 w 3506598"/>
                  <a:gd name="connsiteY6" fmla="*/ 1389 h 2675578"/>
                  <a:gd name="connsiteX7" fmla="*/ 1151587 w 3506598"/>
                  <a:gd name="connsiteY7" fmla="*/ 18643 h 2675578"/>
                  <a:gd name="connsiteX8" fmla="*/ 772025 w 3506598"/>
                  <a:gd name="connsiteY8" fmla="*/ 10016 h 2675578"/>
                  <a:gd name="connsiteX9" fmla="*/ 288946 w 3506598"/>
                  <a:gd name="connsiteY9" fmla="*/ 139414 h 2675578"/>
                  <a:gd name="connsiteX10" fmla="*/ 159550 w 3506598"/>
                  <a:gd name="connsiteY10" fmla="*/ 562106 h 2675578"/>
                  <a:gd name="connsiteX11" fmla="*/ 4273 w 3506598"/>
                  <a:gd name="connsiteY11" fmla="*/ 915790 h 2675578"/>
                  <a:gd name="connsiteX12" fmla="*/ 340704 w 3506598"/>
                  <a:gd name="connsiteY12" fmla="*/ 2675578 h 2675578"/>
                  <a:gd name="connsiteX0" fmla="*/ 3506324 w 3506324"/>
                  <a:gd name="connsiteY0" fmla="*/ 10016 h 2675578"/>
                  <a:gd name="connsiteX1" fmla="*/ 3178520 w 3506324"/>
                  <a:gd name="connsiteY1" fmla="*/ 148039 h 2675578"/>
                  <a:gd name="connsiteX2" fmla="*/ 3031871 w 3506324"/>
                  <a:gd name="connsiteY2" fmla="*/ 130786 h 2675578"/>
                  <a:gd name="connsiteX3" fmla="*/ 2824837 w 3506324"/>
                  <a:gd name="connsiteY3" fmla="*/ 104907 h 2675578"/>
                  <a:gd name="connsiteX4" fmla="*/ 2126098 w 3506324"/>
                  <a:gd name="connsiteY4" fmla="*/ 79028 h 2675578"/>
                  <a:gd name="connsiteX5" fmla="*/ 1608514 w 3506324"/>
                  <a:gd name="connsiteY5" fmla="*/ 61775 h 2675578"/>
                  <a:gd name="connsiteX6" fmla="*/ 1384227 w 3506324"/>
                  <a:gd name="connsiteY6" fmla="*/ 1389 h 2675578"/>
                  <a:gd name="connsiteX7" fmla="*/ 1151313 w 3506324"/>
                  <a:gd name="connsiteY7" fmla="*/ 18643 h 2675578"/>
                  <a:gd name="connsiteX8" fmla="*/ 771751 w 3506324"/>
                  <a:gd name="connsiteY8" fmla="*/ 10016 h 2675578"/>
                  <a:gd name="connsiteX9" fmla="*/ 288672 w 3506324"/>
                  <a:gd name="connsiteY9" fmla="*/ 139414 h 2675578"/>
                  <a:gd name="connsiteX10" fmla="*/ 193782 w 3506324"/>
                  <a:gd name="connsiteY10" fmla="*/ 303314 h 2675578"/>
                  <a:gd name="connsiteX11" fmla="*/ 159276 w 3506324"/>
                  <a:gd name="connsiteY11" fmla="*/ 562106 h 2675578"/>
                  <a:gd name="connsiteX12" fmla="*/ 3999 w 3506324"/>
                  <a:gd name="connsiteY12" fmla="*/ 915790 h 2675578"/>
                  <a:gd name="connsiteX13" fmla="*/ 340430 w 3506324"/>
                  <a:gd name="connsiteY13" fmla="*/ 2675578 h 2675578"/>
                  <a:gd name="connsiteX0" fmla="*/ 3506324 w 3506324"/>
                  <a:gd name="connsiteY0" fmla="*/ 10016 h 2675578"/>
                  <a:gd name="connsiteX1" fmla="*/ 3178520 w 3506324"/>
                  <a:gd name="connsiteY1" fmla="*/ 148039 h 2675578"/>
                  <a:gd name="connsiteX2" fmla="*/ 3031871 w 3506324"/>
                  <a:gd name="connsiteY2" fmla="*/ 130786 h 2675578"/>
                  <a:gd name="connsiteX3" fmla="*/ 2824837 w 3506324"/>
                  <a:gd name="connsiteY3" fmla="*/ 104907 h 2675578"/>
                  <a:gd name="connsiteX4" fmla="*/ 2126098 w 3506324"/>
                  <a:gd name="connsiteY4" fmla="*/ 79028 h 2675578"/>
                  <a:gd name="connsiteX5" fmla="*/ 1608514 w 3506324"/>
                  <a:gd name="connsiteY5" fmla="*/ 61775 h 2675578"/>
                  <a:gd name="connsiteX6" fmla="*/ 1384227 w 3506324"/>
                  <a:gd name="connsiteY6" fmla="*/ 1389 h 2675578"/>
                  <a:gd name="connsiteX7" fmla="*/ 1151313 w 3506324"/>
                  <a:gd name="connsiteY7" fmla="*/ 18643 h 2675578"/>
                  <a:gd name="connsiteX8" fmla="*/ 771751 w 3506324"/>
                  <a:gd name="connsiteY8" fmla="*/ 10016 h 2675578"/>
                  <a:gd name="connsiteX9" fmla="*/ 452574 w 3506324"/>
                  <a:gd name="connsiteY9" fmla="*/ 53148 h 2675578"/>
                  <a:gd name="connsiteX10" fmla="*/ 288672 w 3506324"/>
                  <a:gd name="connsiteY10" fmla="*/ 139414 h 2675578"/>
                  <a:gd name="connsiteX11" fmla="*/ 193782 w 3506324"/>
                  <a:gd name="connsiteY11" fmla="*/ 303314 h 2675578"/>
                  <a:gd name="connsiteX12" fmla="*/ 159276 w 3506324"/>
                  <a:gd name="connsiteY12" fmla="*/ 562106 h 2675578"/>
                  <a:gd name="connsiteX13" fmla="*/ 3999 w 3506324"/>
                  <a:gd name="connsiteY13" fmla="*/ 915790 h 2675578"/>
                  <a:gd name="connsiteX14" fmla="*/ 340430 w 3506324"/>
                  <a:gd name="connsiteY14" fmla="*/ 2675578 h 2675578"/>
                  <a:gd name="connsiteX0" fmla="*/ 3517948 w 3517948"/>
                  <a:gd name="connsiteY0" fmla="*/ 10016 h 2675578"/>
                  <a:gd name="connsiteX1" fmla="*/ 3190144 w 3517948"/>
                  <a:gd name="connsiteY1" fmla="*/ 148039 h 2675578"/>
                  <a:gd name="connsiteX2" fmla="*/ 3043495 w 3517948"/>
                  <a:gd name="connsiteY2" fmla="*/ 130786 h 2675578"/>
                  <a:gd name="connsiteX3" fmla="*/ 2836461 w 3517948"/>
                  <a:gd name="connsiteY3" fmla="*/ 104907 h 2675578"/>
                  <a:gd name="connsiteX4" fmla="*/ 2137722 w 3517948"/>
                  <a:gd name="connsiteY4" fmla="*/ 79028 h 2675578"/>
                  <a:gd name="connsiteX5" fmla="*/ 1620138 w 3517948"/>
                  <a:gd name="connsiteY5" fmla="*/ 61775 h 2675578"/>
                  <a:gd name="connsiteX6" fmla="*/ 1395851 w 3517948"/>
                  <a:gd name="connsiteY6" fmla="*/ 1389 h 2675578"/>
                  <a:gd name="connsiteX7" fmla="*/ 1162937 w 3517948"/>
                  <a:gd name="connsiteY7" fmla="*/ 18643 h 2675578"/>
                  <a:gd name="connsiteX8" fmla="*/ 783375 w 3517948"/>
                  <a:gd name="connsiteY8" fmla="*/ 10016 h 2675578"/>
                  <a:gd name="connsiteX9" fmla="*/ 464198 w 3517948"/>
                  <a:gd name="connsiteY9" fmla="*/ 53148 h 2675578"/>
                  <a:gd name="connsiteX10" fmla="*/ 300296 w 3517948"/>
                  <a:gd name="connsiteY10" fmla="*/ 139414 h 2675578"/>
                  <a:gd name="connsiteX11" fmla="*/ 205406 w 3517948"/>
                  <a:gd name="connsiteY11" fmla="*/ 303314 h 2675578"/>
                  <a:gd name="connsiteX12" fmla="*/ 170900 w 3517948"/>
                  <a:gd name="connsiteY12" fmla="*/ 562106 h 2675578"/>
                  <a:gd name="connsiteX13" fmla="*/ 67383 w 3517948"/>
                  <a:gd name="connsiteY13" fmla="*/ 717382 h 2675578"/>
                  <a:gd name="connsiteX14" fmla="*/ 15623 w 3517948"/>
                  <a:gd name="connsiteY14" fmla="*/ 915790 h 2675578"/>
                  <a:gd name="connsiteX15" fmla="*/ 352054 w 3517948"/>
                  <a:gd name="connsiteY15" fmla="*/ 2675578 h 2675578"/>
                  <a:gd name="connsiteX0" fmla="*/ 3517948 w 3517948"/>
                  <a:gd name="connsiteY0" fmla="*/ 10016 h 2675578"/>
                  <a:gd name="connsiteX1" fmla="*/ 3190144 w 3517948"/>
                  <a:gd name="connsiteY1" fmla="*/ 148039 h 2675578"/>
                  <a:gd name="connsiteX2" fmla="*/ 3043495 w 3517948"/>
                  <a:gd name="connsiteY2" fmla="*/ 130786 h 2675578"/>
                  <a:gd name="connsiteX3" fmla="*/ 2836461 w 3517948"/>
                  <a:gd name="connsiteY3" fmla="*/ 104907 h 2675578"/>
                  <a:gd name="connsiteX4" fmla="*/ 2137722 w 3517948"/>
                  <a:gd name="connsiteY4" fmla="*/ 79028 h 2675578"/>
                  <a:gd name="connsiteX5" fmla="*/ 1620138 w 3517948"/>
                  <a:gd name="connsiteY5" fmla="*/ 61775 h 2675578"/>
                  <a:gd name="connsiteX6" fmla="*/ 1395851 w 3517948"/>
                  <a:gd name="connsiteY6" fmla="*/ 1389 h 2675578"/>
                  <a:gd name="connsiteX7" fmla="*/ 1162937 w 3517948"/>
                  <a:gd name="connsiteY7" fmla="*/ 18643 h 2675578"/>
                  <a:gd name="connsiteX8" fmla="*/ 783375 w 3517948"/>
                  <a:gd name="connsiteY8" fmla="*/ 10016 h 2675578"/>
                  <a:gd name="connsiteX9" fmla="*/ 464198 w 3517948"/>
                  <a:gd name="connsiteY9" fmla="*/ 53148 h 2675578"/>
                  <a:gd name="connsiteX10" fmla="*/ 300296 w 3517948"/>
                  <a:gd name="connsiteY10" fmla="*/ 139414 h 2675578"/>
                  <a:gd name="connsiteX11" fmla="*/ 205406 w 3517948"/>
                  <a:gd name="connsiteY11" fmla="*/ 303314 h 2675578"/>
                  <a:gd name="connsiteX12" fmla="*/ 170900 w 3517948"/>
                  <a:gd name="connsiteY12" fmla="*/ 562106 h 2675578"/>
                  <a:gd name="connsiteX13" fmla="*/ 67383 w 3517948"/>
                  <a:gd name="connsiteY13" fmla="*/ 717382 h 2675578"/>
                  <a:gd name="connsiteX14" fmla="*/ 15623 w 3517948"/>
                  <a:gd name="connsiteY14" fmla="*/ 915790 h 2675578"/>
                  <a:gd name="connsiteX15" fmla="*/ 352054 w 3517948"/>
                  <a:gd name="connsiteY15" fmla="*/ 2675578 h 2675578"/>
                  <a:gd name="connsiteX0" fmla="*/ 3496683 w 3496683"/>
                  <a:gd name="connsiteY0" fmla="*/ 10016 h 2675578"/>
                  <a:gd name="connsiteX1" fmla="*/ 3168879 w 3496683"/>
                  <a:gd name="connsiteY1" fmla="*/ 148039 h 2675578"/>
                  <a:gd name="connsiteX2" fmla="*/ 3022230 w 3496683"/>
                  <a:gd name="connsiteY2" fmla="*/ 130786 h 2675578"/>
                  <a:gd name="connsiteX3" fmla="*/ 2815196 w 3496683"/>
                  <a:gd name="connsiteY3" fmla="*/ 104907 h 2675578"/>
                  <a:gd name="connsiteX4" fmla="*/ 2116457 w 3496683"/>
                  <a:gd name="connsiteY4" fmla="*/ 79028 h 2675578"/>
                  <a:gd name="connsiteX5" fmla="*/ 1598873 w 3496683"/>
                  <a:gd name="connsiteY5" fmla="*/ 61775 h 2675578"/>
                  <a:gd name="connsiteX6" fmla="*/ 1374586 w 3496683"/>
                  <a:gd name="connsiteY6" fmla="*/ 1389 h 2675578"/>
                  <a:gd name="connsiteX7" fmla="*/ 1141672 w 3496683"/>
                  <a:gd name="connsiteY7" fmla="*/ 18643 h 2675578"/>
                  <a:gd name="connsiteX8" fmla="*/ 762110 w 3496683"/>
                  <a:gd name="connsiteY8" fmla="*/ 10016 h 2675578"/>
                  <a:gd name="connsiteX9" fmla="*/ 442933 w 3496683"/>
                  <a:gd name="connsiteY9" fmla="*/ 53148 h 2675578"/>
                  <a:gd name="connsiteX10" fmla="*/ 279031 w 3496683"/>
                  <a:gd name="connsiteY10" fmla="*/ 139414 h 2675578"/>
                  <a:gd name="connsiteX11" fmla="*/ 184141 w 3496683"/>
                  <a:gd name="connsiteY11" fmla="*/ 303314 h 2675578"/>
                  <a:gd name="connsiteX12" fmla="*/ 149635 w 3496683"/>
                  <a:gd name="connsiteY12" fmla="*/ 562106 h 2675578"/>
                  <a:gd name="connsiteX13" fmla="*/ 46118 w 3496683"/>
                  <a:gd name="connsiteY13" fmla="*/ 717382 h 2675578"/>
                  <a:gd name="connsiteX14" fmla="*/ 20237 w 3496683"/>
                  <a:gd name="connsiteY14" fmla="*/ 1096944 h 2675578"/>
                  <a:gd name="connsiteX15" fmla="*/ 330789 w 3496683"/>
                  <a:gd name="connsiteY15" fmla="*/ 2675578 h 2675578"/>
                  <a:gd name="connsiteX0" fmla="*/ 3487798 w 3487798"/>
                  <a:gd name="connsiteY0" fmla="*/ 10016 h 2675578"/>
                  <a:gd name="connsiteX1" fmla="*/ 3159994 w 3487798"/>
                  <a:gd name="connsiteY1" fmla="*/ 148039 h 2675578"/>
                  <a:gd name="connsiteX2" fmla="*/ 3013345 w 3487798"/>
                  <a:gd name="connsiteY2" fmla="*/ 130786 h 2675578"/>
                  <a:gd name="connsiteX3" fmla="*/ 2806311 w 3487798"/>
                  <a:gd name="connsiteY3" fmla="*/ 104907 h 2675578"/>
                  <a:gd name="connsiteX4" fmla="*/ 2107572 w 3487798"/>
                  <a:gd name="connsiteY4" fmla="*/ 79028 h 2675578"/>
                  <a:gd name="connsiteX5" fmla="*/ 1589988 w 3487798"/>
                  <a:gd name="connsiteY5" fmla="*/ 61775 h 2675578"/>
                  <a:gd name="connsiteX6" fmla="*/ 1365701 w 3487798"/>
                  <a:gd name="connsiteY6" fmla="*/ 1389 h 2675578"/>
                  <a:gd name="connsiteX7" fmla="*/ 1132787 w 3487798"/>
                  <a:gd name="connsiteY7" fmla="*/ 18643 h 2675578"/>
                  <a:gd name="connsiteX8" fmla="*/ 753225 w 3487798"/>
                  <a:gd name="connsiteY8" fmla="*/ 10016 h 2675578"/>
                  <a:gd name="connsiteX9" fmla="*/ 434048 w 3487798"/>
                  <a:gd name="connsiteY9" fmla="*/ 53148 h 2675578"/>
                  <a:gd name="connsiteX10" fmla="*/ 270146 w 3487798"/>
                  <a:gd name="connsiteY10" fmla="*/ 139414 h 2675578"/>
                  <a:gd name="connsiteX11" fmla="*/ 175256 w 3487798"/>
                  <a:gd name="connsiteY11" fmla="*/ 303314 h 2675578"/>
                  <a:gd name="connsiteX12" fmla="*/ 140750 w 3487798"/>
                  <a:gd name="connsiteY12" fmla="*/ 562106 h 2675578"/>
                  <a:gd name="connsiteX13" fmla="*/ 37233 w 3487798"/>
                  <a:gd name="connsiteY13" fmla="*/ 717382 h 2675578"/>
                  <a:gd name="connsiteX14" fmla="*/ 11352 w 3487798"/>
                  <a:gd name="connsiteY14" fmla="*/ 1096944 h 2675578"/>
                  <a:gd name="connsiteX15" fmla="*/ 201135 w 3487798"/>
                  <a:gd name="connsiteY15" fmla="*/ 2296016 h 2675578"/>
                  <a:gd name="connsiteX16" fmla="*/ 321904 w 3487798"/>
                  <a:gd name="connsiteY16" fmla="*/ 2675578 h 2675578"/>
                  <a:gd name="connsiteX0" fmla="*/ 3487798 w 3487798"/>
                  <a:gd name="connsiteY0" fmla="*/ 10016 h 2710083"/>
                  <a:gd name="connsiteX1" fmla="*/ 3159994 w 3487798"/>
                  <a:gd name="connsiteY1" fmla="*/ 148039 h 2710083"/>
                  <a:gd name="connsiteX2" fmla="*/ 3013345 w 3487798"/>
                  <a:gd name="connsiteY2" fmla="*/ 130786 h 2710083"/>
                  <a:gd name="connsiteX3" fmla="*/ 2806311 w 3487798"/>
                  <a:gd name="connsiteY3" fmla="*/ 104907 h 2710083"/>
                  <a:gd name="connsiteX4" fmla="*/ 2107572 w 3487798"/>
                  <a:gd name="connsiteY4" fmla="*/ 79028 h 2710083"/>
                  <a:gd name="connsiteX5" fmla="*/ 1589988 w 3487798"/>
                  <a:gd name="connsiteY5" fmla="*/ 61775 h 2710083"/>
                  <a:gd name="connsiteX6" fmla="*/ 1365701 w 3487798"/>
                  <a:gd name="connsiteY6" fmla="*/ 1389 h 2710083"/>
                  <a:gd name="connsiteX7" fmla="*/ 1132787 w 3487798"/>
                  <a:gd name="connsiteY7" fmla="*/ 18643 h 2710083"/>
                  <a:gd name="connsiteX8" fmla="*/ 753225 w 3487798"/>
                  <a:gd name="connsiteY8" fmla="*/ 10016 h 2710083"/>
                  <a:gd name="connsiteX9" fmla="*/ 434048 w 3487798"/>
                  <a:gd name="connsiteY9" fmla="*/ 53148 h 2710083"/>
                  <a:gd name="connsiteX10" fmla="*/ 270146 w 3487798"/>
                  <a:gd name="connsiteY10" fmla="*/ 139414 h 2710083"/>
                  <a:gd name="connsiteX11" fmla="*/ 175256 w 3487798"/>
                  <a:gd name="connsiteY11" fmla="*/ 303314 h 2710083"/>
                  <a:gd name="connsiteX12" fmla="*/ 140750 w 3487798"/>
                  <a:gd name="connsiteY12" fmla="*/ 562106 h 2710083"/>
                  <a:gd name="connsiteX13" fmla="*/ 37233 w 3487798"/>
                  <a:gd name="connsiteY13" fmla="*/ 717382 h 2710083"/>
                  <a:gd name="connsiteX14" fmla="*/ 11352 w 3487798"/>
                  <a:gd name="connsiteY14" fmla="*/ 1096944 h 2710083"/>
                  <a:gd name="connsiteX15" fmla="*/ 201135 w 3487798"/>
                  <a:gd name="connsiteY15" fmla="*/ 2296016 h 2710083"/>
                  <a:gd name="connsiteX16" fmla="*/ 347783 w 3487798"/>
                  <a:gd name="connsiteY16" fmla="*/ 2710083 h 2710083"/>
                  <a:gd name="connsiteX0" fmla="*/ 3487798 w 3487798"/>
                  <a:gd name="connsiteY0" fmla="*/ 10016 h 5349766"/>
                  <a:gd name="connsiteX1" fmla="*/ 3159994 w 3487798"/>
                  <a:gd name="connsiteY1" fmla="*/ 148039 h 5349766"/>
                  <a:gd name="connsiteX2" fmla="*/ 3013345 w 3487798"/>
                  <a:gd name="connsiteY2" fmla="*/ 130786 h 5349766"/>
                  <a:gd name="connsiteX3" fmla="*/ 2806311 w 3487798"/>
                  <a:gd name="connsiteY3" fmla="*/ 104907 h 5349766"/>
                  <a:gd name="connsiteX4" fmla="*/ 2107572 w 3487798"/>
                  <a:gd name="connsiteY4" fmla="*/ 79028 h 5349766"/>
                  <a:gd name="connsiteX5" fmla="*/ 1589988 w 3487798"/>
                  <a:gd name="connsiteY5" fmla="*/ 61775 h 5349766"/>
                  <a:gd name="connsiteX6" fmla="*/ 1365701 w 3487798"/>
                  <a:gd name="connsiteY6" fmla="*/ 1389 h 5349766"/>
                  <a:gd name="connsiteX7" fmla="*/ 1132787 w 3487798"/>
                  <a:gd name="connsiteY7" fmla="*/ 18643 h 5349766"/>
                  <a:gd name="connsiteX8" fmla="*/ 753225 w 3487798"/>
                  <a:gd name="connsiteY8" fmla="*/ 10016 h 5349766"/>
                  <a:gd name="connsiteX9" fmla="*/ 434048 w 3487798"/>
                  <a:gd name="connsiteY9" fmla="*/ 53148 h 5349766"/>
                  <a:gd name="connsiteX10" fmla="*/ 270146 w 3487798"/>
                  <a:gd name="connsiteY10" fmla="*/ 139414 h 5349766"/>
                  <a:gd name="connsiteX11" fmla="*/ 175256 w 3487798"/>
                  <a:gd name="connsiteY11" fmla="*/ 303314 h 5349766"/>
                  <a:gd name="connsiteX12" fmla="*/ 140750 w 3487798"/>
                  <a:gd name="connsiteY12" fmla="*/ 562106 h 5349766"/>
                  <a:gd name="connsiteX13" fmla="*/ 37233 w 3487798"/>
                  <a:gd name="connsiteY13" fmla="*/ 717382 h 5349766"/>
                  <a:gd name="connsiteX14" fmla="*/ 11352 w 3487798"/>
                  <a:gd name="connsiteY14" fmla="*/ 1096944 h 5349766"/>
                  <a:gd name="connsiteX15" fmla="*/ 201135 w 3487798"/>
                  <a:gd name="connsiteY15" fmla="*/ 2296016 h 5349766"/>
                  <a:gd name="connsiteX16" fmla="*/ 787730 w 3487798"/>
                  <a:gd name="connsiteY16" fmla="*/ 5349766 h 5349766"/>
                  <a:gd name="connsiteX0" fmla="*/ 3487798 w 3487798"/>
                  <a:gd name="connsiteY0" fmla="*/ 10016 h 5349766"/>
                  <a:gd name="connsiteX1" fmla="*/ 3159994 w 3487798"/>
                  <a:gd name="connsiteY1" fmla="*/ 148039 h 5349766"/>
                  <a:gd name="connsiteX2" fmla="*/ 3013345 w 3487798"/>
                  <a:gd name="connsiteY2" fmla="*/ 130786 h 5349766"/>
                  <a:gd name="connsiteX3" fmla="*/ 2806311 w 3487798"/>
                  <a:gd name="connsiteY3" fmla="*/ 104907 h 5349766"/>
                  <a:gd name="connsiteX4" fmla="*/ 2107572 w 3487798"/>
                  <a:gd name="connsiteY4" fmla="*/ 79028 h 5349766"/>
                  <a:gd name="connsiteX5" fmla="*/ 1589988 w 3487798"/>
                  <a:gd name="connsiteY5" fmla="*/ 61775 h 5349766"/>
                  <a:gd name="connsiteX6" fmla="*/ 1365701 w 3487798"/>
                  <a:gd name="connsiteY6" fmla="*/ 1389 h 5349766"/>
                  <a:gd name="connsiteX7" fmla="*/ 1132787 w 3487798"/>
                  <a:gd name="connsiteY7" fmla="*/ 18643 h 5349766"/>
                  <a:gd name="connsiteX8" fmla="*/ 753225 w 3487798"/>
                  <a:gd name="connsiteY8" fmla="*/ 10016 h 5349766"/>
                  <a:gd name="connsiteX9" fmla="*/ 434048 w 3487798"/>
                  <a:gd name="connsiteY9" fmla="*/ 53148 h 5349766"/>
                  <a:gd name="connsiteX10" fmla="*/ 270146 w 3487798"/>
                  <a:gd name="connsiteY10" fmla="*/ 139414 h 5349766"/>
                  <a:gd name="connsiteX11" fmla="*/ 175256 w 3487798"/>
                  <a:gd name="connsiteY11" fmla="*/ 303314 h 5349766"/>
                  <a:gd name="connsiteX12" fmla="*/ 140750 w 3487798"/>
                  <a:gd name="connsiteY12" fmla="*/ 562106 h 5349766"/>
                  <a:gd name="connsiteX13" fmla="*/ 37233 w 3487798"/>
                  <a:gd name="connsiteY13" fmla="*/ 717382 h 5349766"/>
                  <a:gd name="connsiteX14" fmla="*/ 11352 w 3487798"/>
                  <a:gd name="connsiteY14" fmla="*/ 1096944 h 5349766"/>
                  <a:gd name="connsiteX15" fmla="*/ 201135 w 3487798"/>
                  <a:gd name="connsiteY15" fmla="*/ 2296016 h 5349766"/>
                  <a:gd name="connsiteX16" fmla="*/ 244266 w 3487798"/>
                  <a:gd name="connsiteY16" fmla="*/ 2554807 h 5349766"/>
                  <a:gd name="connsiteX17" fmla="*/ 787730 w 3487798"/>
                  <a:gd name="connsiteY17" fmla="*/ 5349766 h 5349766"/>
                  <a:gd name="connsiteX0" fmla="*/ 3487798 w 3487798"/>
                  <a:gd name="connsiteY0" fmla="*/ 10016 h 5349766"/>
                  <a:gd name="connsiteX1" fmla="*/ 3159994 w 3487798"/>
                  <a:gd name="connsiteY1" fmla="*/ 148039 h 5349766"/>
                  <a:gd name="connsiteX2" fmla="*/ 3013345 w 3487798"/>
                  <a:gd name="connsiteY2" fmla="*/ 130786 h 5349766"/>
                  <a:gd name="connsiteX3" fmla="*/ 2806311 w 3487798"/>
                  <a:gd name="connsiteY3" fmla="*/ 104907 h 5349766"/>
                  <a:gd name="connsiteX4" fmla="*/ 2107572 w 3487798"/>
                  <a:gd name="connsiteY4" fmla="*/ 79028 h 5349766"/>
                  <a:gd name="connsiteX5" fmla="*/ 1589988 w 3487798"/>
                  <a:gd name="connsiteY5" fmla="*/ 61775 h 5349766"/>
                  <a:gd name="connsiteX6" fmla="*/ 1365701 w 3487798"/>
                  <a:gd name="connsiteY6" fmla="*/ 1389 h 5349766"/>
                  <a:gd name="connsiteX7" fmla="*/ 1132787 w 3487798"/>
                  <a:gd name="connsiteY7" fmla="*/ 18643 h 5349766"/>
                  <a:gd name="connsiteX8" fmla="*/ 753225 w 3487798"/>
                  <a:gd name="connsiteY8" fmla="*/ 10016 h 5349766"/>
                  <a:gd name="connsiteX9" fmla="*/ 434048 w 3487798"/>
                  <a:gd name="connsiteY9" fmla="*/ 53148 h 5349766"/>
                  <a:gd name="connsiteX10" fmla="*/ 270146 w 3487798"/>
                  <a:gd name="connsiteY10" fmla="*/ 139414 h 5349766"/>
                  <a:gd name="connsiteX11" fmla="*/ 175256 w 3487798"/>
                  <a:gd name="connsiteY11" fmla="*/ 303314 h 5349766"/>
                  <a:gd name="connsiteX12" fmla="*/ 140750 w 3487798"/>
                  <a:gd name="connsiteY12" fmla="*/ 562106 h 5349766"/>
                  <a:gd name="connsiteX13" fmla="*/ 37233 w 3487798"/>
                  <a:gd name="connsiteY13" fmla="*/ 717382 h 5349766"/>
                  <a:gd name="connsiteX14" fmla="*/ 11352 w 3487798"/>
                  <a:gd name="connsiteY14" fmla="*/ 1096944 h 5349766"/>
                  <a:gd name="connsiteX15" fmla="*/ 201135 w 3487798"/>
                  <a:gd name="connsiteY15" fmla="*/ 2296016 h 5349766"/>
                  <a:gd name="connsiteX16" fmla="*/ 244266 w 3487798"/>
                  <a:gd name="connsiteY16" fmla="*/ 2554807 h 5349766"/>
                  <a:gd name="connsiteX17" fmla="*/ 718719 w 3487798"/>
                  <a:gd name="connsiteY17" fmla="*/ 3296679 h 5349766"/>
                  <a:gd name="connsiteX18" fmla="*/ 787730 w 3487798"/>
                  <a:gd name="connsiteY18" fmla="*/ 5349766 h 5349766"/>
                  <a:gd name="connsiteX0" fmla="*/ 3487798 w 3487798"/>
                  <a:gd name="connsiteY0" fmla="*/ 10016 h 5349766"/>
                  <a:gd name="connsiteX1" fmla="*/ 3159994 w 3487798"/>
                  <a:gd name="connsiteY1" fmla="*/ 148039 h 5349766"/>
                  <a:gd name="connsiteX2" fmla="*/ 3013345 w 3487798"/>
                  <a:gd name="connsiteY2" fmla="*/ 130786 h 5349766"/>
                  <a:gd name="connsiteX3" fmla="*/ 2806311 w 3487798"/>
                  <a:gd name="connsiteY3" fmla="*/ 104907 h 5349766"/>
                  <a:gd name="connsiteX4" fmla="*/ 2107572 w 3487798"/>
                  <a:gd name="connsiteY4" fmla="*/ 79028 h 5349766"/>
                  <a:gd name="connsiteX5" fmla="*/ 1589988 w 3487798"/>
                  <a:gd name="connsiteY5" fmla="*/ 61775 h 5349766"/>
                  <a:gd name="connsiteX6" fmla="*/ 1365701 w 3487798"/>
                  <a:gd name="connsiteY6" fmla="*/ 1389 h 5349766"/>
                  <a:gd name="connsiteX7" fmla="*/ 1132787 w 3487798"/>
                  <a:gd name="connsiteY7" fmla="*/ 18643 h 5349766"/>
                  <a:gd name="connsiteX8" fmla="*/ 753225 w 3487798"/>
                  <a:gd name="connsiteY8" fmla="*/ 10016 h 5349766"/>
                  <a:gd name="connsiteX9" fmla="*/ 434048 w 3487798"/>
                  <a:gd name="connsiteY9" fmla="*/ 53148 h 5349766"/>
                  <a:gd name="connsiteX10" fmla="*/ 270146 w 3487798"/>
                  <a:gd name="connsiteY10" fmla="*/ 139414 h 5349766"/>
                  <a:gd name="connsiteX11" fmla="*/ 175256 w 3487798"/>
                  <a:gd name="connsiteY11" fmla="*/ 303314 h 5349766"/>
                  <a:gd name="connsiteX12" fmla="*/ 140750 w 3487798"/>
                  <a:gd name="connsiteY12" fmla="*/ 562106 h 5349766"/>
                  <a:gd name="connsiteX13" fmla="*/ 37233 w 3487798"/>
                  <a:gd name="connsiteY13" fmla="*/ 717382 h 5349766"/>
                  <a:gd name="connsiteX14" fmla="*/ 11352 w 3487798"/>
                  <a:gd name="connsiteY14" fmla="*/ 1096944 h 5349766"/>
                  <a:gd name="connsiteX15" fmla="*/ 201135 w 3487798"/>
                  <a:gd name="connsiteY15" fmla="*/ 2296016 h 5349766"/>
                  <a:gd name="connsiteX16" fmla="*/ 244266 w 3487798"/>
                  <a:gd name="connsiteY16" fmla="*/ 2554807 h 5349766"/>
                  <a:gd name="connsiteX17" fmla="*/ 425421 w 3487798"/>
                  <a:gd name="connsiteY17" fmla="*/ 2753215 h 5349766"/>
                  <a:gd name="connsiteX18" fmla="*/ 718719 w 3487798"/>
                  <a:gd name="connsiteY18" fmla="*/ 3296679 h 5349766"/>
                  <a:gd name="connsiteX19" fmla="*/ 787730 w 3487798"/>
                  <a:gd name="connsiteY19" fmla="*/ 5349766 h 5349766"/>
                  <a:gd name="connsiteX0" fmla="*/ 3486534 w 3486534"/>
                  <a:gd name="connsiteY0" fmla="*/ 10016 h 5349766"/>
                  <a:gd name="connsiteX1" fmla="*/ 3158730 w 3486534"/>
                  <a:gd name="connsiteY1" fmla="*/ 148039 h 5349766"/>
                  <a:gd name="connsiteX2" fmla="*/ 3012081 w 3486534"/>
                  <a:gd name="connsiteY2" fmla="*/ 130786 h 5349766"/>
                  <a:gd name="connsiteX3" fmla="*/ 2805047 w 3486534"/>
                  <a:gd name="connsiteY3" fmla="*/ 104907 h 5349766"/>
                  <a:gd name="connsiteX4" fmla="*/ 2106308 w 3486534"/>
                  <a:gd name="connsiteY4" fmla="*/ 79028 h 5349766"/>
                  <a:gd name="connsiteX5" fmla="*/ 1588724 w 3486534"/>
                  <a:gd name="connsiteY5" fmla="*/ 61775 h 5349766"/>
                  <a:gd name="connsiteX6" fmla="*/ 1364437 w 3486534"/>
                  <a:gd name="connsiteY6" fmla="*/ 1389 h 5349766"/>
                  <a:gd name="connsiteX7" fmla="*/ 1131523 w 3486534"/>
                  <a:gd name="connsiteY7" fmla="*/ 18643 h 5349766"/>
                  <a:gd name="connsiteX8" fmla="*/ 751961 w 3486534"/>
                  <a:gd name="connsiteY8" fmla="*/ 10016 h 5349766"/>
                  <a:gd name="connsiteX9" fmla="*/ 432784 w 3486534"/>
                  <a:gd name="connsiteY9" fmla="*/ 53148 h 5349766"/>
                  <a:gd name="connsiteX10" fmla="*/ 268882 w 3486534"/>
                  <a:gd name="connsiteY10" fmla="*/ 139414 h 5349766"/>
                  <a:gd name="connsiteX11" fmla="*/ 173992 w 3486534"/>
                  <a:gd name="connsiteY11" fmla="*/ 303314 h 5349766"/>
                  <a:gd name="connsiteX12" fmla="*/ 139486 w 3486534"/>
                  <a:gd name="connsiteY12" fmla="*/ 562106 h 5349766"/>
                  <a:gd name="connsiteX13" fmla="*/ 35969 w 3486534"/>
                  <a:gd name="connsiteY13" fmla="*/ 717382 h 5349766"/>
                  <a:gd name="connsiteX14" fmla="*/ 10088 w 3486534"/>
                  <a:gd name="connsiteY14" fmla="*/ 1096944 h 5349766"/>
                  <a:gd name="connsiteX15" fmla="*/ 182618 w 3486534"/>
                  <a:gd name="connsiteY15" fmla="*/ 2227005 h 5349766"/>
                  <a:gd name="connsiteX16" fmla="*/ 243002 w 3486534"/>
                  <a:gd name="connsiteY16" fmla="*/ 2554807 h 5349766"/>
                  <a:gd name="connsiteX17" fmla="*/ 424157 w 3486534"/>
                  <a:gd name="connsiteY17" fmla="*/ 2753215 h 5349766"/>
                  <a:gd name="connsiteX18" fmla="*/ 717455 w 3486534"/>
                  <a:gd name="connsiteY18" fmla="*/ 3296679 h 5349766"/>
                  <a:gd name="connsiteX19" fmla="*/ 786466 w 3486534"/>
                  <a:gd name="connsiteY19" fmla="*/ 5349766 h 5349766"/>
                  <a:gd name="connsiteX0" fmla="*/ 3486534 w 3486534"/>
                  <a:gd name="connsiteY0" fmla="*/ 10016 h 5349766"/>
                  <a:gd name="connsiteX1" fmla="*/ 3158730 w 3486534"/>
                  <a:gd name="connsiteY1" fmla="*/ 148039 h 5349766"/>
                  <a:gd name="connsiteX2" fmla="*/ 3012081 w 3486534"/>
                  <a:gd name="connsiteY2" fmla="*/ 130786 h 5349766"/>
                  <a:gd name="connsiteX3" fmla="*/ 2805047 w 3486534"/>
                  <a:gd name="connsiteY3" fmla="*/ 104907 h 5349766"/>
                  <a:gd name="connsiteX4" fmla="*/ 2106308 w 3486534"/>
                  <a:gd name="connsiteY4" fmla="*/ 79028 h 5349766"/>
                  <a:gd name="connsiteX5" fmla="*/ 1588724 w 3486534"/>
                  <a:gd name="connsiteY5" fmla="*/ 61775 h 5349766"/>
                  <a:gd name="connsiteX6" fmla="*/ 1364437 w 3486534"/>
                  <a:gd name="connsiteY6" fmla="*/ 1389 h 5349766"/>
                  <a:gd name="connsiteX7" fmla="*/ 1131523 w 3486534"/>
                  <a:gd name="connsiteY7" fmla="*/ 18643 h 5349766"/>
                  <a:gd name="connsiteX8" fmla="*/ 751961 w 3486534"/>
                  <a:gd name="connsiteY8" fmla="*/ 10016 h 5349766"/>
                  <a:gd name="connsiteX9" fmla="*/ 432784 w 3486534"/>
                  <a:gd name="connsiteY9" fmla="*/ 53148 h 5349766"/>
                  <a:gd name="connsiteX10" fmla="*/ 268882 w 3486534"/>
                  <a:gd name="connsiteY10" fmla="*/ 139414 h 5349766"/>
                  <a:gd name="connsiteX11" fmla="*/ 173992 w 3486534"/>
                  <a:gd name="connsiteY11" fmla="*/ 303314 h 5349766"/>
                  <a:gd name="connsiteX12" fmla="*/ 139486 w 3486534"/>
                  <a:gd name="connsiteY12" fmla="*/ 562106 h 5349766"/>
                  <a:gd name="connsiteX13" fmla="*/ 35969 w 3486534"/>
                  <a:gd name="connsiteY13" fmla="*/ 717382 h 5349766"/>
                  <a:gd name="connsiteX14" fmla="*/ 10088 w 3486534"/>
                  <a:gd name="connsiteY14" fmla="*/ 1096944 h 5349766"/>
                  <a:gd name="connsiteX15" fmla="*/ 182618 w 3486534"/>
                  <a:gd name="connsiteY15" fmla="*/ 2227005 h 5349766"/>
                  <a:gd name="connsiteX16" fmla="*/ 243002 w 3486534"/>
                  <a:gd name="connsiteY16" fmla="*/ 2554807 h 5349766"/>
                  <a:gd name="connsiteX17" fmla="*/ 424157 w 3486534"/>
                  <a:gd name="connsiteY17" fmla="*/ 2753215 h 5349766"/>
                  <a:gd name="connsiteX18" fmla="*/ 717455 w 3486534"/>
                  <a:gd name="connsiteY18" fmla="*/ 3296679 h 5349766"/>
                  <a:gd name="connsiteX19" fmla="*/ 777840 w 3486534"/>
                  <a:gd name="connsiteY19" fmla="*/ 4004045 h 5349766"/>
                  <a:gd name="connsiteX20" fmla="*/ 786466 w 3486534"/>
                  <a:gd name="connsiteY20" fmla="*/ 5349766 h 5349766"/>
                  <a:gd name="connsiteX0" fmla="*/ 3486534 w 3486534"/>
                  <a:gd name="connsiteY0" fmla="*/ 10016 h 5349766"/>
                  <a:gd name="connsiteX1" fmla="*/ 3158730 w 3486534"/>
                  <a:gd name="connsiteY1" fmla="*/ 148039 h 5349766"/>
                  <a:gd name="connsiteX2" fmla="*/ 3012081 w 3486534"/>
                  <a:gd name="connsiteY2" fmla="*/ 130786 h 5349766"/>
                  <a:gd name="connsiteX3" fmla="*/ 2805047 w 3486534"/>
                  <a:gd name="connsiteY3" fmla="*/ 104907 h 5349766"/>
                  <a:gd name="connsiteX4" fmla="*/ 2106308 w 3486534"/>
                  <a:gd name="connsiteY4" fmla="*/ 79028 h 5349766"/>
                  <a:gd name="connsiteX5" fmla="*/ 1588724 w 3486534"/>
                  <a:gd name="connsiteY5" fmla="*/ 61775 h 5349766"/>
                  <a:gd name="connsiteX6" fmla="*/ 1364437 w 3486534"/>
                  <a:gd name="connsiteY6" fmla="*/ 1389 h 5349766"/>
                  <a:gd name="connsiteX7" fmla="*/ 1131523 w 3486534"/>
                  <a:gd name="connsiteY7" fmla="*/ 18643 h 5349766"/>
                  <a:gd name="connsiteX8" fmla="*/ 751961 w 3486534"/>
                  <a:gd name="connsiteY8" fmla="*/ 10016 h 5349766"/>
                  <a:gd name="connsiteX9" fmla="*/ 432784 w 3486534"/>
                  <a:gd name="connsiteY9" fmla="*/ 53148 h 5349766"/>
                  <a:gd name="connsiteX10" fmla="*/ 268882 w 3486534"/>
                  <a:gd name="connsiteY10" fmla="*/ 139414 h 5349766"/>
                  <a:gd name="connsiteX11" fmla="*/ 173992 w 3486534"/>
                  <a:gd name="connsiteY11" fmla="*/ 303314 h 5349766"/>
                  <a:gd name="connsiteX12" fmla="*/ 139486 w 3486534"/>
                  <a:gd name="connsiteY12" fmla="*/ 562106 h 5349766"/>
                  <a:gd name="connsiteX13" fmla="*/ 35969 w 3486534"/>
                  <a:gd name="connsiteY13" fmla="*/ 717382 h 5349766"/>
                  <a:gd name="connsiteX14" fmla="*/ 10088 w 3486534"/>
                  <a:gd name="connsiteY14" fmla="*/ 1096944 h 5349766"/>
                  <a:gd name="connsiteX15" fmla="*/ 182618 w 3486534"/>
                  <a:gd name="connsiteY15" fmla="*/ 2227005 h 5349766"/>
                  <a:gd name="connsiteX16" fmla="*/ 243002 w 3486534"/>
                  <a:gd name="connsiteY16" fmla="*/ 2554807 h 5349766"/>
                  <a:gd name="connsiteX17" fmla="*/ 424157 w 3486534"/>
                  <a:gd name="connsiteY17" fmla="*/ 2753215 h 5349766"/>
                  <a:gd name="connsiteX18" fmla="*/ 717455 w 3486534"/>
                  <a:gd name="connsiteY18" fmla="*/ 3296679 h 5349766"/>
                  <a:gd name="connsiteX19" fmla="*/ 777840 w 3486534"/>
                  <a:gd name="connsiteY19" fmla="*/ 4004045 h 5349766"/>
                  <a:gd name="connsiteX20" fmla="*/ 682949 w 3486534"/>
                  <a:gd name="connsiteY20" fmla="*/ 4590641 h 5349766"/>
                  <a:gd name="connsiteX21" fmla="*/ 786466 w 3486534"/>
                  <a:gd name="connsiteY21" fmla="*/ 5349766 h 5349766"/>
                  <a:gd name="connsiteX0" fmla="*/ 3486534 w 3486534"/>
                  <a:gd name="connsiteY0" fmla="*/ 10016 h 5349766"/>
                  <a:gd name="connsiteX1" fmla="*/ 3158730 w 3486534"/>
                  <a:gd name="connsiteY1" fmla="*/ 148039 h 5349766"/>
                  <a:gd name="connsiteX2" fmla="*/ 3012081 w 3486534"/>
                  <a:gd name="connsiteY2" fmla="*/ 130786 h 5349766"/>
                  <a:gd name="connsiteX3" fmla="*/ 2805047 w 3486534"/>
                  <a:gd name="connsiteY3" fmla="*/ 104907 h 5349766"/>
                  <a:gd name="connsiteX4" fmla="*/ 2106308 w 3486534"/>
                  <a:gd name="connsiteY4" fmla="*/ 79028 h 5349766"/>
                  <a:gd name="connsiteX5" fmla="*/ 1588724 w 3486534"/>
                  <a:gd name="connsiteY5" fmla="*/ 61775 h 5349766"/>
                  <a:gd name="connsiteX6" fmla="*/ 1364437 w 3486534"/>
                  <a:gd name="connsiteY6" fmla="*/ 1389 h 5349766"/>
                  <a:gd name="connsiteX7" fmla="*/ 1131523 w 3486534"/>
                  <a:gd name="connsiteY7" fmla="*/ 18643 h 5349766"/>
                  <a:gd name="connsiteX8" fmla="*/ 751961 w 3486534"/>
                  <a:gd name="connsiteY8" fmla="*/ 10016 h 5349766"/>
                  <a:gd name="connsiteX9" fmla="*/ 432784 w 3486534"/>
                  <a:gd name="connsiteY9" fmla="*/ 53148 h 5349766"/>
                  <a:gd name="connsiteX10" fmla="*/ 268882 w 3486534"/>
                  <a:gd name="connsiteY10" fmla="*/ 139414 h 5349766"/>
                  <a:gd name="connsiteX11" fmla="*/ 173992 w 3486534"/>
                  <a:gd name="connsiteY11" fmla="*/ 303314 h 5349766"/>
                  <a:gd name="connsiteX12" fmla="*/ 139486 w 3486534"/>
                  <a:gd name="connsiteY12" fmla="*/ 562106 h 5349766"/>
                  <a:gd name="connsiteX13" fmla="*/ 35969 w 3486534"/>
                  <a:gd name="connsiteY13" fmla="*/ 717382 h 5349766"/>
                  <a:gd name="connsiteX14" fmla="*/ 10088 w 3486534"/>
                  <a:gd name="connsiteY14" fmla="*/ 1096944 h 5349766"/>
                  <a:gd name="connsiteX15" fmla="*/ 182618 w 3486534"/>
                  <a:gd name="connsiteY15" fmla="*/ 2227005 h 5349766"/>
                  <a:gd name="connsiteX16" fmla="*/ 243002 w 3486534"/>
                  <a:gd name="connsiteY16" fmla="*/ 2554807 h 5349766"/>
                  <a:gd name="connsiteX17" fmla="*/ 424157 w 3486534"/>
                  <a:gd name="connsiteY17" fmla="*/ 2753215 h 5349766"/>
                  <a:gd name="connsiteX18" fmla="*/ 717455 w 3486534"/>
                  <a:gd name="connsiteY18" fmla="*/ 3296679 h 5349766"/>
                  <a:gd name="connsiteX19" fmla="*/ 777840 w 3486534"/>
                  <a:gd name="connsiteY19" fmla="*/ 4004045 h 5349766"/>
                  <a:gd name="connsiteX20" fmla="*/ 734708 w 3486534"/>
                  <a:gd name="connsiteY20" fmla="*/ 4228332 h 5349766"/>
                  <a:gd name="connsiteX21" fmla="*/ 682949 w 3486534"/>
                  <a:gd name="connsiteY21" fmla="*/ 4590641 h 5349766"/>
                  <a:gd name="connsiteX22" fmla="*/ 786466 w 3486534"/>
                  <a:gd name="connsiteY22" fmla="*/ 5349766 h 5349766"/>
                  <a:gd name="connsiteX0" fmla="*/ 3486534 w 3486534"/>
                  <a:gd name="connsiteY0" fmla="*/ 10016 h 5349766"/>
                  <a:gd name="connsiteX1" fmla="*/ 3158730 w 3486534"/>
                  <a:gd name="connsiteY1" fmla="*/ 148039 h 5349766"/>
                  <a:gd name="connsiteX2" fmla="*/ 3012081 w 3486534"/>
                  <a:gd name="connsiteY2" fmla="*/ 130786 h 5349766"/>
                  <a:gd name="connsiteX3" fmla="*/ 2805047 w 3486534"/>
                  <a:gd name="connsiteY3" fmla="*/ 104907 h 5349766"/>
                  <a:gd name="connsiteX4" fmla="*/ 2106308 w 3486534"/>
                  <a:gd name="connsiteY4" fmla="*/ 79028 h 5349766"/>
                  <a:gd name="connsiteX5" fmla="*/ 1588724 w 3486534"/>
                  <a:gd name="connsiteY5" fmla="*/ 61775 h 5349766"/>
                  <a:gd name="connsiteX6" fmla="*/ 1364437 w 3486534"/>
                  <a:gd name="connsiteY6" fmla="*/ 1389 h 5349766"/>
                  <a:gd name="connsiteX7" fmla="*/ 1131523 w 3486534"/>
                  <a:gd name="connsiteY7" fmla="*/ 18643 h 5349766"/>
                  <a:gd name="connsiteX8" fmla="*/ 751961 w 3486534"/>
                  <a:gd name="connsiteY8" fmla="*/ 10016 h 5349766"/>
                  <a:gd name="connsiteX9" fmla="*/ 432784 w 3486534"/>
                  <a:gd name="connsiteY9" fmla="*/ 53148 h 5349766"/>
                  <a:gd name="connsiteX10" fmla="*/ 268882 w 3486534"/>
                  <a:gd name="connsiteY10" fmla="*/ 139414 h 5349766"/>
                  <a:gd name="connsiteX11" fmla="*/ 173992 w 3486534"/>
                  <a:gd name="connsiteY11" fmla="*/ 303314 h 5349766"/>
                  <a:gd name="connsiteX12" fmla="*/ 139486 w 3486534"/>
                  <a:gd name="connsiteY12" fmla="*/ 562106 h 5349766"/>
                  <a:gd name="connsiteX13" fmla="*/ 35969 w 3486534"/>
                  <a:gd name="connsiteY13" fmla="*/ 717382 h 5349766"/>
                  <a:gd name="connsiteX14" fmla="*/ 10088 w 3486534"/>
                  <a:gd name="connsiteY14" fmla="*/ 1096944 h 5349766"/>
                  <a:gd name="connsiteX15" fmla="*/ 182618 w 3486534"/>
                  <a:gd name="connsiteY15" fmla="*/ 2227005 h 5349766"/>
                  <a:gd name="connsiteX16" fmla="*/ 243002 w 3486534"/>
                  <a:gd name="connsiteY16" fmla="*/ 2554807 h 5349766"/>
                  <a:gd name="connsiteX17" fmla="*/ 424157 w 3486534"/>
                  <a:gd name="connsiteY17" fmla="*/ 2753215 h 5349766"/>
                  <a:gd name="connsiteX18" fmla="*/ 717455 w 3486534"/>
                  <a:gd name="connsiteY18" fmla="*/ 3296679 h 5349766"/>
                  <a:gd name="connsiteX19" fmla="*/ 777840 w 3486534"/>
                  <a:gd name="connsiteY19" fmla="*/ 4004045 h 5349766"/>
                  <a:gd name="connsiteX20" fmla="*/ 734708 w 3486534"/>
                  <a:gd name="connsiteY20" fmla="*/ 4228332 h 5349766"/>
                  <a:gd name="connsiteX21" fmla="*/ 682949 w 3486534"/>
                  <a:gd name="connsiteY21" fmla="*/ 4590641 h 5349766"/>
                  <a:gd name="connsiteX22" fmla="*/ 665696 w 3486534"/>
                  <a:gd name="connsiteY22" fmla="*/ 5039215 h 5349766"/>
                  <a:gd name="connsiteX23" fmla="*/ 786466 w 3486534"/>
                  <a:gd name="connsiteY23" fmla="*/ 5349766 h 53497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486534" h="5349766">
                    <a:moveTo>
                      <a:pt x="3486534" y="10016"/>
                    </a:moveTo>
                    <a:cubicBezTo>
                      <a:pt x="3315444" y="71839"/>
                      <a:pt x="3334134" y="84778"/>
                      <a:pt x="3158730" y="148039"/>
                    </a:cubicBezTo>
                    <a:cubicBezTo>
                      <a:pt x="3078217" y="172481"/>
                      <a:pt x="3071028" y="137975"/>
                      <a:pt x="3012081" y="130786"/>
                    </a:cubicBezTo>
                    <a:cubicBezTo>
                      <a:pt x="2953134" y="123597"/>
                      <a:pt x="2956009" y="113533"/>
                      <a:pt x="2805047" y="104907"/>
                    </a:cubicBezTo>
                    <a:cubicBezTo>
                      <a:pt x="2654085" y="96281"/>
                      <a:pt x="2309028" y="86217"/>
                      <a:pt x="2106308" y="79028"/>
                    </a:cubicBezTo>
                    <a:lnTo>
                      <a:pt x="1588724" y="61775"/>
                    </a:lnTo>
                    <a:cubicBezTo>
                      <a:pt x="1465079" y="54586"/>
                      <a:pt x="1440637" y="8578"/>
                      <a:pt x="1364437" y="1389"/>
                    </a:cubicBezTo>
                    <a:cubicBezTo>
                      <a:pt x="1288237" y="-5800"/>
                      <a:pt x="1233602" y="17205"/>
                      <a:pt x="1131523" y="18643"/>
                    </a:cubicBezTo>
                    <a:cubicBezTo>
                      <a:pt x="1029444" y="20081"/>
                      <a:pt x="865542" y="-1486"/>
                      <a:pt x="751961" y="10016"/>
                    </a:cubicBezTo>
                    <a:cubicBezTo>
                      <a:pt x="638380" y="21518"/>
                      <a:pt x="513297" y="31582"/>
                      <a:pt x="432784" y="53148"/>
                    </a:cubicBezTo>
                    <a:cubicBezTo>
                      <a:pt x="352271" y="74714"/>
                      <a:pt x="312014" y="97720"/>
                      <a:pt x="268882" y="139414"/>
                    </a:cubicBezTo>
                    <a:cubicBezTo>
                      <a:pt x="225750" y="181108"/>
                      <a:pt x="195558" y="232865"/>
                      <a:pt x="173992" y="303314"/>
                    </a:cubicBezTo>
                    <a:cubicBezTo>
                      <a:pt x="152426" y="373763"/>
                      <a:pt x="169679" y="495970"/>
                      <a:pt x="139486" y="562106"/>
                    </a:cubicBezTo>
                    <a:cubicBezTo>
                      <a:pt x="109294" y="628242"/>
                      <a:pt x="61848" y="658435"/>
                      <a:pt x="35969" y="717382"/>
                    </a:cubicBezTo>
                    <a:cubicBezTo>
                      <a:pt x="10090" y="776329"/>
                      <a:pt x="-14353" y="845340"/>
                      <a:pt x="10088" y="1096944"/>
                    </a:cubicBezTo>
                    <a:cubicBezTo>
                      <a:pt x="34529" y="1348548"/>
                      <a:pt x="140924" y="1978277"/>
                      <a:pt x="182618" y="2227005"/>
                    </a:cubicBezTo>
                    <a:cubicBezTo>
                      <a:pt x="224313" y="2475733"/>
                      <a:pt x="207059" y="2474294"/>
                      <a:pt x="243002" y="2554807"/>
                    </a:cubicBezTo>
                    <a:cubicBezTo>
                      <a:pt x="278945" y="2635320"/>
                      <a:pt x="345082" y="2629570"/>
                      <a:pt x="424157" y="2753215"/>
                    </a:cubicBezTo>
                    <a:cubicBezTo>
                      <a:pt x="503233" y="2876860"/>
                      <a:pt x="664259" y="3088207"/>
                      <a:pt x="717455" y="3296679"/>
                    </a:cubicBezTo>
                    <a:cubicBezTo>
                      <a:pt x="770651" y="3505151"/>
                      <a:pt x="770651" y="3858834"/>
                      <a:pt x="777840" y="4004045"/>
                    </a:cubicBezTo>
                    <a:cubicBezTo>
                      <a:pt x="785029" y="4149256"/>
                      <a:pt x="750523" y="4130566"/>
                      <a:pt x="734708" y="4228332"/>
                    </a:cubicBezTo>
                    <a:cubicBezTo>
                      <a:pt x="718893" y="4326098"/>
                      <a:pt x="682949" y="4464120"/>
                      <a:pt x="682949" y="4590641"/>
                    </a:cubicBezTo>
                    <a:cubicBezTo>
                      <a:pt x="682949" y="4717162"/>
                      <a:pt x="648443" y="4912694"/>
                      <a:pt x="665696" y="5039215"/>
                    </a:cubicBezTo>
                    <a:cubicBezTo>
                      <a:pt x="682949" y="5165736"/>
                      <a:pt x="777840" y="5289381"/>
                      <a:pt x="786466" y="5349766"/>
                    </a:cubicBezTo>
                  </a:path>
                </a:pathLst>
              </a:custGeom>
              <a:noFill/>
              <a:ln w="57150">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th-TH" sz="300"/>
              </a:p>
            </p:txBody>
          </p:sp>
          <p:sp>
            <p:nvSpPr>
              <p:cNvPr id="62" name="วงรี 3"/>
              <p:cNvSpPr/>
              <p:nvPr/>
            </p:nvSpPr>
            <p:spPr>
              <a:xfrm>
                <a:off x="8016509" y="1187537"/>
                <a:ext cx="144016" cy="144016"/>
              </a:xfrm>
              <a:prstGeom prst="ellipse">
                <a:avLst/>
              </a:prstGeom>
              <a:gradFill flip="none" rotWithShape="1">
                <a:gsLst>
                  <a:gs pos="0">
                    <a:schemeClr val="accent5">
                      <a:lumMod val="40000"/>
                      <a:lumOff val="60000"/>
                    </a:schemeClr>
                  </a:gs>
                  <a:gs pos="47000">
                    <a:srgbClr val="0070C0"/>
                  </a:gs>
                  <a:gs pos="100000">
                    <a:srgbClr val="FF2121">
                      <a:tint val="23500"/>
                      <a:satMod val="160000"/>
                    </a:srgbClr>
                  </a:gs>
                </a:gsLst>
                <a:path path="circle">
                  <a:fillToRect l="50000" t="50000" r="50000" b="50000"/>
                </a:path>
                <a:tileRect/>
              </a:grad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th-TH" sz="300"/>
              </a:p>
            </p:txBody>
          </p:sp>
          <p:sp>
            <p:nvSpPr>
              <p:cNvPr id="63" name="วงรี 24"/>
              <p:cNvSpPr/>
              <p:nvPr/>
            </p:nvSpPr>
            <p:spPr>
              <a:xfrm>
                <a:off x="5571218" y="1162106"/>
                <a:ext cx="144016" cy="144016"/>
              </a:xfrm>
              <a:prstGeom prst="ellipse">
                <a:avLst/>
              </a:prstGeom>
              <a:gradFill flip="none" rotWithShape="1">
                <a:gsLst>
                  <a:gs pos="0">
                    <a:schemeClr val="accent5">
                      <a:lumMod val="40000"/>
                      <a:lumOff val="60000"/>
                    </a:schemeClr>
                  </a:gs>
                  <a:gs pos="47000">
                    <a:srgbClr val="0070C0"/>
                  </a:gs>
                  <a:gs pos="100000">
                    <a:srgbClr val="FF2121">
                      <a:tint val="23500"/>
                      <a:satMod val="160000"/>
                    </a:srgbClr>
                  </a:gs>
                </a:gsLst>
                <a:path path="circle">
                  <a:fillToRect l="50000" t="50000" r="50000" b="50000"/>
                </a:path>
                <a:tileRect/>
              </a:grad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th-TH" sz="300"/>
              </a:p>
            </p:txBody>
          </p:sp>
          <p:sp>
            <p:nvSpPr>
              <p:cNvPr id="64" name="วงรี 25"/>
              <p:cNvSpPr/>
              <p:nvPr/>
            </p:nvSpPr>
            <p:spPr>
              <a:xfrm>
                <a:off x="4490918" y="2399798"/>
                <a:ext cx="144016" cy="144016"/>
              </a:xfrm>
              <a:prstGeom prst="ellipse">
                <a:avLst/>
              </a:prstGeom>
              <a:gradFill flip="none" rotWithShape="1">
                <a:gsLst>
                  <a:gs pos="0">
                    <a:schemeClr val="accent5">
                      <a:lumMod val="40000"/>
                      <a:lumOff val="60000"/>
                    </a:schemeClr>
                  </a:gs>
                  <a:gs pos="47000">
                    <a:srgbClr val="0070C0"/>
                  </a:gs>
                  <a:gs pos="100000">
                    <a:srgbClr val="FF2121">
                      <a:tint val="23500"/>
                      <a:satMod val="160000"/>
                    </a:srgbClr>
                  </a:gs>
                </a:gsLst>
                <a:path path="circle">
                  <a:fillToRect l="50000" t="50000" r="50000" b="50000"/>
                </a:path>
                <a:tileRect/>
              </a:grad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th-TH" sz="300"/>
              </a:p>
            </p:txBody>
          </p:sp>
          <p:sp>
            <p:nvSpPr>
              <p:cNvPr id="65" name="วงรี 26"/>
              <p:cNvSpPr/>
              <p:nvPr/>
            </p:nvSpPr>
            <p:spPr>
              <a:xfrm>
                <a:off x="4932040" y="3949068"/>
                <a:ext cx="144016" cy="144016"/>
              </a:xfrm>
              <a:prstGeom prst="ellipse">
                <a:avLst/>
              </a:prstGeom>
              <a:gradFill flip="none" rotWithShape="1">
                <a:gsLst>
                  <a:gs pos="0">
                    <a:schemeClr val="accent5">
                      <a:lumMod val="40000"/>
                      <a:lumOff val="60000"/>
                    </a:schemeClr>
                  </a:gs>
                  <a:gs pos="47000">
                    <a:srgbClr val="0070C0"/>
                  </a:gs>
                  <a:gs pos="100000">
                    <a:srgbClr val="FF2121">
                      <a:tint val="23500"/>
                      <a:satMod val="160000"/>
                    </a:srgbClr>
                  </a:gs>
                </a:gsLst>
                <a:path path="circle">
                  <a:fillToRect l="50000" t="50000" r="50000" b="50000"/>
                </a:path>
                <a:tileRect/>
              </a:grad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th-TH" sz="300"/>
              </a:p>
            </p:txBody>
          </p:sp>
          <p:sp>
            <p:nvSpPr>
              <p:cNvPr id="66" name="วงรี 27"/>
              <p:cNvSpPr/>
              <p:nvPr/>
            </p:nvSpPr>
            <p:spPr>
              <a:xfrm>
                <a:off x="5176110" y="6288230"/>
                <a:ext cx="144016" cy="144016"/>
              </a:xfrm>
              <a:prstGeom prst="ellipse">
                <a:avLst/>
              </a:prstGeom>
              <a:gradFill flip="none" rotWithShape="1">
                <a:gsLst>
                  <a:gs pos="0">
                    <a:schemeClr val="accent5">
                      <a:lumMod val="40000"/>
                      <a:lumOff val="60000"/>
                    </a:schemeClr>
                  </a:gs>
                  <a:gs pos="47000">
                    <a:srgbClr val="0070C0"/>
                  </a:gs>
                  <a:gs pos="100000">
                    <a:srgbClr val="FF2121">
                      <a:tint val="23500"/>
                      <a:satMod val="160000"/>
                    </a:srgbClr>
                  </a:gs>
                </a:gsLst>
                <a:path path="circle">
                  <a:fillToRect l="50000" t="50000" r="50000" b="50000"/>
                </a:path>
                <a:tileRect/>
              </a:grad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th-TH" sz="300"/>
              </a:p>
            </p:txBody>
          </p:sp>
        </p:grpSp>
      </p:grpSp>
      <p:graphicFrame>
        <p:nvGraphicFramePr>
          <p:cNvPr id="51" name="Table 50"/>
          <p:cNvGraphicFramePr>
            <a:graphicFrameLocks noGrp="1"/>
          </p:cNvGraphicFramePr>
          <p:nvPr>
            <p:extLst>
              <p:ext uri="{D42A27DB-BD31-4B8C-83A1-F6EECF244321}">
                <p14:modId xmlns:p14="http://schemas.microsoft.com/office/powerpoint/2010/main" xmlns="" val="387406631"/>
              </p:ext>
            </p:extLst>
          </p:nvPr>
        </p:nvGraphicFramePr>
        <p:xfrm>
          <a:off x="4283968" y="3723878"/>
          <a:ext cx="4248472" cy="1153284"/>
        </p:xfrm>
        <a:graphic>
          <a:graphicData uri="http://schemas.openxmlformats.org/drawingml/2006/table">
            <a:tbl>
              <a:tblPr firstRow="1" bandRow="1">
                <a:tableStyleId>{5C22544A-7EE6-4342-B048-85BDC9FD1C3A}</a:tableStyleId>
              </a:tblPr>
              <a:tblGrid>
                <a:gridCol w="3054489"/>
                <a:gridCol w="1193983"/>
              </a:tblGrid>
              <a:tr h="384428">
                <a:tc>
                  <a:txBody>
                    <a:bodyPr/>
                    <a:lstStyle/>
                    <a:p>
                      <a:pPr algn="ctr">
                        <a:lnSpc>
                          <a:spcPct val="100000"/>
                        </a:lnSpc>
                      </a:pPr>
                      <a:r>
                        <a:rPr lang="th-TH" sz="1600" b="1" dirty="0" smtClean="0">
                          <a:solidFill>
                            <a:schemeClr val="tx1"/>
                          </a:solidFill>
                          <a:latin typeface="BrowalliaUPC" pitchFamily="34" charset="-34"/>
                          <a:cs typeface="BrowalliaUPC" pitchFamily="34" charset="-34"/>
                        </a:rPr>
                        <a:t>เส้นทาง</a:t>
                      </a:r>
                      <a:endParaRPr lang="th-TH" sz="1600" b="1" dirty="0">
                        <a:solidFill>
                          <a:schemeClr val="tx1"/>
                        </a:solidFill>
                        <a:latin typeface="BrowalliaUPC" pitchFamily="34" charset="-34"/>
                        <a:cs typeface="BrowalliaUPC" pitchFamily="34" charset="-34"/>
                      </a:endParaRPr>
                    </a:p>
                  </a:txBody>
                  <a:tcPr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lumMod val="20000"/>
                        <a:lumOff val="80000"/>
                      </a:schemeClr>
                    </a:solidFill>
                  </a:tcPr>
                </a:tc>
                <a:tc>
                  <a:txBody>
                    <a:bodyPr/>
                    <a:lstStyle/>
                    <a:p>
                      <a:pPr algn="ctr">
                        <a:lnSpc>
                          <a:spcPct val="100000"/>
                        </a:lnSpc>
                      </a:pPr>
                      <a:r>
                        <a:rPr lang="th-TH" sz="1600" b="1" spc="-60" baseline="0" dirty="0" smtClean="0">
                          <a:solidFill>
                            <a:schemeClr val="tx1"/>
                          </a:solidFill>
                          <a:latin typeface="BrowalliaUPC" pitchFamily="34" charset="-34"/>
                          <a:cs typeface="BrowalliaUPC" pitchFamily="34" charset="-34"/>
                        </a:rPr>
                        <a:t>ระยะทาง (กม.)</a:t>
                      </a:r>
                      <a:endParaRPr lang="th-TH" sz="1600" b="1" spc="-60" baseline="0" dirty="0">
                        <a:solidFill>
                          <a:schemeClr val="tx1"/>
                        </a:solidFill>
                        <a:latin typeface="BrowalliaUPC" pitchFamily="34" charset="-34"/>
                        <a:cs typeface="BrowalliaUPC" pitchFamily="34" charset="-34"/>
                      </a:endParaRPr>
                    </a:p>
                  </a:txBody>
                  <a:tcPr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2">
                        <a:lumMod val="20000"/>
                        <a:lumOff val="80000"/>
                      </a:schemeClr>
                    </a:solidFill>
                  </a:tcPr>
                </a:tc>
              </a:tr>
              <a:tr h="384428">
                <a:tc>
                  <a:txBody>
                    <a:bodyPr/>
                    <a:lstStyle/>
                    <a:p>
                      <a:pPr marL="342900" indent="-342900">
                        <a:lnSpc>
                          <a:spcPct val="100000"/>
                        </a:lnSpc>
                        <a:buAutoNum type="arabicPeriod"/>
                      </a:pPr>
                      <a:r>
                        <a:rPr lang="th-TH" sz="1600" b="1" dirty="0" smtClean="0">
                          <a:solidFill>
                            <a:srgbClr val="FF0000"/>
                          </a:solidFill>
                          <a:latin typeface="BrowalliaUPC" pitchFamily="34" charset="-34"/>
                          <a:cs typeface="BrowalliaUPC" pitchFamily="34" charset="-34"/>
                        </a:rPr>
                        <a:t>ช่วงกรุงเทพฯ</a:t>
                      </a:r>
                      <a:r>
                        <a:rPr lang="th-TH" sz="1600" b="1" baseline="0" dirty="0" smtClean="0">
                          <a:solidFill>
                            <a:srgbClr val="FF0000"/>
                          </a:solidFill>
                          <a:latin typeface="BrowalliaUPC" pitchFamily="34" charset="-34"/>
                          <a:cs typeface="BrowalliaUPC" pitchFamily="34" charset="-34"/>
                        </a:rPr>
                        <a:t> </a:t>
                      </a:r>
                      <a:r>
                        <a:rPr lang="en-US" sz="1600" b="1" baseline="0" dirty="0" smtClean="0">
                          <a:solidFill>
                            <a:srgbClr val="FF0000"/>
                          </a:solidFill>
                          <a:latin typeface="BrowalliaUPC" pitchFamily="34" charset="-34"/>
                          <a:cs typeface="BrowalliaUPC" pitchFamily="34" charset="-34"/>
                        </a:rPr>
                        <a:t>–</a:t>
                      </a:r>
                      <a:r>
                        <a:rPr lang="th-TH" sz="1600" b="1" baseline="0" dirty="0" smtClean="0">
                          <a:solidFill>
                            <a:srgbClr val="FF0000"/>
                          </a:solidFill>
                          <a:latin typeface="BrowalliaUPC" pitchFamily="34" charset="-34"/>
                          <a:cs typeface="BrowalliaUPC" pitchFamily="34" charset="-34"/>
                        </a:rPr>
                        <a:t> หัวหิน </a:t>
                      </a:r>
                      <a:endParaRPr lang="en-US" sz="1600" b="1" kern="1200" dirty="0" smtClean="0">
                        <a:solidFill>
                          <a:srgbClr val="FF0000"/>
                        </a:solidFill>
                        <a:latin typeface="BrowalliaUPC" pitchFamily="34" charset="-34"/>
                        <a:ea typeface="+mn-ea"/>
                        <a:cs typeface="BrowalliaUPC" pitchFamily="34" charset="-34"/>
                      </a:endParaRPr>
                    </a:p>
                  </a:txBody>
                  <a:tcPr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lnSpc>
                          <a:spcPct val="100000"/>
                        </a:lnSpc>
                      </a:pPr>
                      <a:r>
                        <a:rPr lang="th-TH" sz="1600" b="0" dirty="0" smtClean="0">
                          <a:solidFill>
                            <a:srgbClr val="FF0000"/>
                          </a:solidFill>
                          <a:latin typeface="BrowalliaUPC" pitchFamily="34" charset="-34"/>
                          <a:cs typeface="BrowalliaUPC" pitchFamily="34" charset="-34"/>
                        </a:rPr>
                        <a:t> </a:t>
                      </a:r>
                      <a:r>
                        <a:rPr lang="en-US" sz="1600" b="0" dirty="0" smtClean="0">
                          <a:solidFill>
                            <a:srgbClr val="FF0000"/>
                          </a:solidFill>
                          <a:latin typeface="BrowalliaUPC" pitchFamily="34" charset="-34"/>
                          <a:cs typeface="BrowalliaUPC" pitchFamily="34" charset="-34"/>
                        </a:rPr>
                        <a:t>165</a:t>
                      </a:r>
                      <a:endParaRPr lang="th-TH" sz="1600" b="0" dirty="0">
                        <a:solidFill>
                          <a:srgbClr val="FF0000"/>
                        </a:solidFill>
                        <a:latin typeface="BrowalliaUPC" pitchFamily="34" charset="-34"/>
                        <a:cs typeface="BrowalliaUPC" pitchFamily="34" charset="-34"/>
                      </a:endParaRPr>
                    </a:p>
                  </a:txBody>
                  <a:tcPr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r h="384428">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600" b="1" kern="1200" dirty="0" smtClean="0">
                          <a:solidFill>
                            <a:srgbClr val="0070C0"/>
                          </a:solidFill>
                          <a:latin typeface="BrowalliaUPC" pitchFamily="34" charset="-34"/>
                          <a:ea typeface="+mn-ea"/>
                          <a:cs typeface="BrowalliaUPC" pitchFamily="34" charset="-34"/>
                        </a:rPr>
                        <a:t>2. </a:t>
                      </a:r>
                      <a:r>
                        <a:rPr lang="th-TH" sz="1600" b="1" kern="1200" dirty="0" smtClean="0">
                          <a:solidFill>
                            <a:srgbClr val="0070C0"/>
                          </a:solidFill>
                          <a:latin typeface="BrowalliaUPC" pitchFamily="34" charset="-34"/>
                          <a:ea typeface="+mn-ea"/>
                          <a:cs typeface="BrowalliaUPC" pitchFamily="34" charset="-34"/>
                        </a:rPr>
                        <a:t>    ข่วงกรุงเทพฯ</a:t>
                      </a:r>
                      <a:r>
                        <a:rPr lang="th-TH" sz="1600" b="1" kern="1200" baseline="0" dirty="0" smtClean="0">
                          <a:solidFill>
                            <a:srgbClr val="0070C0"/>
                          </a:solidFill>
                          <a:latin typeface="BrowalliaUPC" pitchFamily="34" charset="-34"/>
                          <a:ea typeface="+mn-ea"/>
                          <a:cs typeface="BrowalliaUPC" pitchFamily="34" charset="-34"/>
                        </a:rPr>
                        <a:t> </a:t>
                      </a:r>
                      <a:r>
                        <a:rPr lang="en-US" sz="1600" b="1" kern="1200" baseline="0" dirty="0" smtClean="0">
                          <a:solidFill>
                            <a:srgbClr val="0070C0"/>
                          </a:solidFill>
                          <a:latin typeface="BrowalliaUPC" pitchFamily="34" charset="-34"/>
                          <a:ea typeface="+mn-ea"/>
                          <a:cs typeface="BrowalliaUPC" pitchFamily="34" charset="-34"/>
                        </a:rPr>
                        <a:t>–</a:t>
                      </a:r>
                      <a:r>
                        <a:rPr lang="th-TH" sz="1600" b="1" kern="1200" baseline="0" dirty="0" smtClean="0">
                          <a:solidFill>
                            <a:srgbClr val="0070C0"/>
                          </a:solidFill>
                          <a:latin typeface="BrowalliaUPC" pitchFamily="34" charset="-34"/>
                          <a:ea typeface="+mn-ea"/>
                          <a:cs typeface="BrowalliaUPC" pitchFamily="34" charset="-34"/>
                        </a:rPr>
                        <a:t> ระยอง </a:t>
                      </a:r>
                      <a:endParaRPr lang="en-US" sz="1600" b="0" dirty="0" smtClean="0">
                        <a:solidFill>
                          <a:srgbClr val="0070C0"/>
                        </a:solidFill>
                        <a:latin typeface="BrowalliaUPC" pitchFamily="34" charset="-34"/>
                        <a:cs typeface="BrowalliaUPC" pitchFamily="34" charset="-34"/>
                      </a:endParaRPr>
                    </a:p>
                  </a:txBody>
                  <a:tcPr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lnSpc>
                          <a:spcPct val="100000"/>
                        </a:lnSpc>
                      </a:pPr>
                      <a:r>
                        <a:rPr lang="en-US" sz="1600" b="1" kern="1200" dirty="0" smtClean="0">
                          <a:solidFill>
                            <a:srgbClr val="0070C0"/>
                          </a:solidFill>
                          <a:latin typeface="BrowalliaUPC" pitchFamily="34" charset="-34"/>
                          <a:ea typeface="+mn-ea"/>
                          <a:cs typeface="BrowalliaUPC" pitchFamily="34" charset="-34"/>
                        </a:rPr>
                        <a:t>220</a:t>
                      </a:r>
                      <a:r>
                        <a:rPr lang="th-TH" sz="1600" b="1" kern="1200" dirty="0" smtClean="0">
                          <a:solidFill>
                            <a:srgbClr val="0070C0"/>
                          </a:solidFill>
                          <a:latin typeface="BrowalliaUPC" pitchFamily="34" charset="-34"/>
                          <a:ea typeface="+mn-ea"/>
                          <a:cs typeface="BrowalliaUPC" pitchFamily="34" charset="-34"/>
                        </a:rPr>
                        <a:t> </a:t>
                      </a:r>
                      <a:endParaRPr lang="th-TH" sz="1600" b="1" kern="1200" dirty="0">
                        <a:solidFill>
                          <a:srgbClr val="0070C0"/>
                        </a:solidFill>
                        <a:latin typeface="BrowalliaUPC" pitchFamily="34" charset="-34"/>
                        <a:ea typeface="+mn-ea"/>
                        <a:cs typeface="BrowalliaUPC" pitchFamily="34" charset="-34"/>
                      </a:endParaRPr>
                    </a:p>
                  </a:txBody>
                  <a:tcPr marT="34290" marB="3429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r>
            </a:tbl>
          </a:graphicData>
        </a:graphic>
      </p:graphicFrame>
      <p:sp>
        <p:nvSpPr>
          <p:cNvPr id="76" name="Right Arrow 75"/>
          <p:cNvSpPr/>
          <p:nvPr/>
        </p:nvSpPr>
        <p:spPr>
          <a:xfrm flipH="1" flipV="1">
            <a:off x="2843808" y="2283718"/>
            <a:ext cx="648072" cy="288032"/>
          </a:xfrm>
          <a:prstGeom prst="rightArrow">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th-TH"/>
          </a:p>
        </p:txBody>
      </p:sp>
      <p:sp>
        <p:nvSpPr>
          <p:cNvPr id="77" name="Right Arrow 76"/>
          <p:cNvSpPr/>
          <p:nvPr/>
        </p:nvSpPr>
        <p:spPr>
          <a:xfrm flipV="1">
            <a:off x="5076056" y="2355726"/>
            <a:ext cx="648072" cy="288032"/>
          </a:xfrm>
          <a:prstGeom prst="rightArrow">
            <a:avLst/>
          </a:prstGeom>
          <a:solidFill>
            <a:srgbClr val="002060"/>
          </a:solid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th-TH"/>
          </a:p>
        </p:txBody>
      </p:sp>
      <p:sp>
        <p:nvSpPr>
          <p:cNvPr id="78" name="RbNavigator"/>
          <p:cNvSpPr txBox="1"/>
          <p:nvPr/>
        </p:nvSpPr>
        <p:spPr>
          <a:xfrm>
            <a:off x="107504" y="92614"/>
            <a:ext cx="444744" cy="246888"/>
          </a:xfrm>
          <a:prstGeom prst="rect">
            <a:avLst/>
          </a:prstGeom>
          <a:solidFill>
            <a:srgbClr val="003F56"/>
          </a:solidFill>
          <a:ln w="9525">
            <a:noFill/>
          </a:ln>
        </p:spPr>
        <p:txBody>
          <a:bodyPr vert="horz" wrap="none" lIns="0" tIns="0" rIns="0" bIns="0" rtlCol="0" anchor="ctr">
            <a:noAutofit/>
          </a:bodyPr>
          <a:lstStyle/>
          <a:p>
            <a:pPr marL="0" marR="0" lvl="0" indent="0" algn="ctr" defTabSz="914400" eaLnBrk="1" fontAlgn="auto" latinLnBrk="0" hangingPunct="1">
              <a:lnSpc>
                <a:spcPct val="90000"/>
              </a:lnSpc>
              <a:spcBef>
                <a:spcPts val="400"/>
              </a:spcBef>
              <a:spcAft>
                <a:spcPts val="0"/>
              </a:spcAft>
              <a:buClr>
                <a:srgbClr val="000000"/>
              </a:buClr>
              <a:buSzPct val="100000"/>
              <a:buFontTx/>
              <a:buNone/>
              <a:tabLst/>
              <a:defRPr/>
            </a:pPr>
            <a:r>
              <a:rPr kumimoji="1" lang="en-US" b="1" i="0" u="none" strike="noStrike" kern="0" cap="none" spc="0" normalizeH="0" baseline="0" noProof="0" dirty="0" smtClean="0">
                <a:ln>
                  <a:noFill/>
                </a:ln>
                <a:solidFill>
                  <a:srgbClr val="FFFFFF"/>
                </a:solidFill>
                <a:effectLst/>
                <a:uLnTx/>
                <a:uFillTx/>
                <a:latin typeface="TH SarabunPSK" pitchFamily="34" charset="-34"/>
                <a:cs typeface="TH SarabunPSK" pitchFamily="34" charset="-34"/>
              </a:rPr>
              <a:t>6</a:t>
            </a:r>
          </a:p>
        </p:txBody>
      </p:sp>
      <p:sp>
        <p:nvSpPr>
          <p:cNvPr id="79" name="RbSticker"/>
          <p:cNvSpPr txBox="1"/>
          <p:nvPr/>
        </p:nvSpPr>
        <p:spPr>
          <a:xfrm>
            <a:off x="611560" y="22749"/>
            <a:ext cx="4574970" cy="388761"/>
          </a:xfrm>
          <a:prstGeom prst="rect">
            <a:avLst/>
          </a:prstGeom>
          <a:noFill/>
          <a:ln w="9525">
            <a:noFill/>
          </a:ln>
        </p:spPr>
        <p:txBody>
          <a:bodyPr vert="horz" wrap="none" lIns="0" tIns="0" rIns="0" bIns="0" rtlCol="0" anchor="ctr">
            <a:spAutoFit/>
          </a:bodyPr>
          <a:lstStyle/>
          <a:p>
            <a:pPr lvl="0">
              <a:lnSpc>
                <a:spcPct val="90000"/>
              </a:lnSpc>
              <a:spcBef>
                <a:spcPts val="400"/>
              </a:spcBef>
              <a:buSzPct val="100000"/>
              <a:defRPr/>
            </a:pPr>
            <a:r>
              <a:rPr lang="th-TH" b="1" kern="0" dirty="0">
                <a:solidFill>
                  <a:srgbClr val="003F56"/>
                </a:solidFill>
                <a:latin typeface="TH SarabunPSK" pitchFamily="34" charset="-34"/>
                <a:cs typeface="TH SarabunPSK" pitchFamily="34" charset="-34"/>
              </a:rPr>
              <a:t>โครงการลงทุนที่สำคัญ</a:t>
            </a:r>
            <a:r>
              <a:rPr lang="th-TH" b="1" kern="0" dirty="0" smtClean="0">
                <a:solidFill>
                  <a:srgbClr val="003F56"/>
                </a:solidFill>
                <a:latin typeface="TH SarabunPSK" pitchFamily="34" charset="-34"/>
                <a:cs typeface="TH SarabunPSK" pitchFamily="34" charset="-34"/>
              </a:rPr>
              <a:t>ในช่วงปี 2558  </a:t>
            </a:r>
            <a:r>
              <a:rPr lang="th-TH" b="1" kern="0" dirty="0">
                <a:solidFill>
                  <a:srgbClr val="003F56"/>
                </a:solidFill>
                <a:latin typeface="TH SarabunPSK" pitchFamily="34" charset="-34"/>
                <a:cs typeface="TH SarabunPSK" pitchFamily="34" charset="-34"/>
              </a:rPr>
              <a:t>- </a:t>
            </a:r>
            <a:r>
              <a:rPr lang="th-TH" b="1" kern="0" dirty="0" smtClean="0">
                <a:solidFill>
                  <a:srgbClr val="003F56"/>
                </a:solidFill>
                <a:latin typeface="TH SarabunPSK" pitchFamily="34" charset="-34"/>
                <a:cs typeface="TH SarabunPSK" pitchFamily="34" charset="-34"/>
              </a:rPr>
              <a:t>256</a:t>
            </a:r>
            <a:r>
              <a:rPr lang="en-US" b="1" kern="0" dirty="0" smtClean="0">
                <a:solidFill>
                  <a:srgbClr val="003F56"/>
                </a:solidFill>
                <a:latin typeface="TH SarabunPSK" pitchFamily="34" charset="-34"/>
                <a:cs typeface="TH SarabunPSK" pitchFamily="34" charset="-34"/>
              </a:rPr>
              <a:t>0</a:t>
            </a:r>
            <a:r>
              <a:rPr lang="th-TH" b="1" kern="0" dirty="0" smtClean="0">
                <a:solidFill>
                  <a:srgbClr val="003F56"/>
                </a:solidFill>
                <a:latin typeface="TH SarabunPSK" pitchFamily="34" charset="-34"/>
                <a:cs typeface="TH SarabunPSK" pitchFamily="34" charset="-34"/>
              </a:rPr>
              <a:t> </a:t>
            </a:r>
            <a:endParaRPr lang="th-TH" b="1" kern="0" dirty="0">
              <a:solidFill>
                <a:srgbClr val="003F56"/>
              </a:solidFill>
              <a:latin typeface="TH SarabunPSK" pitchFamily="34" charset="-34"/>
              <a:cs typeface="TH SarabunPSK" pitchFamily="34" charset="-34"/>
            </a:endParaRPr>
          </a:p>
        </p:txBody>
      </p:sp>
      <p:sp>
        <p:nvSpPr>
          <p:cNvPr id="80" name="Rounded Rectangle 79">
            <a:hlinkClick r:id="" action="ppaction://noaction"/>
          </p:cNvPr>
          <p:cNvSpPr/>
          <p:nvPr/>
        </p:nvSpPr>
        <p:spPr>
          <a:xfrm>
            <a:off x="12457" y="555526"/>
            <a:ext cx="5286400" cy="402026"/>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anchor="ctr">
            <a:spAutoFit/>
          </a:bodyPr>
          <a:lstStyle/>
          <a:p>
            <a:pPr eaLnBrk="1" hangingPunct="1">
              <a:lnSpc>
                <a:spcPts val="1800"/>
              </a:lnSpc>
              <a:defRPr/>
            </a:pPr>
            <a:r>
              <a:rPr lang="th-TH" b="1" dirty="0" smtClean="0">
                <a:solidFill>
                  <a:schemeClr val="tx1"/>
                </a:solidFill>
                <a:latin typeface="TH SarabunPSK" pitchFamily="34" charset="-34"/>
                <a:cs typeface="TH SarabunPSK" pitchFamily="34" charset="-34"/>
              </a:rPr>
              <a:t>แผนงาน 1.</a:t>
            </a:r>
            <a:r>
              <a:rPr lang="th-TH" sz="1600" dirty="0" smtClean="0">
                <a:solidFill>
                  <a:schemeClr val="tx1"/>
                </a:solidFill>
                <a:latin typeface="TH SarabunPSK" pitchFamily="34" charset="-34"/>
                <a:cs typeface="TH SarabunPSK" pitchFamily="34" charset="-34"/>
              </a:rPr>
              <a:t>  </a:t>
            </a:r>
            <a:r>
              <a:rPr lang="th-TH" sz="2400" b="1" dirty="0" smtClean="0">
                <a:solidFill>
                  <a:schemeClr val="tx1"/>
                </a:solidFill>
                <a:latin typeface="TH SarabunPSK" pitchFamily="34" charset="-34"/>
                <a:cs typeface="TH SarabunPSK" pitchFamily="34" charset="-34"/>
              </a:rPr>
              <a:t>การพัฒนาโครงข่ายรถไฟระหว่างเมือง</a:t>
            </a:r>
            <a:endParaRPr lang="th-TH" sz="2400" b="1" dirty="0">
              <a:solidFill>
                <a:schemeClr val="tx1"/>
              </a:solidFill>
              <a:latin typeface="TH SarabunPSK" pitchFamily="34" charset="-34"/>
              <a:cs typeface="TH SarabunPSK" pitchFamily="34" charset="-34"/>
            </a:endParaRPr>
          </a:p>
        </p:txBody>
      </p:sp>
    </p:spTree>
    <p:extLst>
      <p:ext uri="{BB962C8B-B14F-4D97-AF65-F5344CB8AC3E}">
        <p14:creationId xmlns:p14="http://schemas.microsoft.com/office/powerpoint/2010/main" xmlns="" val="3554108050"/>
      </p:ext>
    </p:extLst>
  </p:cSld>
  <p:clrMapOvr>
    <a:masterClrMapping/>
  </p:clrMapOvr>
  <p:transition spd="med" advClick="0">
    <p:fade thruBlk="1"/>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ounded Rectangle 5">
            <a:hlinkClick r:id="" action="ppaction://noaction"/>
          </p:cNvPr>
          <p:cNvSpPr/>
          <p:nvPr/>
        </p:nvSpPr>
        <p:spPr>
          <a:xfrm>
            <a:off x="-63744" y="426763"/>
            <a:ext cx="9360144" cy="402026"/>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anchor="ctr">
            <a:spAutoFit/>
          </a:bodyPr>
          <a:lstStyle/>
          <a:p>
            <a:pPr>
              <a:lnSpc>
                <a:spcPts val="1800"/>
              </a:lnSpc>
              <a:defRPr/>
            </a:pPr>
            <a:r>
              <a:rPr lang="th-TH" b="1" dirty="0" smtClean="0">
                <a:solidFill>
                  <a:schemeClr val="tx1"/>
                </a:solidFill>
                <a:latin typeface="TH SarabunPSK" pitchFamily="34" charset="-34"/>
                <a:cs typeface="TH SarabunPSK" pitchFamily="34" charset="-34"/>
              </a:rPr>
              <a:t>แผนงาน 2.</a:t>
            </a:r>
            <a:r>
              <a:rPr lang="th-TH" b="1" dirty="0">
                <a:solidFill>
                  <a:schemeClr val="tx1"/>
                </a:solidFill>
                <a:latin typeface="TH SarabunPSK" pitchFamily="34" charset="-34"/>
                <a:cs typeface="TH SarabunPSK" pitchFamily="34" charset="-34"/>
              </a:rPr>
              <a:t> </a:t>
            </a:r>
            <a:r>
              <a:rPr lang="th-TH" sz="2400" b="1" dirty="0">
                <a:solidFill>
                  <a:schemeClr val="tx1"/>
                </a:solidFill>
                <a:latin typeface="TH SarabunPSK" pitchFamily="34" charset="-34"/>
                <a:cs typeface="TH SarabunPSK" pitchFamily="34" charset="-34"/>
              </a:rPr>
              <a:t>การพัฒนาโครงข่ายขนส่งสาธารณะเพื่อแก้ไขปัญหาจราจรในกรุงเทพมหานครและ</a:t>
            </a:r>
            <a:r>
              <a:rPr lang="th-TH" sz="2400" b="1" dirty="0" smtClean="0">
                <a:solidFill>
                  <a:schemeClr val="tx1"/>
                </a:solidFill>
                <a:latin typeface="TH SarabunPSK" pitchFamily="34" charset="-34"/>
                <a:cs typeface="TH SarabunPSK" pitchFamily="34" charset="-34"/>
              </a:rPr>
              <a:t>ปริมณฑล</a:t>
            </a:r>
            <a:endParaRPr lang="th-TH" sz="2400" b="1" dirty="0">
              <a:solidFill>
                <a:schemeClr val="tx1"/>
              </a:solidFill>
              <a:latin typeface="TH SarabunPSK" pitchFamily="34" charset="-34"/>
              <a:cs typeface="TH SarabunPSK" pitchFamily="34" charset="-34"/>
            </a:endParaRPr>
          </a:p>
        </p:txBody>
      </p:sp>
      <p:sp>
        <p:nvSpPr>
          <p:cNvPr id="4" name="Rectangle 3"/>
          <p:cNvSpPr/>
          <p:nvPr/>
        </p:nvSpPr>
        <p:spPr>
          <a:xfrm>
            <a:off x="5292080" y="1183622"/>
            <a:ext cx="4032448" cy="2939266"/>
          </a:xfrm>
          <a:prstGeom prst="rect">
            <a:avLst/>
          </a:prstGeom>
        </p:spPr>
        <p:txBody>
          <a:bodyPr wrap="square">
            <a:spAutoFit/>
          </a:bodyPr>
          <a:lstStyle/>
          <a:p>
            <a:pPr fontAlgn="auto">
              <a:lnSpc>
                <a:spcPts val="1800"/>
              </a:lnSpc>
              <a:spcBef>
                <a:spcPts val="0"/>
              </a:spcBef>
              <a:spcAft>
                <a:spcPts val="0"/>
              </a:spcAft>
              <a:defRPr/>
            </a:pPr>
            <a:r>
              <a:rPr lang="th-TH" sz="1900" b="1" dirty="0">
                <a:latin typeface="TH SarabunPSK" pitchFamily="34" charset="-34"/>
                <a:cs typeface="TH SarabunPSK" pitchFamily="34" charset="-34"/>
              </a:rPr>
              <a:t>โครงการ</a:t>
            </a:r>
            <a:r>
              <a:rPr lang="th-TH" sz="1900" b="1" dirty="0" smtClean="0">
                <a:latin typeface="TH SarabunPSK" pitchFamily="34" charset="-34"/>
                <a:cs typeface="TH SarabunPSK" pitchFamily="34" charset="-34"/>
              </a:rPr>
              <a:t>ที่เตรียมขออนุมัติ ครม. </a:t>
            </a:r>
            <a:r>
              <a:rPr lang="en-US" sz="1900" b="1" dirty="0" smtClean="0">
                <a:latin typeface="TH SarabunPSK" pitchFamily="34" charset="-34"/>
                <a:cs typeface="TH SarabunPSK" pitchFamily="34" charset="-34"/>
              </a:rPr>
              <a:t>5</a:t>
            </a:r>
            <a:r>
              <a:rPr lang="th-TH" sz="1900" b="1" dirty="0" smtClean="0">
                <a:latin typeface="TH SarabunPSK" pitchFamily="34" charset="-34"/>
                <a:cs typeface="TH SarabunPSK" pitchFamily="34" charset="-34"/>
              </a:rPr>
              <a:t> </a:t>
            </a:r>
            <a:r>
              <a:rPr lang="th-TH" sz="1900" b="1" dirty="0">
                <a:latin typeface="TH SarabunPSK" pitchFamily="34" charset="-34"/>
                <a:cs typeface="TH SarabunPSK" pitchFamily="34" charset="-34"/>
              </a:rPr>
              <a:t>เส้นทาง </a:t>
            </a:r>
            <a:r>
              <a:rPr lang="th-TH" sz="1900" b="1" dirty="0" smtClean="0">
                <a:latin typeface="TH SarabunPSK" pitchFamily="34" charset="-34"/>
                <a:cs typeface="TH SarabunPSK" pitchFamily="34" charset="-34"/>
              </a:rPr>
              <a:t/>
            </a:r>
            <a:br>
              <a:rPr lang="th-TH" sz="1900" b="1" dirty="0" smtClean="0">
                <a:latin typeface="TH SarabunPSK" pitchFamily="34" charset="-34"/>
                <a:cs typeface="TH SarabunPSK" pitchFamily="34" charset="-34"/>
              </a:rPr>
            </a:br>
            <a:r>
              <a:rPr lang="th-TH" sz="1900" b="1" dirty="0" smtClean="0">
                <a:latin typeface="TH SarabunPSK" pitchFamily="34" charset="-34"/>
                <a:cs typeface="TH SarabunPSK" pitchFamily="34" charset="-34"/>
              </a:rPr>
              <a:t>รวม </a:t>
            </a:r>
            <a:r>
              <a:rPr lang="en-US" sz="1900" b="1" dirty="0" smtClean="0">
                <a:latin typeface="TH SarabunPSK" pitchFamily="34" charset="-34"/>
                <a:cs typeface="TH SarabunPSK" pitchFamily="34" charset="-34"/>
              </a:rPr>
              <a:t> 134</a:t>
            </a:r>
            <a:r>
              <a:rPr lang="th-TH" sz="1900" b="1" dirty="0" smtClean="0">
                <a:latin typeface="TH SarabunPSK" pitchFamily="34" charset="-34"/>
                <a:cs typeface="TH SarabunPSK" pitchFamily="34" charset="-34"/>
              </a:rPr>
              <a:t>   กม.</a:t>
            </a:r>
          </a:p>
          <a:p>
            <a:pPr marL="269875" indent="-269875" fontAlgn="auto">
              <a:lnSpc>
                <a:spcPts val="1800"/>
              </a:lnSpc>
              <a:spcBef>
                <a:spcPts val="1200"/>
              </a:spcBef>
              <a:spcAft>
                <a:spcPts val="0"/>
              </a:spcAft>
              <a:buFont typeface="Wingdings" pitchFamily="2" charset="2"/>
              <a:buChar char="§"/>
              <a:defRPr/>
            </a:pPr>
            <a:r>
              <a:rPr lang="th-TH" sz="1900" b="1" dirty="0" smtClean="0">
                <a:solidFill>
                  <a:schemeClr val="accent6">
                    <a:lumMod val="75000"/>
                  </a:schemeClr>
                </a:solidFill>
                <a:latin typeface="TH SarabunPSK" pitchFamily="34" charset="-34"/>
                <a:cs typeface="TH SarabunPSK" pitchFamily="34" charset="-34"/>
              </a:rPr>
              <a:t>สายสีส้ม ช่วงศูนย์วัฒนธรรม </a:t>
            </a:r>
            <a:r>
              <a:rPr lang="en-US" sz="1900" b="1" dirty="0" smtClean="0">
                <a:solidFill>
                  <a:schemeClr val="accent6">
                    <a:lumMod val="75000"/>
                  </a:schemeClr>
                </a:solidFill>
                <a:latin typeface="TH SarabunPSK" pitchFamily="34" charset="-34"/>
                <a:cs typeface="TH SarabunPSK" pitchFamily="34" charset="-34"/>
              </a:rPr>
              <a:t>- </a:t>
            </a:r>
            <a:r>
              <a:rPr lang="th-TH" sz="1900" b="1" dirty="0" smtClean="0">
                <a:solidFill>
                  <a:schemeClr val="accent6">
                    <a:lumMod val="75000"/>
                  </a:schemeClr>
                </a:solidFill>
                <a:latin typeface="TH SarabunPSK" pitchFamily="34" charset="-34"/>
                <a:cs typeface="TH SarabunPSK" pitchFamily="34" charset="-34"/>
              </a:rPr>
              <a:t> </a:t>
            </a:r>
            <a:r>
              <a:rPr lang="th-TH" sz="1900" b="1" dirty="0" err="1" smtClean="0">
                <a:solidFill>
                  <a:schemeClr val="accent6">
                    <a:lumMod val="75000"/>
                  </a:schemeClr>
                </a:solidFill>
                <a:latin typeface="TH SarabunPSK" pitchFamily="34" charset="-34"/>
                <a:cs typeface="TH SarabunPSK" pitchFamily="34" charset="-34"/>
              </a:rPr>
              <a:t>มีนบุรี</a:t>
            </a:r>
            <a:r>
              <a:rPr lang="th-TH" sz="1900" b="1" dirty="0" smtClean="0">
                <a:solidFill>
                  <a:schemeClr val="accent6">
                    <a:lumMod val="75000"/>
                  </a:schemeClr>
                </a:solidFill>
                <a:latin typeface="TH SarabunPSK" pitchFamily="34" charset="-34"/>
                <a:cs typeface="TH SarabunPSK" pitchFamily="34" charset="-34"/>
              </a:rPr>
              <a:t> (สุวินทวงศ์)  </a:t>
            </a:r>
            <a:r>
              <a:rPr lang="en-US" sz="1900" b="1" dirty="0" smtClean="0">
                <a:solidFill>
                  <a:schemeClr val="accent6">
                    <a:lumMod val="75000"/>
                  </a:schemeClr>
                </a:solidFill>
                <a:latin typeface="TH SarabunPSK" pitchFamily="34" charset="-34"/>
                <a:cs typeface="TH SarabunPSK" pitchFamily="34" charset="-34"/>
              </a:rPr>
              <a:t>21</a:t>
            </a:r>
            <a:r>
              <a:rPr lang="th-TH" sz="1900" b="1" dirty="0" smtClean="0">
                <a:solidFill>
                  <a:schemeClr val="accent6">
                    <a:lumMod val="75000"/>
                  </a:schemeClr>
                </a:solidFill>
                <a:latin typeface="TH SarabunPSK" pitchFamily="34" charset="-34"/>
                <a:cs typeface="TH SarabunPSK" pitchFamily="34" charset="-34"/>
              </a:rPr>
              <a:t>  กม.</a:t>
            </a:r>
          </a:p>
          <a:p>
            <a:pPr marL="269875" indent="-269875" fontAlgn="auto">
              <a:lnSpc>
                <a:spcPts val="1800"/>
              </a:lnSpc>
              <a:spcBef>
                <a:spcPts val="1200"/>
              </a:spcBef>
              <a:spcAft>
                <a:spcPts val="0"/>
              </a:spcAft>
              <a:buFont typeface="Wingdings" pitchFamily="2" charset="2"/>
              <a:buChar char="§"/>
              <a:defRPr/>
            </a:pPr>
            <a:r>
              <a:rPr lang="th-TH" sz="1900" b="1" dirty="0" smtClean="0">
                <a:solidFill>
                  <a:srgbClr val="FF0066"/>
                </a:solidFill>
                <a:latin typeface="TH SarabunPSK" pitchFamily="34" charset="-34"/>
                <a:cs typeface="TH SarabunPSK" pitchFamily="34" charset="-34"/>
              </a:rPr>
              <a:t>ชมพู  ช่วงแคราย </a:t>
            </a:r>
            <a:r>
              <a:rPr lang="en-US" sz="1900" b="1" dirty="0" smtClean="0">
                <a:solidFill>
                  <a:srgbClr val="FF0066"/>
                </a:solidFill>
                <a:latin typeface="TH SarabunPSK" pitchFamily="34" charset="-34"/>
                <a:cs typeface="TH SarabunPSK" pitchFamily="34" charset="-34"/>
              </a:rPr>
              <a:t>–</a:t>
            </a:r>
            <a:r>
              <a:rPr lang="th-TH" sz="1900" b="1" dirty="0" smtClean="0">
                <a:solidFill>
                  <a:srgbClr val="FF0066"/>
                </a:solidFill>
                <a:latin typeface="TH SarabunPSK" pitchFamily="34" charset="-34"/>
                <a:cs typeface="TH SarabunPSK" pitchFamily="34" charset="-34"/>
              </a:rPr>
              <a:t> </a:t>
            </a:r>
            <a:r>
              <a:rPr lang="th-TH" sz="1900" b="1" dirty="0" err="1" smtClean="0">
                <a:solidFill>
                  <a:srgbClr val="FF0066"/>
                </a:solidFill>
                <a:latin typeface="TH SarabunPSK" pitchFamily="34" charset="-34"/>
                <a:cs typeface="TH SarabunPSK" pitchFamily="34" charset="-34"/>
              </a:rPr>
              <a:t>มีนบุรี</a:t>
            </a:r>
            <a:r>
              <a:rPr lang="th-TH" sz="1900" b="1" dirty="0" smtClean="0">
                <a:solidFill>
                  <a:srgbClr val="FF0066"/>
                </a:solidFill>
                <a:latin typeface="TH SarabunPSK" pitchFamily="34" charset="-34"/>
                <a:cs typeface="TH SarabunPSK" pitchFamily="34" charset="-34"/>
              </a:rPr>
              <a:t>    </a:t>
            </a:r>
            <a:r>
              <a:rPr lang="en-US" sz="1900" b="1" dirty="0" smtClean="0">
                <a:solidFill>
                  <a:srgbClr val="FF0066"/>
                </a:solidFill>
                <a:latin typeface="TH SarabunPSK" pitchFamily="34" charset="-34"/>
                <a:cs typeface="TH SarabunPSK" pitchFamily="34" charset="-34"/>
              </a:rPr>
              <a:t>34</a:t>
            </a:r>
            <a:r>
              <a:rPr lang="th-TH" sz="1900" b="1" dirty="0" smtClean="0">
                <a:solidFill>
                  <a:srgbClr val="FF0066"/>
                </a:solidFill>
                <a:latin typeface="TH SarabunPSK" pitchFamily="34" charset="-34"/>
                <a:cs typeface="TH SarabunPSK" pitchFamily="34" charset="-34"/>
              </a:rPr>
              <a:t>.</a:t>
            </a:r>
            <a:r>
              <a:rPr lang="en-US" sz="1900" b="1" dirty="0" smtClean="0">
                <a:solidFill>
                  <a:srgbClr val="FF0066"/>
                </a:solidFill>
                <a:latin typeface="TH SarabunPSK" pitchFamily="34" charset="-34"/>
                <a:cs typeface="TH SarabunPSK" pitchFamily="34" charset="-34"/>
              </a:rPr>
              <a:t>5</a:t>
            </a:r>
            <a:r>
              <a:rPr lang="th-TH" sz="1900" b="1" dirty="0" smtClean="0">
                <a:solidFill>
                  <a:srgbClr val="FF0066"/>
                </a:solidFill>
                <a:latin typeface="TH SarabunPSK" pitchFamily="34" charset="-34"/>
                <a:cs typeface="TH SarabunPSK" pitchFamily="34" charset="-34"/>
              </a:rPr>
              <a:t> กม. </a:t>
            </a:r>
          </a:p>
          <a:p>
            <a:pPr marL="269875" indent="-269875" fontAlgn="auto">
              <a:lnSpc>
                <a:spcPts val="1800"/>
              </a:lnSpc>
              <a:spcBef>
                <a:spcPts val="1200"/>
              </a:spcBef>
              <a:spcAft>
                <a:spcPts val="0"/>
              </a:spcAft>
              <a:buFont typeface="Wingdings" pitchFamily="2" charset="2"/>
              <a:buChar char="§"/>
              <a:defRPr/>
            </a:pPr>
            <a:r>
              <a:rPr lang="th-TH" sz="1900" b="1" dirty="0" smtClean="0">
                <a:solidFill>
                  <a:srgbClr val="EAEA1A"/>
                </a:solidFill>
                <a:latin typeface="TH SarabunPSK" pitchFamily="34" charset="-34"/>
                <a:cs typeface="TH SarabunPSK" pitchFamily="34" charset="-34"/>
              </a:rPr>
              <a:t>เหลือง ช่วงลาดพร้าว </a:t>
            </a:r>
            <a:r>
              <a:rPr lang="en-US" sz="1900" b="1" dirty="0" smtClean="0">
                <a:solidFill>
                  <a:srgbClr val="EAEA1A"/>
                </a:solidFill>
                <a:latin typeface="TH SarabunPSK" pitchFamily="34" charset="-34"/>
                <a:cs typeface="TH SarabunPSK" pitchFamily="34" charset="-34"/>
              </a:rPr>
              <a:t>- </a:t>
            </a:r>
            <a:r>
              <a:rPr lang="th-TH" sz="1900" b="1" dirty="0" smtClean="0">
                <a:solidFill>
                  <a:srgbClr val="EAEA1A"/>
                </a:solidFill>
                <a:latin typeface="TH SarabunPSK" pitchFamily="34" charset="-34"/>
                <a:cs typeface="TH SarabunPSK" pitchFamily="34" charset="-34"/>
              </a:rPr>
              <a:t> สำโรง </a:t>
            </a:r>
            <a:r>
              <a:rPr lang="en-US" sz="1900" b="1" dirty="0" smtClean="0">
                <a:solidFill>
                  <a:srgbClr val="EAEA1A"/>
                </a:solidFill>
                <a:latin typeface="TH SarabunPSK" pitchFamily="34" charset="-34"/>
                <a:cs typeface="TH SarabunPSK" pitchFamily="34" charset="-34"/>
              </a:rPr>
              <a:t>  29.1</a:t>
            </a:r>
            <a:r>
              <a:rPr lang="th-TH" sz="1900" b="1" dirty="0" smtClean="0">
                <a:solidFill>
                  <a:srgbClr val="EAEA1A"/>
                </a:solidFill>
                <a:latin typeface="TH SarabunPSK" pitchFamily="34" charset="-34"/>
                <a:cs typeface="TH SarabunPSK" pitchFamily="34" charset="-34"/>
              </a:rPr>
              <a:t> กม.</a:t>
            </a:r>
          </a:p>
          <a:p>
            <a:pPr marL="269875" indent="-269875" fontAlgn="auto">
              <a:lnSpc>
                <a:spcPts val="1800"/>
              </a:lnSpc>
              <a:spcBef>
                <a:spcPts val="1200"/>
              </a:spcBef>
              <a:spcAft>
                <a:spcPts val="0"/>
              </a:spcAft>
              <a:buFont typeface="Wingdings" pitchFamily="2" charset="2"/>
              <a:buChar char="§"/>
              <a:defRPr/>
            </a:pPr>
            <a:r>
              <a:rPr lang="th-TH" sz="1900" b="1" dirty="0" smtClean="0">
                <a:solidFill>
                  <a:srgbClr val="FF0000"/>
                </a:solidFill>
                <a:latin typeface="TH SarabunPSK" pitchFamily="34" charset="-34"/>
                <a:cs typeface="TH SarabunPSK" pitchFamily="34" charset="-34"/>
              </a:rPr>
              <a:t>แดง  ช่วงบางซื่อ</a:t>
            </a:r>
            <a:r>
              <a:rPr lang="en-US" sz="1900" b="1" dirty="0" smtClean="0">
                <a:solidFill>
                  <a:srgbClr val="FF0000"/>
                </a:solidFill>
                <a:latin typeface="TH SarabunPSK" pitchFamily="34" charset="-34"/>
                <a:cs typeface="TH SarabunPSK" pitchFamily="34" charset="-34"/>
              </a:rPr>
              <a:t>-</a:t>
            </a:r>
            <a:r>
              <a:rPr lang="th-TH" sz="1900" b="1" dirty="0" smtClean="0">
                <a:solidFill>
                  <a:srgbClr val="FF0000"/>
                </a:solidFill>
                <a:latin typeface="TH SarabunPSK" pitchFamily="34" charset="-34"/>
                <a:cs typeface="TH SarabunPSK" pitchFamily="34" charset="-34"/>
              </a:rPr>
              <a:t>พญาไท </a:t>
            </a:r>
            <a:r>
              <a:rPr lang="en-US" sz="1900" b="1" dirty="0" smtClean="0">
                <a:solidFill>
                  <a:srgbClr val="FF0000"/>
                </a:solidFill>
                <a:latin typeface="TH SarabunPSK" pitchFamily="34" charset="-34"/>
                <a:cs typeface="TH SarabunPSK" pitchFamily="34" charset="-34"/>
              </a:rPr>
              <a:t>–</a:t>
            </a:r>
            <a:r>
              <a:rPr lang="th-TH" sz="1900" b="1" dirty="0" smtClean="0">
                <a:solidFill>
                  <a:srgbClr val="FF0000"/>
                </a:solidFill>
                <a:latin typeface="TH SarabunPSK" pitchFamily="34" charset="-34"/>
                <a:cs typeface="TH SarabunPSK" pitchFamily="34" charset="-34"/>
              </a:rPr>
              <a:t>มักกะสัน</a:t>
            </a:r>
            <a:r>
              <a:rPr lang="en-US" sz="1900" b="1" dirty="0" smtClean="0">
                <a:solidFill>
                  <a:srgbClr val="FF0000"/>
                </a:solidFill>
                <a:latin typeface="TH SarabunPSK" pitchFamily="34" charset="-34"/>
                <a:cs typeface="TH SarabunPSK" pitchFamily="34" charset="-34"/>
              </a:rPr>
              <a:t>-</a:t>
            </a:r>
            <a:r>
              <a:rPr lang="th-TH" sz="1900" b="1" dirty="0" smtClean="0">
                <a:solidFill>
                  <a:srgbClr val="FF0000"/>
                </a:solidFill>
                <a:latin typeface="TH SarabunPSK" pitchFamily="34" charset="-34"/>
                <a:cs typeface="TH SarabunPSK" pitchFamily="34" charset="-34"/>
              </a:rPr>
              <a:t>หัวหมาก </a:t>
            </a:r>
            <a:br>
              <a:rPr lang="th-TH" sz="1900" b="1" dirty="0" smtClean="0">
                <a:solidFill>
                  <a:srgbClr val="FF0000"/>
                </a:solidFill>
                <a:latin typeface="TH SarabunPSK" pitchFamily="34" charset="-34"/>
                <a:cs typeface="TH SarabunPSK" pitchFamily="34" charset="-34"/>
              </a:rPr>
            </a:br>
            <a:r>
              <a:rPr lang="th-TH" sz="1900" b="1" dirty="0" smtClean="0">
                <a:solidFill>
                  <a:srgbClr val="FF0000"/>
                </a:solidFill>
                <a:latin typeface="TH SarabunPSK" pitchFamily="34" charset="-34"/>
                <a:cs typeface="TH SarabunPSK" pitchFamily="34" charset="-34"/>
              </a:rPr>
              <a:t>และช่วงบางซื่อ </a:t>
            </a:r>
            <a:r>
              <a:rPr lang="en-US" sz="1900" b="1" dirty="0" smtClean="0">
                <a:solidFill>
                  <a:srgbClr val="FF0000"/>
                </a:solidFill>
                <a:latin typeface="TH SarabunPSK" pitchFamily="34" charset="-34"/>
                <a:cs typeface="TH SarabunPSK" pitchFamily="34" charset="-34"/>
              </a:rPr>
              <a:t>– </a:t>
            </a:r>
            <a:r>
              <a:rPr lang="th-TH" sz="1900" b="1" dirty="0" smtClean="0">
                <a:solidFill>
                  <a:srgbClr val="FF0000"/>
                </a:solidFill>
                <a:latin typeface="TH SarabunPSK" pitchFamily="34" charset="-34"/>
                <a:cs typeface="TH SarabunPSK" pitchFamily="34" charset="-34"/>
              </a:rPr>
              <a:t>หัวลำโพง  </a:t>
            </a:r>
            <a:r>
              <a:rPr lang="en-US" sz="1900" b="1" dirty="0" smtClean="0">
                <a:solidFill>
                  <a:srgbClr val="FF0000"/>
                </a:solidFill>
                <a:latin typeface="TH SarabunPSK" pitchFamily="34" charset="-34"/>
                <a:cs typeface="TH SarabunPSK" pitchFamily="34" charset="-34"/>
              </a:rPr>
              <a:t>25.9</a:t>
            </a:r>
            <a:r>
              <a:rPr lang="th-TH" sz="1900" b="1" dirty="0" smtClean="0">
                <a:solidFill>
                  <a:srgbClr val="FF0000"/>
                </a:solidFill>
                <a:latin typeface="TH SarabunPSK" pitchFamily="34" charset="-34"/>
                <a:cs typeface="TH SarabunPSK" pitchFamily="34" charset="-34"/>
              </a:rPr>
              <a:t> กม. </a:t>
            </a:r>
          </a:p>
          <a:p>
            <a:pPr marL="269875" indent="-269875" fontAlgn="auto">
              <a:lnSpc>
                <a:spcPts val="1800"/>
              </a:lnSpc>
              <a:spcBef>
                <a:spcPts val="1200"/>
              </a:spcBef>
              <a:spcAft>
                <a:spcPts val="0"/>
              </a:spcAft>
              <a:buFont typeface="Wingdings" pitchFamily="2" charset="2"/>
              <a:buChar char="§"/>
              <a:defRPr/>
            </a:pPr>
            <a:r>
              <a:rPr lang="th-TH" sz="1900" b="1" dirty="0" smtClean="0">
                <a:solidFill>
                  <a:srgbClr val="7030A0"/>
                </a:solidFill>
                <a:latin typeface="TH SarabunPSK" pitchFamily="34" charset="-34"/>
                <a:cs typeface="TH SarabunPSK" pitchFamily="34" charset="-34"/>
              </a:rPr>
              <a:t>ม่วง ช่วงเตาปูน </a:t>
            </a:r>
            <a:r>
              <a:rPr lang="en-US" sz="1900" b="1" dirty="0" smtClean="0">
                <a:solidFill>
                  <a:srgbClr val="7030A0"/>
                </a:solidFill>
                <a:latin typeface="TH SarabunPSK" pitchFamily="34" charset="-34"/>
                <a:cs typeface="TH SarabunPSK" pitchFamily="34" charset="-34"/>
              </a:rPr>
              <a:t>–</a:t>
            </a:r>
            <a:r>
              <a:rPr lang="th-TH" sz="1900" b="1" dirty="0" smtClean="0">
                <a:solidFill>
                  <a:srgbClr val="7030A0"/>
                </a:solidFill>
                <a:latin typeface="TH SarabunPSK" pitchFamily="34" charset="-34"/>
                <a:cs typeface="TH SarabunPSK" pitchFamily="34" charset="-34"/>
              </a:rPr>
              <a:t> ราษฎร์บูรณะ  </a:t>
            </a:r>
            <a:r>
              <a:rPr lang="en-US" sz="1900" b="1" dirty="0" smtClean="0">
                <a:solidFill>
                  <a:srgbClr val="7030A0"/>
                </a:solidFill>
                <a:latin typeface="TH SarabunPSK" pitchFamily="34" charset="-34"/>
                <a:cs typeface="TH SarabunPSK" pitchFamily="34" charset="-34"/>
              </a:rPr>
              <a:t>23.6</a:t>
            </a:r>
            <a:r>
              <a:rPr lang="th-TH" sz="1900" b="1" dirty="0" smtClean="0">
                <a:solidFill>
                  <a:srgbClr val="7030A0"/>
                </a:solidFill>
                <a:latin typeface="TH SarabunPSK" pitchFamily="34" charset="-34"/>
                <a:cs typeface="TH SarabunPSK" pitchFamily="34" charset="-34"/>
              </a:rPr>
              <a:t>  กม. </a:t>
            </a:r>
          </a:p>
        </p:txBody>
      </p:sp>
      <p:pic>
        <p:nvPicPr>
          <p:cNvPr id="18" name="Picture 3"/>
          <p:cNvPicPr>
            <a:picLocks noChangeAspect="1" noChangeArrowheads="1"/>
          </p:cNvPicPr>
          <p:nvPr/>
        </p:nvPicPr>
        <p:blipFill>
          <a:blip r:embed="rId2" cstate="print">
            <a:extLst>
              <a:ext uri="{28A0092B-C50C-407E-A947-70E740481C1C}">
                <a14:useLocalDpi xmlns:a14="http://schemas.microsoft.com/office/drawing/2010/main" xmlns="" val="0"/>
              </a:ext>
            </a:extLst>
          </a:blip>
          <a:srcRect/>
          <a:stretch>
            <a:fillRect/>
          </a:stretch>
        </p:blipFill>
        <p:spPr bwMode="auto">
          <a:xfrm>
            <a:off x="50231" y="1059582"/>
            <a:ext cx="5385865" cy="338437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19" name="RbNavigator"/>
          <p:cNvSpPr txBox="1"/>
          <p:nvPr/>
        </p:nvSpPr>
        <p:spPr>
          <a:xfrm>
            <a:off x="107504" y="92614"/>
            <a:ext cx="444744" cy="246888"/>
          </a:xfrm>
          <a:prstGeom prst="rect">
            <a:avLst/>
          </a:prstGeom>
          <a:solidFill>
            <a:srgbClr val="003F56"/>
          </a:solidFill>
          <a:ln w="9525">
            <a:noFill/>
          </a:ln>
        </p:spPr>
        <p:txBody>
          <a:bodyPr vert="horz" wrap="none" lIns="0" tIns="0" rIns="0" bIns="0" rtlCol="0" anchor="ctr">
            <a:noAutofit/>
          </a:bodyPr>
          <a:lstStyle/>
          <a:p>
            <a:pPr marL="0" marR="0" lvl="0" indent="0" algn="ctr" defTabSz="914400" eaLnBrk="1" fontAlgn="auto" latinLnBrk="0" hangingPunct="1">
              <a:lnSpc>
                <a:spcPct val="90000"/>
              </a:lnSpc>
              <a:spcBef>
                <a:spcPts val="400"/>
              </a:spcBef>
              <a:spcAft>
                <a:spcPts val="0"/>
              </a:spcAft>
              <a:buClr>
                <a:srgbClr val="000000"/>
              </a:buClr>
              <a:buSzPct val="100000"/>
              <a:buFontTx/>
              <a:buNone/>
              <a:tabLst/>
              <a:defRPr/>
            </a:pPr>
            <a:r>
              <a:rPr kumimoji="1" lang="en-US" b="1" i="0" u="none" strike="noStrike" kern="0" cap="none" spc="0" normalizeH="0" baseline="0" noProof="0" dirty="0" smtClean="0">
                <a:ln>
                  <a:noFill/>
                </a:ln>
                <a:solidFill>
                  <a:srgbClr val="FFFFFF"/>
                </a:solidFill>
                <a:effectLst/>
                <a:uLnTx/>
                <a:uFillTx/>
                <a:latin typeface="TH SarabunPSK" pitchFamily="34" charset="-34"/>
                <a:cs typeface="TH SarabunPSK" pitchFamily="34" charset="-34"/>
              </a:rPr>
              <a:t>6</a:t>
            </a:r>
          </a:p>
        </p:txBody>
      </p:sp>
      <p:sp>
        <p:nvSpPr>
          <p:cNvPr id="20" name="RbSticker"/>
          <p:cNvSpPr txBox="1"/>
          <p:nvPr/>
        </p:nvSpPr>
        <p:spPr>
          <a:xfrm>
            <a:off x="611560" y="22749"/>
            <a:ext cx="4574970" cy="388761"/>
          </a:xfrm>
          <a:prstGeom prst="rect">
            <a:avLst/>
          </a:prstGeom>
          <a:noFill/>
          <a:ln w="9525">
            <a:noFill/>
          </a:ln>
        </p:spPr>
        <p:txBody>
          <a:bodyPr vert="horz" wrap="none" lIns="0" tIns="0" rIns="0" bIns="0" rtlCol="0" anchor="ctr">
            <a:spAutoFit/>
          </a:bodyPr>
          <a:lstStyle/>
          <a:p>
            <a:pPr lvl="0">
              <a:lnSpc>
                <a:spcPct val="90000"/>
              </a:lnSpc>
              <a:spcBef>
                <a:spcPts val="400"/>
              </a:spcBef>
              <a:buSzPct val="100000"/>
              <a:defRPr/>
            </a:pPr>
            <a:r>
              <a:rPr lang="th-TH" b="1" kern="0" dirty="0">
                <a:solidFill>
                  <a:srgbClr val="003F56"/>
                </a:solidFill>
                <a:latin typeface="TH SarabunPSK" pitchFamily="34" charset="-34"/>
                <a:cs typeface="TH SarabunPSK" pitchFamily="34" charset="-34"/>
              </a:rPr>
              <a:t>โครงการลงทุนที่สำคัญ</a:t>
            </a:r>
            <a:r>
              <a:rPr lang="th-TH" b="1" kern="0" dirty="0" smtClean="0">
                <a:solidFill>
                  <a:srgbClr val="003F56"/>
                </a:solidFill>
                <a:latin typeface="TH SarabunPSK" pitchFamily="34" charset="-34"/>
                <a:cs typeface="TH SarabunPSK" pitchFamily="34" charset="-34"/>
              </a:rPr>
              <a:t>ในช่วงปี 2558  </a:t>
            </a:r>
            <a:r>
              <a:rPr lang="th-TH" b="1" kern="0" dirty="0">
                <a:solidFill>
                  <a:srgbClr val="003F56"/>
                </a:solidFill>
                <a:latin typeface="TH SarabunPSK" pitchFamily="34" charset="-34"/>
                <a:cs typeface="TH SarabunPSK" pitchFamily="34" charset="-34"/>
              </a:rPr>
              <a:t>- </a:t>
            </a:r>
            <a:r>
              <a:rPr lang="th-TH" b="1" kern="0" dirty="0" smtClean="0">
                <a:solidFill>
                  <a:srgbClr val="003F56"/>
                </a:solidFill>
                <a:latin typeface="TH SarabunPSK" pitchFamily="34" charset="-34"/>
                <a:cs typeface="TH SarabunPSK" pitchFamily="34" charset="-34"/>
              </a:rPr>
              <a:t>256</a:t>
            </a:r>
            <a:r>
              <a:rPr lang="en-US" b="1" kern="0" dirty="0" smtClean="0">
                <a:solidFill>
                  <a:srgbClr val="003F56"/>
                </a:solidFill>
                <a:latin typeface="TH SarabunPSK" pitchFamily="34" charset="-34"/>
                <a:cs typeface="TH SarabunPSK" pitchFamily="34" charset="-34"/>
              </a:rPr>
              <a:t>0</a:t>
            </a:r>
            <a:r>
              <a:rPr lang="th-TH" b="1" kern="0" dirty="0" smtClean="0">
                <a:solidFill>
                  <a:srgbClr val="003F56"/>
                </a:solidFill>
                <a:latin typeface="TH SarabunPSK" pitchFamily="34" charset="-34"/>
                <a:cs typeface="TH SarabunPSK" pitchFamily="34" charset="-34"/>
              </a:rPr>
              <a:t> </a:t>
            </a:r>
            <a:endParaRPr lang="th-TH" b="1" kern="0" dirty="0">
              <a:solidFill>
                <a:srgbClr val="003F56"/>
              </a:solidFill>
              <a:latin typeface="TH SarabunPSK" pitchFamily="34" charset="-34"/>
              <a:cs typeface="TH SarabunPSK" pitchFamily="34" charset="-34"/>
            </a:endParaRPr>
          </a:p>
        </p:txBody>
      </p:sp>
    </p:spTree>
    <p:extLst>
      <p:ext uri="{BB962C8B-B14F-4D97-AF65-F5344CB8AC3E}">
        <p14:creationId xmlns:p14="http://schemas.microsoft.com/office/powerpoint/2010/main" xmlns="" val="1050493282"/>
      </p:ext>
    </p:extLst>
  </p:cSld>
  <p:clrMapOvr>
    <a:masterClrMapping/>
  </p:clrMapOvr>
  <p:transition>
    <p:fade thruBlk="1"/>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ounded Rectangle 14">
            <a:hlinkClick r:id="" action="ppaction://noaction"/>
          </p:cNvPr>
          <p:cNvSpPr/>
          <p:nvPr/>
        </p:nvSpPr>
        <p:spPr>
          <a:xfrm>
            <a:off x="-22920" y="405859"/>
            <a:ext cx="8915400" cy="725731"/>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anchor="ctr">
            <a:spAutoFit/>
          </a:bodyPr>
          <a:lstStyle/>
          <a:p>
            <a:pPr>
              <a:lnSpc>
                <a:spcPts val="2100"/>
              </a:lnSpc>
              <a:tabLst>
                <a:tab pos="1257300" algn="l"/>
              </a:tabLst>
            </a:pPr>
            <a:r>
              <a:rPr lang="th-TH" b="1" dirty="0" smtClean="0">
                <a:solidFill>
                  <a:schemeClr val="tx1"/>
                </a:solidFill>
                <a:latin typeface="TH SarabunPSK" pitchFamily="34" charset="-34"/>
                <a:cs typeface="TH SarabunPSK" pitchFamily="34" charset="-34"/>
              </a:rPr>
              <a:t>แผนงาน 3.	</a:t>
            </a:r>
            <a:r>
              <a:rPr lang="th-TH" sz="2400" b="1" dirty="0" smtClean="0">
                <a:solidFill>
                  <a:schemeClr val="tx1"/>
                </a:solidFill>
                <a:latin typeface="TH SarabunPSK" pitchFamily="34" charset="-34"/>
                <a:cs typeface="TH SarabunPSK" pitchFamily="34" charset="-34"/>
              </a:rPr>
              <a:t>การ</a:t>
            </a:r>
            <a:r>
              <a:rPr lang="th-TH" sz="2400" b="1" dirty="0">
                <a:solidFill>
                  <a:schemeClr val="tx1"/>
                </a:solidFill>
                <a:latin typeface="TH SarabunPSK" pitchFamily="34" charset="-34"/>
                <a:cs typeface="TH SarabunPSK" pitchFamily="34" charset="-34"/>
              </a:rPr>
              <a:t>เพิ่มขีดความสามารถทางหลวงเพื่อเชื่อมโยงพื้นที่สำคัญของประเทศและเชื่อม</a:t>
            </a:r>
            <a:r>
              <a:rPr lang="th-TH" sz="2400" b="1" dirty="0" smtClean="0">
                <a:solidFill>
                  <a:schemeClr val="tx1"/>
                </a:solidFill>
                <a:latin typeface="TH SarabunPSK" pitchFamily="34" charset="-34"/>
                <a:cs typeface="TH SarabunPSK" pitchFamily="34" charset="-34"/>
              </a:rPr>
              <a:t>กับ	ประเทศ</a:t>
            </a:r>
            <a:r>
              <a:rPr lang="th-TH" sz="2400" b="1" dirty="0">
                <a:solidFill>
                  <a:schemeClr val="tx1"/>
                </a:solidFill>
                <a:latin typeface="TH SarabunPSK" pitchFamily="34" charset="-34"/>
                <a:cs typeface="TH SarabunPSK" pitchFamily="34" charset="-34"/>
              </a:rPr>
              <a:t>เพื่อนบ้าน</a:t>
            </a:r>
          </a:p>
        </p:txBody>
      </p:sp>
      <p:pic>
        <p:nvPicPr>
          <p:cNvPr id="13" name="Picture 7"/>
          <p:cNvPicPr>
            <a:picLocks noChangeAspect="1" noChangeArrowheads="1"/>
          </p:cNvPicPr>
          <p:nvPr/>
        </p:nvPicPr>
        <p:blipFill rotWithShape="1">
          <a:blip r:embed="rId3" cstate="print">
            <a:extLst>
              <a:ext uri="{28A0092B-C50C-407E-A947-70E740481C1C}">
                <a14:useLocalDpi xmlns:a14="http://schemas.microsoft.com/office/drawing/2010/main" xmlns="" val="0"/>
              </a:ext>
            </a:extLst>
          </a:blip>
          <a:srcRect l="24869" t="69271" r="26555" b="12847"/>
          <a:stretch/>
        </p:blipFill>
        <p:spPr bwMode="auto">
          <a:xfrm>
            <a:off x="5030792" y="2783376"/>
            <a:ext cx="3960809" cy="92839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20" name="Rectangle 19"/>
          <p:cNvSpPr/>
          <p:nvPr/>
        </p:nvSpPr>
        <p:spPr>
          <a:xfrm>
            <a:off x="179512" y="987574"/>
            <a:ext cx="8909172" cy="387286"/>
          </a:xfrm>
          <a:prstGeom prst="rect">
            <a:avLst/>
          </a:prstGeom>
        </p:spPr>
        <p:txBody>
          <a:bodyPr wrap="square">
            <a:spAutoFit/>
          </a:bodyPr>
          <a:lstStyle/>
          <a:p>
            <a:pPr marL="361950" indent="-361950" algn="ctr" fontAlgn="auto">
              <a:lnSpc>
                <a:spcPts val="2300"/>
              </a:lnSpc>
              <a:spcBef>
                <a:spcPts val="1200"/>
              </a:spcBef>
              <a:spcAft>
                <a:spcPts val="0"/>
              </a:spcAft>
            </a:pPr>
            <a:r>
              <a:rPr lang="th-TH" sz="2000" b="1" dirty="0" smtClean="0">
                <a:solidFill>
                  <a:schemeClr val="tx2">
                    <a:lumMod val="75000"/>
                  </a:schemeClr>
                </a:solidFill>
                <a:latin typeface="TH SarabunPSK" pitchFamily="34" charset="-34"/>
                <a:cs typeface="TH SarabunPSK" pitchFamily="34" charset="-34"/>
              </a:rPr>
              <a:t>“โครงการ</a:t>
            </a:r>
            <a:r>
              <a:rPr lang="en-US" sz="2000" b="1" dirty="0" smtClean="0">
                <a:solidFill>
                  <a:schemeClr val="tx2">
                    <a:lumMod val="75000"/>
                  </a:schemeClr>
                </a:solidFill>
                <a:latin typeface="TH SarabunPSK" pitchFamily="34" charset="-34"/>
                <a:cs typeface="TH SarabunPSK" pitchFamily="34" charset="-34"/>
              </a:rPr>
              <a:t> Motorway 3 </a:t>
            </a:r>
            <a:r>
              <a:rPr lang="th-TH" sz="2000" b="1" dirty="0" smtClean="0">
                <a:solidFill>
                  <a:schemeClr val="tx2">
                    <a:lumMod val="75000"/>
                  </a:schemeClr>
                </a:solidFill>
                <a:latin typeface="TH SarabunPSK" pitchFamily="34" charset="-34"/>
                <a:cs typeface="TH SarabunPSK" pitchFamily="34" charset="-34"/>
              </a:rPr>
              <a:t>เส้นทางที่มีความพร้อมเริ่มดำเนินการในปี 2558  และคาดว่าจะเปิดให้บริการได้ในปี 2562 ” </a:t>
            </a:r>
            <a:endParaRPr lang="th-TH" sz="2000" b="1" dirty="0">
              <a:solidFill>
                <a:schemeClr val="tx2">
                  <a:lumMod val="75000"/>
                </a:schemeClr>
              </a:solidFill>
              <a:latin typeface="TH SarabunPSK" pitchFamily="34" charset="-34"/>
              <a:cs typeface="TH SarabunPSK" pitchFamily="34" charset="-34"/>
            </a:endParaRPr>
          </a:p>
        </p:txBody>
      </p:sp>
      <p:pic>
        <p:nvPicPr>
          <p:cNvPr id="21" name="Picture 3"/>
          <p:cNvPicPr>
            <a:picLocks noChangeAspect="1" noChangeArrowheads="1"/>
          </p:cNvPicPr>
          <p:nvPr/>
        </p:nvPicPr>
        <p:blipFill rotWithShape="1">
          <a:blip r:embed="rId4" cstate="print">
            <a:extLst>
              <a:ext uri="{28A0092B-C50C-407E-A947-70E740481C1C}">
                <a14:useLocalDpi xmlns:a14="http://schemas.microsoft.com/office/drawing/2010/main" xmlns="" val="0"/>
              </a:ext>
            </a:extLst>
          </a:blip>
          <a:srcRect l="29101" t="59896" r="6250" b="16146"/>
          <a:stretch/>
        </p:blipFill>
        <p:spPr bwMode="auto">
          <a:xfrm>
            <a:off x="5030792" y="1601833"/>
            <a:ext cx="3960809" cy="96991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pic>
        <p:nvPicPr>
          <p:cNvPr id="22" name="Picture 6"/>
          <p:cNvPicPr>
            <a:picLocks noChangeAspect="1" noChangeArrowheads="1"/>
          </p:cNvPicPr>
          <p:nvPr/>
        </p:nvPicPr>
        <p:blipFill rotWithShape="1">
          <a:blip r:embed="rId5" cstate="print">
            <a:extLst>
              <a:ext uri="{28A0092B-C50C-407E-A947-70E740481C1C}">
                <a14:useLocalDpi xmlns:a14="http://schemas.microsoft.com/office/drawing/2010/main" xmlns="" val="0"/>
              </a:ext>
            </a:extLst>
          </a:blip>
          <a:srcRect l="23633" t="69792" r="27930" b="13021"/>
          <a:stretch/>
        </p:blipFill>
        <p:spPr bwMode="auto">
          <a:xfrm>
            <a:off x="5030792" y="3970732"/>
            <a:ext cx="3960809" cy="1044054"/>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23" name="Oval 22"/>
          <p:cNvSpPr/>
          <p:nvPr/>
        </p:nvSpPr>
        <p:spPr>
          <a:xfrm>
            <a:off x="4724400" y="1380301"/>
            <a:ext cx="360472" cy="368490"/>
          </a:xfrm>
          <a:prstGeom prst="ellipse">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th-TH" b="1" dirty="0" smtClean="0"/>
              <a:t>1</a:t>
            </a:r>
            <a:endParaRPr lang="en-US" b="1" dirty="0"/>
          </a:p>
        </p:txBody>
      </p:sp>
      <p:sp>
        <p:nvSpPr>
          <p:cNvPr id="26" name="Oval 25"/>
          <p:cNvSpPr/>
          <p:nvPr/>
        </p:nvSpPr>
        <p:spPr>
          <a:xfrm>
            <a:off x="4724400" y="2703537"/>
            <a:ext cx="360472" cy="322429"/>
          </a:xfrm>
          <a:prstGeom prst="ellipse">
            <a:avLst/>
          </a:prstGeom>
          <a:solidFill>
            <a:srgbClr val="00B0F0"/>
          </a:solidFill>
          <a:ln>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th-TH" b="1" dirty="0" smtClean="0"/>
              <a:t>2</a:t>
            </a:r>
            <a:endParaRPr lang="en-US" b="1" dirty="0"/>
          </a:p>
        </p:txBody>
      </p:sp>
      <p:sp>
        <p:nvSpPr>
          <p:cNvPr id="27" name="Oval 26"/>
          <p:cNvSpPr/>
          <p:nvPr/>
        </p:nvSpPr>
        <p:spPr>
          <a:xfrm>
            <a:off x="4744928" y="3754755"/>
            <a:ext cx="360472" cy="368490"/>
          </a:xfrm>
          <a:prstGeom prst="ellipse">
            <a:avLst/>
          </a:prstGeom>
          <a:solidFill>
            <a:srgbClr val="D818CA"/>
          </a:solidFill>
          <a:ln>
            <a:solidFill>
              <a:srgbClr val="D818C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th-TH" b="1" dirty="0" smtClean="0"/>
              <a:t>3</a:t>
            </a:r>
            <a:endParaRPr lang="en-US" b="1" dirty="0"/>
          </a:p>
        </p:txBody>
      </p:sp>
      <p:pic>
        <p:nvPicPr>
          <p:cNvPr id="28" name="Picture 8"/>
          <p:cNvPicPr>
            <a:picLocks noChangeAspect="1" noChangeArrowheads="1"/>
          </p:cNvPicPr>
          <p:nvPr/>
        </p:nvPicPr>
        <p:blipFill>
          <a:blip r:embed="rId6" cstate="print">
            <a:extLst>
              <a:ext uri="{28A0092B-C50C-407E-A947-70E740481C1C}">
                <a14:useLocalDpi xmlns:a14="http://schemas.microsoft.com/office/drawing/2010/main" xmlns="" val="0"/>
              </a:ext>
            </a:extLst>
          </a:blip>
          <a:srcRect/>
          <a:stretch>
            <a:fillRect/>
          </a:stretch>
        </p:blipFill>
        <p:spPr bwMode="auto">
          <a:xfrm>
            <a:off x="0" y="1368428"/>
            <a:ext cx="4567237" cy="3329302"/>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24" name="RbNavigator"/>
          <p:cNvSpPr txBox="1"/>
          <p:nvPr/>
        </p:nvSpPr>
        <p:spPr>
          <a:xfrm>
            <a:off x="107504" y="92614"/>
            <a:ext cx="444744" cy="246888"/>
          </a:xfrm>
          <a:prstGeom prst="rect">
            <a:avLst/>
          </a:prstGeom>
          <a:solidFill>
            <a:srgbClr val="003F56"/>
          </a:solidFill>
          <a:ln w="9525">
            <a:noFill/>
          </a:ln>
        </p:spPr>
        <p:txBody>
          <a:bodyPr vert="horz" wrap="none" lIns="0" tIns="0" rIns="0" bIns="0" rtlCol="0" anchor="ctr">
            <a:noAutofit/>
          </a:bodyPr>
          <a:lstStyle/>
          <a:p>
            <a:pPr marL="0" marR="0" lvl="0" indent="0" algn="ctr" defTabSz="914400" eaLnBrk="1" fontAlgn="auto" latinLnBrk="0" hangingPunct="1">
              <a:lnSpc>
                <a:spcPct val="90000"/>
              </a:lnSpc>
              <a:spcBef>
                <a:spcPts val="400"/>
              </a:spcBef>
              <a:spcAft>
                <a:spcPts val="0"/>
              </a:spcAft>
              <a:buClr>
                <a:srgbClr val="000000"/>
              </a:buClr>
              <a:buSzPct val="100000"/>
              <a:buFontTx/>
              <a:buNone/>
              <a:tabLst/>
              <a:defRPr/>
            </a:pPr>
            <a:r>
              <a:rPr kumimoji="1" lang="en-US" b="1" i="0" u="none" strike="noStrike" kern="0" cap="none" spc="0" normalizeH="0" baseline="0" noProof="0" dirty="0" smtClean="0">
                <a:ln>
                  <a:noFill/>
                </a:ln>
                <a:solidFill>
                  <a:srgbClr val="FFFFFF"/>
                </a:solidFill>
                <a:effectLst/>
                <a:uLnTx/>
                <a:uFillTx/>
                <a:latin typeface="TH SarabunPSK" pitchFamily="34" charset="-34"/>
                <a:cs typeface="TH SarabunPSK" pitchFamily="34" charset="-34"/>
              </a:rPr>
              <a:t>6</a:t>
            </a:r>
          </a:p>
        </p:txBody>
      </p:sp>
      <p:sp>
        <p:nvSpPr>
          <p:cNvPr id="25" name="RbSticker"/>
          <p:cNvSpPr txBox="1"/>
          <p:nvPr/>
        </p:nvSpPr>
        <p:spPr>
          <a:xfrm>
            <a:off x="611560" y="22749"/>
            <a:ext cx="4574970" cy="388761"/>
          </a:xfrm>
          <a:prstGeom prst="rect">
            <a:avLst/>
          </a:prstGeom>
          <a:noFill/>
          <a:ln w="9525">
            <a:noFill/>
          </a:ln>
        </p:spPr>
        <p:txBody>
          <a:bodyPr vert="horz" wrap="none" lIns="0" tIns="0" rIns="0" bIns="0" rtlCol="0" anchor="ctr">
            <a:spAutoFit/>
          </a:bodyPr>
          <a:lstStyle/>
          <a:p>
            <a:pPr lvl="0">
              <a:lnSpc>
                <a:spcPct val="90000"/>
              </a:lnSpc>
              <a:spcBef>
                <a:spcPts val="400"/>
              </a:spcBef>
              <a:buSzPct val="100000"/>
              <a:defRPr/>
            </a:pPr>
            <a:r>
              <a:rPr lang="th-TH" b="1" kern="0" dirty="0">
                <a:solidFill>
                  <a:srgbClr val="003F56"/>
                </a:solidFill>
                <a:latin typeface="TH SarabunPSK" pitchFamily="34" charset="-34"/>
                <a:cs typeface="TH SarabunPSK" pitchFamily="34" charset="-34"/>
              </a:rPr>
              <a:t>โครงการลงทุนที่สำคัญ</a:t>
            </a:r>
            <a:r>
              <a:rPr lang="th-TH" b="1" kern="0" dirty="0" smtClean="0">
                <a:solidFill>
                  <a:srgbClr val="003F56"/>
                </a:solidFill>
                <a:latin typeface="TH SarabunPSK" pitchFamily="34" charset="-34"/>
                <a:cs typeface="TH SarabunPSK" pitchFamily="34" charset="-34"/>
              </a:rPr>
              <a:t>ในช่วงปี 2558  </a:t>
            </a:r>
            <a:r>
              <a:rPr lang="th-TH" b="1" kern="0" dirty="0">
                <a:solidFill>
                  <a:srgbClr val="003F56"/>
                </a:solidFill>
                <a:latin typeface="TH SarabunPSK" pitchFamily="34" charset="-34"/>
                <a:cs typeface="TH SarabunPSK" pitchFamily="34" charset="-34"/>
              </a:rPr>
              <a:t>- </a:t>
            </a:r>
            <a:r>
              <a:rPr lang="th-TH" b="1" kern="0" dirty="0" smtClean="0">
                <a:solidFill>
                  <a:srgbClr val="003F56"/>
                </a:solidFill>
                <a:latin typeface="TH SarabunPSK" pitchFamily="34" charset="-34"/>
                <a:cs typeface="TH SarabunPSK" pitchFamily="34" charset="-34"/>
              </a:rPr>
              <a:t>256</a:t>
            </a:r>
            <a:r>
              <a:rPr lang="en-US" b="1" kern="0" dirty="0" smtClean="0">
                <a:solidFill>
                  <a:srgbClr val="003F56"/>
                </a:solidFill>
                <a:latin typeface="TH SarabunPSK" pitchFamily="34" charset="-34"/>
                <a:cs typeface="TH SarabunPSK" pitchFamily="34" charset="-34"/>
              </a:rPr>
              <a:t>0</a:t>
            </a:r>
            <a:r>
              <a:rPr lang="th-TH" b="1" kern="0" dirty="0" smtClean="0">
                <a:solidFill>
                  <a:srgbClr val="003F56"/>
                </a:solidFill>
                <a:latin typeface="TH SarabunPSK" pitchFamily="34" charset="-34"/>
                <a:cs typeface="TH SarabunPSK" pitchFamily="34" charset="-34"/>
              </a:rPr>
              <a:t> </a:t>
            </a:r>
            <a:endParaRPr lang="th-TH" b="1" kern="0" dirty="0">
              <a:solidFill>
                <a:srgbClr val="003F56"/>
              </a:solidFill>
              <a:latin typeface="TH SarabunPSK" pitchFamily="34" charset="-34"/>
              <a:cs typeface="TH SarabunPSK" pitchFamily="34" charset="-34"/>
            </a:endParaRPr>
          </a:p>
        </p:txBody>
      </p:sp>
    </p:spTree>
    <p:extLst>
      <p:ext uri="{BB962C8B-B14F-4D97-AF65-F5344CB8AC3E}">
        <p14:creationId xmlns:p14="http://schemas.microsoft.com/office/powerpoint/2010/main" xmlns="" val="2762608519"/>
      </p:ext>
    </p:extLst>
  </p:cSld>
  <p:clrMapOvr>
    <a:masterClrMapping/>
  </p:clrMapOvr>
  <p:transition spd="med" advClick="0">
    <p:fade thruBlk="1"/>
  </p:transition>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 name="Rounded Rectangle 58">
            <a:hlinkClick r:id="" action="ppaction://noaction"/>
          </p:cNvPr>
          <p:cNvSpPr/>
          <p:nvPr/>
        </p:nvSpPr>
        <p:spPr>
          <a:xfrm>
            <a:off x="148793" y="441532"/>
            <a:ext cx="5286400" cy="402026"/>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anchor="ctr">
            <a:spAutoFit/>
          </a:bodyPr>
          <a:lstStyle/>
          <a:p>
            <a:pPr>
              <a:lnSpc>
                <a:spcPts val="1800"/>
              </a:lnSpc>
              <a:defRPr/>
            </a:pPr>
            <a:r>
              <a:rPr lang="th-TH" b="1" dirty="0" smtClean="0">
                <a:solidFill>
                  <a:schemeClr val="tx1"/>
                </a:solidFill>
                <a:latin typeface="TH SarabunPSK" pitchFamily="34" charset="-34"/>
                <a:cs typeface="TH SarabunPSK" pitchFamily="34" charset="-34"/>
              </a:rPr>
              <a:t>แผนงาน 4.  </a:t>
            </a:r>
            <a:r>
              <a:rPr lang="th-TH" sz="2400" b="1" dirty="0" smtClean="0">
                <a:solidFill>
                  <a:schemeClr val="tx1"/>
                </a:solidFill>
                <a:latin typeface="TH SarabunPSK" pitchFamily="34" charset="-34"/>
                <a:cs typeface="TH SarabunPSK" pitchFamily="34" charset="-34"/>
              </a:rPr>
              <a:t>การ</a:t>
            </a:r>
            <a:r>
              <a:rPr lang="th-TH" sz="2400" b="1" dirty="0">
                <a:solidFill>
                  <a:schemeClr val="tx1"/>
                </a:solidFill>
                <a:latin typeface="TH SarabunPSK" pitchFamily="34" charset="-34"/>
                <a:cs typeface="TH SarabunPSK" pitchFamily="34" charset="-34"/>
              </a:rPr>
              <a:t>พัฒนาโครงข่ายการขนส่งทางน้ำ</a:t>
            </a:r>
          </a:p>
        </p:txBody>
      </p:sp>
      <p:pic>
        <p:nvPicPr>
          <p:cNvPr id="18434" name="Picture 2"/>
          <p:cNvPicPr>
            <a:picLocks noChangeAspect="1" noChangeArrowheads="1"/>
          </p:cNvPicPr>
          <p:nvPr/>
        </p:nvPicPr>
        <p:blipFill rotWithShape="1">
          <a:blip r:embed="rId3" cstate="print">
            <a:extLst>
              <a:ext uri="{28A0092B-C50C-407E-A947-70E740481C1C}">
                <a14:useLocalDpi xmlns:a14="http://schemas.microsoft.com/office/drawing/2010/main" xmlns="" val="0"/>
              </a:ext>
            </a:extLst>
          </a:blip>
          <a:srcRect l="33032"/>
          <a:stretch/>
        </p:blipFill>
        <p:spPr bwMode="auto">
          <a:xfrm>
            <a:off x="5413528" y="4042824"/>
            <a:ext cx="3632607" cy="921184"/>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pic>
        <p:nvPicPr>
          <p:cNvPr id="18436" name="Picture 4"/>
          <p:cNvPicPr>
            <a:picLocks noChangeAspect="1" noChangeArrowheads="1"/>
          </p:cNvPicPr>
          <p:nvPr/>
        </p:nvPicPr>
        <p:blipFill rotWithShape="1">
          <a:blip r:embed="rId4" cstate="print">
            <a:extLst>
              <a:ext uri="{28A0092B-C50C-407E-A947-70E740481C1C}">
                <a14:useLocalDpi xmlns:a14="http://schemas.microsoft.com/office/drawing/2010/main" xmlns="" val="0"/>
              </a:ext>
            </a:extLst>
          </a:blip>
          <a:srcRect l="32231"/>
          <a:stretch/>
        </p:blipFill>
        <p:spPr bwMode="auto">
          <a:xfrm>
            <a:off x="148794" y="4091936"/>
            <a:ext cx="4042207" cy="82296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pic>
        <p:nvPicPr>
          <p:cNvPr id="18437" name="Picture 5"/>
          <p:cNvPicPr>
            <a:picLocks noChangeAspect="1" noChangeArrowheads="1"/>
          </p:cNvPicPr>
          <p:nvPr/>
        </p:nvPicPr>
        <p:blipFill>
          <a:blip r:embed="rId5" cstate="print">
            <a:extLst>
              <a:ext uri="{28A0092B-C50C-407E-A947-70E740481C1C}">
                <a14:useLocalDpi xmlns:a14="http://schemas.microsoft.com/office/drawing/2010/main" xmlns="" val="0"/>
              </a:ext>
            </a:extLst>
          </a:blip>
          <a:srcRect/>
          <a:stretch>
            <a:fillRect/>
          </a:stretch>
        </p:blipFill>
        <p:spPr bwMode="auto">
          <a:xfrm>
            <a:off x="1966209" y="794485"/>
            <a:ext cx="5263622" cy="2936732"/>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82" name="TextBox 81"/>
          <p:cNvSpPr txBox="1"/>
          <p:nvPr/>
        </p:nvSpPr>
        <p:spPr>
          <a:xfrm>
            <a:off x="379512" y="3003798"/>
            <a:ext cx="1600200" cy="1015663"/>
          </a:xfrm>
          <a:prstGeom prst="rect">
            <a:avLst/>
          </a:prstGeom>
          <a:solidFill>
            <a:srgbClr val="0070C0"/>
          </a:solidFill>
        </p:spPr>
        <p:txBody>
          <a:bodyPr wrap="square" rtlCol="0">
            <a:spAutoFit/>
          </a:bodyPr>
          <a:lstStyle/>
          <a:p>
            <a:pPr algn="ctr"/>
            <a:r>
              <a:rPr lang="th-TH" sz="2000" b="1" dirty="0">
                <a:latin typeface="TH SarabunPSK" pitchFamily="34" charset="-34"/>
                <a:cs typeface="TH SarabunPSK" pitchFamily="34" charset="-34"/>
              </a:rPr>
              <a:t>โครงการพัฒนาท่าเทียบเรือชายฝั่ง </a:t>
            </a:r>
            <a:r>
              <a:rPr lang="th-TH" sz="2000" b="1" dirty="0" smtClean="0">
                <a:latin typeface="TH SarabunPSK" pitchFamily="34" charset="-34"/>
                <a:cs typeface="TH SarabunPSK" pitchFamily="34" charset="-34"/>
              </a:rPr>
              <a:t/>
            </a:r>
            <a:br>
              <a:rPr lang="th-TH" sz="2000" b="1" dirty="0" smtClean="0">
                <a:latin typeface="TH SarabunPSK" pitchFamily="34" charset="-34"/>
                <a:cs typeface="TH SarabunPSK" pitchFamily="34" charset="-34"/>
              </a:rPr>
            </a:br>
            <a:r>
              <a:rPr lang="th-TH" sz="2000" b="1" dirty="0" smtClean="0">
                <a:latin typeface="TH SarabunPSK" pitchFamily="34" charset="-34"/>
                <a:cs typeface="TH SarabunPSK" pitchFamily="34" charset="-34"/>
              </a:rPr>
              <a:t>(</a:t>
            </a:r>
            <a:r>
              <a:rPr lang="th-TH" sz="2000" b="1" dirty="0">
                <a:latin typeface="TH SarabunPSK" pitchFamily="34" charset="-34"/>
                <a:cs typeface="TH SarabunPSK" pitchFamily="34" charset="-34"/>
              </a:rPr>
              <a:t>ท่าเทียบเรือ </a:t>
            </a:r>
            <a:r>
              <a:rPr lang="en-US" sz="2000" b="1" dirty="0">
                <a:latin typeface="TH SarabunPSK" pitchFamily="34" charset="-34"/>
                <a:cs typeface="TH SarabunPSK" pitchFamily="34" charset="-34"/>
              </a:rPr>
              <a:t>A) </a:t>
            </a:r>
            <a:endParaRPr lang="en-US" sz="2000" b="1" dirty="0" smtClean="0">
              <a:latin typeface="TH SarabunPSK" pitchFamily="34" charset="-34"/>
              <a:cs typeface="TH SarabunPSK" pitchFamily="34" charset="-34"/>
            </a:endParaRPr>
          </a:p>
        </p:txBody>
      </p:sp>
      <p:sp>
        <p:nvSpPr>
          <p:cNvPr id="85" name="TextBox 84"/>
          <p:cNvSpPr txBox="1"/>
          <p:nvPr/>
        </p:nvSpPr>
        <p:spPr>
          <a:xfrm>
            <a:off x="7420534" y="3268052"/>
            <a:ext cx="1600200" cy="707886"/>
          </a:xfrm>
          <a:prstGeom prst="rect">
            <a:avLst/>
          </a:prstGeom>
          <a:solidFill>
            <a:srgbClr val="FF0000"/>
          </a:solidFill>
        </p:spPr>
        <p:txBody>
          <a:bodyPr wrap="square" rtlCol="0">
            <a:spAutoFit/>
          </a:bodyPr>
          <a:lstStyle/>
          <a:p>
            <a:pPr algn="ctr"/>
            <a:r>
              <a:rPr lang="th-TH" sz="2000" b="1" dirty="0" smtClean="0">
                <a:solidFill>
                  <a:schemeClr val="bg1"/>
                </a:solidFill>
                <a:latin typeface="TH SarabunPSK" pitchFamily="34" charset="-34"/>
                <a:cs typeface="TH SarabunPSK" pitchFamily="34" charset="-34"/>
              </a:rPr>
              <a:t>โครงการ </a:t>
            </a:r>
            <a:r>
              <a:rPr lang="en-US" sz="2000" b="1" dirty="0" smtClean="0">
                <a:solidFill>
                  <a:schemeClr val="bg1"/>
                </a:solidFill>
                <a:latin typeface="TH SarabunPSK" pitchFamily="34" charset="-34"/>
                <a:cs typeface="TH SarabunPSK" pitchFamily="34" charset="-34"/>
              </a:rPr>
              <a:t>SRTO </a:t>
            </a:r>
            <a:r>
              <a:rPr lang="th-TH" sz="2000" b="1" dirty="0" smtClean="0">
                <a:solidFill>
                  <a:schemeClr val="bg1"/>
                </a:solidFill>
                <a:latin typeface="TH SarabunPSK" pitchFamily="34" charset="-34"/>
                <a:cs typeface="TH SarabunPSK" pitchFamily="34" charset="-34"/>
              </a:rPr>
              <a:t> </a:t>
            </a:r>
            <a:br>
              <a:rPr lang="th-TH" sz="2000" b="1" dirty="0" smtClean="0">
                <a:solidFill>
                  <a:schemeClr val="bg1"/>
                </a:solidFill>
                <a:latin typeface="TH SarabunPSK" pitchFamily="34" charset="-34"/>
                <a:cs typeface="TH SarabunPSK" pitchFamily="34" charset="-34"/>
              </a:rPr>
            </a:br>
            <a:r>
              <a:rPr lang="th-TH" sz="2000" b="1" dirty="0" smtClean="0">
                <a:solidFill>
                  <a:schemeClr val="bg1"/>
                </a:solidFill>
                <a:latin typeface="TH SarabunPSK" pitchFamily="34" charset="-34"/>
                <a:cs typeface="TH SarabunPSK" pitchFamily="34" charset="-34"/>
              </a:rPr>
              <a:t>ที่ท่าเรือแหลมฉบัง</a:t>
            </a:r>
            <a:endParaRPr lang="en-US" sz="2000" b="1" dirty="0" smtClean="0">
              <a:solidFill>
                <a:schemeClr val="bg1"/>
              </a:solidFill>
              <a:latin typeface="TH SarabunPSK" pitchFamily="34" charset="-34"/>
              <a:cs typeface="TH SarabunPSK" pitchFamily="34" charset="-34"/>
            </a:endParaRPr>
          </a:p>
        </p:txBody>
      </p:sp>
      <p:cxnSp>
        <p:nvCxnSpPr>
          <p:cNvPr id="23" name="Elbow Connector 22"/>
          <p:cNvCxnSpPr/>
          <p:nvPr/>
        </p:nvCxnSpPr>
        <p:spPr>
          <a:xfrm rot="10800000" flipV="1">
            <a:off x="1966211" y="2262851"/>
            <a:ext cx="2758191" cy="1586898"/>
          </a:xfrm>
          <a:prstGeom prst="bentConnector3">
            <a:avLst/>
          </a:prstGeom>
          <a:ln w="19050">
            <a:solidFill>
              <a:schemeClr val="tx1">
                <a:lumMod val="95000"/>
                <a:lumOff val="5000"/>
              </a:schemeClr>
            </a:solidFill>
          </a:ln>
        </p:spPr>
        <p:style>
          <a:lnRef idx="1">
            <a:schemeClr val="accent1"/>
          </a:lnRef>
          <a:fillRef idx="0">
            <a:schemeClr val="accent1"/>
          </a:fillRef>
          <a:effectRef idx="0">
            <a:schemeClr val="accent1"/>
          </a:effectRef>
          <a:fontRef idx="minor">
            <a:schemeClr val="tx1"/>
          </a:fontRef>
        </p:style>
      </p:cxnSp>
      <p:cxnSp>
        <p:nvCxnSpPr>
          <p:cNvPr id="3" name="Elbow Connector 2"/>
          <p:cNvCxnSpPr>
            <a:endCxn id="85" idx="0"/>
          </p:cNvCxnSpPr>
          <p:nvPr/>
        </p:nvCxnSpPr>
        <p:spPr>
          <a:xfrm>
            <a:off x="5715000" y="1954530"/>
            <a:ext cx="2505634" cy="1313522"/>
          </a:xfrm>
          <a:prstGeom prst="bentConnector2">
            <a:avLst/>
          </a:prstGeom>
          <a:ln>
            <a:solidFill>
              <a:srgbClr val="FF0000"/>
            </a:solidFill>
          </a:ln>
        </p:spPr>
        <p:style>
          <a:lnRef idx="1">
            <a:schemeClr val="accent1"/>
          </a:lnRef>
          <a:fillRef idx="0">
            <a:schemeClr val="accent1"/>
          </a:fillRef>
          <a:effectRef idx="0">
            <a:schemeClr val="accent1"/>
          </a:effectRef>
          <a:fontRef idx="minor">
            <a:schemeClr val="tx1"/>
          </a:fontRef>
        </p:style>
      </p:cxnSp>
      <p:sp>
        <p:nvSpPr>
          <p:cNvPr id="14" name="RbNavigator"/>
          <p:cNvSpPr txBox="1"/>
          <p:nvPr/>
        </p:nvSpPr>
        <p:spPr>
          <a:xfrm>
            <a:off x="107504" y="92614"/>
            <a:ext cx="444744" cy="246888"/>
          </a:xfrm>
          <a:prstGeom prst="rect">
            <a:avLst/>
          </a:prstGeom>
          <a:solidFill>
            <a:srgbClr val="003F56"/>
          </a:solidFill>
          <a:ln w="9525">
            <a:noFill/>
          </a:ln>
        </p:spPr>
        <p:txBody>
          <a:bodyPr vert="horz" wrap="none" lIns="0" tIns="0" rIns="0" bIns="0" rtlCol="0" anchor="ctr">
            <a:noAutofit/>
          </a:bodyPr>
          <a:lstStyle/>
          <a:p>
            <a:pPr marL="0" marR="0" lvl="0" indent="0" algn="ctr" defTabSz="914400" eaLnBrk="1" fontAlgn="auto" latinLnBrk="0" hangingPunct="1">
              <a:lnSpc>
                <a:spcPct val="90000"/>
              </a:lnSpc>
              <a:spcBef>
                <a:spcPts val="400"/>
              </a:spcBef>
              <a:spcAft>
                <a:spcPts val="0"/>
              </a:spcAft>
              <a:buClr>
                <a:srgbClr val="000000"/>
              </a:buClr>
              <a:buSzPct val="100000"/>
              <a:buFontTx/>
              <a:buNone/>
              <a:tabLst/>
              <a:defRPr/>
            </a:pPr>
            <a:r>
              <a:rPr kumimoji="1" lang="en-US" b="1" i="0" u="none" strike="noStrike" kern="0" cap="none" spc="0" normalizeH="0" baseline="0" noProof="0" dirty="0" smtClean="0">
                <a:ln>
                  <a:noFill/>
                </a:ln>
                <a:solidFill>
                  <a:srgbClr val="FFFFFF"/>
                </a:solidFill>
                <a:effectLst/>
                <a:uLnTx/>
                <a:uFillTx/>
                <a:latin typeface="TH SarabunPSK" pitchFamily="34" charset="-34"/>
                <a:cs typeface="TH SarabunPSK" pitchFamily="34" charset="-34"/>
              </a:rPr>
              <a:t>6</a:t>
            </a:r>
          </a:p>
        </p:txBody>
      </p:sp>
      <p:sp>
        <p:nvSpPr>
          <p:cNvPr id="15" name="RbSticker"/>
          <p:cNvSpPr txBox="1"/>
          <p:nvPr/>
        </p:nvSpPr>
        <p:spPr>
          <a:xfrm>
            <a:off x="611560" y="22749"/>
            <a:ext cx="4574970" cy="388761"/>
          </a:xfrm>
          <a:prstGeom prst="rect">
            <a:avLst/>
          </a:prstGeom>
          <a:noFill/>
          <a:ln w="9525">
            <a:noFill/>
          </a:ln>
        </p:spPr>
        <p:txBody>
          <a:bodyPr vert="horz" wrap="none" lIns="0" tIns="0" rIns="0" bIns="0" rtlCol="0" anchor="ctr">
            <a:spAutoFit/>
          </a:bodyPr>
          <a:lstStyle/>
          <a:p>
            <a:pPr lvl="0">
              <a:lnSpc>
                <a:spcPct val="90000"/>
              </a:lnSpc>
              <a:spcBef>
                <a:spcPts val="400"/>
              </a:spcBef>
              <a:buSzPct val="100000"/>
              <a:defRPr/>
            </a:pPr>
            <a:r>
              <a:rPr lang="th-TH" b="1" kern="0" dirty="0">
                <a:solidFill>
                  <a:srgbClr val="003F56"/>
                </a:solidFill>
                <a:latin typeface="TH SarabunPSK" pitchFamily="34" charset="-34"/>
                <a:cs typeface="TH SarabunPSK" pitchFamily="34" charset="-34"/>
              </a:rPr>
              <a:t>โครงการลงทุนที่สำคัญ</a:t>
            </a:r>
            <a:r>
              <a:rPr lang="th-TH" b="1" kern="0" dirty="0" smtClean="0">
                <a:solidFill>
                  <a:srgbClr val="003F56"/>
                </a:solidFill>
                <a:latin typeface="TH SarabunPSK" pitchFamily="34" charset="-34"/>
                <a:cs typeface="TH SarabunPSK" pitchFamily="34" charset="-34"/>
              </a:rPr>
              <a:t>ในช่วงปี 2558  </a:t>
            </a:r>
            <a:r>
              <a:rPr lang="th-TH" b="1" kern="0" dirty="0">
                <a:solidFill>
                  <a:srgbClr val="003F56"/>
                </a:solidFill>
                <a:latin typeface="TH SarabunPSK" pitchFamily="34" charset="-34"/>
                <a:cs typeface="TH SarabunPSK" pitchFamily="34" charset="-34"/>
              </a:rPr>
              <a:t>- </a:t>
            </a:r>
            <a:r>
              <a:rPr lang="th-TH" b="1" kern="0" dirty="0" smtClean="0">
                <a:solidFill>
                  <a:srgbClr val="003F56"/>
                </a:solidFill>
                <a:latin typeface="TH SarabunPSK" pitchFamily="34" charset="-34"/>
                <a:cs typeface="TH SarabunPSK" pitchFamily="34" charset="-34"/>
              </a:rPr>
              <a:t>256</a:t>
            </a:r>
            <a:r>
              <a:rPr lang="en-US" b="1" kern="0" dirty="0" smtClean="0">
                <a:solidFill>
                  <a:srgbClr val="003F56"/>
                </a:solidFill>
                <a:latin typeface="TH SarabunPSK" pitchFamily="34" charset="-34"/>
                <a:cs typeface="TH SarabunPSK" pitchFamily="34" charset="-34"/>
              </a:rPr>
              <a:t>0</a:t>
            </a:r>
            <a:r>
              <a:rPr lang="th-TH" b="1" kern="0" dirty="0" smtClean="0">
                <a:solidFill>
                  <a:srgbClr val="003F56"/>
                </a:solidFill>
                <a:latin typeface="TH SarabunPSK" pitchFamily="34" charset="-34"/>
                <a:cs typeface="TH SarabunPSK" pitchFamily="34" charset="-34"/>
              </a:rPr>
              <a:t> </a:t>
            </a:r>
            <a:endParaRPr lang="th-TH" b="1" kern="0" dirty="0">
              <a:solidFill>
                <a:srgbClr val="003F56"/>
              </a:solidFill>
              <a:latin typeface="TH SarabunPSK" pitchFamily="34" charset="-34"/>
              <a:cs typeface="TH SarabunPSK" pitchFamily="34" charset="-34"/>
            </a:endParaRPr>
          </a:p>
        </p:txBody>
      </p:sp>
    </p:spTree>
    <p:extLst>
      <p:ext uri="{BB962C8B-B14F-4D97-AF65-F5344CB8AC3E}">
        <p14:creationId xmlns:p14="http://schemas.microsoft.com/office/powerpoint/2010/main" xmlns="" val="3662911448"/>
      </p:ext>
    </p:extLst>
  </p:cSld>
  <p:clrMapOvr>
    <a:masterClrMapping/>
  </p:clrMapOvr>
  <p:transition spd="med" advClick="0">
    <p:fade thruBlk="1"/>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a:xfrm>
            <a:off x="681231" y="363917"/>
            <a:ext cx="7879374" cy="560923"/>
          </a:xfrm>
        </p:spPr>
        <p:txBody>
          <a:bodyPr/>
          <a:lstStyle/>
          <a:p>
            <a:r>
              <a:rPr lang="th-TH" sz="3400" b="1" dirty="0">
                <a:latin typeface="TH SarabunPSK" pitchFamily="34" charset="-34"/>
                <a:cs typeface="TH SarabunPSK" pitchFamily="34" charset="-34"/>
              </a:rPr>
              <a:t>ประเด็นการบรรยาย </a:t>
            </a:r>
            <a:endParaRPr lang="en-US" sz="3400" b="1" dirty="0">
              <a:latin typeface="TH SarabunPSK" pitchFamily="34" charset="-34"/>
              <a:cs typeface="TH SarabunPSK" pitchFamily="34" charset="-34"/>
            </a:endParaRPr>
          </a:p>
        </p:txBody>
      </p:sp>
      <p:sp>
        <p:nvSpPr>
          <p:cNvPr id="8" name="Rectangle 7"/>
          <p:cNvSpPr/>
          <p:nvPr/>
        </p:nvSpPr>
        <p:spPr>
          <a:xfrm>
            <a:off x="619698" y="1775764"/>
            <a:ext cx="7861110" cy="542498"/>
          </a:xfrm>
          <a:prstGeom prst="rect">
            <a:avLst/>
          </a:prstGeom>
          <a:solidFill>
            <a:schemeClr val="accent4"/>
          </a:solidFill>
          <a:ln w="9525">
            <a:noFill/>
          </a:ln>
          <a:effectLst/>
        </p:spPr>
        <p:style>
          <a:lnRef idx="1">
            <a:schemeClr val="accent1"/>
          </a:lnRef>
          <a:fillRef idx="0">
            <a:schemeClr val="accent1"/>
          </a:fillRef>
          <a:effectRef idx="0">
            <a:schemeClr val="accent1"/>
          </a:effectRef>
          <a:fontRef idx="minor">
            <a:schemeClr val="tx1"/>
          </a:fontRef>
        </p:style>
        <p:txBody>
          <a:bodyPr lIns="61358" tIns="61358" rIns="61358" bIns="92038" rtlCol="0" anchor="t" anchorCtr="0">
            <a:noAutofit/>
          </a:bodyPr>
          <a:lstStyle/>
          <a:p>
            <a:pPr fontAlgn="base">
              <a:lnSpc>
                <a:spcPct val="90000"/>
              </a:lnSpc>
              <a:spcBef>
                <a:spcPts val="341"/>
              </a:spcBef>
              <a:spcAft>
                <a:spcPct val="0"/>
              </a:spcAft>
            </a:pPr>
            <a:endParaRPr lang="en-US" sz="1300" dirty="0">
              <a:solidFill>
                <a:srgbClr val="000000"/>
              </a:solidFill>
            </a:endParaRPr>
          </a:p>
        </p:txBody>
      </p:sp>
      <p:sp>
        <p:nvSpPr>
          <p:cNvPr id="9" name="Rectangle 8"/>
          <p:cNvSpPr/>
          <p:nvPr/>
        </p:nvSpPr>
        <p:spPr>
          <a:xfrm>
            <a:off x="619698" y="2497762"/>
            <a:ext cx="7861110" cy="542498"/>
          </a:xfrm>
          <a:prstGeom prst="rect">
            <a:avLst/>
          </a:prstGeom>
          <a:solidFill>
            <a:schemeClr val="accent4"/>
          </a:solidFill>
          <a:ln w="9525">
            <a:noFill/>
          </a:ln>
          <a:effectLst/>
        </p:spPr>
        <p:style>
          <a:lnRef idx="1">
            <a:schemeClr val="accent1"/>
          </a:lnRef>
          <a:fillRef idx="0">
            <a:schemeClr val="accent1"/>
          </a:fillRef>
          <a:effectRef idx="0">
            <a:schemeClr val="accent1"/>
          </a:effectRef>
          <a:fontRef idx="minor">
            <a:schemeClr val="tx1"/>
          </a:fontRef>
        </p:style>
        <p:txBody>
          <a:bodyPr lIns="61358" tIns="61358" rIns="61358" bIns="92038" rtlCol="0" anchor="t" anchorCtr="0">
            <a:noAutofit/>
          </a:bodyPr>
          <a:lstStyle/>
          <a:p>
            <a:pPr fontAlgn="base">
              <a:lnSpc>
                <a:spcPct val="90000"/>
              </a:lnSpc>
              <a:spcBef>
                <a:spcPts val="341"/>
              </a:spcBef>
              <a:spcAft>
                <a:spcPct val="0"/>
              </a:spcAft>
            </a:pPr>
            <a:endParaRPr lang="en-US" sz="1300" dirty="0">
              <a:solidFill>
                <a:srgbClr val="000000"/>
              </a:solidFill>
            </a:endParaRPr>
          </a:p>
        </p:txBody>
      </p:sp>
      <p:sp>
        <p:nvSpPr>
          <p:cNvPr id="10" name="Rectangle 9"/>
          <p:cNvSpPr/>
          <p:nvPr/>
        </p:nvSpPr>
        <p:spPr>
          <a:xfrm>
            <a:off x="619698" y="3247510"/>
            <a:ext cx="7861110" cy="542498"/>
          </a:xfrm>
          <a:prstGeom prst="rect">
            <a:avLst/>
          </a:prstGeom>
          <a:solidFill>
            <a:schemeClr val="accent4"/>
          </a:solidFill>
          <a:ln w="9525">
            <a:noFill/>
          </a:ln>
          <a:effectLst/>
        </p:spPr>
        <p:style>
          <a:lnRef idx="1">
            <a:schemeClr val="accent1"/>
          </a:lnRef>
          <a:fillRef idx="0">
            <a:schemeClr val="accent1"/>
          </a:fillRef>
          <a:effectRef idx="0">
            <a:schemeClr val="accent1"/>
          </a:effectRef>
          <a:fontRef idx="minor">
            <a:schemeClr val="tx1"/>
          </a:fontRef>
        </p:style>
        <p:txBody>
          <a:bodyPr lIns="61358" tIns="61358" rIns="61358" bIns="92038" rtlCol="0" anchor="t" anchorCtr="0">
            <a:noAutofit/>
          </a:bodyPr>
          <a:lstStyle/>
          <a:p>
            <a:pPr fontAlgn="base">
              <a:lnSpc>
                <a:spcPct val="90000"/>
              </a:lnSpc>
              <a:spcBef>
                <a:spcPts val="341"/>
              </a:spcBef>
              <a:spcAft>
                <a:spcPct val="0"/>
              </a:spcAft>
            </a:pPr>
            <a:endParaRPr lang="en-US" sz="1300" dirty="0">
              <a:solidFill>
                <a:srgbClr val="000000"/>
              </a:solidFill>
            </a:endParaRPr>
          </a:p>
        </p:txBody>
      </p:sp>
      <p:sp>
        <p:nvSpPr>
          <p:cNvPr id="12" name="Textframe 12"/>
          <p:cNvSpPr txBox="1"/>
          <p:nvPr/>
        </p:nvSpPr>
        <p:spPr>
          <a:xfrm>
            <a:off x="1025978" y="2582041"/>
            <a:ext cx="7306801" cy="373949"/>
          </a:xfrm>
          <a:prstGeom prst="rect">
            <a:avLst/>
          </a:prstGeom>
          <a:noFill/>
          <a:ln w="9525">
            <a:noFill/>
          </a:ln>
        </p:spPr>
        <p:txBody>
          <a:bodyPr vert="horz" wrap="square" lIns="0" tIns="0" rIns="0" bIns="0" rtlCol="0">
            <a:spAutoFit/>
          </a:bodyPr>
          <a:lstStyle/>
          <a:p>
            <a:pPr fontAlgn="base">
              <a:lnSpc>
                <a:spcPct val="90000"/>
              </a:lnSpc>
              <a:spcBef>
                <a:spcPts val="341"/>
              </a:spcBef>
              <a:spcAft>
                <a:spcPct val="0"/>
              </a:spcAft>
              <a:buSzPct val="100000"/>
            </a:pPr>
            <a:r>
              <a:rPr lang="th-TH" sz="2700" b="1" dirty="0" smtClean="0">
                <a:solidFill>
                  <a:srgbClr val="003F56"/>
                </a:solidFill>
                <a:latin typeface="TH SarabunPSK" pitchFamily="34" charset="-34"/>
                <a:cs typeface="TH SarabunPSK" pitchFamily="34" charset="-34"/>
              </a:rPr>
              <a:t>การพัฒนา</a:t>
            </a:r>
            <a:r>
              <a:rPr lang="th-TH" sz="2700" b="1" dirty="0">
                <a:solidFill>
                  <a:srgbClr val="003F56"/>
                </a:solidFill>
                <a:latin typeface="TH SarabunPSK" pitchFamily="34" charset="-34"/>
                <a:cs typeface="TH SarabunPSK" pitchFamily="34" charset="-34"/>
              </a:rPr>
              <a:t>เขตเศรษฐกิจ</a:t>
            </a:r>
            <a:r>
              <a:rPr lang="th-TH" sz="2700" b="1" dirty="0" smtClean="0">
                <a:solidFill>
                  <a:srgbClr val="003F56"/>
                </a:solidFill>
                <a:latin typeface="TH SarabunPSK" pitchFamily="34" charset="-34"/>
                <a:cs typeface="TH SarabunPSK" pitchFamily="34" charset="-34"/>
              </a:rPr>
              <a:t>พิเศษ</a:t>
            </a:r>
            <a:endParaRPr lang="en-US" sz="2700" b="1" dirty="0">
              <a:solidFill>
                <a:srgbClr val="003F56"/>
              </a:solidFill>
              <a:latin typeface="TH SarabunPSK" pitchFamily="34" charset="-34"/>
              <a:cs typeface="TH SarabunPSK" pitchFamily="34" charset="-34"/>
            </a:endParaRPr>
          </a:p>
        </p:txBody>
      </p:sp>
      <p:sp>
        <p:nvSpPr>
          <p:cNvPr id="13" name="RbNavigator"/>
          <p:cNvSpPr txBox="1"/>
          <p:nvPr/>
        </p:nvSpPr>
        <p:spPr>
          <a:xfrm>
            <a:off x="619702" y="1775764"/>
            <a:ext cx="341056" cy="542498"/>
          </a:xfrm>
          <a:prstGeom prst="rect">
            <a:avLst/>
          </a:prstGeom>
          <a:solidFill>
            <a:schemeClr val="accent3"/>
          </a:solidFill>
          <a:ln w="9525">
            <a:noFill/>
          </a:ln>
        </p:spPr>
        <p:txBody>
          <a:bodyPr vert="horz" wrap="none" lIns="0" tIns="0" rIns="0" bIns="0" rtlCol="0" anchor="ctr">
            <a:noAutofit/>
          </a:bodyPr>
          <a:lstStyle/>
          <a:p>
            <a:pPr algn="ctr" fontAlgn="base">
              <a:lnSpc>
                <a:spcPct val="90000"/>
              </a:lnSpc>
              <a:spcBef>
                <a:spcPts val="341"/>
              </a:spcBef>
              <a:spcAft>
                <a:spcPct val="0"/>
              </a:spcAft>
              <a:buClr>
                <a:srgbClr val="000000"/>
              </a:buClr>
              <a:buSzPct val="100000"/>
            </a:pPr>
            <a:r>
              <a:rPr kumimoji="1" lang="th-TH" sz="2100" b="1" dirty="0">
                <a:solidFill>
                  <a:srgbClr val="FFFFFF"/>
                </a:solidFill>
                <a:cs typeface="Arial Narrow" pitchFamily="34" charset="0"/>
              </a:rPr>
              <a:t>2</a:t>
            </a:r>
            <a:endParaRPr kumimoji="1" lang="en-US" sz="2100" b="1" dirty="0">
              <a:solidFill>
                <a:srgbClr val="FFFFFF"/>
              </a:solidFill>
              <a:cs typeface="Arial Narrow" pitchFamily="34" charset="0"/>
            </a:endParaRPr>
          </a:p>
        </p:txBody>
      </p:sp>
      <p:sp>
        <p:nvSpPr>
          <p:cNvPr id="15" name="RbNavigator"/>
          <p:cNvSpPr txBox="1"/>
          <p:nvPr/>
        </p:nvSpPr>
        <p:spPr>
          <a:xfrm>
            <a:off x="619702" y="2497762"/>
            <a:ext cx="341056" cy="542498"/>
          </a:xfrm>
          <a:prstGeom prst="rect">
            <a:avLst/>
          </a:prstGeom>
          <a:solidFill>
            <a:schemeClr val="accent3"/>
          </a:solidFill>
          <a:ln w="9525">
            <a:noFill/>
          </a:ln>
        </p:spPr>
        <p:txBody>
          <a:bodyPr vert="horz" wrap="none" lIns="0" tIns="0" rIns="0" bIns="0" rtlCol="0" anchor="ctr">
            <a:noAutofit/>
          </a:bodyPr>
          <a:lstStyle/>
          <a:p>
            <a:pPr algn="ctr" fontAlgn="base">
              <a:lnSpc>
                <a:spcPct val="90000"/>
              </a:lnSpc>
              <a:spcBef>
                <a:spcPts val="341"/>
              </a:spcBef>
              <a:spcAft>
                <a:spcPct val="0"/>
              </a:spcAft>
              <a:buClr>
                <a:srgbClr val="000000"/>
              </a:buClr>
              <a:buSzPct val="100000"/>
            </a:pPr>
            <a:r>
              <a:rPr kumimoji="1" lang="th-TH" sz="2100" b="1" dirty="0">
                <a:solidFill>
                  <a:srgbClr val="FFFFFF"/>
                </a:solidFill>
                <a:cs typeface="Arial Narrow" pitchFamily="34" charset="0"/>
              </a:rPr>
              <a:t>3</a:t>
            </a:r>
            <a:endParaRPr kumimoji="1" lang="en-US" sz="2100" b="1" dirty="0">
              <a:solidFill>
                <a:srgbClr val="FFFFFF"/>
              </a:solidFill>
              <a:cs typeface="Arial Narrow" pitchFamily="34" charset="0"/>
            </a:endParaRPr>
          </a:p>
        </p:txBody>
      </p:sp>
      <p:sp>
        <p:nvSpPr>
          <p:cNvPr id="16" name="Textframe 12"/>
          <p:cNvSpPr txBox="1"/>
          <p:nvPr/>
        </p:nvSpPr>
        <p:spPr>
          <a:xfrm>
            <a:off x="1043608" y="3361377"/>
            <a:ext cx="7306801" cy="373949"/>
          </a:xfrm>
          <a:prstGeom prst="rect">
            <a:avLst/>
          </a:prstGeom>
          <a:noFill/>
          <a:ln w="9525">
            <a:noFill/>
          </a:ln>
        </p:spPr>
        <p:txBody>
          <a:bodyPr vert="horz" wrap="square" lIns="0" tIns="0" rIns="0" bIns="0" rtlCol="0">
            <a:spAutoFit/>
          </a:bodyPr>
          <a:lstStyle/>
          <a:p>
            <a:pPr fontAlgn="base">
              <a:lnSpc>
                <a:spcPct val="90000"/>
              </a:lnSpc>
              <a:spcBef>
                <a:spcPts val="341"/>
              </a:spcBef>
              <a:spcAft>
                <a:spcPct val="0"/>
              </a:spcAft>
              <a:buSzPct val="100000"/>
            </a:pPr>
            <a:r>
              <a:rPr lang="th-TH" sz="2700" b="1" dirty="0">
                <a:solidFill>
                  <a:srgbClr val="003F56"/>
                </a:solidFill>
                <a:latin typeface="TH SarabunPSK" pitchFamily="34" charset="-34"/>
                <a:cs typeface="TH SarabunPSK" pitchFamily="34" charset="-34"/>
              </a:rPr>
              <a:t>การเชื่อมโยงประเทศในภูมิภาค</a:t>
            </a:r>
            <a:endParaRPr lang="en-US" sz="2700" b="1" dirty="0">
              <a:solidFill>
                <a:srgbClr val="003F56"/>
              </a:solidFill>
              <a:latin typeface="TH SarabunPSK" pitchFamily="34" charset="-34"/>
              <a:cs typeface="TH SarabunPSK" pitchFamily="34" charset="-34"/>
            </a:endParaRPr>
          </a:p>
        </p:txBody>
      </p:sp>
      <p:sp>
        <p:nvSpPr>
          <p:cNvPr id="17" name="RbNavigator"/>
          <p:cNvSpPr txBox="1"/>
          <p:nvPr/>
        </p:nvSpPr>
        <p:spPr>
          <a:xfrm>
            <a:off x="619702" y="3247510"/>
            <a:ext cx="341056" cy="542498"/>
          </a:xfrm>
          <a:prstGeom prst="rect">
            <a:avLst/>
          </a:prstGeom>
          <a:solidFill>
            <a:schemeClr val="accent3"/>
          </a:solidFill>
          <a:ln w="9525">
            <a:noFill/>
          </a:ln>
        </p:spPr>
        <p:txBody>
          <a:bodyPr vert="horz" wrap="none" lIns="0" tIns="0" rIns="0" bIns="0" rtlCol="0" anchor="ctr">
            <a:noAutofit/>
          </a:bodyPr>
          <a:lstStyle/>
          <a:p>
            <a:pPr algn="ctr" fontAlgn="base">
              <a:lnSpc>
                <a:spcPct val="90000"/>
              </a:lnSpc>
              <a:spcBef>
                <a:spcPts val="341"/>
              </a:spcBef>
              <a:spcAft>
                <a:spcPct val="0"/>
              </a:spcAft>
              <a:buClr>
                <a:srgbClr val="000000"/>
              </a:buClr>
              <a:buSzPct val="100000"/>
            </a:pPr>
            <a:r>
              <a:rPr kumimoji="1" lang="th-TH" sz="2100" b="1" dirty="0">
                <a:solidFill>
                  <a:srgbClr val="FFFFFF"/>
                </a:solidFill>
                <a:cs typeface="Arial Narrow" pitchFamily="34" charset="0"/>
              </a:rPr>
              <a:t>4</a:t>
            </a:r>
            <a:endParaRPr kumimoji="1" lang="en-US" sz="2100" b="1" dirty="0">
              <a:solidFill>
                <a:srgbClr val="FFFFFF"/>
              </a:solidFill>
              <a:cs typeface="Arial Narrow" pitchFamily="34" charset="0"/>
            </a:endParaRPr>
          </a:p>
        </p:txBody>
      </p:sp>
      <p:sp>
        <p:nvSpPr>
          <p:cNvPr id="18" name="Rectangle 17"/>
          <p:cNvSpPr/>
          <p:nvPr/>
        </p:nvSpPr>
        <p:spPr>
          <a:xfrm>
            <a:off x="619697" y="3973468"/>
            <a:ext cx="7861110" cy="542498"/>
          </a:xfrm>
          <a:prstGeom prst="rect">
            <a:avLst/>
          </a:prstGeom>
          <a:solidFill>
            <a:schemeClr val="accent4"/>
          </a:solidFill>
          <a:ln w="9525">
            <a:noFill/>
          </a:ln>
          <a:effectLst/>
        </p:spPr>
        <p:style>
          <a:lnRef idx="1">
            <a:schemeClr val="accent1"/>
          </a:lnRef>
          <a:fillRef idx="0">
            <a:schemeClr val="accent1"/>
          </a:fillRef>
          <a:effectRef idx="0">
            <a:schemeClr val="accent1"/>
          </a:effectRef>
          <a:fontRef idx="minor">
            <a:schemeClr val="tx1"/>
          </a:fontRef>
        </p:style>
        <p:txBody>
          <a:bodyPr lIns="61358" tIns="61358" rIns="61358" bIns="92038" rtlCol="0" anchor="t" anchorCtr="0">
            <a:noAutofit/>
          </a:bodyPr>
          <a:lstStyle/>
          <a:p>
            <a:pPr fontAlgn="base">
              <a:lnSpc>
                <a:spcPct val="90000"/>
              </a:lnSpc>
              <a:spcBef>
                <a:spcPts val="341"/>
              </a:spcBef>
              <a:spcAft>
                <a:spcPct val="0"/>
              </a:spcAft>
            </a:pPr>
            <a:endParaRPr lang="en-US" sz="1300" dirty="0">
              <a:solidFill>
                <a:srgbClr val="000000"/>
              </a:solidFill>
            </a:endParaRPr>
          </a:p>
        </p:txBody>
      </p:sp>
      <p:sp>
        <p:nvSpPr>
          <p:cNvPr id="19" name="Textframe 12"/>
          <p:cNvSpPr txBox="1"/>
          <p:nvPr/>
        </p:nvSpPr>
        <p:spPr>
          <a:xfrm>
            <a:off x="1025978" y="1860043"/>
            <a:ext cx="7306801" cy="373949"/>
          </a:xfrm>
          <a:prstGeom prst="rect">
            <a:avLst/>
          </a:prstGeom>
          <a:noFill/>
          <a:ln w="9525">
            <a:noFill/>
          </a:ln>
        </p:spPr>
        <p:txBody>
          <a:bodyPr vert="horz" wrap="square" lIns="0" tIns="0" rIns="0" bIns="0" rtlCol="0">
            <a:spAutoFit/>
          </a:bodyPr>
          <a:lstStyle/>
          <a:p>
            <a:pPr fontAlgn="base">
              <a:lnSpc>
                <a:spcPct val="90000"/>
              </a:lnSpc>
              <a:spcBef>
                <a:spcPts val="341"/>
              </a:spcBef>
              <a:spcAft>
                <a:spcPct val="0"/>
              </a:spcAft>
              <a:buSzPct val="100000"/>
            </a:pPr>
            <a:r>
              <a:rPr lang="th-TH" sz="2700" b="1" dirty="0">
                <a:solidFill>
                  <a:srgbClr val="003F56"/>
                </a:solidFill>
                <a:latin typeface="TH SarabunPSK" pitchFamily="34" charset="-34"/>
                <a:cs typeface="TH SarabunPSK" pitchFamily="34" charset="-34"/>
              </a:rPr>
              <a:t>การ</a:t>
            </a:r>
            <a:r>
              <a:rPr lang="th-TH" sz="2700" b="1" dirty="0" smtClean="0">
                <a:solidFill>
                  <a:srgbClr val="003F56"/>
                </a:solidFill>
                <a:latin typeface="TH SarabunPSK" pitchFamily="34" charset="-34"/>
                <a:cs typeface="TH SarabunPSK" pitchFamily="34" charset="-34"/>
              </a:rPr>
              <a:t>พัฒนาระบบโลจิ</a:t>
            </a:r>
            <a:r>
              <a:rPr lang="th-TH" sz="2700" b="1" dirty="0">
                <a:solidFill>
                  <a:srgbClr val="003F56"/>
                </a:solidFill>
                <a:latin typeface="TH SarabunPSK" pitchFamily="34" charset="-34"/>
                <a:cs typeface="TH SarabunPSK" pitchFamily="34" charset="-34"/>
              </a:rPr>
              <a:t>สติกส์และโครงสร้างพื้นฐาน</a:t>
            </a:r>
            <a:endParaRPr lang="en-US" sz="2700" b="1" dirty="0">
              <a:solidFill>
                <a:srgbClr val="003F56"/>
              </a:solidFill>
              <a:latin typeface="TH SarabunPSK" pitchFamily="34" charset="-34"/>
              <a:cs typeface="TH SarabunPSK" pitchFamily="34" charset="-34"/>
            </a:endParaRPr>
          </a:p>
        </p:txBody>
      </p:sp>
      <p:sp>
        <p:nvSpPr>
          <p:cNvPr id="20" name="RbNavigator"/>
          <p:cNvSpPr txBox="1"/>
          <p:nvPr/>
        </p:nvSpPr>
        <p:spPr>
          <a:xfrm>
            <a:off x="619701" y="3973468"/>
            <a:ext cx="341056" cy="542498"/>
          </a:xfrm>
          <a:prstGeom prst="rect">
            <a:avLst/>
          </a:prstGeom>
          <a:solidFill>
            <a:schemeClr val="accent3"/>
          </a:solidFill>
          <a:ln w="9525">
            <a:noFill/>
          </a:ln>
        </p:spPr>
        <p:txBody>
          <a:bodyPr vert="horz" wrap="none" lIns="0" tIns="0" rIns="0" bIns="0" rtlCol="0" anchor="ctr">
            <a:noAutofit/>
          </a:bodyPr>
          <a:lstStyle/>
          <a:p>
            <a:pPr algn="ctr" fontAlgn="base">
              <a:lnSpc>
                <a:spcPct val="90000"/>
              </a:lnSpc>
              <a:spcBef>
                <a:spcPts val="341"/>
              </a:spcBef>
              <a:spcAft>
                <a:spcPct val="0"/>
              </a:spcAft>
              <a:buClr>
                <a:srgbClr val="000000"/>
              </a:buClr>
              <a:buSzPct val="100000"/>
            </a:pPr>
            <a:r>
              <a:rPr kumimoji="1" lang="th-TH" sz="2100" b="1" dirty="0">
                <a:solidFill>
                  <a:srgbClr val="FFFFFF"/>
                </a:solidFill>
                <a:cs typeface="Arial Narrow" pitchFamily="34" charset="0"/>
              </a:rPr>
              <a:t>5</a:t>
            </a:r>
            <a:endParaRPr kumimoji="1" lang="en-US" sz="2100" b="1" dirty="0">
              <a:solidFill>
                <a:srgbClr val="FFFFFF"/>
              </a:solidFill>
              <a:cs typeface="Arial Narrow" pitchFamily="34" charset="0"/>
            </a:endParaRPr>
          </a:p>
        </p:txBody>
      </p:sp>
      <p:sp>
        <p:nvSpPr>
          <p:cNvPr id="14" name="Textframe 12"/>
          <p:cNvSpPr txBox="1"/>
          <p:nvPr/>
        </p:nvSpPr>
        <p:spPr>
          <a:xfrm>
            <a:off x="1078006" y="4078111"/>
            <a:ext cx="7306801" cy="373949"/>
          </a:xfrm>
          <a:prstGeom prst="rect">
            <a:avLst/>
          </a:prstGeom>
          <a:noFill/>
          <a:ln w="9525">
            <a:noFill/>
          </a:ln>
        </p:spPr>
        <p:txBody>
          <a:bodyPr vert="horz" wrap="square" lIns="0" tIns="0" rIns="0" bIns="0" rtlCol="0">
            <a:spAutoFit/>
          </a:bodyPr>
          <a:lstStyle/>
          <a:p>
            <a:pPr fontAlgn="base">
              <a:lnSpc>
                <a:spcPct val="90000"/>
              </a:lnSpc>
              <a:spcBef>
                <a:spcPts val="341"/>
              </a:spcBef>
              <a:spcAft>
                <a:spcPct val="0"/>
              </a:spcAft>
              <a:buSzPct val="100000"/>
            </a:pPr>
            <a:r>
              <a:rPr lang="th-TH" sz="2700" b="1" dirty="0">
                <a:solidFill>
                  <a:srgbClr val="003F56"/>
                </a:solidFill>
                <a:latin typeface="TH SarabunPSK" pitchFamily="34" charset="-34"/>
                <a:cs typeface="TH SarabunPSK" pitchFamily="34" charset="-34"/>
              </a:rPr>
              <a:t>กา</a:t>
            </a:r>
            <a:r>
              <a:rPr lang="th-TH" sz="2700" b="1" dirty="0" smtClean="0">
                <a:solidFill>
                  <a:srgbClr val="003F56"/>
                </a:solidFill>
                <a:latin typeface="TH SarabunPSK" pitchFamily="34" charset="-34"/>
                <a:cs typeface="TH SarabunPSK" pitchFamily="34" charset="-34"/>
              </a:rPr>
              <a:t>รสนับสนุนการพัฒนาเขตเศรษฐกิจพิเศษทวาย</a:t>
            </a:r>
            <a:endParaRPr lang="en-US" sz="2700" b="1" dirty="0">
              <a:solidFill>
                <a:srgbClr val="003F56"/>
              </a:solidFill>
              <a:latin typeface="TH SarabunPSK" pitchFamily="34" charset="-34"/>
              <a:cs typeface="TH SarabunPSK" pitchFamily="34" charset="-34"/>
            </a:endParaRPr>
          </a:p>
        </p:txBody>
      </p:sp>
      <p:sp>
        <p:nvSpPr>
          <p:cNvPr id="24" name="Rectangle 23"/>
          <p:cNvSpPr/>
          <p:nvPr/>
        </p:nvSpPr>
        <p:spPr>
          <a:xfrm>
            <a:off x="619702" y="1098334"/>
            <a:ext cx="7861110" cy="542498"/>
          </a:xfrm>
          <a:prstGeom prst="rect">
            <a:avLst/>
          </a:prstGeom>
          <a:solidFill>
            <a:schemeClr val="accent4"/>
          </a:solidFill>
          <a:ln w="28575">
            <a:solidFill>
              <a:srgbClr val="0000FF"/>
            </a:solidFill>
          </a:ln>
          <a:effectLst/>
        </p:spPr>
        <p:style>
          <a:lnRef idx="1">
            <a:schemeClr val="accent1"/>
          </a:lnRef>
          <a:fillRef idx="0">
            <a:schemeClr val="accent1"/>
          </a:fillRef>
          <a:effectRef idx="0">
            <a:schemeClr val="accent1"/>
          </a:effectRef>
          <a:fontRef idx="minor">
            <a:schemeClr val="tx1"/>
          </a:fontRef>
        </p:style>
        <p:txBody>
          <a:bodyPr lIns="61358" tIns="61358" rIns="61358" bIns="92038" rtlCol="0" anchor="t" anchorCtr="0">
            <a:noAutofit/>
          </a:bodyPr>
          <a:lstStyle/>
          <a:p>
            <a:pPr fontAlgn="base">
              <a:lnSpc>
                <a:spcPct val="90000"/>
              </a:lnSpc>
              <a:spcBef>
                <a:spcPts val="341"/>
              </a:spcBef>
              <a:spcAft>
                <a:spcPct val="0"/>
              </a:spcAft>
            </a:pPr>
            <a:endParaRPr lang="en-US" sz="1300" dirty="0">
              <a:solidFill>
                <a:srgbClr val="000000"/>
              </a:solidFill>
            </a:endParaRPr>
          </a:p>
        </p:txBody>
      </p:sp>
      <p:sp>
        <p:nvSpPr>
          <p:cNvPr id="25" name="RbNavigator"/>
          <p:cNvSpPr txBox="1"/>
          <p:nvPr/>
        </p:nvSpPr>
        <p:spPr>
          <a:xfrm>
            <a:off x="619705" y="1098334"/>
            <a:ext cx="341056" cy="542498"/>
          </a:xfrm>
          <a:prstGeom prst="rect">
            <a:avLst/>
          </a:prstGeom>
          <a:solidFill>
            <a:schemeClr val="accent3"/>
          </a:solidFill>
          <a:ln w="9525">
            <a:noFill/>
          </a:ln>
        </p:spPr>
        <p:txBody>
          <a:bodyPr vert="horz" wrap="none" lIns="0" tIns="0" rIns="0" bIns="0" rtlCol="0" anchor="ctr">
            <a:noAutofit/>
          </a:bodyPr>
          <a:lstStyle/>
          <a:p>
            <a:pPr algn="ctr" fontAlgn="base">
              <a:lnSpc>
                <a:spcPct val="90000"/>
              </a:lnSpc>
              <a:spcBef>
                <a:spcPts val="341"/>
              </a:spcBef>
              <a:spcAft>
                <a:spcPct val="0"/>
              </a:spcAft>
              <a:buClr>
                <a:srgbClr val="000000"/>
              </a:buClr>
              <a:buSzPct val="100000"/>
            </a:pPr>
            <a:r>
              <a:rPr kumimoji="1" lang="th-TH" sz="2100" b="1" dirty="0">
                <a:solidFill>
                  <a:srgbClr val="FFFFFF"/>
                </a:solidFill>
                <a:cs typeface="Arial Narrow" pitchFamily="34" charset="0"/>
              </a:rPr>
              <a:t>1</a:t>
            </a:r>
            <a:endParaRPr kumimoji="1" lang="en-US" sz="2100" b="1" dirty="0">
              <a:solidFill>
                <a:srgbClr val="FFFFFF"/>
              </a:solidFill>
              <a:cs typeface="Arial Narrow" pitchFamily="34" charset="0"/>
            </a:endParaRPr>
          </a:p>
        </p:txBody>
      </p:sp>
      <p:sp>
        <p:nvSpPr>
          <p:cNvPr id="26" name="Textframe 12"/>
          <p:cNvSpPr txBox="1"/>
          <p:nvPr/>
        </p:nvSpPr>
        <p:spPr>
          <a:xfrm>
            <a:off x="1078010" y="1202978"/>
            <a:ext cx="7306801" cy="373949"/>
          </a:xfrm>
          <a:prstGeom prst="rect">
            <a:avLst/>
          </a:prstGeom>
          <a:noFill/>
          <a:ln w="9525">
            <a:noFill/>
          </a:ln>
        </p:spPr>
        <p:txBody>
          <a:bodyPr vert="horz" wrap="square" lIns="0" tIns="0" rIns="0" bIns="0" rtlCol="0">
            <a:spAutoFit/>
          </a:bodyPr>
          <a:lstStyle/>
          <a:p>
            <a:pPr fontAlgn="base">
              <a:lnSpc>
                <a:spcPct val="90000"/>
              </a:lnSpc>
              <a:spcBef>
                <a:spcPts val="341"/>
              </a:spcBef>
              <a:spcAft>
                <a:spcPct val="0"/>
              </a:spcAft>
              <a:buSzPct val="100000"/>
            </a:pPr>
            <a:r>
              <a:rPr lang="th-TH" sz="2700" b="1" dirty="0">
                <a:solidFill>
                  <a:srgbClr val="003F56"/>
                </a:solidFill>
                <a:latin typeface="TH SarabunPSK" pitchFamily="34" charset="-34"/>
                <a:cs typeface="TH SarabunPSK" pitchFamily="34" charset="-34"/>
              </a:rPr>
              <a:t>ทิศทางและเป้าหมายการพัฒนาประเทศ </a:t>
            </a:r>
            <a:endParaRPr lang="en-US" sz="2700" b="1" dirty="0">
              <a:solidFill>
                <a:srgbClr val="003F56"/>
              </a:solidFill>
              <a:latin typeface="TH SarabunPSK" pitchFamily="34" charset="-34"/>
              <a:cs typeface="TH SarabunPSK" pitchFamily="34" charset="-34"/>
            </a:endParaRPr>
          </a:p>
        </p:txBody>
      </p:sp>
    </p:spTree>
    <p:extLst>
      <p:ext uri="{BB962C8B-B14F-4D97-AF65-F5344CB8AC3E}">
        <p14:creationId xmlns:p14="http://schemas.microsoft.com/office/powerpoint/2010/main" xmlns="" val="3814071197"/>
      </p:ext>
    </p:extLst>
  </p:cSld>
  <p:clrMapOvr>
    <a:masterClrMapping/>
  </p:clrMapOvr>
  <p:transition spd="med">
    <p:fade thruBlk="1"/>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Rounded Rectangle 25">
            <a:hlinkClick r:id="" action="ppaction://noaction"/>
          </p:cNvPr>
          <p:cNvSpPr/>
          <p:nvPr/>
        </p:nvSpPr>
        <p:spPr>
          <a:xfrm>
            <a:off x="171466" y="530083"/>
            <a:ext cx="7568886" cy="417491"/>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anchor="ctr">
            <a:spAutoFit/>
          </a:bodyPr>
          <a:lstStyle/>
          <a:p>
            <a:pPr eaLnBrk="1" hangingPunct="1">
              <a:lnSpc>
                <a:spcPts val="1800"/>
              </a:lnSpc>
              <a:defRPr/>
            </a:pPr>
            <a:r>
              <a:rPr lang="th-TH" b="1" dirty="0" smtClean="0">
                <a:solidFill>
                  <a:schemeClr val="tx1"/>
                </a:solidFill>
                <a:latin typeface="TH SarabunPSK" pitchFamily="34" charset="-34"/>
                <a:cs typeface="TH SarabunPSK" pitchFamily="34" charset="-34"/>
              </a:rPr>
              <a:t>แผนงาน 5.  </a:t>
            </a:r>
            <a:r>
              <a:rPr lang="th-TH" sz="2400" b="1" dirty="0" smtClean="0">
                <a:solidFill>
                  <a:schemeClr val="tx1"/>
                </a:solidFill>
                <a:latin typeface="TH SarabunPSK" pitchFamily="34" charset="-34"/>
                <a:cs typeface="TH SarabunPSK" pitchFamily="34" charset="-34"/>
              </a:rPr>
              <a:t>การ</a:t>
            </a:r>
            <a:r>
              <a:rPr lang="th-TH" sz="2400" b="1" dirty="0">
                <a:solidFill>
                  <a:schemeClr val="tx1"/>
                </a:solidFill>
                <a:latin typeface="TH SarabunPSK" pitchFamily="34" charset="-34"/>
                <a:cs typeface="TH SarabunPSK" pitchFamily="34" charset="-34"/>
              </a:rPr>
              <a:t>เพิ่มขีดความสามารถ</a:t>
            </a:r>
            <a:r>
              <a:rPr lang="th-TH" sz="2400" b="1" dirty="0" smtClean="0">
                <a:solidFill>
                  <a:schemeClr val="tx1"/>
                </a:solidFill>
                <a:latin typeface="TH SarabunPSK" pitchFamily="34" charset="-34"/>
                <a:cs typeface="TH SarabunPSK" pitchFamily="34" charset="-34"/>
              </a:rPr>
              <a:t>ในการ</a:t>
            </a:r>
            <a:r>
              <a:rPr lang="th-TH" sz="2400" b="1" dirty="0">
                <a:solidFill>
                  <a:schemeClr val="tx1"/>
                </a:solidFill>
                <a:latin typeface="TH SarabunPSK" pitchFamily="34" charset="-34"/>
                <a:cs typeface="TH SarabunPSK" pitchFamily="34" charset="-34"/>
              </a:rPr>
              <a:t>ให้บริการขนส่งทางอากาศ</a:t>
            </a:r>
          </a:p>
        </p:txBody>
      </p:sp>
      <p:pic>
        <p:nvPicPr>
          <p:cNvPr id="20" name="Picture 2" descr="D:\My Documents\00.jpg"/>
          <p:cNvPicPr>
            <a:picLocks noChangeAspect="1" noChangeArrowheads="1"/>
          </p:cNvPicPr>
          <p:nvPr/>
        </p:nvPicPr>
        <p:blipFill>
          <a:blip r:embed="rId3" cstate="print"/>
          <a:srcRect/>
          <a:stretch>
            <a:fillRect/>
          </a:stretch>
        </p:blipFill>
        <p:spPr bwMode="auto">
          <a:xfrm>
            <a:off x="251520" y="1563638"/>
            <a:ext cx="4104456" cy="3130471"/>
          </a:xfrm>
          <a:prstGeom prst="rect">
            <a:avLst/>
          </a:prstGeom>
          <a:noFill/>
          <a:ln w="9525">
            <a:noFill/>
            <a:miter lim="800000"/>
            <a:headEnd/>
            <a:tailEnd/>
          </a:ln>
        </p:spPr>
      </p:pic>
      <p:sp>
        <p:nvSpPr>
          <p:cNvPr id="21" name="TextBox 20"/>
          <p:cNvSpPr txBox="1"/>
          <p:nvPr/>
        </p:nvSpPr>
        <p:spPr>
          <a:xfrm>
            <a:off x="323528" y="1059582"/>
            <a:ext cx="1891865" cy="400110"/>
          </a:xfrm>
          <a:prstGeom prst="rect">
            <a:avLst/>
          </a:prstGeom>
          <a:solidFill>
            <a:schemeClr val="bg1">
              <a:lumMod val="95000"/>
            </a:schemeClr>
          </a:solidFill>
        </p:spPr>
        <p:txBody>
          <a:bodyPr wrap="none" rtlCol="0">
            <a:spAutoFit/>
          </a:bodyPr>
          <a:lstStyle/>
          <a:p>
            <a:r>
              <a:rPr lang="th-TH" sz="2000" b="1" dirty="0">
                <a:solidFill>
                  <a:srgbClr val="0070C0"/>
                </a:solidFill>
                <a:latin typeface="TH SarabunPSK" pitchFamily="34" charset="-34"/>
                <a:cs typeface="TH SarabunPSK" pitchFamily="34" charset="-34"/>
              </a:rPr>
              <a:t>ท่าอากาศ</a:t>
            </a:r>
            <a:r>
              <a:rPr lang="th-TH" sz="2000" b="1" dirty="0" smtClean="0">
                <a:solidFill>
                  <a:srgbClr val="0070C0"/>
                </a:solidFill>
                <a:latin typeface="TH SarabunPSK" pitchFamily="34" charset="-34"/>
                <a:cs typeface="TH SarabunPSK" pitchFamily="34" charset="-34"/>
              </a:rPr>
              <a:t>ยานสุวรรณภูมิ</a:t>
            </a:r>
            <a:endParaRPr lang="en-US" sz="2000" dirty="0">
              <a:latin typeface="TH SarabunPSK" pitchFamily="34" charset="-34"/>
              <a:cs typeface="TH SarabunPSK" pitchFamily="34" charset="-34"/>
            </a:endParaRPr>
          </a:p>
        </p:txBody>
      </p:sp>
      <p:pic>
        <p:nvPicPr>
          <p:cNvPr id="19458" name="Picture 2"/>
          <p:cNvPicPr>
            <a:picLocks noChangeAspect="1" noChangeArrowheads="1"/>
          </p:cNvPicPr>
          <p:nvPr/>
        </p:nvPicPr>
        <p:blipFill>
          <a:blip r:embed="rId4" cstate="print">
            <a:extLst>
              <a:ext uri="{28A0092B-C50C-407E-A947-70E740481C1C}">
                <a14:useLocalDpi xmlns:a14="http://schemas.microsoft.com/office/drawing/2010/main" xmlns="" val="0"/>
              </a:ext>
            </a:extLst>
          </a:blip>
          <a:srcRect/>
          <a:stretch>
            <a:fillRect/>
          </a:stretch>
        </p:blipFill>
        <p:spPr bwMode="auto">
          <a:xfrm>
            <a:off x="4355976" y="1736752"/>
            <a:ext cx="4699248" cy="148307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8" name="RbNavigator"/>
          <p:cNvSpPr txBox="1"/>
          <p:nvPr/>
        </p:nvSpPr>
        <p:spPr>
          <a:xfrm>
            <a:off x="107504" y="92614"/>
            <a:ext cx="444744" cy="246888"/>
          </a:xfrm>
          <a:prstGeom prst="rect">
            <a:avLst/>
          </a:prstGeom>
          <a:solidFill>
            <a:srgbClr val="003F56"/>
          </a:solidFill>
          <a:ln w="9525">
            <a:noFill/>
          </a:ln>
        </p:spPr>
        <p:txBody>
          <a:bodyPr vert="horz" wrap="none" lIns="0" tIns="0" rIns="0" bIns="0" rtlCol="0" anchor="ctr">
            <a:noAutofit/>
          </a:bodyPr>
          <a:lstStyle/>
          <a:p>
            <a:pPr marL="0" marR="0" lvl="0" indent="0" algn="ctr" defTabSz="914400" eaLnBrk="1" fontAlgn="auto" latinLnBrk="0" hangingPunct="1">
              <a:lnSpc>
                <a:spcPct val="90000"/>
              </a:lnSpc>
              <a:spcBef>
                <a:spcPts val="400"/>
              </a:spcBef>
              <a:spcAft>
                <a:spcPts val="0"/>
              </a:spcAft>
              <a:buClr>
                <a:srgbClr val="000000"/>
              </a:buClr>
              <a:buSzPct val="100000"/>
              <a:buFontTx/>
              <a:buNone/>
              <a:tabLst/>
              <a:defRPr/>
            </a:pPr>
            <a:r>
              <a:rPr kumimoji="1" lang="en-US" b="1" i="0" u="none" strike="noStrike" kern="0" cap="none" spc="0" normalizeH="0" baseline="0" noProof="0" dirty="0" smtClean="0">
                <a:ln>
                  <a:noFill/>
                </a:ln>
                <a:solidFill>
                  <a:srgbClr val="FFFFFF"/>
                </a:solidFill>
                <a:effectLst/>
                <a:uLnTx/>
                <a:uFillTx/>
                <a:latin typeface="TH SarabunPSK" pitchFamily="34" charset="-34"/>
                <a:cs typeface="TH SarabunPSK" pitchFamily="34" charset="-34"/>
              </a:rPr>
              <a:t>6</a:t>
            </a:r>
          </a:p>
        </p:txBody>
      </p:sp>
      <p:sp>
        <p:nvSpPr>
          <p:cNvPr id="9" name="RbSticker"/>
          <p:cNvSpPr txBox="1"/>
          <p:nvPr/>
        </p:nvSpPr>
        <p:spPr>
          <a:xfrm>
            <a:off x="611560" y="22749"/>
            <a:ext cx="4574970" cy="388761"/>
          </a:xfrm>
          <a:prstGeom prst="rect">
            <a:avLst/>
          </a:prstGeom>
          <a:noFill/>
          <a:ln w="9525">
            <a:noFill/>
          </a:ln>
        </p:spPr>
        <p:txBody>
          <a:bodyPr vert="horz" wrap="none" lIns="0" tIns="0" rIns="0" bIns="0" rtlCol="0" anchor="ctr">
            <a:spAutoFit/>
          </a:bodyPr>
          <a:lstStyle/>
          <a:p>
            <a:pPr lvl="0">
              <a:lnSpc>
                <a:spcPct val="90000"/>
              </a:lnSpc>
              <a:spcBef>
                <a:spcPts val="400"/>
              </a:spcBef>
              <a:buSzPct val="100000"/>
              <a:defRPr/>
            </a:pPr>
            <a:r>
              <a:rPr lang="th-TH" b="1" kern="0" dirty="0">
                <a:solidFill>
                  <a:srgbClr val="003F56"/>
                </a:solidFill>
                <a:latin typeface="TH SarabunPSK" pitchFamily="34" charset="-34"/>
                <a:cs typeface="TH SarabunPSK" pitchFamily="34" charset="-34"/>
              </a:rPr>
              <a:t>โครงการลงทุนที่สำคัญ</a:t>
            </a:r>
            <a:r>
              <a:rPr lang="th-TH" b="1" kern="0" dirty="0" smtClean="0">
                <a:solidFill>
                  <a:srgbClr val="003F56"/>
                </a:solidFill>
                <a:latin typeface="TH SarabunPSK" pitchFamily="34" charset="-34"/>
                <a:cs typeface="TH SarabunPSK" pitchFamily="34" charset="-34"/>
              </a:rPr>
              <a:t>ในช่วงปี 2558  </a:t>
            </a:r>
            <a:r>
              <a:rPr lang="th-TH" b="1" kern="0" dirty="0">
                <a:solidFill>
                  <a:srgbClr val="003F56"/>
                </a:solidFill>
                <a:latin typeface="TH SarabunPSK" pitchFamily="34" charset="-34"/>
                <a:cs typeface="TH SarabunPSK" pitchFamily="34" charset="-34"/>
              </a:rPr>
              <a:t>- </a:t>
            </a:r>
            <a:r>
              <a:rPr lang="th-TH" b="1" kern="0" dirty="0" smtClean="0">
                <a:solidFill>
                  <a:srgbClr val="003F56"/>
                </a:solidFill>
                <a:latin typeface="TH SarabunPSK" pitchFamily="34" charset="-34"/>
                <a:cs typeface="TH SarabunPSK" pitchFamily="34" charset="-34"/>
              </a:rPr>
              <a:t>256</a:t>
            </a:r>
            <a:r>
              <a:rPr lang="en-US" b="1" kern="0" dirty="0" smtClean="0">
                <a:solidFill>
                  <a:srgbClr val="003F56"/>
                </a:solidFill>
                <a:latin typeface="TH SarabunPSK" pitchFamily="34" charset="-34"/>
                <a:cs typeface="TH SarabunPSK" pitchFamily="34" charset="-34"/>
              </a:rPr>
              <a:t>0</a:t>
            </a:r>
            <a:r>
              <a:rPr lang="th-TH" b="1" kern="0" dirty="0" smtClean="0">
                <a:solidFill>
                  <a:srgbClr val="003F56"/>
                </a:solidFill>
                <a:latin typeface="TH SarabunPSK" pitchFamily="34" charset="-34"/>
                <a:cs typeface="TH SarabunPSK" pitchFamily="34" charset="-34"/>
              </a:rPr>
              <a:t> </a:t>
            </a:r>
            <a:endParaRPr lang="th-TH" b="1" kern="0" dirty="0">
              <a:solidFill>
                <a:srgbClr val="003F56"/>
              </a:solidFill>
              <a:latin typeface="TH SarabunPSK" pitchFamily="34" charset="-34"/>
              <a:cs typeface="TH SarabunPSK" pitchFamily="34" charset="-34"/>
            </a:endParaRPr>
          </a:p>
        </p:txBody>
      </p:sp>
    </p:spTree>
    <p:extLst>
      <p:ext uri="{BB962C8B-B14F-4D97-AF65-F5344CB8AC3E}">
        <p14:creationId xmlns:p14="http://schemas.microsoft.com/office/powerpoint/2010/main" xmlns="" val="904197705"/>
      </p:ext>
    </p:extLst>
  </p:cSld>
  <p:clrMapOvr>
    <a:masterClrMapping/>
  </p:clrMapOvr>
  <p:transition spd="med" advClick="0">
    <p:fade thruBlk="1"/>
  </p:transition>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TextBox 27"/>
          <p:cNvSpPr txBox="1"/>
          <p:nvPr/>
        </p:nvSpPr>
        <p:spPr>
          <a:xfrm>
            <a:off x="52430" y="1213962"/>
            <a:ext cx="4601763" cy="1733808"/>
          </a:xfrm>
          <a:prstGeom prst="rect">
            <a:avLst/>
          </a:prstGeom>
          <a:noFill/>
          <a:ln>
            <a:solidFill>
              <a:srgbClr val="BD03BD"/>
            </a:solidFill>
          </a:ln>
        </p:spPr>
        <p:txBody>
          <a:bodyPr wrap="square" rtlCol="0">
            <a:spAutoFit/>
          </a:bodyPr>
          <a:lstStyle/>
          <a:p>
            <a:pPr marL="174625" indent="-174625" algn="thaiDist">
              <a:lnSpc>
                <a:spcPts val="1600"/>
              </a:lnSpc>
            </a:pPr>
            <a:r>
              <a:rPr lang="th-TH" sz="1800" b="1" dirty="0" smtClean="0">
                <a:latin typeface="TH SarabunPSK" pitchFamily="34" charset="-34"/>
                <a:cs typeface="TH SarabunPSK" pitchFamily="34" charset="-34"/>
              </a:rPr>
              <a:t>1.	</a:t>
            </a:r>
            <a:r>
              <a:rPr lang="th-TH" sz="1800" b="1" spc="-20" dirty="0" smtClean="0">
                <a:latin typeface="TH SarabunPSK" pitchFamily="34" charset="-34"/>
                <a:cs typeface="TH SarabunPSK" pitchFamily="34" charset="-34"/>
              </a:rPr>
              <a:t>แผนพัฒนา</a:t>
            </a:r>
            <a:r>
              <a:rPr lang="th-TH" sz="1800" b="1" spc="-20" dirty="0">
                <a:latin typeface="TH SarabunPSK" pitchFamily="34" charset="-34"/>
                <a:cs typeface="TH SarabunPSK" pitchFamily="34" charset="-34"/>
              </a:rPr>
              <a:t>กำลังผลิตไฟฟ้าของประเทศไทย (</a:t>
            </a:r>
            <a:r>
              <a:rPr lang="en-US" sz="1800" b="1" spc="-20" dirty="0">
                <a:latin typeface="TH SarabunPSK" pitchFamily="34" charset="-34"/>
                <a:cs typeface="TH SarabunPSK" pitchFamily="34" charset="-34"/>
              </a:rPr>
              <a:t>Power Development Plan: PDP </a:t>
            </a:r>
            <a:r>
              <a:rPr lang="en-US" sz="1800" b="1" spc="-20" dirty="0" smtClean="0">
                <a:latin typeface="TH SarabunPSK" pitchFamily="34" charset="-34"/>
                <a:cs typeface="TH SarabunPSK" pitchFamily="34" charset="-34"/>
              </a:rPr>
              <a:t>2015): </a:t>
            </a:r>
            <a:r>
              <a:rPr lang="th-TH" sz="1600" spc="-20" dirty="0" smtClean="0">
                <a:latin typeface="TH SarabunPSK" pitchFamily="34" charset="-34"/>
                <a:cs typeface="TH SarabunPSK" pitchFamily="34" charset="-34"/>
              </a:rPr>
              <a:t>แผนการลงทุนในกิจการโรงไฟฟ้า และระบบส่งไฟฟ้าในช่วงปี 2558 – 2579 มีประมาณการรายจ่ายลงทุนขอ</a:t>
            </a:r>
            <a:r>
              <a:rPr lang="th-TH" sz="1600" spc="-20" dirty="0">
                <a:latin typeface="TH SarabunPSK" pitchFamily="34" charset="-34"/>
                <a:cs typeface="TH SarabunPSK" pitchFamily="34" charset="-34"/>
              </a:rPr>
              <a:t>ง</a:t>
            </a:r>
            <a:r>
              <a:rPr lang="th-TH" sz="1600" spc="-20" dirty="0" smtClean="0">
                <a:latin typeface="TH SarabunPSK" pitchFamily="34" charset="-34"/>
                <a:cs typeface="TH SarabunPSK" pitchFamily="34" charset="-34"/>
              </a:rPr>
              <a:t>กิจการไฟฟ้า ดังนี้</a:t>
            </a:r>
            <a:endParaRPr lang="en-US" sz="1600" spc="-20" dirty="0" smtClean="0">
              <a:latin typeface="TH SarabunPSK" pitchFamily="34" charset="-34"/>
              <a:cs typeface="TH SarabunPSK" pitchFamily="34" charset="-34"/>
            </a:endParaRPr>
          </a:p>
          <a:p>
            <a:pPr algn="thaiDist">
              <a:lnSpc>
                <a:spcPts val="1600"/>
              </a:lnSpc>
            </a:pPr>
            <a:endParaRPr lang="en-US" sz="1600" dirty="0">
              <a:latin typeface="TH SarabunPSK" pitchFamily="34" charset="-34"/>
              <a:cs typeface="TH SarabunPSK" pitchFamily="34" charset="-34"/>
            </a:endParaRPr>
          </a:p>
          <a:p>
            <a:pPr algn="thaiDist">
              <a:lnSpc>
                <a:spcPts val="1600"/>
              </a:lnSpc>
            </a:pPr>
            <a:endParaRPr lang="en-US" sz="1600" dirty="0">
              <a:latin typeface="TH SarabunPSK" pitchFamily="34" charset="-34"/>
              <a:cs typeface="TH SarabunPSK" pitchFamily="34" charset="-34"/>
            </a:endParaRPr>
          </a:p>
          <a:p>
            <a:pPr algn="thaiDist">
              <a:lnSpc>
                <a:spcPts val="1600"/>
              </a:lnSpc>
            </a:pPr>
            <a:endParaRPr lang="en-US" sz="1600" dirty="0" smtClean="0">
              <a:latin typeface="TH SarabunPSK" pitchFamily="34" charset="-34"/>
              <a:cs typeface="TH SarabunPSK" pitchFamily="34" charset="-34"/>
            </a:endParaRPr>
          </a:p>
          <a:p>
            <a:pPr algn="thaiDist">
              <a:lnSpc>
                <a:spcPts val="1600"/>
              </a:lnSpc>
            </a:pPr>
            <a:endParaRPr lang="th-TH" sz="1600" dirty="0" smtClean="0">
              <a:latin typeface="TH SarabunPSK" pitchFamily="34" charset="-34"/>
              <a:cs typeface="TH SarabunPSK" pitchFamily="34" charset="-34"/>
            </a:endParaRPr>
          </a:p>
          <a:p>
            <a:pPr algn="thaiDist">
              <a:lnSpc>
                <a:spcPts val="1600"/>
              </a:lnSpc>
            </a:pPr>
            <a:endParaRPr lang="en-US" sz="1600" dirty="0">
              <a:latin typeface="TH SarabunPSK" pitchFamily="34" charset="-34"/>
              <a:cs typeface="TH SarabunPSK" pitchFamily="34" charset="-34"/>
            </a:endParaRPr>
          </a:p>
        </p:txBody>
      </p:sp>
      <p:sp>
        <p:nvSpPr>
          <p:cNvPr id="25" name="TextBox 24"/>
          <p:cNvSpPr txBox="1"/>
          <p:nvPr/>
        </p:nvSpPr>
        <p:spPr>
          <a:xfrm>
            <a:off x="66414" y="3010224"/>
            <a:ext cx="4587780" cy="2081806"/>
          </a:xfrm>
          <a:prstGeom prst="rect">
            <a:avLst/>
          </a:prstGeom>
          <a:noFill/>
          <a:ln>
            <a:solidFill>
              <a:srgbClr val="0070C0"/>
            </a:solidFill>
          </a:ln>
        </p:spPr>
        <p:txBody>
          <a:bodyPr wrap="square" rtlCol="0">
            <a:noAutofit/>
          </a:bodyPr>
          <a:lstStyle/>
          <a:p>
            <a:pPr marL="171450" indent="-171450" algn="thaiDist">
              <a:lnSpc>
                <a:spcPts val="1600"/>
              </a:lnSpc>
            </a:pPr>
            <a:r>
              <a:rPr lang="th-TH" sz="1800" b="1" dirty="0">
                <a:latin typeface="TH SarabunPSK" pitchFamily="34" charset="-34"/>
                <a:cs typeface="TH SarabunPSK" pitchFamily="34" charset="-34"/>
              </a:rPr>
              <a:t>4</a:t>
            </a:r>
            <a:r>
              <a:rPr lang="th-TH" sz="1800" b="1" dirty="0" smtClean="0">
                <a:latin typeface="TH SarabunPSK" pitchFamily="34" charset="-34"/>
                <a:cs typeface="TH SarabunPSK" pitchFamily="34" charset="-34"/>
              </a:rPr>
              <a:t>. แผนบริหารจัดการก๊าซธรรมชาติ (</a:t>
            </a:r>
            <a:r>
              <a:rPr lang="en-US" sz="1800" b="1" dirty="0" smtClean="0">
                <a:latin typeface="TH SarabunPSK" pitchFamily="34" charset="-34"/>
                <a:cs typeface="TH SarabunPSK" pitchFamily="34" charset="-34"/>
              </a:rPr>
              <a:t>Gas Plan</a:t>
            </a:r>
            <a:r>
              <a:rPr lang="th-TH" sz="1800" b="1" dirty="0" smtClean="0">
                <a:latin typeface="TH SarabunPSK" pitchFamily="34" charset="-34"/>
                <a:cs typeface="TH SarabunPSK" pitchFamily="34" charset="-34"/>
              </a:rPr>
              <a:t>)</a:t>
            </a:r>
            <a:r>
              <a:rPr lang="en-US" sz="1800" b="1" dirty="0" smtClean="0">
                <a:latin typeface="TH SarabunPSK" pitchFamily="34" charset="-34"/>
                <a:cs typeface="TH SarabunPSK" pitchFamily="34" charset="-34"/>
              </a:rPr>
              <a:t>*:</a:t>
            </a:r>
            <a:r>
              <a:rPr lang="th-TH" sz="1800" b="1" dirty="0" smtClean="0">
                <a:latin typeface="TH SarabunPSK" pitchFamily="34" charset="-34"/>
                <a:cs typeface="TH SarabunPSK" pitchFamily="34" charset="-34"/>
              </a:rPr>
              <a:t> </a:t>
            </a:r>
            <a:r>
              <a:rPr lang="th-TH" sz="1600" dirty="0" smtClean="0">
                <a:latin typeface="TH SarabunPSK" pitchFamily="34" charset="-34"/>
                <a:cs typeface="TH SarabunPSK" pitchFamily="34" charset="-34"/>
              </a:rPr>
              <a:t>มีกรอบการลงทุนโครงสร้างพื้นฐานที่จำเป็นต่อการรองรับการขนส่งและนำเข้าก๊าซธรรมชาติในเบื้องต้น ดังนี้</a:t>
            </a:r>
            <a:endParaRPr lang="th-TH" sz="800" dirty="0">
              <a:latin typeface="TH SarabunPSK" pitchFamily="34" charset="-34"/>
              <a:cs typeface="TH SarabunPSK" pitchFamily="34" charset="-34"/>
            </a:endParaRPr>
          </a:p>
          <a:p>
            <a:pPr algn="thaiDist">
              <a:lnSpc>
                <a:spcPts val="1600"/>
              </a:lnSpc>
            </a:pPr>
            <a:endParaRPr lang="th-TH" sz="1560" dirty="0">
              <a:latin typeface="TH SarabunPSK" pitchFamily="34" charset="-34"/>
              <a:cs typeface="TH SarabunPSK" pitchFamily="34" charset="-34"/>
            </a:endParaRPr>
          </a:p>
          <a:p>
            <a:pPr algn="thaiDist"/>
            <a:endParaRPr lang="th-TH" sz="1560" dirty="0" smtClean="0">
              <a:latin typeface="TH SarabunPSK" pitchFamily="34" charset="-34"/>
              <a:cs typeface="TH SarabunPSK" pitchFamily="34" charset="-34"/>
            </a:endParaRPr>
          </a:p>
          <a:p>
            <a:pPr algn="thaiDist"/>
            <a:r>
              <a:rPr lang="th-TH" sz="1560" dirty="0" smtClean="0">
                <a:latin typeface="TH SarabunPSK" pitchFamily="34" charset="-34"/>
                <a:cs typeface="TH SarabunPSK" pitchFamily="34" charset="-34"/>
              </a:rPr>
              <a:t/>
            </a:r>
            <a:br>
              <a:rPr lang="th-TH" sz="1560" dirty="0" smtClean="0">
                <a:latin typeface="TH SarabunPSK" pitchFamily="34" charset="-34"/>
                <a:cs typeface="TH SarabunPSK" pitchFamily="34" charset="-34"/>
              </a:rPr>
            </a:br>
            <a:endParaRPr lang="th-TH" sz="1560" dirty="0" smtClean="0">
              <a:latin typeface="TH SarabunPSK" pitchFamily="34" charset="-34"/>
              <a:cs typeface="TH SarabunPSK" pitchFamily="34" charset="-34"/>
            </a:endParaRPr>
          </a:p>
          <a:p>
            <a:pPr algn="thaiDist"/>
            <a:endParaRPr lang="th-TH" sz="1560" dirty="0">
              <a:latin typeface="TH SarabunPSK" pitchFamily="34" charset="-34"/>
              <a:cs typeface="TH SarabunPSK" pitchFamily="34" charset="-34"/>
            </a:endParaRPr>
          </a:p>
          <a:p>
            <a:pPr algn="thaiDist"/>
            <a:endParaRPr lang="th-TH" sz="1560" dirty="0" smtClean="0">
              <a:latin typeface="TH SarabunPSK" pitchFamily="34" charset="-34"/>
              <a:cs typeface="TH SarabunPSK" pitchFamily="34" charset="-34"/>
            </a:endParaRPr>
          </a:p>
          <a:p>
            <a:pPr algn="thaiDist"/>
            <a:endParaRPr lang="th-TH" sz="1560" dirty="0">
              <a:latin typeface="TH SarabunPSK" pitchFamily="34" charset="-34"/>
              <a:cs typeface="TH SarabunPSK" pitchFamily="34" charset="-34"/>
            </a:endParaRPr>
          </a:p>
        </p:txBody>
      </p:sp>
      <p:sp>
        <p:nvSpPr>
          <p:cNvPr id="15" name="TextBox 14"/>
          <p:cNvSpPr txBox="1"/>
          <p:nvPr/>
        </p:nvSpPr>
        <p:spPr>
          <a:xfrm>
            <a:off x="52430" y="793170"/>
            <a:ext cx="9026518" cy="369332"/>
          </a:xfrm>
          <a:prstGeom prst="rect">
            <a:avLst/>
          </a:prstGeom>
          <a:noFill/>
          <a:ln>
            <a:solidFill>
              <a:schemeClr val="accent1"/>
            </a:solidFill>
          </a:ln>
        </p:spPr>
        <p:txBody>
          <a:bodyPr wrap="square" tIns="0" bIns="0" rtlCol="0">
            <a:spAutoFit/>
          </a:bodyPr>
          <a:lstStyle/>
          <a:p>
            <a:pPr algn="thaiDist"/>
            <a:r>
              <a:rPr lang="en-US" sz="2400" b="1" dirty="0" smtClean="0">
                <a:latin typeface="TH SarabunPSK" pitchFamily="34" charset="-34"/>
                <a:cs typeface="TH SarabunPSK" pitchFamily="34" charset="-34"/>
              </a:rPr>
              <a:t>Framework: </a:t>
            </a:r>
            <a:r>
              <a:rPr lang="th-TH" sz="2400" dirty="0" smtClean="0">
                <a:latin typeface="TH SarabunPSK" pitchFamily="34" charset="-34"/>
                <a:cs typeface="TH SarabunPSK" pitchFamily="34" charset="-34"/>
              </a:rPr>
              <a:t>แผนบูรณาการด้านพลังงาน </a:t>
            </a:r>
            <a:r>
              <a:rPr lang="th-TH" sz="2400" dirty="0">
                <a:latin typeface="TH SarabunPSK" pitchFamily="34" charset="-34"/>
                <a:cs typeface="TH SarabunPSK" pitchFamily="34" charset="-34"/>
              </a:rPr>
              <a:t>พ.ศ. 2558- </a:t>
            </a:r>
            <a:r>
              <a:rPr lang="th-TH" sz="2400" dirty="0" smtClean="0">
                <a:latin typeface="TH SarabunPSK" pitchFamily="34" charset="-34"/>
                <a:cs typeface="TH SarabunPSK" pitchFamily="34" charset="-34"/>
              </a:rPr>
              <a:t>2579 (เบื้องต้น)</a:t>
            </a:r>
            <a:endParaRPr lang="en-US" sz="2400" dirty="0">
              <a:latin typeface="TH SarabunPSK" pitchFamily="34" charset="-34"/>
              <a:cs typeface="TH SarabunPSK" pitchFamily="34" charset="-34"/>
            </a:endParaRPr>
          </a:p>
        </p:txBody>
      </p:sp>
      <p:sp>
        <p:nvSpPr>
          <p:cNvPr id="16" name="TextBox 15"/>
          <p:cNvSpPr txBox="1"/>
          <p:nvPr/>
        </p:nvSpPr>
        <p:spPr>
          <a:xfrm>
            <a:off x="56049" y="453901"/>
            <a:ext cx="9022899" cy="369332"/>
          </a:xfrm>
          <a:prstGeom prst="rect">
            <a:avLst/>
          </a:prstGeom>
          <a:noFill/>
          <a:ln>
            <a:solidFill>
              <a:srgbClr val="0070C0"/>
            </a:solidFill>
          </a:ln>
        </p:spPr>
        <p:txBody>
          <a:bodyPr wrap="square" tIns="0" bIns="0" rtlCol="0">
            <a:spAutoFit/>
          </a:bodyPr>
          <a:lstStyle/>
          <a:p>
            <a:r>
              <a:rPr lang="en-US" sz="2400" b="1" dirty="0" smtClean="0">
                <a:latin typeface="TH SarabunPSK" pitchFamily="34" charset="-34"/>
                <a:cs typeface="TH SarabunPSK" pitchFamily="34" charset="-34"/>
              </a:rPr>
              <a:t>Objectives: </a:t>
            </a:r>
            <a:r>
              <a:rPr lang="th-TH" sz="2400" dirty="0" smtClean="0">
                <a:latin typeface="TH SarabunPSK" pitchFamily="34" charset="-34"/>
                <a:cs typeface="TH SarabunPSK" pitchFamily="34" charset="-34"/>
              </a:rPr>
              <a:t>ความมั่นคงทางพลังงาน มีราคาที่เหมาะสม และใช้พลังงานอย่างมีประสิทธิภาพและยั่งยืน</a:t>
            </a:r>
          </a:p>
        </p:txBody>
      </p:sp>
      <p:sp>
        <p:nvSpPr>
          <p:cNvPr id="17" name="TextBox 16"/>
          <p:cNvSpPr txBox="1"/>
          <p:nvPr/>
        </p:nvSpPr>
        <p:spPr>
          <a:xfrm>
            <a:off x="4716016" y="1213962"/>
            <a:ext cx="4362931" cy="869662"/>
          </a:xfrm>
          <a:prstGeom prst="rect">
            <a:avLst/>
          </a:prstGeom>
          <a:noFill/>
          <a:ln>
            <a:solidFill>
              <a:schemeClr val="accent4">
                <a:lumMod val="75000"/>
              </a:schemeClr>
            </a:solidFill>
          </a:ln>
        </p:spPr>
        <p:txBody>
          <a:bodyPr wrap="square" rtlCol="0">
            <a:spAutoFit/>
          </a:bodyPr>
          <a:lstStyle/>
          <a:p>
            <a:pPr marL="180975" indent="-180975">
              <a:lnSpc>
                <a:spcPts val="1500"/>
              </a:lnSpc>
            </a:pPr>
            <a:r>
              <a:rPr lang="th-TH" sz="1800" b="1" dirty="0" smtClean="0">
                <a:latin typeface="TH SarabunPSK" pitchFamily="34" charset="-34"/>
                <a:cs typeface="TH SarabunPSK" pitchFamily="34" charset="-34"/>
              </a:rPr>
              <a:t>2. </a:t>
            </a:r>
            <a:r>
              <a:rPr lang="th-TH" sz="1800" b="1" spc="-20" dirty="0">
                <a:latin typeface="TH SarabunPSK" pitchFamily="34" charset="-34"/>
                <a:cs typeface="TH SarabunPSK" pitchFamily="34" charset="-34"/>
              </a:rPr>
              <a:t>แผนอนุรักษ์พลังงาน (</a:t>
            </a:r>
            <a:r>
              <a:rPr lang="en-US" sz="1800" b="1" spc="-20" dirty="0">
                <a:latin typeface="TH SarabunPSK" pitchFamily="34" charset="-34"/>
                <a:cs typeface="TH SarabunPSK" pitchFamily="34" charset="-34"/>
              </a:rPr>
              <a:t>Energy Efficiency Plan: </a:t>
            </a:r>
            <a:r>
              <a:rPr lang="en-US" sz="1800" b="1" spc="-20" dirty="0" smtClean="0">
                <a:latin typeface="TH SarabunPSK" pitchFamily="34" charset="-34"/>
                <a:cs typeface="TH SarabunPSK" pitchFamily="34" charset="-34"/>
              </a:rPr>
              <a:t>EEP</a:t>
            </a:r>
            <a:r>
              <a:rPr lang="th-TH" sz="1800" b="1" spc="-20" dirty="0" smtClean="0">
                <a:latin typeface="TH SarabunPSK" pitchFamily="34" charset="-34"/>
                <a:cs typeface="TH SarabunPSK" pitchFamily="34" charset="-34"/>
              </a:rPr>
              <a:t> 2015)</a:t>
            </a:r>
            <a:r>
              <a:rPr lang="en-US" sz="1800" b="1" spc="-20" dirty="0" smtClean="0">
                <a:latin typeface="TH SarabunPSK" pitchFamily="34" charset="-34"/>
                <a:cs typeface="TH SarabunPSK" pitchFamily="34" charset="-34"/>
              </a:rPr>
              <a:t>:</a:t>
            </a:r>
          </a:p>
          <a:p>
            <a:pPr marL="287338" indent="-112713">
              <a:lnSpc>
                <a:spcPts val="1500"/>
              </a:lnSpc>
            </a:pPr>
            <a:r>
              <a:rPr lang="th-TH" sz="1600" dirty="0" smtClean="0">
                <a:latin typeface="TH SarabunPSK" pitchFamily="34" charset="-34"/>
                <a:cs typeface="TH SarabunPSK" pitchFamily="34" charset="-34"/>
              </a:rPr>
              <a:t>-</a:t>
            </a:r>
            <a:r>
              <a:rPr lang="en-US" sz="1600" dirty="0" smtClean="0">
                <a:latin typeface="TH SarabunPSK" pitchFamily="34" charset="-34"/>
                <a:cs typeface="TH SarabunPSK" pitchFamily="34" charset="-34"/>
              </a:rPr>
              <a:t>	</a:t>
            </a:r>
            <a:r>
              <a:rPr lang="th-TH" sz="1600" dirty="0" smtClean="0">
                <a:latin typeface="TH SarabunPSK" pitchFamily="34" charset="-34"/>
                <a:cs typeface="TH SarabunPSK" pitchFamily="34" charset="-34"/>
              </a:rPr>
              <a:t>ลด</a:t>
            </a:r>
            <a:r>
              <a:rPr lang="th-TH" sz="1600" dirty="0">
                <a:latin typeface="TH SarabunPSK" pitchFamily="34" charset="-34"/>
                <a:cs typeface="TH SarabunPSK" pitchFamily="34" charset="-34"/>
              </a:rPr>
              <a:t>ความเข้มการใช้พลังงานลงร้อยละ 30 ในปี </a:t>
            </a:r>
            <a:r>
              <a:rPr lang="th-TH" sz="1600" dirty="0" smtClean="0">
                <a:latin typeface="TH SarabunPSK" pitchFamily="34" charset="-34"/>
                <a:cs typeface="TH SarabunPSK" pitchFamily="34" charset="-34"/>
              </a:rPr>
              <a:t>2579 ผ่านมาตรการ</a:t>
            </a:r>
            <a:r>
              <a:rPr lang="th-TH" sz="1600" dirty="0">
                <a:latin typeface="TH SarabunPSK" pitchFamily="34" charset="-34"/>
                <a:cs typeface="TH SarabunPSK" pitchFamily="34" charset="-34"/>
              </a:rPr>
              <a:t>ส่งเสริม</a:t>
            </a:r>
            <a:r>
              <a:rPr lang="th-TH" sz="1600" dirty="0" smtClean="0">
                <a:latin typeface="TH SarabunPSK" pitchFamily="34" charset="-34"/>
                <a:cs typeface="TH SarabunPSK" pitchFamily="34" charset="-34"/>
              </a:rPr>
              <a:t>สนับสนุน และมาตรการบังคับ </a:t>
            </a:r>
            <a:endParaRPr lang="en-US" sz="1600" dirty="0">
              <a:latin typeface="TH SarabunPSK" pitchFamily="34" charset="-34"/>
              <a:cs typeface="TH SarabunPSK" pitchFamily="34" charset="-34"/>
            </a:endParaRPr>
          </a:p>
          <a:p>
            <a:pPr marL="287338" indent="-112713">
              <a:lnSpc>
                <a:spcPts val="1500"/>
              </a:lnSpc>
              <a:spcAft>
                <a:spcPts val="1200"/>
              </a:spcAft>
            </a:pPr>
            <a:r>
              <a:rPr lang="th-TH" sz="1600" dirty="0" smtClean="0">
                <a:latin typeface="TH SarabunPSK" pitchFamily="34" charset="-34"/>
                <a:cs typeface="TH SarabunPSK" pitchFamily="34" charset="-34"/>
              </a:rPr>
              <a:t>-</a:t>
            </a:r>
            <a:r>
              <a:rPr lang="en-US" sz="1600" dirty="0" smtClean="0">
                <a:latin typeface="TH SarabunPSK" pitchFamily="34" charset="-34"/>
                <a:cs typeface="TH SarabunPSK" pitchFamily="34" charset="-34"/>
              </a:rPr>
              <a:t>	</a:t>
            </a:r>
            <a:r>
              <a:rPr lang="th-TH" sz="1600" spc="-30" dirty="0" smtClean="0">
                <a:latin typeface="TH SarabunPSK" pitchFamily="34" charset="-34"/>
                <a:cs typeface="TH SarabunPSK" pitchFamily="34" charset="-34"/>
              </a:rPr>
              <a:t>ประมาณการงบประมาณภาครัฐ 1.6 ล้านล้านบาท และเอกชน 0.8 ล้านบาท</a:t>
            </a:r>
            <a:r>
              <a:rPr lang="th-TH" sz="1600" dirty="0" smtClean="0">
                <a:latin typeface="TH SarabunPSK" pitchFamily="34" charset="-34"/>
                <a:cs typeface="TH SarabunPSK" pitchFamily="34" charset="-34"/>
              </a:rPr>
              <a:t> </a:t>
            </a:r>
            <a:endParaRPr lang="en-US" sz="1600" dirty="0">
              <a:latin typeface="TH SarabunPSK" pitchFamily="34" charset="-34"/>
              <a:cs typeface="TH SarabunPSK" pitchFamily="34" charset="-34"/>
            </a:endParaRPr>
          </a:p>
        </p:txBody>
      </p:sp>
      <p:sp>
        <p:nvSpPr>
          <p:cNvPr id="18" name="TextBox 17"/>
          <p:cNvSpPr txBox="1"/>
          <p:nvPr/>
        </p:nvSpPr>
        <p:spPr>
          <a:xfrm>
            <a:off x="4716016" y="2144500"/>
            <a:ext cx="4362931" cy="869662"/>
          </a:xfrm>
          <a:prstGeom prst="rect">
            <a:avLst/>
          </a:prstGeom>
          <a:noFill/>
          <a:ln>
            <a:solidFill>
              <a:srgbClr val="92D050"/>
            </a:solidFill>
          </a:ln>
        </p:spPr>
        <p:txBody>
          <a:bodyPr wrap="square" rtlCol="0">
            <a:spAutoFit/>
          </a:bodyPr>
          <a:lstStyle/>
          <a:p>
            <a:pPr marL="209550" indent="-209550">
              <a:lnSpc>
                <a:spcPts val="1500"/>
              </a:lnSpc>
            </a:pPr>
            <a:r>
              <a:rPr lang="en-US" sz="1800" b="1" dirty="0">
                <a:latin typeface="TH SarabunPSK" pitchFamily="34" charset="-34"/>
                <a:cs typeface="TH SarabunPSK" pitchFamily="34" charset="-34"/>
              </a:rPr>
              <a:t>3</a:t>
            </a:r>
            <a:r>
              <a:rPr lang="th-TH" sz="1800" b="1" dirty="0" smtClean="0">
                <a:latin typeface="TH SarabunPSK" pitchFamily="34" charset="-34"/>
                <a:cs typeface="TH SarabunPSK" pitchFamily="34" charset="-34"/>
              </a:rPr>
              <a:t>. </a:t>
            </a:r>
            <a:r>
              <a:rPr lang="th-TH" sz="1800" b="1" dirty="0">
                <a:latin typeface="TH SarabunPSK" pitchFamily="34" charset="-34"/>
                <a:cs typeface="TH SarabunPSK" pitchFamily="34" charset="-34"/>
              </a:rPr>
              <a:t>แผนพัฒนาพลังงานทดแทน  </a:t>
            </a:r>
            <a:r>
              <a:rPr lang="en-US" sz="1800" b="1" dirty="0">
                <a:latin typeface="TH SarabunPSK" pitchFamily="34" charset="-34"/>
                <a:cs typeface="TH SarabunPSK" pitchFamily="34" charset="-34"/>
              </a:rPr>
              <a:t>(Alternative Energy Development </a:t>
            </a:r>
            <a:r>
              <a:rPr lang="en-US" sz="1800" b="1" spc="-20" dirty="0">
                <a:latin typeface="TH SarabunPSK" pitchFamily="34" charset="-34"/>
                <a:cs typeface="TH SarabunPSK" pitchFamily="34" charset="-34"/>
              </a:rPr>
              <a:t>Plan: AEDP 2015</a:t>
            </a:r>
            <a:r>
              <a:rPr lang="en-US" sz="1800" b="1" spc="-20" dirty="0" smtClean="0">
                <a:latin typeface="TH SarabunPSK" pitchFamily="34" charset="-34"/>
                <a:cs typeface="TH SarabunPSK" pitchFamily="34" charset="-34"/>
              </a:rPr>
              <a:t>)</a:t>
            </a:r>
            <a:r>
              <a:rPr lang="en-US" sz="1800" b="1" dirty="0" smtClean="0">
                <a:latin typeface="TH SarabunPSK" pitchFamily="34" charset="-34"/>
                <a:cs typeface="TH SarabunPSK" pitchFamily="34" charset="-34"/>
              </a:rPr>
              <a:t>*: </a:t>
            </a:r>
            <a:endParaRPr lang="th-TH" sz="1800" b="1" dirty="0" smtClean="0">
              <a:latin typeface="TH SarabunPSK" pitchFamily="34" charset="-34"/>
              <a:cs typeface="TH SarabunPSK" pitchFamily="34" charset="-34"/>
            </a:endParaRPr>
          </a:p>
          <a:p>
            <a:pPr marL="287338" indent="-112713">
              <a:lnSpc>
                <a:spcPts val="1500"/>
              </a:lnSpc>
            </a:pPr>
            <a:r>
              <a:rPr lang="th-TH" sz="1600" dirty="0" smtClean="0">
                <a:latin typeface="TH SarabunPSK" pitchFamily="34" charset="-34"/>
                <a:cs typeface="TH SarabunPSK" pitchFamily="34" charset="-34"/>
              </a:rPr>
              <a:t>-</a:t>
            </a:r>
            <a:r>
              <a:rPr lang="en-US" sz="1600" dirty="0" smtClean="0">
                <a:latin typeface="TH SarabunPSK" pitchFamily="34" charset="-34"/>
                <a:cs typeface="TH SarabunPSK" pitchFamily="34" charset="-34"/>
              </a:rPr>
              <a:t>	</a:t>
            </a:r>
            <a:r>
              <a:rPr lang="th-TH" sz="1600" dirty="0" smtClean="0">
                <a:latin typeface="TH SarabunPSK" pitchFamily="34" charset="-34"/>
                <a:cs typeface="TH SarabunPSK" pitchFamily="34" charset="-34"/>
              </a:rPr>
              <a:t>เพิ่ม</a:t>
            </a:r>
            <a:r>
              <a:rPr lang="th-TH" sz="1600" dirty="0">
                <a:latin typeface="TH SarabunPSK" pitchFamily="34" charset="-34"/>
                <a:cs typeface="TH SarabunPSK" pitchFamily="34" charset="-34"/>
              </a:rPr>
              <a:t>สัดส่วนการใช้พลังงานทดแทนในปี 2579 </a:t>
            </a:r>
            <a:r>
              <a:rPr lang="th-TH" sz="1600" dirty="0" smtClean="0">
                <a:latin typeface="TH SarabunPSK" pitchFamily="34" charset="-34"/>
                <a:cs typeface="TH SarabunPSK" pitchFamily="34" charset="-34"/>
              </a:rPr>
              <a:t>เป็นร้อย</a:t>
            </a:r>
            <a:r>
              <a:rPr lang="th-TH" sz="1600" dirty="0">
                <a:latin typeface="TH SarabunPSK" pitchFamily="34" charset="-34"/>
                <a:cs typeface="TH SarabunPSK" pitchFamily="34" charset="-34"/>
              </a:rPr>
              <a:t>ละ 30 ของ</a:t>
            </a:r>
            <a:r>
              <a:rPr lang="th-TH" sz="1600" dirty="0" smtClean="0">
                <a:latin typeface="TH SarabunPSK" pitchFamily="34" charset="-34"/>
                <a:cs typeface="TH SarabunPSK" pitchFamily="34" charset="-34"/>
              </a:rPr>
              <a:t>การ</a:t>
            </a:r>
            <a:r>
              <a:rPr lang="en-US" sz="1600" dirty="0" smtClean="0">
                <a:latin typeface="TH SarabunPSK" pitchFamily="34" charset="-34"/>
                <a:cs typeface="TH SarabunPSK" pitchFamily="34" charset="-34"/>
              </a:rPr>
              <a:t/>
            </a:r>
            <a:br>
              <a:rPr lang="en-US" sz="1600" dirty="0" smtClean="0">
                <a:latin typeface="TH SarabunPSK" pitchFamily="34" charset="-34"/>
                <a:cs typeface="TH SarabunPSK" pitchFamily="34" charset="-34"/>
              </a:rPr>
            </a:br>
            <a:r>
              <a:rPr lang="th-TH" sz="1600" dirty="0" smtClean="0">
                <a:latin typeface="TH SarabunPSK" pitchFamily="34" charset="-34"/>
                <a:cs typeface="TH SarabunPSK" pitchFamily="34" charset="-34"/>
              </a:rPr>
              <a:t>ใช้พลังงาน</a:t>
            </a:r>
            <a:r>
              <a:rPr lang="th-TH" sz="1600" dirty="0">
                <a:latin typeface="TH SarabunPSK" pitchFamily="34" charset="-34"/>
                <a:cs typeface="TH SarabunPSK" pitchFamily="34" charset="-34"/>
              </a:rPr>
              <a:t>ขั้นสุดท้าย </a:t>
            </a:r>
            <a:r>
              <a:rPr lang="th-TH" sz="1600" dirty="0" smtClean="0">
                <a:latin typeface="TH SarabunPSK" pitchFamily="34" charset="-34"/>
                <a:cs typeface="TH SarabunPSK" pitchFamily="34" charset="-34"/>
              </a:rPr>
              <a:t>ผ่านมาตรการส่งเสริม</a:t>
            </a:r>
            <a:endParaRPr lang="en-US" sz="1600" dirty="0">
              <a:latin typeface="TH SarabunPSK" pitchFamily="34" charset="-34"/>
              <a:cs typeface="TH SarabunPSK" pitchFamily="34" charset="-34"/>
            </a:endParaRPr>
          </a:p>
        </p:txBody>
      </p:sp>
      <p:sp>
        <p:nvSpPr>
          <p:cNvPr id="19" name="RbNavigator"/>
          <p:cNvSpPr txBox="1"/>
          <p:nvPr/>
        </p:nvSpPr>
        <p:spPr>
          <a:xfrm>
            <a:off x="107504" y="92614"/>
            <a:ext cx="444744" cy="246888"/>
          </a:xfrm>
          <a:prstGeom prst="rect">
            <a:avLst/>
          </a:prstGeom>
          <a:solidFill>
            <a:srgbClr val="003F56"/>
          </a:solidFill>
          <a:ln w="9525">
            <a:noFill/>
          </a:ln>
        </p:spPr>
        <p:txBody>
          <a:bodyPr vert="horz" wrap="none" lIns="0" tIns="0" rIns="0" bIns="0" rtlCol="0" anchor="ctr">
            <a:noAutofit/>
          </a:bodyPr>
          <a:lstStyle/>
          <a:p>
            <a:pPr marL="0" marR="0" lvl="0" indent="0" algn="ctr" defTabSz="914400" eaLnBrk="1" fontAlgn="auto" latinLnBrk="0" hangingPunct="1">
              <a:lnSpc>
                <a:spcPct val="90000"/>
              </a:lnSpc>
              <a:spcBef>
                <a:spcPts val="400"/>
              </a:spcBef>
              <a:spcAft>
                <a:spcPts val="0"/>
              </a:spcAft>
              <a:buClr>
                <a:srgbClr val="000000"/>
              </a:buClr>
              <a:buSzPct val="100000"/>
              <a:buFontTx/>
              <a:buNone/>
              <a:tabLst/>
              <a:defRPr/>
            </a:pPr>
            <a:r>
              <a:rPr kumimoji="1" lang="en-US" b="1" i="0" u="none" strike="noStrike" kern="0" cap="none" spc="0" normalizeH="0" baseline="0" noProof="0" dirty="0" smtClean="0">
                <a:ln>
                  <a:noFill/>
                </a:ln>
                <a:solidFill>
                  <a:srgbClr val="FFFFFF"/>
                </a:solidFill>
                <a:effectLst/>
                <a:uLnTx/>
                <a:uFillTx/>
                <a:latin typeface="TH SarabunPSK" pitchFamily="34" charset="-34"/>
                <a:cs typeface="TH SarabunPSK" pitchFamily="34" charset="-34"/>
              </a:rPr>
              <a:t>7</a:t>
            </a:r>
          </a:p>
        </p:txBody>
      </p:sp>
      <p:sp>
        <p:nvSpPr>
          <p:cNvPr id="20" name="RbSticker"/>
          <p:cNvSpPr txBox="1"/>
          <p:nvPr/>
        </p:nvSpPr>
        <p:spPr>
          <a:xfrm>
            <a:off x="611560" y="1686"/>
            <a:ext cx="3888885" cy="430887"/>
          </a:xfrm>
          <a:prstGeom prst="rect">
            <a:avLst/>
          </a:prstGeom>
          <a:noFill/>
          <a:ln w="9525">
            <a:noFill/>
          </a:ln>
        </p:spPr>
        <p:txBody>
          <a:bodyPr vert="horz" wrap="none" lIns="0" tIns="0" rIns="0" bIns="0" rtlCol="0" anchor="ctr">
            <a:spAutoFit/>
          </a:bodyPr>
          <a:lstStyle/>
          <a:p>
            <a:r>
              <a:rPr lang="th-TH" b="1" dirty="0" smtClean="0">
                <a:solidFill>
                  <a:srgbClr val="000000"/>
                </a:solidFill>
                <a:latin typeface="TH SarabunPSK"/>
                <a:cs typeface="TH SarabunPSK"/>
              </a:rPr>
              <a:t>การลงทุนโครงสร้างพื้นฐานด้านพลังงาน</a:t>
            </a:r>
          </a:p>
        </p:txBody>
      </p:sp>
      <p:sp>
        <p:nvSpPr>
          <p:cNvPr id="21" name="TextBox 20"/>
          <p:cNvSpPr txBox="1"/>
          <p:nvPr/>
        </p:nvSpPr>
        <p:spPr>
          <a:xfrm>
            <a:off x="4716016" y="3075806"/>
            <a:ext cx="4362931" cy="861774"/>
          </a:xfrm>
          <a:prstGeom prst="rect">
            <a:avLst/>
          </a:prstGeom>
          <a:noFill/>
          <a:ln>
            <a:solidFill>
              <a:srgbClr val="0070C0"/>
            </a:solidFill>
          </a:ln>
        </p:spPr>
        <p:txBody>
          <a:bodyPr wrap="square" rtlCol="0">
            <a:spAutoFit/>
          </a:bodyPr>
          <a:lstStyle/>
          <a:p>
            <a:pPr marL="171450" indent="-171450" algn="thaiDist"/>
            <a:r>
              <a:rPr lang="th-TH" sz="1800" b="1" dirty="0" smtClean="0">
                <a:latin typeface="TH SarabunPSK" pitchFamily="34" charset="-34"/>
                <a:cs typeface="TH SarabunPSK" pitchFamily="34" charset="-34"/>
              </a:rPr>
              <a:t>5. แผน</a:t>
            </a:r>
            <a:r>
              <a:rPr lang="th-TH" sz="1800" b="1" dirty="0">
                <a:latin typeface="TH SarabunPSK" pitchFamily="34" charset="-34"/>
                <a:cs typeface="TH SarabunPSK" pitchFamily="34" charset="-34"/>
              </a:rPr>
              <a:t>บริหารจัดการน้ำมันเชื้อเพลิง (</a:t>
            </a:r>
            <a:r>
              <a:rPr lang="en-US" sz="1800" b="1" dirty="0">
                <a:latin typeface="TH SarabunPSK" pitchFamily="34" charset="-34"/>
                <a:cs typeface="TH SarabunPSK" pitchFamily="34" charset="-34"/>
              </a:rPr>
              <a:t>Oil Plan</a:t>
            </a:r>
            <a:r>
              <a:rPr lang="en-US" sz="1800" b="1" dirty="0" smtClean="0">
                <a:latin typeface="TH SarabunPSK" pitchFamily="34" charset="-34"/>
                <a:cs typeface="TH SarabunPSK" pitchFamily="34" charset="-34"/>
              </a:rPr>
              <a:t>)*: </a:t>
            </a:r>
            <a:r>
              <a:rPr lang="th-TH" sz="1600" dirty="0" smtClean="0">
                <a:latin typeface="TH SarabunPSK" pitchFamily="34" charset="-34"/>
                <a:cs typeface="TH SarabunPSK" pitchFamily="34" charset="-34"/>
              </a:rPr>
              <a:t>เพิ่มการลงทุนในระบบโครงสร้างพื้นฐานน้ำมันเชื้อเพลิง โดยมีแผนขยายท่อไปยังภาคเหนือและอีสาน รวม 3 เส้นทาง วงเงินลงทุน ประมาณ 64,768 ล้านบาท</a:t>
            </a:r>
            <a:endParaRPr lang="en-US" sz="1600" dirty="0">
              <a:latin typeface="TH SarabunPSK" pitchFamily="34" charset="-34"/>
              <a:cs typeface="TH SarabunPSK" pitchFamily="34" charset="-34"/>
            </a:endParaRPr>
          </a:p>
        </p:txBody>
      </p:sp>
      <p:sp>
        <p:nvSpPr>
          <p:cNvPr id="22" name="TextBox 21"/>
          <p:cNvSpPr txBox="1"/>
          <p:nvPr/>
        </p:nvSpPr>
        <p:spPr>
          <a:xfrm>
            <a:off x="4716017" y="4501903"/>
            <a:ext cx="4250546" cy="461665"/>
          </a:xfrm>
          <a:prstGeom prst="rect">
            <a:avLst/>
          </a:prstGeom>
          <a:noFill/>
        </p:spPr>
        <p:txBody>
          <a:bodyPr wrap="square" rtlCol="0">
            <a:spAutoFit/>
          </a:bodyPr>
          <a:lstStyle/>
          <a:p>
            <a:r>
              <a:rPr lang="en-US" sz="1200" dirty="0" smtClean="0">
                <a:latin typeface="TH SarabunPSK" pitchFamily="34" charset="-34"/>
                <a:cs typeface="TH SarabunPSK" pitchFamily="34" charset="-34"/>
              </a:rPr>
              <a:t>||||  </a:t>
            </a:r>
            <a:r>
              <a:rPr lang="th-TH" sz="1200" dirty="0" smtClean="0">
                <a:latin typeface="TH SarabunPSK" pitchFamily="34" charset="-34"/>
                <a:cs typeface="TH SarabunPSK" pitchFamily="34" charset="-34"/>
              </a:rPr>
              <a:t>ที่มา</a:t>
            </a:r>
            <a:r>
              <a:rPr lang="en-US" sz="1200" dirty="0" smtClean="0">
                <a:latin typeface="TH SarabunPSK" pitchFamily="34" charset="-34"/>
                <a:cs typeface="TH SarabunPSK" pitchFamily="34" charset="-34"/>
              </a:rPr>
              <a:t>: </a:t>
            </a:r>
            <a:r>
              <a:rPr lang="th-TH" sz="1200" dirty="0" smtClean="0">
                <a:latin typeface="TH SarabunPSK" pitchFamily="34" charset="-34"/>
                <a:cs typeface="TH SarabunPSK" pitchFamily="34" charset="-34"/>
              </a:rPr>
              <a:t>กระทรวงพลังงาน </a:t>
            </a:r>
            <a:r>
              <a:rPr lang="en-US" sz="1200" dirty="0" smtClean="0">
                <a:latin typeface="TH SarabunPSK" pitchFamily="34" charset="-34"/>
                <a:cs typeface="TH SarabunPSK" pitchFamily="34" charset="-34"/>
              </a:rPr>
              <a:t> ||||</a:t>
            </a:r>
            <a:r>
              <a:rPr lang="th-TH" sz="1200" dirty="0" smtClean="0">
                <a:latin typeface="TH SarabunPSK" pitchFamily="34" charset="-34"/>
                <a:cs typeface="TH SarabunPSK" pitchFamily="34" charset="-34"/>
              </a:rPr>
              <a:t>  หมายเหตุ</a:t>
            </a:r>
            <a:r>
              <a:rPr lang="en-US" sz="1200" dirty="0" smtClean="0">
                <a:latin typeface="TH SarabunPSK" pitchFamily="34" charset="-34"/>
                <a:cs typeface="TH SarabunPSK" pitchFamily="34" charset="-34"/>
              </a:rPr>
              <a:t>: </a:t>
            </a:r>
            <a:r>
              <a:rPr lang="th-TH" sz="1200" dirty="0" smtClean="0">
                <a:latin typeface="TH SarabunPSK" pitchFamily="34" charset="-34"/>
                <a:cs typeface="TH SarabunPSK" pitchFamily="34" charset="-34"/>
              </a:rPr>
              <a:t>*คาดว่าจะเสนอ กพช. ภายในเดือน ก.ย. 58  และ ** คาดว่าจะเสนอ กพช. ภายในปี 58</a:t>
            </a:r>
            <a:r>
              <a:rPr lang="en-US" sz="1200" dirty="0" smtClean="0">
                <a:latin typeface="TH SarabunPSK" pitchFamily="34" charset="-34"/>
                <a:cs typeface="TH SarabunPSK" pitchFamily="34" charset="-34"/>
              </a:rPr>
              <a:t>  ||||</a:t>
            </a:r>
            <a:endParaRPr lang="en-US" sz="1200" dirty="0">
              <a:latin typeface="TH SarabunPSK" pitchFamily="34" charset="-34"/>
              <a:cs typeface="TH SarabunPSK" pitchFamily="34" charset="-34"/>
            </a:endParaRPr>
          </a:p>
        </p:txBody>
      </p:sp>
      <p:pic>
        <p:nvPicPr>
          <p:cNvPr id="24" name="Picture 23"/>
          <p:cNvPicPr>
            <a:picLocks noChangeAspect="1"/>
          </p:cNvPicPr>
          <p:nvPr/>
        </p:nvPicPr>
        <p:blipFill>
          <a:blip r:embed="rId2"/>
          <a:stretch>
            <a:fillRect/>
          </a:stretch>
        </p:blipFill>
        <p:spPr>
          <a:xfrm>
            <a:off x="136727" y="3579862"/>
            <a:ext cx="4297798" cy="1512168"/>
          </a:xfrm>
          <a:prstGeom prst="rect">
            <a:avLst/>
          </a:prstGeom>
        </p:spPr>
      </p:pic>
      <p:pic>
        <p:nvPicPr>
          <p:cNvPr id="26" name="Picture 25"/>
          <p:cNvPicPr>
            <a:picLocks noChangeAspect="1"/>
          </p:cNvPicPr>
          <p:nvPr/>
        </p:nvPicPr>
        <p:blipFill>
          <a:blip r:embed="rId3"/>
          <a:stretch>
            <a:fillRect/>
          </a:stretch>
        </p:blipFill>
        <p:spPr>
          <a:xfrm>
            <a:off x="467544" y="1851670"/>
            <a:ext cx="1728418" cy="1100904"/>
          </a:xfrm>
          <a:prstGeom prst="rect">
            <a:avLst/>
          </a:prstGeom>
        </p:spPr>
      </p:pic>
      <p:pic>
        <p:nvPicPr>
          <p:cNvPr id="27" name="Picture 26"/>
          <p:cNvPicPr>
            <a:picLocks noChangeAspect="1"/>
          </p:cNvPicPr>
          <p:nvPr/>
        </p:nvPicPr>
        <p:blipFill>
          <a:blip r:embed="rId4"/>
          <a:stretch>
            <a:fillRect/>
          </a:stretch>
        </p:blipFill>
        <p:spPr>
          <a:xfrm>
            <a:off x="2348893" y="1633187"/>
            <a:ext cx="1714338" cy="1370611"/>
          </a:xfrm>
          <a:prstGeom prst="rect">
            <a:avLst/>
          </a:prstGeom>
        </p:spPr>
      </p:pic>
    </p:spTree>
    <p:extLst>
      <p:ext uri="{BB962C8B-B14F-4D97-AF65-F5344CB8AC3E}">
        <p14:creationId xmlns:p14="http://schemas.microsoft.com/office/powerpoint/2010/main" xmlns="" val="1585823835"/>
      </p:ext>
    </p:extLst>
  </p:cSld>
  <p:clrMapOvr>
    <a:masterClrMapping/>
  </p:clrMapOvr>
  <p:transition>
    <p:fade thruBlk="1"/>
  </p:transition>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a:xfrm>
            <a:off x="681231" y="363917"/>
            <a:ext cx="7879374" cy="560923"/>
          </a:xfrm>
        </p:spPr>
        <p:txBody>
          <a:bodyPr/>
          <a:lstStyle/>
          <a:p>
            <a:r>
              <a:rPr lang="th-TH" sz="3400" b="1" dirty="0">
                <a:latin typeface="TH SarabunPSK" pitchFamily="34" charset="-34"/>
                <a:cs typeface="TH SarabunPSK" pitchFamily="34" charset="-34"/>
              </a:rPr>
              <a:t>ประเด็นการบรรยาย </a:t>
            </a:r>
            <a:endParaRPr lang="en-US" sz="3400" b="1" dirty="0">
              <a:latin typeface="TH SarabunPSK" pitchFamily="34" charset="-34"/>
              <a:cs typeface="TH SarabunPSK" pitchFamily="34" charset="-34"/>
            </a:endParaRPr>
          </a:p>
        </p:txBody>
      </p:sp>
      <p:sp>
        <p:nvSpPr>
          <p:cNvPr id="8" name="Rectangle 7"/>
          <p:cNvSpPr/>
          <p:nvPr/>
        </p:nvSpPr>
        <p:spPr>
          <a:xfrm>
            <a:off x="619698" y="1582288"/>
            <a:ext cx="7861110" cy="542498"/>
          </a:xfrm>
          <a:prstGeom prst="rect">
            <a:avLst/>
          </a:prstGeom>
          <a:solidFill>
            <a:schemeClr val="accent4"/>
          </a:solidFill>
          <a:ln w="9525">
            <a:noFill/>
          </a:ln>
          <a:effectLst/>
        </p:spPr>
        <p:style>
          <a:lnRef idx="1">
            <a:schemeClr val="accent1"/>
          </a:lnRef>
          <a:fillRef idx="0">
            <a:schemeClr val="accent1"/>
          </a:fillRef>
          <a:effectRef idx="0">
            <a:schemeClr val="accent1"/>
          </a:effectRef>
          <a:fontRef idx="minor">
            <a:schemeClr val="tx1"/>
          </a:fontRef>
        </p:style>
        <p:txBody>
          <a:bodyPr lIns="61358" tIns="61358" rIns="61358" bIns="92038" rtlCol="0" anchor="t" anchorCtr="0">
            <a:noAutofit/>
          </a:bodyPr>
          <a:lstStyle/>
          <a:p>
            <a:pPr fontAlgn="base">
              <a:lnSpc>
                <a:spcPct val="90000"/>
              </a:lnSpc>
              <a:spcBef>
                <a:spcPts val="341"/>
              </a:spcBef>
              <a:spcAft>
                <a:spcPct val="0"/>
              </a:spcAft>
            </a:pPr>
            <a:endParaRPr lang="en-US" sz="1300" dirty="0">
              <a:solidFill>
                <a:srgbClr val="000000"/>
              </a:solidFill>
            </a:endParaRPr>
          </a:p>
        </p:txBody>
      </p:sp>
      <p:sp>
        <p:nvSpPr>
          <p:cNvPr id="9" name="Rectangle 8"/>
          <p:cNvSpPr/>
          <p:nvPr/>
        </p:nvSpPr>
        <p:spPr>
          <a:xfrm>
            <a:off x="619698" y="2304286"/>
            <a:ext cx="7861110" cy="542498"/>
          </a:xfrm>
          <a:prstGeom prst="rect">
            <a:avLst/>
          </a:prstGeom>
          <a:solidFill>
            <a:schemeClr val="accent4"/>
          </a:solidFill>
          <a:ln w="28575">
            <a:solidFill>
              <a:srgbClr val="0000FF"/>
            </a:solidFill>
          </a:ln>
          <a:effectLst/>
        </p:spPr>
        <p:style>
          <a:lnRef idx="1">
            <a:schemeClr val="accent1"/>
          </a:lnRef>
          <a:fillRef idx="0">
            <a:schemeClr val="accent1"/>
          </a:fillRef>
          <a:effectRef idx="0">
            <a:schemeClr val="accent1"/>
          </a:effectRef>
          <a:fontRef idx="minor">
            <a:schemeClr val="tx1"/>
          </a:fontRef>
        </p:style>
        <p:txBody>
          <a:bodyPr lIns="61358" tIns="61358" rIns="61358" bIns="92038" rtlCol="0" anchor="t" anchorCtr="0">
            <a:noAutofit/>
          </a:bodyPr>
          <a:lstStyle/>
          <a:p>
            <a:pPr fontAlgn="base">
              <a:lnSpc>
                <a:spcPct val="90000"/>
              </a:lnSpc>
              <a:spcBef>
                <a:spcPts val="341"/>
              </a:spcBef>
              <a:spcAft>
                <a:spcPct val="0"/>
              </a:spcAft>
            </a:pPr>
            <a:endParaRPr lang="en-US" sz="1300" dirty="0">
              <a:solidFill>
                <a:srgbClr val="000000"/>
              </a:solidFill>
            </a:endParaRPr>
          </a:p>
        </p:txBody>
      </p:sp>
      <p:sp>
        <p:nvSpPr>
          <p:cNvPr id="10" name="Rectangle 9"/>
          <p:cNvSpPr/>
          <p:nvPr/>
        </p:nvSpPr>
        <p:spPr>
          <a:xfrm>
            <a:off x="619698" y="3054034"/>
            <a:ext cx="7861110" cy="542498"/>
          </a:xfrm>
          <a:prstGeom prst="rect">
            <a:avLst/>
          </a:prstGeom>
          <a:solidFill>
            <a:schemeClr val="accent4"/>
          </a:solidFill>
          <a:ln w="9525">
            <a:noFill/>
          </a:ln>
          <a:effectLst/>
        </p:spPr>
        <p:style>
          <a:lnRef idx="1">
            <a:schemeClr val="accent1"/>
          </a:lnRef>
          <a:fillRef idx="0">
            <a:schemeClr val="accent1"/>
          </a:fillRef>
          <a:effectRef idx="0">
            <a:schemeClr val="accent1"/>
          </a:effectRef>
          <a:fontRef idx="minor">
            <a:schemeClr val="tx1"/>
          </a:fontRef>
        </p:style>
        <p:txBody>
          <a:bodyPr lIns="61358" tIns="61358" rIns="61358" bIns="92038" rtlCol="0" anchor="t" anchorCtr="0">
            <a:noAutofit/>
          </a:bodyPr>
          <a:lstStyle/>
          <a:p>
            <a:pPr fontAlgn="base">
              <a:lnSpc>
                <a:spcPct val="90000"/>
              </a:lnSpc>
              <a:spcBef>
                <a:spcPts val="341"/>
              </a:spcBef>
              <a:spcAft>
                <a:spcPct val="0"/>
              </a:spcAft>
            </a:pPr>
            <a:endParaRPr lang="en-US" sz="1300" dirty="0">
              <a:solidFill>
                <a:srgbClr val="000000"/>
              </a:solidFill>
            </a:endParaRPr>
          </a:p>
        </p:txBody>
      </p:sp>
      <p:sp>
        <p:nvSpPr>
          <p:cNvPr id="12" name="Textframe 12"/>
          <p:cNvSpPr txBox="1"/>
          <p:nvPr/>
        </p:nvSpPr>
        <p:spPr>
          <a:xfrm>
            <a:off x="1025978" y="2388564"/>
            <a:ext cx="7306801" cy="373949"/>
          </a:xfrm>
          <a:prstGeom prst="rect">
            <a:avLst/>
          </a:prstGeom>
          <a:noFill/>
          <a:ln w="9525">
            <a:noFill/>
          </a:ln>
        </p:spPr>
        <p:txBody>
          <a:bodyPr vert="horz" wrap="square" lIns="0" tIns="0" rIns="0" bIns="0" rtlCol="0">
            <a:spAutoFit/>
          </a:bodyPr>
          <a:lstStyle/>
          <a:p>
            <a:pPr fontAlgn="base">
              <a:lnSpc>
                <a:spcPct val="90000"/>
              </a:lnSpc>
              <a:spcBef>
                <a:spcPts val="341"/>
              </a:spcBef>
              <a:spcAft>
                <a:spcPct val="0"/>
              </a:spcAft>
              <a:buSzPct val="100000"/>
            </a:pPr>
            <a:r>
              <a:rPr lang="th-TH" sz="2700" b="1" dirty="0" smtClean="0">
                <a:solidFill>
                  <a:srgbClr val="003F56"/>
                </a:solidFill>
                <a:latin typeface="TH SarabunPSK" pitchFamily="34" charset="-34"/>
                <a:cs typeface="TH SarabunPSK" pitchFamily="34" charset="-34"/>
              </a:rPr>
              <a:t>การพัฒนาเขตเศรษฐกิจ</a:t>
            </a:r>
            <a:r>
              <a:rPr lang="th-TH" sz="2700" b="1" dirty="0">
                <a:solidFill>
                  <a:srgbClr val="003F56"/>
                </a:solidFill>
                <a:latin typeface="TH SarabunPSK" pitchFamily="34" charset="-34"/>
                <a:cs typeface="TH SarabunPSK" pitchFamily="34" charset="-34"/>
              </a:rPr>
              <a:t>พิเศษ</a:t>
            </a:r>
            <a:endParaRPr lang="en-US" sz="2700" b="1" dirty="0">
              <a:solidFill>
                <a:srgbClr val="003F56"/>
              </a:solidFill>
              <a:latin typeface="TH SarabunPSK" pitchFamily="34" charset="-34"/>
              <a:cs typeface="TH SarabunPSK" pitchFamily="34" charset="-34"/>
            </a:endParaRPr>
          </a:p>
        </p:txBody>
      </p:sp>
      <p:sp>
        <p:nvSpPr>
          <p:cNvPr id="13" name="RbNavigator"/>
          <p:cNvSpPr txBox="1"/>
          <p:nvPr/>
        </p:nvSpPr>
        <p:spPr>
          <a:xfrm>
            <a:off x="619702" y="1582288"/>
            <a:ext cx="341056" cy="542498"/>
          </a:xfrm>
          <a:prstGeom prst="rect">
            <a:avLst/>
          </a:prstGeom>
          <a:solidFill>
            <a:schemeClr val="accent3"/>
          </a:solidFill>
          <a:ln w="9525">
            <a:noFill/>
          </a:ln>
        </p:spPr>
        <p:txBody>
          <a:bodyPr vert="horz" wrap="none" lIns="0" tIns="0" rIns="0" bIns="0" rtlCol="0" anchor="ctr">
            <a:noAutofit/>
          </a:bodyPr>
          <a:lstStyle/>
          <a:p>
            <a:pPr algn="ctr" fontAlgn="base">
              <a:lnSpc>
                <a:spcPct val="90000"/>
              </a:lnSpc>
              <a:spcBef>
                <a:spcPts val="341"/>
              </a:spcBef>
              <a:spcAft>
                <a:spcPct val="0"/>
              </a:spcAft>
              <a:buClr>
                <a:srgbClr val="000000"/>
              </a:buClr>
              <a:buSzPct val="100000"/>
            </a:pPr>
            <a:r>
              <a:rPr kumimoji="1" lang="th-TH" sz="2100" b="1" dirty="0">
                <a:solidFill>
                  <a:srgbClr val="FFFFFF"/>
                </a:solidFill>
                <a:cs typeface="Arial Narrow" pitchFamily="34" charset="0"/>
              </a:rPr>
              <a:t>2</a:t>
            </a:r>
            <a:endParaRPr kumimoji="1" lang="en-US" sz="2100" b="1" dirty="0">
              <a:solidFill>
                <a:srgbClr val="FFFFFF"/>
              </a:solidFill>
              <a:cs typeface="Arial Narrow" pitchFamily="34" charset="0"/>
            </a:endParaRPr>
          </a:p>
        </p:txBody>
      </p:sp>
      <p:sp>
        <p:nvSpPr>
          <p:cNvPr id="15" name="RbNavigator"/>
          <p:cNvSpPr txBox="1"/>
          <p:nvPr/>
        </p:nvSpPr>
        <p:spPr>
          <a:xfrm>
            <a:off x="619702" y="2304286"/>
            <a:ext cx="341056" cy="542498"/>
          </a:xfrm>
          <a:prstGeom prst="rect">
            <a:avLst/>
          </a:prstGeom>
          <a:solidFill>
            <a:schemeClr val="accent3"/>
          </a:solidFill>
          <a:ln w="9525">
            <a:noFill/>
          </a:ln>
        </p:spPr>
        <p:txBody>
          <a:bodyPr vert="horz" wrap="none" lIns="0" tIns="0" rIns="0" bIns="0" rtlCol="0" anchor="ctr">
            <a:noAutofit/>
          </a:bodyPr>
          <a:lstStyle/>
          <a:p>
            <a:pPr algn="ctr" fontAlgn="base">
              <a:lnSpc>
                <a:spcPct val="90000"/>
              </a:lnSpc>
              <a:spcBef>
                <a:spcPts val="341"/>
              </a:spcBef>
              <a:spcAft>
                <a:spcPct val="0"/>
              </a:spcAft>
              <a:buClr>
                <a:srgbClr val="000000"/>
              </a:buClr>
              <a:buSzPct val="100000"/>
            </a:pPr>
            <a:r>
              <a:rPr kumimoji="1" lang="th-TH" sz="2100" b="1" dirty="0">
                <a:solidFill>
                  <a:srgbClr val="FFFFFF"/>
                </a:solidFill>
                <a:cs typeface="Arial Narrow" pitchFamily="34" charset="0"/>
              </a:rPr>
              <a:t>3</a:t>
            </a:r>
            <a:endParaRPr kumimoji="1" lang="en-US" sz="2100" b="1" dirty="0">
              <a:solidFill>
                <a:srgbClr val="FFFFFF"/>
              </a:solidFill>
              <a:cs typeface="Arial Narrow" pitchFamily="34" charset="0"/>
            </a:endParaRPr>
          </a:p>
        </p:txBody>
      </p:sp>
      <p:sp>
        <p:nvSpPr>
          <p:cNvPr id="16" name="Textframe 12"/>
          <p:cNvSpPr txBox="1"/>
          <p:nvPr/>
        </p:nvSpPr>
        <p:spPr>
          <a:xfrm>
            <a:off x="1043608" y="3167901"/>
            <a:ext cx="7306801" cy="373949"/>
          </a:xfrm>
          <a:prstGeom prst="rect">
            <a:avLst/>
          </a:prstGeom>
          <a:noFill/>
          <a:ln w="9525">
            <a:noFill/>
          </a:ln>
        </p:spPr>
        <p:txBody>
          <a:bodyPr vert="horz" wrap="square" lIns="0" tIns="0" rIns="0" bIns="0" rtlCol="0">
            <a:spAutoFit/>
          </a:bodyPr>
          <a:lstStyle/>
          <a:p>
            <a:pPr fontAlgn="base">
              <a:lnSpc>
                <a:spcPct val="90000"/>
              </a:lnSpc>
              <a:spcBef>
                <a:spcPts val="341"/>
              </a:spcBef>
              <a:spcAft>
                <a:spcPct val="0"/>
              </a:spcAft>
              <a:buSzPct val="100000"/>
            </a:pPr>
            <a:r>
              <a:rPr lang="th-TH" sz="2700" b="1" dirty="0">
                <a:solidFill>
                  <a:srgbClr val="003F56"/>
                </a:solidFill>
                <a:latin typeface="TH SarabunPSK" pitchFamily="34" charset="-34"/>
                <a:cs typeface="TH SarabunPSK" pitchFamily="34" charset="-34"/>
              </a:rPr>
              <a:t>การเชื่อมโยงประเทศในภูมิภาค</a:t>
            </a:r>
            <a:endParaRPr lang="en-US" sz="2700" b="1" dirty="0">
              <a:solidFill>
                <a:srgbClr val="003F56"/>
              </a:solidFill>
              <a:latin typeface="TH SarabunPSK" pitchFamily="34" charset="-34"/>
              <a:cs typeface="TH SarabunPSK" pitchFamily="34" charset="-34"/>
            </a:endParaRPr>
          </a:p>
        </p:txBody>
      </p:sp>
      <p:sp>
        <p:nvSpPr>
          <p:cNvPr id="17" name="RbNavigator"/>
          <p:cNvSpPr txBox="1"/>
          <p:nvPr/>
        </p:nvSpPr>
        <p:spPr>
          <a:xfrm>
            <a:off x="619702" y="3054034"/>
            <a:ext cx="341056" cy="542498"/>
          </a:xfrm>
          <a:prstGeom prst="rect">
            <a:avLst/>
          </a:prstGeom>
          <a:solidFill>
            <a:schemeClr val="accent3"/>
          </a:solidFill>
          <a:ln w="9525">
            <a:noFill/>
          </a:ln>
        </p:spPr>
        <p:txBody>
          <a:bodyPr vert="horz" wrap="none" lIns="0" tIns="0" rIns="0" bIns="0" rtlCol="0" anchor="ctr">
            <a:noAutofit/>
          </a:bodyPr>
          <a:lstStyle/>
          <a:p>
            <a:pPr algn="ctr" fontAlgn="base">
              <a:lnSpc>
                <a:spcPct val="90000"/>
              </a:lnSpc>
              <a:spcBef>
                <a:spcPts val="341"/>
              </a:spcBef>
              <a:spcAft>
                <a:spcPct val="0"/>
              </a:spcAft>
              <a:buClr>
                <a:srgbClr val="000000"/>
              </a:buClr>
              <a:buSzPct val="100000"/>
            </a:pPr>
            <a:r>
              <a:rPr kumimoji="1" lang="th-TH" sz="2100" b="1" dirty="0">
                <a:solidFill>
                  <a:srgbClr val="FFFFFF"/>
                </a:solidFill>
                <a:cs typeface="Arial Narrow" pitchFamily="34" charset="0"/>
              </a:rPr>
              <a:t>4</a:t>
            </a:r>
            <a:endParaRPr kumimoji="1" lang="en-US" sz="2100" b="1" dirty="0">
              <a:solidFill>
                <a:srgbClr val="FFFFFF"/>
              </a:solidFill>
              <a:cs typeface="Arial Narrow" pitchFamily="34" charset="0"/>
            </a:endParaRPr>
          </a:p>
        </p:txBody>
      </p:sp>
      <p:sp>
        <p:nvSpPr>
          <p:cNvPr id="18" name="Rectangle 17"/>
          <p:cNvSpPr/>
          <p:nvPr/>
        </p:nvSpPr>
        <p:spPr>
          <a:xfrm>
            <a:off x="619697" y="3779992"/>
            <a:ext cx="7861110" cy="542498"/>
          </a:xfrm>
          <a:prstGeom prst="rect">
            <a:avLst/>
          </a:prstGeom>
          <a:solidFill>
            <a:schemeClr val="accent4"/>
          </a:solidFill>
          <a:ln w="9525">
            <a:noFill/>
          </a:ln>
          <a:effectLst/>
        </p:spPr>
        <p:style>
          <a:lnRef idx="1">
            <a:schemeClr val="accent1"/>
          </a:lnRef>
          <a:fillRef idx="0">
            <a:schemeClr val="accent1"/>
          </a:fillRef>
          <a:effectRef idx="0">
            <a:schemeClr val="accent1"/>
          </a:effectRef>
          <a:fontRef idx="minor">
            <a:schemeClr val="tx1"/>
          </a:fontRef>
        </p:style>
        <p:txBody>
          <a:bodyPr lIns="61358" tIns="61358" rIns="61358" bIns="92038" rtlCol="0" anchor="t" anchorCtr="0">
            <a:noAutofit/>
          </a:bodyPr>
          <a:lstStyle/>
          <a:p>
            <a:pPr fontAlgn="base">
              <a:lnSpc>
                <a:spcPct val="90000"/>
              </a:lnSpc>
              <a:spcBef>
                <a:spcPts val="341"/>
              </a:spcBef>
              <a:spcAft>
                <a:spcPct val="0"/>
              </a:spcAft>
            </a:pPr>
            <a:endParaRPr lang="en-US" sz="1300" dirty="0">
              <a:solidFill>
                <a:srgbClr val="000000"/>
              </a:solidFill>
            </a:endParaRPr>
          </a:p>
        </p:txBody>
      </p:sp>
      <p:sp>
        <p:nvSpPr>
          <p:cNvPr id="19" name="Textframe 12"/>
          <p:cNvSpPr txBox="1"/>
          <p:nvPr/>
        </p:nvSpPr>
        <p:spPr>
          <a:xfrm>
            <a:off x="1025978" y="1666567"/>
            <a:ext cx="7306801" cy="373949"/>
          </a:xfrm>
          <a:prstGeom prst="rect">
            <a:avLst/>
          </a:prstGeom>
          <a:noFill/>
          <a:ln w="9525">
            <a:noFill/>
          </a:ln>
        </p:spPr>
        <p:txBody>
          <a:bodyPr vert="horz" wrap="square" lIns="0" tIns="0" rIns="0" bIns="0" rtlCol="0">
            <a:spAutoFit/>
          </a:bodyPr>
          <a:lstStyle/>
          <a:p>
            <a:pPr fontAlgn="base">
              <a:lnSpc>
                <a:spcPct val="90000"/>
              </a:lnSpc>
              <a:spcBef>
                <a:spcPts val="341"/>
              </a:spcBef>
              <a:spcAft>
                <a:spcPct val="0"/>
              </a:spcAft>
              <a:buSzPct val="100000"/>
            </a:pPr>
            <a:r>
              <a:rPr lang="th-TH" sz="2700" b="1" dirty="0">
                <a:solidFill>
                  <a:srgbClr val="003F56"/>
                </a:solidFill>
                <a:latin typeface="TH SarabunPSK" pitchFamily="34" charset="-34"/>
                <a:cs typeface="TH SarabunPSK" pitchFamily="34" charset="-34"/>
              </a:rPr>
              <a:t>การ</a:t>
            </a:r>
            <a:r>
              <a:rPr lang="th-TH" sz="2700" b="1" dirty="0" smtClean="0">
                <a:solidFill>
                  <a:srgbClr val="003F56"/>
                </a:solidFill>
                <a:latin typeface="TH SarabunPSK" pitchFamily="34" charset="-34"/>
                <a:cs typeface="TH SarabunPSK" pitchFamily="34" charset="-34"/>
              </a:rPr>
              <a:t>พัฒนาระบบโลจิ</a:t>
            </a:r>
            <a:r>
              <a:rPr lang="th-TH" sz="2700" b="1" dirty="0">
                <a:solidFill>
                  <a:srgbClr val="003F56"/>
                </a:solidFill>
                <a:latin typeface="TH SarabunPSK" pitchFamily="34" charset="-34"/>
                <a:cs typeface="TH SarabunPSK" pitchFamily="34" charset="-34"/>
              </a:rPr>
              <a:t>สติกส์และโครงสร้างพื้นฐาน</a:t>
            </a:r>
            <a:endParaRPr lang="en-US" sz="2700" b="1" dirty="0">
              <a:solidFill>
                <a:srgbClr val="003F56"/>
              </a:solidFill>
              <a:latin typeface="TH SarabunPSK" pitchFamily="34" charset="-34"/>
              <a:cs typeface="TH SarabunPSK" pitchFamily="34" charset="-34"/>
            </a:endParaRPr>
          </a:p>
        </p:txBody>
      </p:sp>
      <p:sp>
        <p:nvSpPr>
          <p:cNvPr id="20" name="RbNavigator"/>
          <p:cNvSpPr txBox="1"/>
          <p:nvPr/>
        </p:nvSpPr>
        <p:spPr>
          <a:xfrm>
            <a:off x="619701" y="3779992"/>
            <a:ext cx="341056" cy="542498"/>
          </a:xfrm>
          <a:prstGeom prst="rect">
            <a:avLst/>
          </a:prstGeom>
          <a:solidFill>
            <a:schemeClr val="accent3"/>
          </a:solidFill>
          <a:ln w="9525">
            <a:noFill/>
          </a:ln>
        </p:spPr>
        <p:txBody>
          <a:bodyPr vert="horz" wrap="none" lIns="0" tIns="0" rIns="0" bIns="0" rtlCol="0" anchor="ctr">
            <a:noAutofit/>
          </a:bodyPr>
          <a:lstStyle/>
          <a:p>
            <a:pPr algn="ctr" fontAlgn="base">
              <a:lnSpc>
                <a:spcPct val="90000"/>
              </a:lnSpc>
              <a:spcBef>
                <a:spcPts val="341"/>
              </a:spcBef>
              <a:spcAft>
                <a:spcPct val="0"/>
              </a:spcAft>
              <a:buClr>
                <a:srgbClr val="000000"/>
              </a:buClr>
              <a:buSzPct val="100000"/>
            </a:pPr>
            <a:r>
              <a:rPr kumimoji="1" lang="th-TH" sz="2100" b="1" dirty="0">
                <a:solidFill>
                  <a:srgbClr val="FFFFFF"/>
                </a:solidFill>
                <a:cs typeface="Arial Narrow" pitchFamily="34" charset="0"/>
              </a:rPr>
              <a:t>5</a:t>
            </a:r>
            <a:endParaRPr kumimoji="1" lang="en-US" sz="2100" b="1" dirty="0">
              <a:solidFill>
                <a:srgbClr val="FFFFFF"/>
              </a:solidFill>
              <a:cs typeface="Arial Narrow" pitchFamily="34" charset="0"/>
            </a:endParaRPr>
          </a:p>
        </p:txBody>
      </p:sp>
      <p:sp>
        <p:nvSpPr>
          <p:cNvPr id="24" name="Rectangle 23"/>
          <p:cNvSpPr/>
          <p:nvPr/>
        </p:nvSpPr>
        <p:spPr>
          <a:xfrm>
            <a:off x="619702" y="904858"/>
            <a:ext cx="7861110" cy="542498"/>
          </a:xfrm>
          <a:prstGeom prst="rect">
            <a:avLst/>
          </a:prstGeom>
          <a:solidFill>
            <a:schemeClr val="accent4"/>
          </a:solidFill>
          <a:ln w="9525">
            <a:noFill/>
          </a:ln>
          <a:effectLst/>
        </p:spPr>
        <p:style>
          <a:lnRef idx="1">
            <a:schemeClr val="accent1"/>
          </a:lnRef>
          <a:fillRef idx="0">
            <a:schemeClr val="accent1"/>
          </a:fillRef>
          <a:effectRef idx="0">
            <a:schemeClr val="accent1"/>
          </a:effectRef>
          <a:fontRef idx="minor">
            <a:schemeClr val="tx1"/>
          </a:fontRef>
        </p:style>
        <p:txBody>
          <a:bodyPr lIns="61358" tIns="61358" rIns="61358" bIns="92038" rtlCol="0" anchor="t" anchorCtr="0">
            <a:noAutofit/>
          </a:bodyPr>
          <a:lstStyle/>
          <a:p>
            <a:pPr fontAlgn="base">
              <a:lnSpc>
                <a:spcPct val="90000"/>
              </a:lnSpc>
              <a:spcBef>
                <a:spcPts val="341"/>
              </a:spcBef>
              <a:spcAft>
                <a:spcPct val="0"/>
              </a:spcAft>
            </a:pPr>
            <a:endParaRPr lang="en-US" sz="1300" dirty="0">
              <a:solidFill>
                <a:srgbClr val="000000"/>
              </a:solidFill>
            </a:endParaRPr>
          </a:p>
        </p:txBody>
      </p:sp>
      <p:sp>
        <p:nvSpPr>
          <p:cNvPr id="25" name="RbNavigator"/>
          <p:cNvSpPr txBox="1"/>
          <p:nvPr/>
        </p:nvSpPr>
        <p:spPr>
          <a:xfrm>
            <a:off x="619705" y="904858"/>
            <a:ext cx="341056" cy="542498"/>
          </a:xfrm>
          <a:prstGeom prst="rect">
            <a:avLst/>
          </a:prstGeom>
          <a:solidFill>
            <a:schemeClr val="accent3"/>
          </a:solidFill>
          <a:ln w="9525">
            <a:noFill/>
          </a:ln>
        </p:spPr>
        <p:txBody>
          <a:bodyPr vert="horz" wrap="none" lIns="0" tIns="0" rIns="0" bIns="0" rtlCol="0" anchor="ctr">
            <a:noAutofit/>
          </a:bodyPr>
          <a:lstStyle/>
          <a:p>
            <a:pPr algn="ctr" fontAlgn="base">
              <a:lnSpc>
                <a:spcPct val="90000"/>
              </a:lnSpc>
              <a:spcBef>
                <a:spcPts val="341"/>
              </a:spcBef>
              <a:spcAft>
                <a:spcPct val="0"/>
              </a:spcAft>
              <a:buClr>
                <a:srgbClr val="000000"/>
              </a:buClr>
              <a:buSzPct val="100000"/>
            </a:pPr>
            <a:r>
              <a:rPr kumimoji="1" lang="th-TH" sz="2100" b="1" dirty="0">
                <a:solidFill>
                  <a:srgbClr val="FFFFFF"/>
                </a:solidFill>
                <a:cs typeface="Arial Narrow" pitchFamily="34" charset="0"/>
              </a:rPr>
              <a:t>1</a:t>
            </a:r>
            <a:endParaRPr kumimoji="1" lang="en-US" sz="2100" b="1" dirty="0">
              <a:solidFill>
                <a:srgbClr val="FFFFFF"/>
              </a:solidFill>
              <a:cs typeface="Arial Narrow" pitchFamily="34" charset="0"/>
            </a:endParaRPr>
          </a:p>
        </p:txBody>
      </p:sp>
      <p:sp>
        <p:nvSpPr>
          <p:cNvPr id="26" name="Textframe 12"/>
          <p:cNvSpPr txBox="1"/>
          <p:nvPr/>
        </p:nvSpPr>
        <p:spPr>
          <a:xfrm>
            <a:off x="1078010" y="1009502"/>
            <a:ext cx="7306801" cy="373949"/>
          </a:xfrm>
          <a:prstGeom prst="rect">
            <a:avLst/>
          </a:prstGeom>
          <a:noFill/>
          <a:ln w="9525">
            <a:noFill/>
          </a:ln>
        </p:spPr>
        <p:txBody>
          <a:bodyPr vert="horz" wrap="square" lIns="0" tIns="0" rIns="0" bIns="0" rtlCol="0">
            <a:spAutoFit/>
          </a:bodyPr>
          <a:lstStyle/>
          <a:p>
            <a:pPr fontAlgn="base">
              <a:lnSpc>
                <a:spcPct val="90000"/>
              </a:lnSpc>
              <a:spcBef>
                <a:spcPts val="341"/>
              </a:spcBef>
              <a:spcAft>
                <a:spcPct val="0"/>
              </a:spcAft>
              <a:buSzPct val="100000"/>
            </a:pPr>
            <a:r>
              <a:rPr lang="th-TH" sz="2700" b="1" dirty="0">
                <a:solidFill>
                  <a:srgbClr val="003F56"/>
                </a:solidFill>
                <a:latin typeface="TH SarabunPSK" pitchFamily="34" charset="-34"/>
                <a:cs typeface="TH SarabunPSK" pitchFamily="34" charset="-34"/>
              </a:rPr>
              <a:t>ทิศทางและเป้าหมายการพัฒนาประเทศ </a:t>
            </a:r>
            <a:endParaRPr lang="en-US" sz="2700" b="1" dirty="0">
              <a:solidFill>
                <a:srgbClr val="003F56"/>
              </a:solidFill>
              <a:latin typeface="TH SarabunPSK" pitchFamily="34" charset="-34"/>
              <a:cs typeface="TH SarabunPSK" pitchFamily="34" charset="-34"/>
            </a:endParaRPr>
          </a:p>
        </p:txBody>
      </p:sp>
      <p:sp>
        <p:nvSpPr>
          <p:cNvPr id="22" name="Textframe 12"/>
          <p:cNvSpPr txBox="1"/>
          <p:nvPr/>
        </p:nvSpPr>
        <p:spPr>
          <a:xfrm>
            <a:off x="1042952" y="3864269"/>
            <a:ext cx="7306801" cy="373949"/>
          </a:xfrm>
          <a:prstGeom prst="rect">
            <a:avLst/>
          </a:prstGeom>
          <a:noFill/>
          <a:ln w="9525">
            <a:noFill/>
          </a:ln>
        </p:spPr>
        <p:txBody>
          <a:bodyPr vert="horz" wrap="square" lIns="0" tIns="0" rIns="0" bIns="0" rtlCol="0">
            <a:spAutoFit/>
          </a:bodyPr>
          <a:lstStyle/>
          <a:p>
            <a:pPr fontAlgn="base">
              <a:lnSpc>
                <a:spcPct val="90000"/>
              </a:lnSpc>
              <a:spcBef>
                <a:spcPts val="341"/>
              </a:spcBef>
              <a:spcAft>
                <a:spcPct val="0"/>
              </a:spcAft>
              <a:buSzPct val="100000"/>
            </a:pPr>
            <a:r>
              <a:rPr lang="th-TH" sz="2700" b="1" dirty="0">
                <a:solidFill>
                  <a:srgbClr val="003F56"/>
                </a:solidFill>
                <a:latin typeface="TH SarabunPSK" pitchFamily="34" charset="-34"/>
                <a:cs typeface="TH SarabunPSK" pitchFamily="34" charset="-34"/>
              </a:rPr>
              <a:t>กา</a:t>
            </a:r>
            <a:r>
              <a:rPr lang="th-TH" sz="2700" b="1" dirty="0" smtClean="0">
                <a:solidFill>
                  <a:srgbClr val="003F56"/>
                </a:solidFill>
                <a:latin typeface="TH SarabunPSK" pitchFamily="34" charset="-34"/>
                <a:cs typeface="TH SarabunPSK" pitchFamily="34" charset="-34"/>
              </a:rPr>
              <a:t>รสนับสนุนการพัฒนาเขตเศรษฐกิจพิเศษทวาย</a:t>
            </a:r>
            <a:endParaRPr lang="en-US" sz="2700" b="1" dirty="0">
              <a:solidFill>
                <a:srgbClr val="003F56"/>
              </a:solidFill>
              <a:latin typeface="TH SarabunPSK" pitchFamily="34" charset="-34"/>
              <a:cs typeface="TH SarabunPSK" pitchFamily="34" charset="-34"/>
            </a:endParaRPr>
          </a:p>
        </p:txBody>
      </p:sp>
    </p:spTree>
    <p:extLst>
      <p:ext uri="{BB962C8B-B14F-4D97-AF65-F5344CB8AC3E}">
        <p14:creationId xmlns:p14="http://schemas.microsoft.com/office/powerpoint/2010/main" xmlns="" val="3528842615"/>
      </p:ext>
    </p:extLst>
  </p:cSld>
  <p:clrMapOvr>
    <a:masterClrMapping/>
  </p:clrMapOvr>
  <p:transition spd="med">
    <p:fade thruBlk="1"/>
  </p:transition>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txBox="1">
            <a:spLocks/>
          </p:cNvSpPr>
          <p:nvPr/>
        </p:nvSpPr>
        <p:spPr>
          <a:xfrm>
            <a:off x="827585" y="123479"/>
            <a:ext cx="7344816" cy="477940"/>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defRPr lang="en-US" sz="2700" b="0" kern="1200" baseline="0">
                <a:solidFill>
                  <a:schemeClr val="tx1"/>
                </a:solidFill>
                <a:latin typeface="+mj-lt"/>
                <a:ea typeface="+mj-ea"/>
                <a:cs typeface="+mj-cs"/>
                <a:sym typeface="+mn-lt"/>
              </a:defRPr>
            </a:lvl1pPr>
          </a:lstStyle>
          <a:p>
            <a:r>
              <a:rPr lang="th-TH" b="1" dirty="0" smtClean="0">
                <a:latin typeface="TH SarabunPSK" pitchFamily="34" charset="-34"/>
                <a:cs typeface="TH SarabunPSK" pitchFamily="34" charset="-34"/>
              </a:rPr>
              <a:t>รัฐบาลมีนโยบายพัฒนาเขตเศรษฐกิจพิเศษ 2 รูปแบบ ได้แก่  </a:t>
            </a:r>
            <a:br>
              <a:rPr lang="th-TH" b="1" dirty="0" smtClean="0">
                <a:latin typeface="TH SarabunPSK" pitchFamily="34" charset="-34"/>
                <a:cs typeface="TH SarabunPSK" pitchFamily="34" charset="-34"/>
              </a:rPr>
            </a:br>
            <a:r>
              <a:rPr lang="th-TH" b="1" dirty="0" smtClean="0">
                <a:latin typeface="TH SarabunPSK" pitchFamily="34" charset="-34"/>
                <a:cs typeface="TH SarabunPSK" pitchFamily="34" charset="-34"/>
              </a:rPr>
              <a:t>เขตพัฒนาเศรษฐกิจพิเศษชายแดน และเขตเศรษฐกิจพิเศษในรูปแบบคลัสเตอร์</a:t>
            </a:r>
            <a:endParaRPr lang="en-US" b="1" dirty="0">
              <a:latin typeface="TH SarabunPSK" pitchFamily="34" charset="-34"/>
              <a:cs typeface="TH SarabunPSK" pitchFamily="34" charset="-34"/>
            </a:endParaRPr>
          </a:p>
        </p:txBody>
      </p:sp>
      <p:sp>
        <p:nvSpPr>
          <p:cNvPr id="37" name="Rectangle 36"/>
          <p:cNvSpPr/>
          <p:nvPr/>
        </p:nvSpPr>
        <p:spPr>
          <a:xfrm>
            <a:off x="2555783" y="3795886"/>
            <a:ext cx="1944780" cy="1054135"/>
          </a:xfrm>
          <a:prstGeom prst="rect">
            <a:avLst/>
          </a:prstGeom>
        </p:spPr>
        <p:txBody>
          <a:bodyPr wrap="square">
            <a:spAutoFit/>
          </a:bodyPr>
          <a:lstStyle/>
          <a:p>
            <a:pPr marL="155580" indent="-155580">
              <a:lnSpc>
                <a:spcPts val="1534"/>
              </a:lnSpc>
              <a:buFont typeface="Arial" pitchFamily="34" charset="0"/>
              <a:buChar char="•"/>
            </a:pPr>
            <a:r>
              <a:rPr lang="th-TH" sz="1600" b="1" dirty="0" smtClean="0">
                <a:solidFill>
                  <a:prstClr val="black"/>
                </a:solidFill>
                <a:latin typeface="TH SarabunPSK" pitchFamily="34" charset="-34"/>
                <a:cs typeface="TH SarabunPSK" pitchFamily="34" charset="-34"/>
              </a:rPr>
              <a:t>เน้นธุรกิจที่ใช้แรงงานจำนวนมาก ใช้วัตถุดิบจากท้องถิ่นบริเวณชายแดนหรือประเทศเพื่อนบ้าน และธุรกิจด้านโลจิสติกส์ </a:t>
            </a:r>
            <a:endParaRPr lang="th-TH" sz="1600" b="1" dirty="0">
              <a:solidFill>
                <a:prstClr val="black"/>
              </a:solidFill>
              <a:latin typeface="TH SarabunPSK" pitchFamily="34" charset="-34"/>
              <a:cs typeface="TH SarabunPSK" pitchFamily="34" charset="-34"/>
            </a:endParaRPr>
          </a:p>
        </p:txBody>
      </p:sp>
      <p:sp>
        <p:nvSpPr>
          <p:cNvPr id="3" name="AutoShape 8" descr="ผลการค้นหารูปภาพสำหรับ industry cluster picture"/>
          <p:cNvSpPr>
            <a:spLocks noChangeAspect="1" noChangeArrowheads="1"/>
          </p:cNvSpPr>
          <p:nvPr/>
        </p:nvSpPr>
        <p:spPr bwMode="auto">
          <a:xfrm>
            <a:off x="0" y="-136525"/>
            <a:ext cx="298450" cy="298450"/>
          </a:xfrm>
          <a:prstGeom prst="rect">
            <a:avLst/>
          </a:prstGeom>
          <a:noFill/>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grpSp>
        <p:nvGrpSpPr>
          <p:cNvPr id="11" name="Group 10"/>
          <p:cNvGrpSpPr/>
          <p:nvPr/>
        </p:nvGrpSpPr>
        <p:grpSpPr>
          <a:xfrm>
            <a:off x="254054" y="1147561"/>
            <a:ext cx="3813890" cy="3685955"/>
            <a:chOff x="254054" y="1147559"/>
            <a:chExt cx="3813890" cy="3685955"/>
          </a:xfrm>
        </p:grpSpPr>
        <p:pic>
          <p:nvPicPr>
            <p:cNvPr id="26" name="Picture 25"/>
            <p:cNvPicPr>
              <a:picLocks noChangeAspect="1" noChangeArrowheads="1"/>
            </p:cNvPicPr>
            <p:nvPr/>
          </p:nvPicPr>
          <p:blipFill>
            <a:blip r:embed="rId2" cstate="print">
              <a:extLst>
                <a:ext uri="{28A0092B-C50C-407E-A947-70E740481C1C}">
                  <a14:useLocalDpi xmlns:a14="http://schemas.microsoft.com/office/drawing/2010/main" xmlns="" val="0"/>
                </a:ext>
              </a:extLst>
            </a:blip>
            <a:srcRect l="3147" t="3274" r="7159" b="1768"/>
            <a:stretch>
              <a:fillRect/>
            </a:stretch>
          </p:blipFill>
          <p:spPr bwMode="auto">
            <a:xfrm>
              <a:off x="254054" y="1347613"/>
              <a:ext cx="2109423" cy="2399853"/>
            </a:xfrm>
            <a:prstGeom prst="rect">
              <a:avLst/>
            </a:prstGeom>
            <a:ln>
              <a:noFill/>
            </a:ln>
            <a:effectLst>
              <a:softEdge rad="112500"/>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34" name="TextBox 33"/>
            <p:cNvSpPr txBox="1"/>
            <p:nvPr/>
          </p:nvSpPr>
          <p:spPr>
            <a:xfrm>
              <a:off x="1565938" y="1147559"/>
              <a:ext cx="1595077" cy="400110"/>
            </a:xfrm>
            <a:prstGeom prst="rect">
              <a:avLst/>
            </a:prstGeom>
            <a:solidFill>
              <a:srgbClr val="EA8B00"/>
            </a:solidFill>
          </p:spPr>
          <p:txBody>
            <a:bodyPr wrap="square" rtlCol="0" anchor="ctr">
              <a:spAutoFit/>
            </a:bodyPr>
            <a:lstStyle/>
            <a:p>
              <a:pPr algn="ctr"/>
              <a:r>
                <a:rPr lang="en-US" sz="2000" dirty="0">
                  <a:solidFill>
                    <a:prstClr val="white"/>
                  </a:solidFill>
                  <a:cs typeface="TH SarabunPSK" pitchFamily="34" charset="-34"/>
                </a:rPr>
                <a:t>Border SEZs</a:t>
              </a:r>
              <a:endParaRPr lang="th-TH" sz="2000" dirty="0">
                <a:solidFill>
                  <a:prstClr val="white"/>
                </a:solidFill>
                <a:cs typeface="TH SarabunPSK" pitchFamily="34" charset="-34"/>
              </a:endParaRPr>
            </a:p>
          </p:txBody>
        </p:sp>
        <p:sp>
          <p:nvSpPr>
            <p:cNvPr id="36" name="TextBox 35"/>
            <p:cNvSpPr txBox="1"/>
            <p:nvPr/>
          </p:nvSpPr>
          <p:spPr>
            <a:xfrm>
              <a:off x="254054" y="3779379"/>
              <a:ext cx="2493585" cy="1054135"/>
            </a:xfrm>
            <a:prstGeom prst="rect">
              <a:avLst/>
            </a:prstGeom>
            <a:noFill/>
          </p:spPr>
          <p:txBody>
            <a:bodyPr wrap="square" rtlCol="0">
              <a:spAutoFit/>
            </a:bodyPr>
            <a:lstStyle/>
            <a:p>
              <a:pPr marL="155580" indent="-155580">
                <a:lnSpc>
                  <a:spcPts val="1534"/>
                </a:lnSpc>
                <a:buFont typeface="Arial" pitchFamily="34" charset="0"/>
                <a:buChar char="•"/>
              </a:pPr>
              <a:r>
                <a:rPr lang="th-TH" sz="1700" b="1" dirty="0">
                  <a:solidFill>
                    <a:prstClr val="black"/>
                  </a:solidFill>
                  <a:latin typeface="TH SarabunPSK" pitchFamily="34" charset="-34"/>
                  <a:cs typeface="TH SarabunPSK" pitchFamily="34" charset="-34"/>
                </a:rPr>
                <a:t>มีศักยภาพสามารถเชื่อมโยงการค้า/การลงทุน/การผลิตกับประเทศในภูมิภาค </a:t>
              </a:r>
              <a:r>
                <a:rPr lang="en-US" sz="1700" b="1" dirty="0">
                  <a:solidFill>
                    <a:prstClr val="black"/>
                  </a:solidFill>
                  <a:latin typeface="TH SarabunPSK" pitchFamily="34" charset="-34"/>
                  <a:cs typeface="TH SarabunPSK" pitchFamily="34" charset="-34"/>
                </a:rPr>
                <a:t>–</a:t>
              </a:r>
              <a:r>
                <a:rPr lang="th-TH" sz="1700" b="1" dirty="0">
                  <a:solidFill>
                    <a:prstClr val="black"/>
                  </a:solidFill>
                  <a:latin typeface="TH SarabunPSK" pitchFamily="34" charset="-34"/>
                  <a:cs typeface="TH SarabunPSK" pitchFamily="34" charset="-34"/>
                </a:rPr>
                <a:t>ใช้ประโยชน์ </a:t>
              </a:r>
              <a:r>
                <a:rPr lang="en-US" sz="1700" b="1" dirty="0">
                  <a:solidFill>
                    <a:prstClr val="black"/>
                  </a:solidFill>
                  <a:latin typeface="TH SarabunPSK" pitchFamily="34" charset="-34"/>
                  <a:cs typeface="TH SarabunPSK" pitchFamily="34" charset="-34"/>
                </a:rPr>
                <a:t>AEC</a:t>
              </a:r>
              <a:endParaRPr lang="th-TH" sz="1700" b="1" dirty="0">
                <a:solidFill>
                  <a:prstClr val="black"/>
                </a:solidFill>
                <a:latin typeface="TH SarabunPSK" pitchFamily="34" charset="-34"/>
                <a:cs typeface="TH SarabunPSK" pitchFamily="34" charset="-34"/>
              </a:endParaRPr>
            </a:p>
            <a:p>
              <a:pPr marL="155580" indent="-155580">
                <a:lnSpc>
                  <a:spcPts val="1534"/>
                </a:lnSpc>
                <a:buFont typeface="Arial" pitchFamily="34" charset="0"/>
                <a:buChar char="•"/>
              </a:pPr>
              <a:r>
                <a:rPr lang="en-US" sz="1700" b="1" dirty="0">
                  <a:solidFill>
                    <a:prstClr val="black"/>
                  </a:solidFill>
                  <a:latin typeface="TH SarabunPSK" pitchFamily="34" charset="-34"/>
                  <a:cs typeface="TH SarabunPSK" pitchFamily="34" charset="-34"/>
                </a:rPr>
                <a:t>SEZ </a:t>
              </a:r>
              <a:r>
                <a:rPr lang="th-TH" sz="1700" b="1" dirty="0">
                  <a:solidFill>
                    <a:prstClr val="black"/>
                  </a:solidFill>
                  <a:latin typeface="TH SarabunPSK" pitchFamily="34" charset="-34"/>
                  <a:cs typeface="TH SarabunPSK" pitchFamily="34" charset="-34"/>
                </a:rPr>
                <a:t>จะช่วยยกระดับความเป็นอยู่ของประชาชนในพื้นที่</a:t>
              </a:r>
            </a:p>
          </p:txBody>
        </p:sp>
        <p:pic>
          <p:nvPicPr>
            <p:cNvPr id="13314" name="Picture 2" descr="http://www.prachachat.net/online/2014/09/14117102091411721184l.jpg"/>
            <p:cNvPicPr>
              <a:picLocks noChangeAspect="1" noChangeArrowheads="1"/>
            </p:cNvPicPr>
            <p:nvPr/>
          </p:nvPicPr>
          <p:blipFill>
            <a:blip r:embed="rId3" cstate="print">
              <a:extLst>
                <a:ext uri="{28A0092B-C50C-407E-A947-70E740481C1C}">
                  <a14:useLocalDpi xmlns:a14="http://schemas.microsoft.com/office/drawing/2010/main" xmlns="" val="0"/>
                </a:ext>
              </a:extLst>
            </a:blip>
            <a:srcRect/>
            <a:stretch>
              <a:fillRect/>
            </a:stretch>
          </p:blipFill>
          <p:spPr bwMode="auto">
            <a:xfrm>
              <a:off x="2347204" y="1593103"/>
              <a:ext cx="1720740" cy="1029383"/>
            </a:xfrm>
            <a:prstGeom prst="rect">
              <a:avLst/>
            </a:prstGeom>
            <a:noFill/>
            <a:extLst>
              <a:ext uri="{909E8E84-426E-40DD-AFC4-6F175D3DCCD1}">
                <a14:hiddenFill xmlns:a14="http://schemas.microsoft.com/office/drawing/2010/main" xmlns="">
                  <a:solidFill>
                    <a:srgbClr val="FFFFFF"/>
                  </a:solidFill>
                </a14:hiddenFill>
              </a:ext>
            </a:extLst>
          </p:spPr>
        </p:pic>
        <p:pic>
          <p:nvPicPr>
            <p:cNvPr id="39" name="Picture 38"/>
            <p:cNvPicPr>
              <a:picLocks noChangeAspect="1"/>
            </p:cNvPicPr>
            <p:nvPr/>
          </p:nvPicPr>
          <p:blipFill>
            <a:blip r:embed="rId4" cstate="print">
              <a:extLst>
                <a:ext uri="{28A0092B-C50C-407E-A947-70E740481C1C}">
                  <a14:useLocalDpi xmlns:a14="http://schemas.microsoft.com/office/drawing/2010/main" xmlns="" val="0"/>
                </a:ext>
              </a:extLst>
            </a:blip>
            <a:stretch>
              <a:fillRect/>
            </a:stretch>
          </p:blipFill>
          <p:spPr>
            <a:xfrm>
              <a:off x="2347204" y="2627546"/>
              <a:ext cx="1720740" cy="1024324"/>
            </a:xfrm>
            <a:prstGeom prst="rect">
              <a:avLst/>
            </a:prstGeom>
            <a:noFill/>
          </p:spPr>
        </p:pic>
      </p:grpSp>
      <p:grpSp>
        <p:nvGrpSpPr>
          <p:cNvPr id="12" name="Group 11"/>
          <p:cNvGrpSpPr/>
          <p:nvPr/>
        </p:nvGrpSpPr>
        <p:grpSpPr>
          <a:xfrm>
            <a:off x="4355976" y="1106908"/>
            <a:ext cx="4429124" cy="3956780"/>
            <a:chOff x="4714870" y="1114381"/>
            <a:chExt cx="4429124" cy="3956780"/>
          </a:xfrm>
        </p:grpSpPr>
        <p:sp>
          <p:nvSpPr>
            <p:cNvPr id="35" name="TextBox 34"/>
            <p:cNvSpPr txBox="1"/>
            <p:nvPr/>
          </p:nvSpPr>
          <p:spPr>
            <a:xfrm>
              <a:off x="4785057" y="1114381"/>
              <a:ext cx="2736304" cy="400110"/>
            </a:xfrm>
            <a:prstGeom prst="rect">
              <a:avLst/>
            </a:prstGeom>
            <a:solidFill>
              <a:schemeClr val="accent6">
                <a:lumMod val="50000"/>
              </a:schemeClr>
            </a:solidFill>
          </p:spPr>
          <p:txBody>
            <a:bodyPr wrap="square" rtlCol="0" anchor="ctr">
              <a:spAutoFit/>
            </a:bodyPr>
            <a:lstStyle/>
            <a:p>
              <a:pPr algn="ctr"/>
              <a:r>
                <a:rPr lang="en-US" sz="2000" dirty="0" smtClean="0">
                  <a:solidFill>
                    <a:prstClr val="white"/>
                  </a:solidFill>
                  <a:cs typeface="TH SarabunPSK" pitchFamily="34" charset="-34"/>
                </a:rPr>
                <a:t>Cluster-Based</a:t>
              </a:r>
              <a:r>
                <a:rPr lang="th-TH" sz="2000" dirty="0" smtClean="0">
                  <a:solidFill>
                    <a:prstClr val="white"/>
                  </a:solidFill>
                  <a:cs typeface="TH SarabunPSK" pitchFamily="34" charset="-34"/>
                </a:rPr>
                <a:t> </a:t>
              </a:r>
              <a:r>
                <a:rPr lang="en-US" sz="2000" dirty="0" smtClean="0">
                  <a:solidFill>
                    <a:prstClr val="white"/>
                  </a:solidFill>
                  <a:cs typeface="TH SarabunPSK" pitchFamily="34" charset="-34"/>
                </a:rPr>
                <a:t>SEZs</a:t>
              </a:r>
              <a:endParaRPr lang="th-TH" sz="2000" dirty="0">
                <a:solidFill>
                  <a:prstClr val="white"/>
                </a:solidFill>
                <a:cs typeface="TH SarabunPSK" pitchFamily="34" charset="-34"/>
              </a:endParaRPr>
            </a:p>
          </p:txBody>
        </p:sp>
        <p:sp>
          <p:nvSpPr>
            <p:cNvPr id="38" name="TextBox 37"/>
            <p:cNvSpPr txBox="1"/>
            <p:nvPr/>
          </p:nvSpPr>
          <p:spPr>
            <a:xfrm>
              <a:off x="4714870" y="3786194"/>
              <a:ext cx="4429124" cy="1284967"/>
            </a:xfrm>
            <a:prstGeom prst="rect">
              <a:avLst/>
            </a:prstGeom>
            <a:noFill/>
          </p:spPr>
          <p:txBody>
            <a:bodyPr wrap="square" rtlCol="0">
              <a:spAutoFit/>
            </a:bodyPr>
            <a:lstStyle/>
            <a:p>
              <a:pPr marL="155580" indent="-155580">
                <a:lnSpc>
                  <a:spcPts val="1534"/>
                </a:lnSpc>
                <a:spcBef>
                  <a:spcPts val="300"/>
                </a:spcBef>
                <a:buFont typeface="Arial" pitchFamily="34" charset="0"/>
                <a:buChar char="•"/>
              </a:pPr>
              <a:r>
                <a:rPr lang="th-TH" sz="1700" b="1" dirty="0" smtClean="0">
                  <a:solidFill>
                    <a:prstClr val="black"/>
                  </a:solidFill>
                  <a:latin typeface="TH SarabunPSK" pitchFamily="34" charset="-34"/>
                  <a:cs typeface="TH SarabunPSK" pitchFamily="34" charset="-34"/>
                </a:rPr>
                <a:t>สำหรับธุรกิจที่ไม่เหมาะกับชายแดน และธุรกิจที่เป็นอุตสาหกรรมแห่งอนาคต เช่น กิจการวิจัยและพัฒนา กิจการที่ใช้เทคโนโลยีขั้นสูงและใช้แรงงานน้อย เป็นต้น</a:t>
              </a:r>
            </a:p>
            <a:p>
              <a:pPr marL="155580" indent="-155580">
                <a:lnSpc>
                  <a:spcPts val="1534"/>
                </a:lnSpc>
                <a:spcBef>
                  <a:spcPts val="300"/>
                </a:spcBef>
                <a:buFont typeface="Arial" pitchFamily="34" charset="0"/>
                <a:buChar char="•"/>
              </a:pPr>
              <a:r>
                <a:rPr lang="th-TH" sz="1700" b="1" dirty="0" smtClean="0">
                  <a:solidFill>
                    <a:prstClr val="black"/>
                  </a:solidFill>
                  <a:latin typeface="TH SarabunPSK" pitchFamily="34" charset="-34"/>
                  <a:cs typeface="TH SarabunPSK" pitchFamily="34" charset="-34"/>
                </a:rPr>
                <a:t>เชื่อมโยงกับผู้ผลิตต้นน้ำ-กลางน้ำ-ปลายน้ำ อุตสาหกรรมสนับสนุน สถาบันการศึกษา สถาบันเฉพาะทาง หน่วยงานรัฐ องค์กรเอกชน และเชื่อมโยงกับเศรษฐกิจท้องถิ่น</a:t>
              </a:r>
              <a:endParaRPr lang="th-TH" sz="1700" b="1" dirty="0">
                <a:solidFill>
                  <a:prstClr val="black"/>
                </a:solidFill>
                <a:latin typeface="TH SarabunPSK" pitchFamily="34" charset="-34"/>
                <a:cs typeface="TH SarabunPSK" pitchFamily="34" charset="-34"/>
              </a:endParaRPr>
            </a:p>
          </p:txBody>
        </p:sp>
        <p:pic>
          <p:nvPicPr>
            <p:cNvPr id="13324" name="Picture 12" descr="http://4.bp.blogspot.com/-frcV1hPxgaI/UTop1WXqEKI/AAAAAAAAAJs/gl97r6pkkLk/s1600/China+Oujiangkou+Industry+Cluster+Park.png">
              <a:hlinkClick r:id="rId5"/>
            </p:cNvPr>
            <p:cNvPicPr>
              <a:picLocks noChangeAspect="1" noChangeArrowheads="1"/>
            </p:cNvPicPr>
            <p:nvPr/>
          </p:nvPicPr>
          <p:blipFill>
            <a:blip r:embed="rId6" cstate="print">
              <a:extLst>
                <a:ext uri="{28A0092B-C50C-407E-A947-70E740481C1C}">
                  <a14:useLocalDpi xmlns:a14="http://schemas.microsoft.com/office/drawing/2010/main" xmlns="" val="0"/>
                </a:ext>
              </a:extLst>
            </a:blip>
            <a:srcRect/>
            <a:stretch>
              <a:fillRect/>
            </a:stretch>
          </p:blipFill>
          <p:spPr bwMode="auto">
            <a:xfrm>
              <a:off x="5163725" y="1602861"/>
              <a:ext cx="1739283" cy="999301"/>
            </a:xfrm>
            <a:prstGeom prst="rect">
              <a:avLst/>
            </a:prstGeom>
            <a:noFill/>
            <a:extLst>
              <a:ext uri="{909E8E84-426E-40DD-AFC4-6F175D3DCCD1}">
                <a14:hiddenFill xmlns:a14="http://schemas.microsoft.com/office/drawing/2010/main" xmlns="">
                  <a:solidFill>
                    <a:srgbClr val="FFFFFF"/>
                  </a:solidFill>
                </a14:hiddenFill>
              </a:ext>
            </a:extLst>
          </p:spPr>
        </p:pic>
        <p:pic>
          <p:nvPicPr>
            <p:cNvPr id="40" name="Picture 9" descr="http://www.siemens.com/innovation/apps/pof_microsite/_pof-spring-2011/_img/images/050_media_container1.jpg"/>
            <p:cNvPicPr>
              <a:picLocks noChangeAspect="1" noChangeArrowheads="1"/>
            </p:cNvPicPr>
            <p:nvPr/>
          </p:nvPicPr>
          <p:blipFill>
            <a:blip r:embed="rId7" cstate="print">
              <a:extLst>
                <a:ext uri="{28A0092B-C50C-407E-A947-70E740481C1C}">
                  <a14:useLocalDpi xmlns:a14="http://schemas.microsoft.com/office/drawing/2010/main" xmlns="" val="0"/>
                </a:ext>
              </a:extLst>
            </a:blip>
            <a:srcRect/>
            <a:stretch>
              <a:fillRect/>
            </a:stretch>
          </p:blipFill>
          <p:spPr bwMode="auto">
            <a:xfrm>
              <a:off x="5163724" y="2656632"/>
              <a:ext cx="1739283" cy="995238"/>
            </a:xfrm>
            <a:prstGeom prst="rect">
              <a:avLst/>
            </a:prstGeom>
            <a:noFill/>
            <a:extLst/>
          </p:spPr>
        </p:pic>
        <p:pic>
          <p:nvPicPr>
            <p:cNvPr id="41" name="Picture 5"/>
            <p:cNvPicPr>
              <a:picLocks noChangeAspect="1"/>
            </p:cNvPicPr>
            <p:nvPr/>
          </p:nvPicPr>
          <p:blipFill>
            <a:blip r:embed="rId8" cstate="print"/>
            <a:srcRect/>
            <a:stretch>
              <a:fillRect/>
            </a:stretch>
          </p:blipFill>
          <p:spPr bwMode="auto">
            <a:xfrm>
              <a:off x="6903007" y="1593103"/>
              <a:ext cx="1773449" cy="2154363"/>
            </a:xfrm>
            <a:prstGeom prst="rect">
              <a:avLst/>
            </a:prstGeom>
            <a:noFill/>
            <a:ln w="9525">
              <a:noFill/>
              <a:miter lim="800000"/>
              <a:headEnd/>
              <a:tailEnd/>
            </a:ln>
          </p:spPr>
        </p:pic>
        <p:sp>
          <p:nvSpPr>
            <p:cNvPr id="10" name="Oval 9"/>
            <p:cNvSpPr/>
            <p:nvPr/>
          </p:nvSpPr>
          <p:spPr>
            <a:xfrm>
              <a:off x="7236297" y="2097350"/>
              <a:ext cx="944604" cy="690552"/>
            </a:xfrm>
            <a:prstGeom prst="ellipse">
              <a:avLst/>
            </a:prstGeom>
            <a:solidFill>
              <a:schemeClr val="accent3">
                <a:lumMod val="25000"/>
                <a:lumOff val="75000"/>
                <a:alpha val="36000"/>
              </a:schemeClr>
            </a:solidFill>
            <a:ln w="9525">
              <a:noFill/>
            </a:ln>
            <a:effectLst/>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p>
              <a:pPr algn="l">
                <a:lnSpc>
                  <a:spcPct val="90000"/>
                </a:lnSpc>
                <a:spcBef>
                  <a:spcPts val="400"/>
                </a:spcBef>
              </a:pPr>
              <a:endParaRPr lang="en-US" sz="1500" b="0" dirty="0" smtClean="0"/>
            </a:p>
          </p:txBody>
        </p:sp>
        <p:sp>
          <p:nvSpPr>
            <p:cNvPr id="43" name="Oval 42"/>
            <p:cNvSpPr/>
            <p:nvPr/>
          </p:nvSpPr>
          <p:spPr>
            <a:xfrm>
              <a:off x="7140120" y="1750720"/>
              <a:ext cx="782339" cy="690552"/>
            </a:xfrm>
            <a:prstGeom prst="ellipse">
              <a:avLst/>
            </a:prstGeom>
            <a:solidFill>
              <a:schemeClr val="accent3">
                <a:lumMod val="25000"/>
                <a:lumOff val="75000"/>
                <a:alpha val="36000"/>
              </a:schemeClr>
            </a:solidFill>
            <a:ln w="9525">
              <a:noFill/>
            </a:ln>
            <a:effectLst/>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p>
              <a:pPr algn="l">
                <a:lnSpc>
                  <a:spcPct val="90000"/>
                </a:lnSpc>
                <a:spcBef>
                  <a:spcPts val="400"/>
                </a:spcBef>
              </a:pPr>
              <a:endParaRPr lang="en-US" sz="1500" b="0" dirty="0" smtClean="0"/>
            </a:p>
          </p:txBody>
        </p:sp>
        <p:sp>
          <p:nvSpPr>
            <p:cNvPr id="44" name="Oval 43"/>
            <p:cNvSpPr/>
            <p:nvPr/>
          </p:nvSpPr>
          <p:spPr>
            <a:xfrm>
              <a:off x="7140119" y="2810003"/>
              <a:ext cx="782339" cy="690552"/>
            </a:xfrm>
            <a:prstGeom prst="ellipse">
              <a:avLst/>
            </a:prstGeom>
            <a:solidFill>
              <a:schemeClr val="accent3">
                <a:lumMod val="25000"/>
                <a:lumOff val="75000"/>
                <a:alpha val="36000"/>
              </a:schemeClr>
            </a:solidFill>
            <a:ln w="9525">
              <a:noFill/>
            </a:ln>
            <a:effectLst/>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p>
              <a:pPr algn="l">
                <a:lnSpc>
                  <a:spcPct val="90000"/>
                </a:lnSpc>
                <a:spcBef>
                  <a:spcPts val="400"/>
                </a:spcBef>
              </a:pPr>
              <a:endParaRPr lang="en-US" sz="1500" b="0" dirty="0" smtClean="0"/>
            </a:p>
          </p:txBody>
        </p:sp>
      </p:grpSp>
      <p:sp>
        <p:nvSpPr>
          <p:cNvPr id="4" name="TextBox 3"/>
          <p:cNvSpPr txBox="1"/>
          <p:nvPr/>
        </p:nvSpPr>
        <p:spPr>
          <a:xfrm>
            <a:off x="7477197" y="908874"/>
            <a:ext cx="1033937" cy="207749"/>
          </a:xfrm>
          <a:prstGeom prst="rect">
            <a:avLst/>
          </a:prstGeom>
          <a:noFill/>
          <a:ln w="9525">
            <a:noFill/>
          </a:ln>
        </p:spPr>
        <p:txBody>
          <a:bodyPr vert="horz" wrap="none" lIns="0" tIns="0" rIns="0" bIns="0" rtlCol="0">
            <a:spAutoFit/>
          </a:bodyPr>
          <a:lstStyle/>
          <a:p>
            <a:pPr>
              <a:lnSpc>
                <a:spcPct val="90000"/>
              </a:lnSpc>
              <a:spcBef>
                <a:spcPts val="400"/>
              </a:spcBef>
              <a:buClr>
                <a:srgbClr val="000000"/>
              </a:buClr>
              <a:buSzPct val="100000"/>
            </a:pPr>
            <a:r>
              <a:rPr lang="en-US" sz="1500" b="1" noProof="0" dirty="0" smtClean="0">
                <a:solidFill>
                  <a:schemeClr val="accent3"/>
                </a:solidFill>
                <a:latin typeface="+mn-lt"/>
                <a:cs typeface="Arial Narrow" pitchFamily="34" charset="0"/>
              </a:rPr>
              <a:t>Super Cluster</a:t>
            </a:r>
          </a:p>
        </p:txBody>
      </p:sp>
      <p:sp>
        <p:nvSpPr>
          <p:cNvPr id="22" name="TextBox 21"/>
          <p:cNvSpPr txBox="1"/>
          <p:nvPr/>
        </p:nvSpPr>
        <p:spPr>
          <a:xfrm>
            <a:off x="7527943" y="1324910"/>
            <a:ext cx="1580561" cy="236027"/>
          </a:xfrm>
          <a:prstGeom prst="rect">
            <a:avLst/>
          </a:prstGeom>
          <a:noFill/>
          <a:ln w="9525">
            <a:noFill/>
          </a:ln>
        </p:spPr>
        <p:txBody>
          <a:bodyPr vert="horz" wrap="none" lIns="0" tIns="0" rIns="0" bIns="0" rtlCol="0">
            <a:spAutoFit/>
          </a:bodyPr>
          <a:lstStyle/>
          <a:p>
            <a:pPr>
              <a:lnSpc>
                <a:spcPct val="90000"/>
              </a:lnSpc>
              <a:spcBef>
                <a:spcPts val="400"/>
              </a:spcBef>
              <a:buClr>
                <a:srgbClr val="000000"/>
              </a:buClr>
              <a:buSzPct val="100000"/>
            </a:pPr>
            <a:r>
              <a:rPr lang="th-TH" sz="1700" b="1" dirty="0">
                <a:solidFill>
                  <a:schemeClr val="accent3"/>
                </a:solidFill>
                <a:latin typeface="TH SarabunPSK" pitchFamily="34" charset="-34"/>
                <a:cs typeface="TH SarabunPSK" pitchFamily="34" charset="-34"/>
              </a:rPr>
              <a:t>คลัส</a:t>
            </a:r>
            <a:r>
              <a:rPr lang="th-TH" sz="1700" b="1" dirty="0" smtClean="0">
                <a:solidFill>
                  <a:schemeClr val="accent3"/>
                </a:solidFill>
                <a:latin typeface="TH SarabunPSK" pitchFamily="34" charset="-34"/>
                <a:cs typeface="TH SarabunPSK" pitchFamily="34" charset="-34"/>
              </a:rPr>
              <a:t>เตอร์อุตสาหกรรมอื่นๆ</a:t>
            </a:r>
            <a:endParaRPr lang="en-US" sz="1700" b="1" dirty="0">
              <a:solidFill>
                <a:schemeClr val="accent3"/>
              </a:solidFill>
              <a:latin typeface="TH SarabunPSK" pitchFamily="34" charset="-34"/>
              <a:cs typeface="TH SarabunPSK" pitchFamily="34" charset="-34"/>
            </a:endParaRPr>
          </a:p>
        </p:txBody>
      </p:sp>
      <p:cxnSp>
        <p:nvCxnSpPr>
          <p:cNvPr id="6" name="Elbow Connector 5"/>
          <p:cNvCxnSpPr>
            <a:endCxn id="4" idx="1"/>
          </p:cNvCxnSpPr>
          <p:nvPr/>
        </p:nvCxnSpPr>
        <p:spPr>
          <a:xfrm flipV="1">
            <a:off x="7166594" y="1012749"/>
            <a:ext cx="310603" cy="294214"/>
          </a:xfrm>
          <a:prstGeom prst="bentConnector3">
            <a:avLst/>
          </a:prstGeom>
          <a:ln w="9525">
            <a:solidFill>
              <a:schemeClr val="accent3"/>
            </a:solidFill>
            <a:tailEnd type="arrow"/>
          </a:ln>
          <a:effectLst/>
        </p:spPr>
        <p:style>
          <a:lnRef idx="1">
            <a:schemeClr val="accent1"/>
          </a:lnRef>
          <a:fillRef idx="0">
            <a:schemeClr val="accent1"/>
          </a:fillRef>
          <a:effectRef idx="0">
            <a:schemeClr val="accent1"/>
          </a:effectRef>
          <a:fontRef idx="minor">
            <a:schemeClr val="tx1"/>
          </a:fontRef>
        </p:style>
      </p:cxnSp>
      <p:cxnSp>
        <p:nvCxnSpPr>
          <p:cNvPr id="8" name="Elbow Connector 7"/>
          <p:cNvCxnSpPr>
            <a:endCxn id="22" idx="1"/>
          </p:cNvCxnSpPr>
          <p:nvPr/>
        </p:nvCxnSpPr>
        <p:spPr>
          <a:xfrm>
            <a:off x="7166594" y="1306963"/>
            <a:ext cx="361349" cy="135961"/>
          </a:xfrm>
          <a:prstGeom prst="bentConnector3">
            <a:avLst>
              <a:gd name="adj1" fmla="val 50000"/>
            </a:avLst>
          </a:prstGeom>
          <a:ln w="9525">
            <a:solidFill>
              <a:schemeClr val="accent3"/>
            </a:solidFill>
            <a:tailEnd type="arrow"/>
          </a:ln>
          <a:effectLst/>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xmlns="" val="3306539248"/>
      </p:ext>
    </p:extLst>
  </p:cSld>
  <p:clrMapOvr>
    <a:masterClrMapping/>
  </p:clrMapOvr>
  <p:transition spd="med">
    <p:fade thruBlk="1"/>
  </p:transition>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Rectangle 33"/>
          <p:cNvSpPr/>
          <p:nvPr/>
        </p:nvSpPr>
        <p:spPr>
          <a:xfrm>
            <a:off x="327840" y="2924796"/>
            <a:ext cx="2298661" cy="1832842"/>
          </a:xfrm>
          <a:prstGeom prst="rect">
            <a:avLst/>
          </a:prstGeom>
          <a:solidFill>
            <a:srgbClr val="FF6600">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77925" tIns="38963" rIns="77925" bIns="38963" anchor="ctr"/>
          <a:lstStyle/>
          <a:p>
            <a:pPr algn="ctr">
              <a:defRPr/>
            </a:pPr>
            <a:endParaRPr lang="en-US" sz="2000" b="1" dirty="0">
              <a:solidFill>
                <a:srgbClr val="800000"/>
              </a:solidFill>
              <a:latin typeface="Browallia New" panose="020B0604020202020204" pitchFamily="34" charset="-34"/>
              <a:cs typeface="Browallia New" panose="020B0604020202020204" pitchFamily="34" charset="-34"/>
            </a:endParaRPr>
          </a:p>
        </p:txBody>
      </p:sp>
      <p:grpSp>
        <p:nvGrpSpPr>
          <p:cNvPr id="2" name="Group 36"/>
          <p:cNvGrpSpPr/>
          <p:nvPr/>
        </p:nvGrpSpPr>
        <p:grpSpPr>
          <a:xfrm>
            <a:off x="327841" y="1460101"/>
            <a:ext cx="2298660" cy="1385072"/>
            <a:chOff x="5919782" y="1694895"/>
            <a:chExt cx="2492455" cy="1385072"/>
          </a:xfrm>
        </p:grpSpPr>
        <p:pic>
          <p:nvPicPr>
            <p:cNvPr id="39" name="Picture 2" descr="http://iowafirecontrol.com/wp-content/uploads/2014/03/bigstock-Oil-And-Gas-Industry-Refiner-41191342.jpg"/>
            <p:cNvPicPr>
              <a:picLocks noChangeAspect="1" noChangeArrowheads="1"/>
            </p:cNvPicPr>
            <p:nvPr/>
          </p:nvPicPr>
          <p:blipFill>
            <a:blip r:embed="rId2" cstate="print">
              <a:extLst>
                <a:ext uri="{28A0092B-C50C-407E-A947-70E740481C1C}">
                  <a14:useLocalDpi xmlns:a14="http://schemas.microsoft.com/office/drawing/2010/main" xmlns="" val="0"/>
                </a:ext>
              </a:extLst>
            </a:blip>
            <a:srcRect/>
            <a:stretch>
              <a:fillRect/>
            </a:stretch>
          </p:blipFill>
          <p:spPr bwMode="auto">
            <a:xfrm>
              <a:off x="7187317" y="1694895"/>
              <a:ext cx="1202208" cy="668015"/>
            </a:xfrm>
            <a:prstGeom prst="rect">
              <a:avLst/>
            </a:prstGeom>
            <a:noFill/>
            <a:extLst/>
          </p:spPr>
        </p:pic>
        <p:pic>
          <p:nvPicPr>
            <p:cNvPr id="40" name="Picture 9" descr="http://www.siemens.com/innovation/apps/pof_microsite/_pof-spring-2011/_img/images/050_media_container1.jpg"/>
            <p:cNvPicPr>
              <a:picLocks noChangeAspect="1" noChangeArrowheads="1"/>
            </p:cNvPicPr>
            <p:nvPr/>
          </p:nvPicPr>
          <p:blipFill>
            <a:blip r:embed="rId3" cstate="print">
              <a:extLst>
                <a:ext uri="{28A0092B-C50C-407E-A947-70E740481C1C}">
                  <a14:useLocalDpi xmlns:a14="http://schemas.microsoft.com/office/drawing/2010/main" xmlns="" val="0"/>
                </a:ext>
              </a:extLst>
            </a:blip>
            <a:srcRect/>
            <a:stretch>
              <a:fillRect/>
            </a:stretch>
          </p:blipFill>
          <p:spPr bwMode="auto">
            <a:xfrm>
              <a:off x="5919782" y="2411952"/>
              <a:ext cx="1220124" cy="668015"/>
            </a:xfrm>
            <a:prstGeom prst="rect">
              <a:avLst/>
            </a:prstGeom>
            <a:noFill/>
            <a:extLst/>
          </p:spPr>
        </p:pic>
        <p:pic>
          <p:nvPicPr>
            <p:cNvPr id="41" name="Picture 13" descr="http://img.directindustry.com/images_di/photo-g/the-electronics-industry-coating-system-14203-5598807.jpg"/>
            <p:cNvPicPr>
              <a:picLocks noChangeAspect="1" noChangeArrowheads="1"/>
            </p:cNvPicPr>
            <p:nvPr/>
          </p:nvPicPr>
          <p:blipFill>
            <a:blip r:embed="rId4" cstate="print">
              <a:extLst>
                <a:ext uri="{28A0092B-C50C-407E-A947-70E740481C1C}">
                  <a14:useLocalDpi xmlns:a14="http://schemas.microsoft.com/office/drawing/2010/main" xmlns="" val="0"/>
                </a:ext>
              </a:extLst>
            </a:blip>
            <a:srcRect/>
            <a:stretch>
              <a:fillRect/>
            </a:stretch>
          </p:blipFill>
          <p:spPr bwMode="auto">
            <a:xfrm>
              <a:off x="5928497" y="1694895"/>
              <a:ext cx="1211413" cy="668015"/>
            </a:xfrm>
            <a:prstGeom prst="rect">
              <a:avLst/>
            </a:prstGeom>
            <a:noFill/>
            <a:extLst/>
          </p:spPr>
        </p:pic>
        <p:pic>
          <p:nvPicPr>
            <p:cNvPr id="42" name="Picture 4" descr="https://encrypted-tbn1.gstatic.com/images?q=tbn:ANd9GcR8bTXUtHOTnJvw5yLujt6MIj6YJ_JZyBWP3lUziNod-G8NdX458hQ7PmQz">
              <a:hlinkClick r:id="rId5"/>
            </p:cNvPr>
            <p:cNvPicPr>
              <a:picLocks noChangeAspect="1" noChangeArrowheads="1"/>
            </p:cNvPicPr>
            <p:nvPr/>
          </p:nvPicPr>
          <p:blipFill>
            <a:blip r:embed="rId6">
              <a:extLst>
                <a:ext uri="{28A0092B-C50C-407E-A947-70E740481C1C}">
                  <a14:useLocalDpi xmlns:a14="http://schemas.microsoft.com/office/drawing/2010/main" xmlns="" val="0"/>
                </a:ext>
              </a:extLst>
            </a:blip>
            <a:srcRect/>
            <a:stretch>
              <a:fillRect/>
            </a:stretch>
          </p:blipFill>
          <p:spPr bwMode="auto">
            <a:xfrm>
              <a:off x="7192113" y="2410125"/>
              <a:ext cx="1220124" cy="668015"/>
            </a:xfrm>
            <a:prstGeom prst="rect">
              <a:avLst/>
            </a:prstGeom>
            <a:noFill/>
            <a:extLst>
              <a:ext uri="{909E8E84-426E-40DD-AFC4-6F175D3DCCD1}">
                <a14:hiddenFill xmlns:a14="http://schemas.microsoft.com/office/drawing/2010/main" xmlns="">
                  <a:solidFill>
                    <a:srgbClr val="FFFFFF"/>
                  </a:solidFill>
                </a14:hiddenFill>
              </a:ext>
            </a:extLst>
          </p:spPr>
        </p:pic>
      </p:grpSp>
      <p:sp>
        <p:nvSpPr>
          <p:cNvPr id="43" name="Rectangle 42"/>
          <p:cNvSpPr/>
          <p:nvPr/>
        </p:nvSpPr>
        <p:spPr>
          <a:xfrm>
            <a:off x="342329" y="771550"/>
            <a:ext cx="2263227" cy="523220"/>
          </a:xfrm>
          <a:prstGeom prst="rect">
            <a:avLst/>
          </a:prstGeom>
          <a:solidFill>
            <a:srgbClr val="FF6600">
              <a:alpha val="79000"/>
            </a:srgbClr>
          </a:solidFill>
          <a:ln w="19050">
            <a:solidFill>
              <a:schemeClr val="tx1">
                <a:lumMod val="50000"/>
                <a:lumOff val="50000"/>
              </a:schemeClr>
            </a:solidFill>
          </a:ln>
        </p:spPr>
        <p:txBody>
          <a:bodyPr wrap="square" lIns="91440" tIns="45720" rIns="91440" bIns="45720">
            <a:spAutoFit/>
          </a:bodyPr>
          <a:lstStyle/>
          <a:p>
            <a:pPr algn="ctr"/>
            <a:r>
              <a:rPr lang="en-US" b="1" dirty="0" smtClean="0">
                <a:ln w="19050">
                  <a:solidFill>
                    <a:schemeClr val="tx2">
                      <a:tint val="1000"/>
                    </a:schemeClr>
                  </a:solidFill>
                  <a:prstDash val="solid"/>
                </a:ln>
                <a:solidFill>
                  <a:schemeClr val="accent3"/>
                </a:solidFill>
                <a:effectLst>
                  <a:outerShdw blurRad="50000" dist="50800" dir="7500000" algn="tl">
                    <a:srgbClr val="000000">
                      <a:shade val="5000"/>
                      <a:alpha val="35000"/>
                    </a:srgbClr>
                  </a:outerShdw>
                </a:effectLst>
              </a:rPr>
              <a:t>Super Cluster</a:t>
            </a:r>
            <a:endParaRPr lang="en-US" b="1" cap="none" spc="0" dirty="0">
              <a:ln w="19050">
                <a:solidFill>
                  <a:schemeClr val="tx2">
                    <a:tint val="1000"/>
                  </a:schemeClr>
                </a:solidFill>
                <a:prstDash val="solid"/>
              </a:ln>
              <a:solidFill>
                <a:schemeClr val="accent3"/>
              </a:solidFill>
              <a:effectLst>
                <a:outerShdw blurRad="50000" dist="50800" dir="7500000" algn="tl">
                  <a:srgbClr val="000000">
                    <a:shade val="5000"/>
                    <a:alpha val="35000"/>
                  </a:srgbClr>
                </a:outerShdw>
              </a:effectLst>
            </a:endParaRPr>
          </a:p>
        </p:txBody>
      </p:sp>
      <p:sp>
        <p:nvSpPr>
          <p:cNvPr id="8" name="TextBox 7"/>
          <p:cNvSpPr txBox="1"/>
          <p:nvPr/>
        </p:nvSpPr>
        <p:spPr>
          <a:xfrm>
            <a:off x="343611" y="2943310"/>
            <a:ext cx="2284173" cy="1777410"/>
          </a:xfrm>
          <a:prstGeom prst="rect">
            <a:avLst/>
          </a:prstGeom>
          <a:noFill/>
          <a:ln w="9525">
            <a:noFill/>
          </a:ln>
        </p:spPr>
        <p:txBody>
          <a:bodyPr vert="horz" wrap="square" lIns="0" tIns="0" rIns="0" bIns="0" rtlCol="0">
            <a:spAutoFit/>
          </a:bodyPr>
          <a:lstStyle/>
          <a:p>
            <a:pPr marL="285750" indent="-201613">
              <a:lnSpc>
                <a:spcPct val="90000"/>
              </a:lnSpc>
              <a:spcBef>
                <a:spcPts val="300"/>
              </a:spcBef>
              <a:buClr>
                <a:srgbClr val="000000"/>
              </a:buClr>
              <a:buSzPct val="100000"/>
              <a:buFont typeface="Arial" pitchFamily="34" charset="0"/>
              <a:buChar char="•"/>
            </a:pPr>
            <a:r>
              <a:rPr lang="th-TH" sz="2000" b="1" noProof="0" dirty="0" smtClean="0">
                <a:latin typeface="TH SarabunPSK" pitchFamily="34" charset="-34"/>
                <a:cs typeface="TH SarabunPSK" pitchFamily="34" charset="-34"/>
              </a:rPr>
              <a:t>ยานยนต์และชิ้นส่วน</a:t>
            </a:r>
          </a:p>
          <a:p>
            <a:pPr marL="285750" indent="-201613">
              <a:lnSpc>
                <a:spcPct val="90000"/>
              </a:lnSpc>
              <a:spcBef>
                <a:spcPts val="300"/>
              </a:spcBef>
              <a:buClr>
                <a:srgbClr val="000000"/>
              </a:buClr>
              <a:buSzPct val="100000"/>
              <a:buFont typeface="Arial" pitchFamily="34" charset="0"/>
              <a:buChar char="•"/>
            </a:pPr>
            <a:r>
              <a:rPr lang="th-TH" altLang="en-US" sz="2000" b="1" dirty="0" smtClean="0">
                <a:latin typeface="TH SarabunPSK" pitchFamily="34" charset="-34"/>
                <a:cs typeface="TH SarabunPSK" pitchFamily="34" charset="-34"/>
                <a:sym typeface="+mn-lt"/>
              </a:rPr>
              <a:t>เครื่องใช้ไฟฟ้าอิเล็กทรอนิกส์ </a:t>
            </a:r>
            <a:r>
              <a:rPr lang="th-TH" altLang="en-US" sz="2000" b="1" dirty="0">
                <a:latin typeface="TH SarabunPSK" pitchFamily="34" charset="-34"/>
                <a:cs typeface="TH SarabunPSK" pitchFamily="34" charset="-34"/>
                <a:sym typeface="+mn-lt"/>
              </a:rPr>
              <a:t>และ</a:t>
            </a:r>
            <a:r>
              <a:rPr lang="th-TH" altLang="en-US" sz="2000" b="1" dirty="0" smtClean="0">
                <a:latin typeface="TH SarabunPSK" pitchFamily="34" charset="-34"/>
                <a:cs typeface="TH SarabunPSK" pitchFamily="34" charset="-34"/>
                <a:sym typeface="+mn-lt"/>
              </a:rPr>
              <a:t>อุปกรณ์โทรคมนาคม</a:t>
            </a:r>
            <a:endParaRPr lang="th-TH" altLang="en-US" sz="2000" b="1" dirty="0">
              <a:latin typeface="TH SarabunPSK" pitchFamily="34" charset="-34"/>
              <a:cs typeface="TH SarabunPSK" pitchFamily="34" charset="-34"/>
              <a:sym typeface="+mn-lt"/>
            </a:endParaRPr>
          </a:p>
          <a:p>
            <a:pPr marL="285750" indent="-201613">
              <a:lnSpc>
                <a:spcPct val="90000"/>
              </a:lnSpc>
              <a:spcBef>
                <a:spcPts val="300"/>
              </a:spcBef>
              <a:buClr>
                <a:srgbClr val="000000"/>
              </a:buClr>
              <a:buSzPct val="100000"/>
              <a:buFont typeface="Arial" pitchFamily="34" charset="0"/>
              <a:buChar char="•"/>
            </a:pPr>
            <a:r>
              <a:rPr lang="th-TH" altLang="en-US" sz="2000" b="1" dirty="0">
                <a:latin typeface="TH SarabunPSK" pitchFamily="34" charset="-34"/>
                <a:cs typeface="TH SarabunPSK" pitchFamily="34" charset="-34"/>
                <a:sym typeface="+mn-lt"/>
              </a:rPr>
              <a:t>ปิโตรเคมีและเคมีภัณฑ์</a:t>
            </a:r>
            <a:br>
              <a:rPr lang="th-TH" altLang="en-US" sz="2000" b="1" dirty="0">
                <a:latin typeface="TH SarabunPSK" pitchFamily="34" charset="-34"/>
                <a:cs typeface="TH SarabunPSK" pitchFamily="34" charset="-34"/>
                <a:sym typeface="+mn-lt"/>
              </a:rPr>
            </a:br>
            <a:r>
              <a:rPr lang="th-TH" altLang="en-US" sz="2000" b="1" dirty="0">
                <a:latin typeface="TH SarabunPSK" pitchFamily="34" charset="-34"/>
                <a:cs typeface="TH SarabunPSK" pitchFamily="34" charset="-34"/>
                <a:sym typeface="+mn-lt"/>
              </a:rPr>
              <a:t>ที่เป็นมิตรต่อสิ่งแวดล้อม</a:t>
            </a:r>
          </a:p>
          <a:p>
            <a:pPr marL="285750" indent="-201613">
              <a:lnSpc>
                <a:spcPct val="90000"/>
              </a:lnSpc>
              <a:spcBef>
                <a:spcPts val="300"/>
              </a:spcBef>
              <a:buClr>
                <a:srgbClr val="000000"/>
              </a:buClr>
              <a:buSzPct val="100000"/>
              <a:buFont typeface="Arial" pitchFamily="34" charset="0"/>
              <a:buChar char="•"/>
            </a:pPr>
            <a:r>
              <a:rPr lang="th-TH" altLang="en-US" sz="2000" b="1" dirty="0">
                <a:latin typeface="TH SarabunPSK" pitchFamily="34" charset="-34"/>
                <a:cs typeface="TH SarabunPSK" pitchFamily="34" charset="-34"/>
                <a:sym typeface="+mn-lt"/>
              </a:rPr>
              <a:t>ดิจิทัล</a:t>
            </a:r>
            <a:endParaRPr lang="en-US" sz="2000" b="1" dirty="0">
              <a:latin typeface="TH SarabunPSK" pitchFamily="34" charset="-34"/>
              <a:cs typeface="TH SarabunPSK" pitchFamily="34" charset="-34"/>
            </a:endParaRPr>
          </a:p>
        </p:txBody>
      </p:sp>
      <p:sp>
        <p:nvSpPr>
          <p:cNvPr id="45" name="Title 2"/>
          <p:cNvSpPr>
            <a:spLocks noGrp="1"/>
          </p:cNvSpPr>
          <p:nvPr>
            <p:ph type="title"/>
          </p:nvPr>
        </p:nvSpPr>
        <p:spPr>
          <a:xfrm>
            <a:off x="342328" y="123481"/>
            <a:ext cx="8691553" cy="560923"/>
          </a:xfrm>
        </p:spPr>
        <p:txBody>
          <a:bodyPr/>
          <a:lstStyle/>
          <a:p>
            <a:r>
              <a:rPr lang="th-TH" sz="3100" b="1" dirty="0" smtClean="0">
                <a:latin typeface="TH SarabunPSK" pitchFamily="34" charset="-34"/>
                <a:cs typeface="TH SarabunPSK" pitchFamily="34" charset="-34"/>
              </a:rPr>
              <a:t>เขตเศรษฐกิจพิเศษในรูปแบบคลัสเตอร์เน้นอุตสาหกรรมแห่งอนาคต </a:t>
            </a:r>
            <a:endParaRPr lang="en-US" sz="3100" b="1" dirty="0">
              <a:latin typeface="TH SarabunPSK" pitchFamily="34" charset="-34"/>
              <a:cs typeface="TH SarabunPSK" pitchFamily="34" charset="-34"/>
            </a:endParaRPr>
          </a:p>
        </p:txBody>
      </p:sp>
      <p:pic>
        <p:nvPicPr>
          <p:cNvPr id="112642" name="Picture 2"/>
          <p:cNvPicPr>
            <a:picLocks noChangeAspect="1" noChangeArrowheads="1"/>
          </p:cNvPicPr>
          <p:nvPr/>
        </p:nvPicPr>
        <p:blipFill>
          <a:blip r:embed="rId7"/>
          <a:srcRect/>
          <a:stretch>
            <a:fillRect/>
          </a:stretch>
        </p:blipFill>
        <p:spPr bwMode="auto">
          <a:xfrm>
            <a:off x="3571868" y="571486"/>
            <a:ext cx="2809880" cy="4214820"/>
          </a:xfrm>
          <a:prstGeom prst="rect">
            <a:avLst/>
          </a:prstGeom>
          <a:noFill/>
          <a:ln w="9525">
            <a:noFill/>
            <a:miter lim="800000"/>
            <a:headEnd/>
            <a:tailEnd/>
          </a:ln>
          <a:effectLst/>
        </p:spPr>
      </p:pic>
      <p:sp>
        <p:nvSpPr>
          <p:cNvPr id="18" name="Rectangle 17"/>
          <p:cNvSpPr/>
          <p:nvPr/>
        </p:nvSpPr>
        <p:spPr>
          <a:xfrm>
            <a:off x="6500826" y="642924"/>
            <a:ext cx="2643174" cy="4401205"/>
          </a:xfrm>
          <a:prstGeom prst="rect">
            <a:avLst/>
          </a:prstGeom>
        </p:spPr>
        <p:txBody>
          <a:bodyPr wrap="square">
            <a:spAutoFit/>
          </a:bodyPr>
          <a:lstStyle/>
          <a:p>
            <a:endParaRPr lang="th-TH" dirty="0" smtClean="0"/>
          </a:p>
          <a:p>
            <a:pPr marL="450850" indent="-273050"/>
            <a:r>
              <a:rPr lang="th-TH" sz="2400" dirty="0" smtClean="0">
                <a:latin typeface="TH SarabunPSK" pitchFamily="34" charset="-34"/>
                <a:cs typeface="TH SarabunPSK" pitchFamily="34" charset="-34"/>
              </a:rPr>
              <a:t>•	พระนครศรีอยุธยา </a:t>
            </a:r>
          </a:p>
          <a:p>
            <a:pPr marL="450850" indent="-273050"/>
            <a:r>
              <a:rPr lang="th-TH" sz="2400" dirty="0" smtClean="0">
                <a:latin typeface="TH SarabunPSK" pitchFamily="34" charset="-34"/>
                <a:cs typeface="TH SarabunPSK" pitchFamily="34" charset="-34"/>
              </a:rPr>
              <a:t>•	ปทุมธานี </a:t>
            </a:r>
          </a:p>
          <a:p>
            <a:pPr marL="450850" indent="-273050"/>
            <a:r>
              <a:rPr lang="th-TH" sz="2400" dirty="0" smtClean="0">
                <a:latin typeface="TH SarabunPSK" pitchFamily="34" charset="-34"/>
                <a:cs typeface="TH SarabunPSK" pitchFamily="34" charset="-34"/>
              </a:rPr>
              <a:t>•	ชลบุรี </a:t>
            </a:r>
          </a:p>
          <a:p>
            <a:pPr marL="450850" indent="-273050"/>
            <a:r>
              <a:rPr lang="th-TH" sz="2400" dirty="0" smtClean="0">
                <a:latin typeface="TH SarabunPSK" pitchFamily="34" charset="-34"/>
                <a:cs typeface="TH SarabunPSK" pitchFamily="34" charset="-34"/>
              </a:rPr>
              <a:t>•	ระยอง </a:t>
            </a:r>
          </a:p>
          <a:p>
            <a:pPr marL="450850" indent="-273050"/>
            <a:r>
              <a:rPr lang="th-TH" sz="2400" dirty="0" smtClean="0">
                <a:latin typeface="TH SarabunPSK" pitchFamily="34" charset="-34"/>
                <a:cs typeface="TH SarabunPSK" pitchFamily="34" charset="-34"/>
              </a:rPr>
              <a:t>•	ฉะเชิงเทรา </a:t>
            </a:r>
          </a:p>
          <a:p>
            <a:pPr marL="450850" indent="-273050"/>
            <a:r>
              <a:rPr lang="th-TH" sz="2400" dirty="0" smtClean="0">
                <a:latin typeface="TH SarabunPSK" pitchFamily="34" charset="-34"/>
                <a:cs typeface="TH SarabunPSK" pitchFamily="34" charset="-34"/>
              </a:rPr>
              <a:t>•	ปราจีนบุรี </a:t>
            </a:r>
          </a:p>
          <a:p>
            <a:pPr marL="450850" indent="-273050"/>
            <a:r>
              <a:rPr lang="th-TH" sz="2400" dirty="0" smtClean="0">
                <a:latin typeface="TH SarabunPSK" pitchFamily="34" charset="-34"/>
                <a:cs typeface="TH SarabunPSK" pitchFamily="34" charset="-34"/>
              </a:rPr>
              <a:t>•	นครราชสีมา </a:t>
            </a:r>
          </a:p>
          <a:p>
            <a:pPr marL="450850" indent="-273050"/>
            <a:r>
              <a:rPr lang="th-TH" sz="2400" dirty="0" smtClean="0">
                <a:latin typeface="TH SarabunPSK" pitchFamily="34" charset="-34"/>
                <a:cs typeface="TH SarabunPSK" pitchFamily="34" charset="-34"/>
              </a:rPr>
              <a:t>•	เชียงใหม่ </a:t>
            </a:r>
          </a:p>
          <a:p>
            <a:pPr marL="450850" indent="-273050"/>
            <a:r>
              <a:rPr lang="th-TH" sz="2400" dirty="0" smtClean="0">
                <a:latin typeface="TH SarabunPSK" pitchFamily="34" charset="-34"/>
                <a:cs typeface="TH SarabunPSK" pitchFamily="34" charset="-34"/>
              </a:rPr>
              <a:t>•	ภูเก็ต </a:t>
            </a:r>
          </a:p>
          <a:p>
            <a:r>
              <a:rPr lang="th-TH" dirty="0" smtClean="0"/>
              <a:t>	</a:t>
            </a:r>
          </a:p>
        </p:txBody>
      </p:sp>
      <p:cxnSp>
        <p:nvCxnSpPr>
          <p:cNvPr id="22" name="Elbow Connector 21"/>
          <p:cNvCxnSpPr/>
          <p:nvPr/>
        </p:nvCxnSpPr>
        <p:spPr>
          <a:xfrm>
            <a:off x="2714612" y="1071552"/>
            <a:ext cx="1428760" cy="1143008"/>
          </a:xfrm>
          <a:prstGeom prst="bentConnector3">
            <a:avLst>
              <a:gd name="adj1" fmla="val 50000"/>
            </a:avLst>
          </a:prstGeom>
          <a:ln w="9525">
            <a:solidFill>
              <a:schemeClr val="accent3"/>
            </a:solidFill>
          </a:ln>
          <a:effectLst/>
        </p:spPr>
        <p:style>
          <a:lnRef idx="1">
            <a:schemeClr val="accent1"/>
          </a:lnRef>
          <a:fillRef idx="0">
            <a:schemeClr val="accent1"/>
          </a:fillRef>
          <a:effectRef idx="0">
            <a:schemeClr val="accent1"/>
          </a:effectRef>
          <a:fontRef idx="minor">
            <a:schemeClr val="tx1"/>
          </a:fontRef>
        </p:style>
      </p:cxnSp>
      <p:sp>
        <p:nvSpPr>
          <p:cNvPr id="23" name="TextBox 22"/>
          <p:cNvSpPr txBox="1"/>
          <p:nvPr/>
        </p:nvSpPr>
        <p:spPr>
          <a:xfrm>
            <a:off x="6786578" y="785800"/>
            <a:ext cx="1477969" cy="388761"/>
          </a:xfrm>
          <a:prstGeom prst="rect">
            <a:avLst/>
          </a:prstGeom>
          <a:noFill/>
          <a:ln w="9525">
            <a:noFill/>
          </a:ln>
        </p:spPr>
        <p:txBody>
          <a:bodyPr vert="horz" wrap="none" lIns="0" tIns="0" rIns="0" bIns="0" rtlCol="0">
            <a:spAutoFit/>
          </a:bodyPr>
          <a:lstStyle/>
          <a:p>
            <a:pPr>
              <a:lnSpc>
                <a:spcPct val="90000"/>
              </a:lnSpc>
              <a:spcBef>
                <a:spcPts val="400"/>
              </a:spcBef>
              <a:buClr>
                <a:srgbClr val="000000"/>
              </a:buClr>
              <a:buSzPct val="100000"/>
            </a:pPr>
            <a:r>
              <a:rPr lang="th-TH" b="1" u="sng" dirty="0" smtClean="0">
                <a:solidFill>
                  <a:srgbClr val="FF6600"/>
                </a:solidFill>
                <a:latin typeface="TH SarabunPSK" pitchFamily="34" charset="-34"/>
                <a:cs typeface="TH SarabunPSK" pitchFamily="34" charset="-34"/>
              </a:rPr>
              <a:t>พื้นที่ </a:t>
            </a:r>
            <a:r>
              <a:rPr lang="en-US" b="1" u="sng" noProof="0" dirty="0" smtClean="0">
                <a:solidFill>
                  <a:srgbClr val="FF6600"/>
                </a:solidFill>
                <a:latin typeface="TH SarabunPSK" pitchFamily="34" charset="-34"/>
                <a:cs typeface="TH SarabunPSK" pitchFamily="34" charset="-34"/>
              </a:rPr>
              <a:t>9</a:t>
            </a:r>
            <a:r>
              <a:rPr lang="th-TH" b="1" u="sng" noProof="0" dirty="0" smtClean="0">
                <a:solidFill>
                  <a:srgbClr val="FF6600"/>
                </a:solidFill>
                <a:latin typeface="TH SarabunPSK" pitchFamily="34" charset="-34"/>
                <a:cs typeface="TH SarabunPSK" pitchFamily="34" charset="-34"/>
              </a:rPr>
              <a:t> จังหวัด</a:t>
            </a:r>
          </a:p>
        </p:txBody>
      </p:sp>
    </p:spTree>
    <p:extLst>
      <p:ext uri="{BB962C8B-B14F-4D97-AF65-F5344CB8AC3E}">
        <p14:creationId xmlns:p14="http://schemas.microsoft.com/office/powerpoint/2010/main" xmlns="" val="2382817653"/>
      </p:ext>
    </p:extLst>
  </p:cSld>
  <p:clrMapOvr>
    <a:masterClrMapping/>
  </p:clrMapOvr>
  <p:transition>
    <p:fade thruBlk="1"/>
  </p:transition>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 name="Title 2"/>
          <p:cNvSpPr>
            <a:spLocks noGrp="1"/>
          </p:cNvSpPr>
          <p:nvPr>
            <p:ph type="title"/>
          </p:nvPr>
        </p:nvSpPr>
        <p:spPr>
          <a:xfrm>
            <a:off x="342328" y="123481"/>
            <a:ext cx="8691553" cy="560923"/>
          </a:xfrm>
        </p:spPr>
        <p:txBody>
          <a:bodyPr/>
          <a:lstStyle/>
          <a:p>
            <a:r>
              <a:rPr lang="th-TH" sz="3100" b="1" dirty="0" smtClean="0">
                <a:latin typeface="TH SarabunPSK" pitchFamily="34" charset="-34"/>
                <a:cs typeface="TH SarabunPSK" pitchFamily="34" charset="-34"/>
              </a:rPr>
              <a:t>เขตเศรษฐกิจพิเศษในรูปแบบ</a:t>
            </a:r>
            <a:r>
              <a:rPr lang="th-TH" sz="3100" b="1" u="sng" dirty="0" smtClean="0">
                <a:latin typeface="TH SarabunPSK" pitchFamily="34" charset="-34"/>
                <a:cs typeface="TH SarabunPSK" pitchFamily="34" charset="-34"/>
              </a:rPr>
              <a:t>คลัสเตอร์อุตสาหกรรมอื่นๆ </a:t>
            </a:r>
            <a:r>
              <a:rPr lang="th-TH" sz="3100" b="1" dirty="0" smtClean="0">
                <a:latin typeface="TH SarabunPSK" pitchFamily="34" charset="-34"/>
                <a:cs typeface="TH SarabunPSK" pitchFamily="34" charset="-34"/>
              </a:rPr>
              <a:t>ที่มีศักยภาพ</a:t>
            </a:r>
            <a:endParaRPr lang="en-US" sz="3100" b="1" dirty="0">
              <a:latin typeface="TH SarabunPSK" pitchFamily="34" charset="-34"/>
              <a:cs typeface="TH SarabunPSK" pitchFamily="34" charset="-34"/>
            </a:endParaRPr>
          </a:p>
        </p:txBody>
      </p:sp>
      <p:pic>
        <p:nvPicPr>
          <p:cNvPr id="112641" name="Picture 1"/>
          <p:cNvPicPr>
            <a:picLocks noChangeAspect="1" noChangeArrowheads="1"/>
          </p:cNvPicPr>
          <p:nvPr/>
        </p:nvPicPr>
        <p:blipFill>
          <a:blip r:embed="rId2"/>
          <a:srcRect/>
          <a:stretch>
            <a:fillRect/>
          </a:stretch>
        </p:blipFill>
        <p:spPr bwMode="auto">
          <a:xfrm>
            <a:off x="714348" y="714362"/>
            <a:ext cx="2619352" cy="3929028"/>
          </a:xfrm>
          <a:prstGeom prst="rect">
            <a:avLst/>
          </a:prstGeom>
          <a:noFill/>
          <a:ln w="9525">
            <a:noFill/>
            <a:miter lim="800000"/>
            <a:headEnd/>
            <a:tailEnd/>
          </a:ln>
          <a:effectLst/>
        </p:spPr>
      </p:pic>
      <p:sp>
        <p:nvSpPr>
          <p:cNvPr id="30" name="Oval 29"/>
          <p:cNvSpPr/>
          <p:nvPr/>
        </p:nvSpPr>
        <p:spPr>
          <a:xfrm rot="995831">
            <a:off x="1102917" y="2040427"/>
            <a:ext cx="1302598" cy="571504"/>
          </a:xfrm>
          <a:prstGeom prst="ellipse">
            <a:avLst/>
          </a:prstGeom>
          <a:solidFill>
            <a:srgbClr val="FEB8FE">
              <a:alpha val="67000"/>
            </a:srgbClr>
          </a:solidFill>
          <a:ln w="9525">
            <a:noFill/>
          </a:ln>
          <a:effectLst/>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p>
            <a:pPr algn="l">
              <a:lnSpc>
                <a:spcPct val="90000"/>
              </a:lnSpc>
              <a:spcBef>
                <a:spcPts val="400"/>
              </a:spcBef>
            </a:pPr>
            <a:endParaRPr lang="th-TH" sz="1500" b="0" dirty="0" smtClean="0"/>
          </a:p>
        </p:txBody>
      </p:sp>
      <p:grpSp>
        <p:nvGrpSpPr>
          <p:cNvPr id="22" name="Group 21"/>
          <p:cNvGrpSpPr/>
          <p:nvPr/>
        </p:nvGrpSpPr>
        <p:grpSpPr>
          <a:xfrm>
            <a:off x="3500430" y="714362"/>
            <a:ext cx="5143536" cy="3857652"/>
            <a:chOff x="3786182" y="714362"/>
            <a:chExt cx="5143536" cy="3857652"/>
          </a:xfrm>
        </p:grpSpPr>
        <p:sp>
          <p:nvSpPr>
            <p:cNvPr id="18" name="TextBox 17"/>
            <p:cNvSpPr txBox="1"/>
            <p:nvPr/>
          </p:nvSpPr>
          <p:spPr>
            <a:xfrm>
              <a:off x="3786182" y="714362"/>
              <a:ext cx="1931619" cy="332399"/>
            </a:xfrm>
            <a:prstGeom prst="rect">
              <a:avLst/>
            </a:prstGeom>
            <a:noFill/>
            <a:ln w="9525">
              <a:noFill/>
            </a:ln>
          </p:spPr>
          <p:txBody>
            <a:bodyPr vert="horz" wrap="none" lIns="0" tIns="0" rIns="0" bIns="0" rtlCol="0">
              <a:spAutoFit/>
            </a:bodyPr>
            <a:lstStyle/>
            <a:p>
              <a:pPr>
                <a:lnSpc>
                  <a:spcPct val="90000"/>
                </a:lnSpc>
                <a:spcBef>
                  <a:spcPts val="400"/>
                </a:spcBef>
                <a:buClr>
                  <a:srgbClr val="000000"/>
                </a:buClr>
                <a:buSzPct val="100000"/>
              </a:pPr>
              <a:r>
                <a:rPr lang="th-TH" sz="2400" b="1" noProof="0" dirty="0" smtClean="0">
                  <a:latin typeface="TH SarabunPSK" pitchFamily="34" charset="-34"/>
                  <a:cs typeface="TH SarabunPSK" pitchFamily="34" charset="-34"/>
                </a:rPr>
                <a:t>คลัสเตอร์เกษตรแปรรูป</a:t>
              </a:r>
              <a:endParaRPr lang="th-TH" sz="1500" b="1" noProof="0" dirty="0" smtClean="0">
                <a:latin typeface="+mn-lt"/>
                <a:cs typeface="Arial Narrow" pitchFamily="34" charset="0"/>
              </a:endParaRPr>
            </a:p>
          </p:txBody>
        </p:sp>
        <p:sp>
          <p:nvSpPr>
            <p:cNvPr id="19" name="Rectangle 18"/>
            <p:cNvSpPr/>
            <p:nvPr/>
          </p:nvSpPr>
          <p:spPr>
            <a:xfrm>
              <a:off x="4143372" y="1061386"/>
              <a:ext cx="4000496" cy="1938992"/>
            </a:xfrm>
            <a:prstGeom prst="rect">
              <a:avLst/>
            </a:prstGeom>
            <a:solidFill>
              <a:srgbClr val="92D050">
                <a:alpha val="48000"/>
              </a:srgbClr>
            </a:solidFill>
          </p:spPr>
          <p:txBody>
            <a:bodyPr wrap="square">
              <a:spAutoFit/>
            </a:bodyPr>
            <a:lstStyle/>
            <a:p>
              <a:pPr marL="355600" indent="-177800"/>
              <a:r>
                <a:rPr lang="th-TH" sz="2000" dirty="0" smtClean="0">
                  <a:latin typeface="TH SarabunPSK" pitchFamily="34" charset="-34"/>
                  <a:cs typeface="TH SarabunPSK" pitchFamily="34" charset="-34"/>
                </a:rPr>
                <a:t>•	</a:t>
              </a:r>
              <a:r>
                <a:rPr lang="th-TH" sz="2000" b="1" dirty="0" smtClean="0">
                  <a:latin typeface="TH SarabunPSK" pitchFamily="34" charset="-34"/>
                  <a:cs typeface="TH SarabunPSK" pitchFamily="34" charset="-34"/>
                </a:rPr>
                <a:t>ภาคเหนือ (แปรรูปผักผลไม้ ผลิตภัณฑ์สมุนไพร) </a:t>
              </a:r>
            </a:p>
            <a:p>
              <a:pPr marL="355600" indent="-177800"/>
              <a:r>
                <a:rPr lang="th-TH" sz="2000" dirty="0" smtClean="0">
                  <a:latin typeface="TH SarabunPSK" pitchFamily="34" charset="-34"/>
                  <a:cs typeface="TH SarabunPSK" pitchFamily="34" charset="-34"/>
                </a:rPr>
                <a:t>•	</a:t>
              </a:r>
              <a:r>
                <a:rPr lang="th-TH" sz="2000" b="1" dirty="0" smtClean="0">
                  <a:latin typeface="TH SarabunPSK" pitchFamily="34" charset="-34"/>
                  <a:cs typeface="TH SarabunPSK" pitchFamily="34" charset="-34"/>
                </a:rPr>
                <a:t>ภาคตะวันออกเฉียงเหนือ (ปศุสัตว์ มันสาปะหลัง อ้อย ข้าวโพด) </a:t>
              </a:r>
            </a:p>
            <a:p>
              <a:pPr marL="355600" indent="-177800"/>
              <a:r>
                <a:rPr lang="th-TH" sz="2000" dirty="0" smtClean="0">
                  <a:latin typeface="TH SarabunPSK" pitchFamily="34" charset="-34"/>
                  <a:cs typeface="TH SarabunPSK" pitchFamily="34" charset="-34"/>
                </a:rPr>
                <a:t>•	</a:t>
              </a:r>
              <a:r>
                <a:rPr lang="th-TH" sz="2000" b="1" dirty="0" smtClean="0">
                  <a:latin typeface="TH SarabunPSK" pitchFamily="34" charset="-34"/>
                  <a:cs typeface="TH SarabunPSK" pitchFamily="34" charset="-34"/>
                </a:rPr>
                <a:t>ภาคกลางตอนล่าง (อ้อย สับปะรด ยาง) </a:t>
              </a:r>
            </a:p>
            <a:p>
              <a:pPr marL="355600" indent="-177800"/>
              <a:r>
                <a:rPr lang="th-TH" sz="2000" dirty="0" smtClean="0">
                  <a:latin typeface="TH SarabunPSK" pitchFamily="34" charset="-34"/>
                  <a:cs typeface="TH SarabunPSK" pitchFamily="34" charset="-34"/>
                </a:rPr>
                <a:t>•	</a:t>
              </a:r>
              <a:r>
                <a:rPr lang="th-TH" sz="2000" b="1" dirty="0" smtClean="0">
                  <a:latin typeface="TH SarabunPSK" pitchFamily="34" charset="-34"/>
                  <a:cs typeface="TH SarabunPSK" pitchFamily="34" charset="-34"/>
                </a:rPr>
                <a:t>ภาคตะวันออก (แปรรูปผลไม้ ยาง) </a:t>
              </a:r>
            </a:p>
            <a:p>
              <a:pPr marL="355600" indent="-177800"/>
              <a:r>
                <a:rPr lang="th-TH" sz="2000" dirty="0" smtClean="0">
                  <a:latin typeface="TH SarabunPSK" pitchFamily="34" charset="-34"/>
                  <a:cs typeface="TH SarabunPSK" pitchFamily="34" charset="-34"/>
                </a:rPr>
                <a:t>•	</a:t>
              </a:r>
              <a:r>
                <a:rPr lang="th-TH" sz="2000" b="1" dirty="0" smtClean="0">
                  <a:latin typeface="TH SarabunPSK" pitchFamily="34" charset="-34"/>
                  <a:cs typeface="TH SarabunPSK" pitchFamily="34" charset="-34"/>
                </a:rPr>
                <a:t>ภาคใต้ (ปาล์ม อาหารทะเลแปรรูป ยาง) </a:t>
              </a:r>
            </a:p>
          </p:txBody>
        </p:sp>
        <p:sp>
          <p:nvSpPr>
            <p:cNvPr id="20" name="Rectangle 19"/>
            <p:cNvSpPr/>
            <p:nvPr/>
          </p:nvSpPr>
          <p:spPr>
            <a:xfrm>
              <a:off x="4071934" y="3556351"/>
              <a:ext cx="4857784" cy="1015663"/>
            </a:xfrm>
            <a:prstGeom prst="rect">
              <a:avLst/>
            </a:prstGeom>
            <a:solidFill>
              <a:srgbClr val="BD03BD">
                <a:alpha val="17000"/>
              </a:srgbClr>
            </a:solidFill>
          </p:spPr>
          <p:txBody>
            <a:bodyPr wrap="square">
              <a:spAutoFit/>
            </a:bodyPr>
            <a:lstStyle/>
            <a:p>
              <a:pPr marL="450850" indent="-177800">
                <a:buFont typeface="Arial" pitchFamily="34" charset="0"/>
                <a:buChar char="•"/>
              </a:pPr>
              <a:r>
                <a:rPr lang="th-TH" sz="2000" b="1" dirty="0" smtClean="0">
                  <a:latin typeface="TH SarabunPSK" pitchFamily="34" charset="-34"/>
                  <a:cs typeface="TH SarabunPSK" pitchFamily="34" charset="-34"/>
                </a:rPr>
                <a:t>ฝั่งตะวันตก เชื่อมโยงกับแหล่งผลิตในเมียนมาร์ </a:t>
              </a:r>
            </a:p>
            <a:p>
              <a:pPr marL="450850" indent="-177800">
                <a:buFont typeface="Arial" pitchFamily="34" charset="0"/>
                <a:buChar char="•"/>
              </a:pPr>
              <a:r>
                <a:rPr lang="th-TH" sz="2000" b="1" dirty="0" smtClean="0">
                  <a:latin typeface="TH SarabunPSK" pitchFamily="34" charset="-34"/>
                  <a:cs typeface="TH SarabunPSK" pitchFamily="34" charset="-34"/>
                </a:rPr>
                <a:t>ฝั่งตะวันออก เชื่อมโยงกับแหล่งผลิตในกัมพูชา </a:t>
              </a:r>
            </a:p>
            <a:p>
              <a:pPr marL="450850" indent="-177800">
                <a:buFont typeface="Arial" pitchFamily="34" charset="0"/>
                <a:buChar char="•"/>
              </a:pPr>
              <a:r>
                <a:rPr lang="th-TH" sz="2000" b="1" dirty="0" smtClean="0">
                  <a:latin typeface="TH SarabunPSK" pitchFamily="34" charset="-34"/>
                  <a:cs typeface="TH SarabunPSK" pitchFamily="34" charset="-34"/>
                </a:rPr>
                <a:t>กรุงเทพฯ เป็นศูนย์กลางด้าน </a:t>
              </a:r>
              <a:r>
                <a:rPr lang="en-US" sz="2000" b="1" dirty="0" smtClean="0">
                  <a:latin typeface="TH SarabunPSK" pitchFamily="34" charset="-34"/>
                  <a:cs typeface="TH SarabunPSK" pitchFamily="34" charset="-34"/>
                </a:rPr>
                <a:t>Design, Sourcing, Trading </a:t>
              </a:r>
            </a:p>
          </p:txBody>
        </p:sp>
        <p:sp>
          <p:nvSpPr>
            <p:cNvPr id="21" name="TextBox 20"/>
            <p:cNvSpPr txBox="1"/>
            <p:nvPr/>
          </p:nvSpPr>
          <p:spPr>
            <a:xfrm>
              <a:off x="3786182" y="3168045"/>
              <a:ext cx="2611292" cy="332399"/>
            </a:xfrm>
            <a:prstGeom prst="rect">
              <a:avLst/>
            </a:prstGeom>
            <a:noFill/>
            <a:ln w="9525">
              <a:noFill/>
            </a:ln>
          </p:spPr>
          <p:txBody>
            <a:bodyPr vert="horz" wrap="none" lIns="0" tIns="0" rIns="0" bIns="0" rtlCol="0">
              <a:spAutoFit/>
            </a:bodyPr>
            <a:lstStyle/>
            <a:p>
              <a:pPr>
                <a:lnSpc>
                  <a:spcPct val="90000"/>
                </a:lnSpc>
                <a:spcBef>
                  <a:spcPts val="400"/>
                </a:spcBef>
                <a:buClr>
                  <a:srgbClr val="000000"/>
                </a:buClr>
                <a:buSzPct val="100000"/>
              </a:pPr>
              <a:r>
                <a:rPr lang="th-TH" sz="2400" b="1" noProof="0" dirty="0" smtClean="0">
                  <a:latin typeface="TH SarabunPSK" pitchFamily="34" charset="-34"/>
                  <a:cs typeface="TH SarabunPSK" pitchFamily="34" charset="-34"/>
                </a:rPr>
                <a:t>คลัสเตอร์สิ่งทอและเครื่องนุ่งห่ม</a:t>
              </a:r>
              <a:endParaRPr lang="th-TH" sz="1500" b="1" noProof="0" dirty="0" smtClean="0">
                <a:latin typeface="+mn-lt"/>
                <a:cs typeface="Arial Narrow" pitchFamily="34" charset="0"/>
              </a:endParaRPr>
            </a:p>
          </p:txBody>
        </p:sp>
      </p:grpSp>
      <p:cxnSp>
        <p:nvCxnSpPr>
          <p:cNvPr id="24" name="Elbow Connector 23"/>
          <p:cNvCxnSpPr/>
          <p:nvPr/>
        </p:nvCxnSpPr>
        <p:spPr>
          <a:xfrm>
            <a:off x="2428860" y="2643188"/>
            <a:ext cx="1357322" cy="1214446"/>
          </a:xfrm>
          <a:prstGeom prst="bentConnector3">
            <a:avLst>
              <a:gd name="adj1" fmla="val 50000"/>
            </a:avLst>
          </a:prstGeom>
          <a:ln w="9525">
            <a:solidFill>
              <a:schemeClr val="accent3"/>
            </a:solidFill>
          </a:ln>
          <a:effectLst/>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xmlns="" val="2382817653"/>
      </p:ext>
    </p:extLst>
  </p:cSld>
  <p:clrMapOvr>
    <a:masterClrMapping/>
  </p:clrMapOvr>
  <p:transition>
    <p:fade thruBlk="1"/>
  </p:transition>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extBox 13"/>
          <p:cNvSpPr txBox="1"/>
          <p:nvPr/>
        </p:nvSpPr>
        <p:spPr>
          <a:xfrm>
            <a:off x="-508" y="1922879"/>
            <a:ext cx="9144508" cy="1528624"/>
          </a:xfrm>
          <a:prstGeom prst="rect">
            <a:avLst/>
          </a:prstGeom>
          <a:solidFill>
            <a:srgbClr val="FEF6F0"/>
          </a:solidFill>
          <a:ln>
            <a:noFill/>
          </a:ln>
        </p:spPr>
        <p:txBody>
          <a:bodyPr wrap="square" rtlCol="0">
            <a:spAutoFit/>
          </a:bodyPr>
          <a:lstStyle/>
          <a:p>
            <a:pPr>
              <a:lnSpc>
                <a:spcPts val="2000"/>
              </a:lnSpc>
              <a:spcBef>
                <a:spcPts val="300"/>
              </a:spcBef>
            </a:pPr>
            <a:endParaRPr lang="th-TH" sz="1800" dirty="0" smtClean="0">
              <a:solidFill>
                <a:srgbClr val="C00000"/>
              </a:solidFill>
              <a:latin typeface="TH SarabunPSK" pitchFamily="34" charset="-34"/>
              <a:cs typeface="TH SarabunPSK" pitchFamily="34" charset="-34"/>
            </a:endParaRPr>
          </a:p>
          <a:p>
            <a:pPr>
              <a:lnSpc>
                <a:spcPts val="2000"/>
              </a:lnSpc>
              <a:spcBef>
                <a:spcPts val="300"/>
              </a:spcBef>
            </a:pPr>
            <a:endParaRPr lang="th-TH" sz="1800" dirty="0">
              <a:solidFill>
                <a:srgbClr val="C00000"/>
              </a:solidFill>
              <a:latin typeface="TH SarabunPSK" pitchFamily="34" charset="-34"/>
              <a:cs typeface="TH SarabunPSK" pitchFamily="34" charset="-34"/>
            </a:endParaRPr>
          </a:p>
          <a:p>
            <a:pPr>
              <a:lnSpc>
                <a:spcPts val="2000"/>
              </a:lnSpc>
              <a:spcBef>
                <a:spcPts val="300"/>
              </a:spcBef>
            </a:pPr>
            <a:endParaRPr lang="th-TH" sz="1800" dirty="0" smtClean="0">
              <a:solidFill>
                <a:srgbClr val="C00000"/>
              </a:solidFill>
              <a:latin typeface="TH SarabunPSK" pitchFamily="34" charset="-34"/>
              <a:cs typeface="TH SarabunPSK" pitchFamily="34" charset="-34"/>
            </a:endParaRPr>
          </a:p>
          <a:p>
            <a:pPr>
              <a:lnSpc>
                <a:spcPts val="2000"/>
              </a:lnSpc>
              <a:spcBef>
                <a:spcPts val="300"/>
              </a:spcBef>
            </a:pPr>
            <a:endParaRPr lang="th-TH" sz="1800" dirty="0">
              <a:solidFill>
                <a:srgbClr val="C00000"/>
              </a:solidFill>
              <a:latin typeface="TH SarabunPSK" pitchFamily="34" charset="-34"/>
              <a:cs typeface="TH SarabunPSK" pitchFamily="34" charset="-34"/>
            </a:endParaRPr>
          </a:p>
          <a:p>
            <a:pPr>
              <a:lnSpc>
                <a:spcPts val="2000"/>
              </a:lnSpc>
              <a:spcBef>
                <a:spcPts val="300"/>
              </a:spcBef>
            </a:pPr>
            <a:endParaRPr lang="en-US" sz="1800" dirty="0" smtClean="0">
              <a:solidFill>
                <a:srgbClr val="C00000"/>
              </a:solidFill>
              <a:latin typeface="TH SarabunPSK" pitchFamily="34" charset="-34"/>
              <a:cs typeface="TH SarabunPSK" pitchFamily="34" charset="-34"/>
            </a:endParaRPr>
          </a:p>
        </p:txBody>
      </p:sp>
      <p:pic>
        <p:nvPicPr>
          <p:cNvPr id="12" name="Picture 11"/>
          <p:cNvPicPr>
            <a:picLocks noChangeAspect="1"/>
          </p:cNvPicPr>
          <p:nvPr/>
        </p:nvPicPr>
        <p:blipFill>
          <a:blip r:embed="rId2" cstate="print">
            <a:extLst>
              <a:ext uri="{28A0092B-C50C-407E-A947-70E740481C1C}">
                <a14:useLocalDpi xmlns:a14="http://schemas.microsoft.com/office/drawing/2010/main" xmlns="" val="0"/>
              </a:ext>
            </a:extLst>
          </a:blip>
          <a:stretch>
            <a:fillRect/>
          </a:stretch>
        </p:blipFill>
        <p:spPr>
          <a:xfrm>
            <a:off x="3857620" y="2071684"/>
            <a:ext cx="2088232" cy="1285884"/>
          </a:xfrm>
          <a:prstGeom prst="rect">
            <a:avLst/>
          </a:prstGeom>
          <a:ln>
            <a:noFill/>
          </a:ln>
          <a:effectLst>
            <a:softEdge rad="112500"/>
          </a:effectLst>
        </p:spPr>
      </p:pic>
      <p:sp>
        <p:nvSpPr>
          <p:cNvPr id="2" name="Title 2"/>
          <p:cNvSpPr txBox="1">
            <a:spLocks/>
          </p:cNvSpPr>
          <p:nvPr/>
        </p:nvSpPr>
        <p:spPr>
          <a:xfrm>
            <a:off x="179513" y="123481"/>
            <a:ext cx="8691553" cy="560923"/>
          </a:xfrm>
          <a:prstGeom prst="rect">
            <a:avLst/>
          </a:prstGeom>
        </p:spPr>
        <p:txBody>
          <a:bodyPr/>
          <a:lstStyle>
            <a:lvl1pPr algn="l" defTabSz="779252" rtl="0" eaLnBrk="1" latinLnBrk="0" hangingPunct="1">
              <a:lnSpc>
                <a:spcPct val="90000"/>
              </a:lnSpc>
              <a:spcBef>
                <a:spcPct val="0"/>
              </a:spcBef>
              <a:buNone/>
              <a:defRPr lang="en-US" sz="2300" b="0" kern="1200" baseline="0" dirty="0">
                <a:solidFill>
                  <a:schemeClr val="tx1"/>
                </a:solidFill>
                <a:latin typeface="+mj-lt"/>
                <a:ea typeface="+mj-ea"/>
                <a:cs typeface="+mj-cs"/>
                <a:sym typeface="+mn-lt"/>
              </a:defRPr>
            </a:lvl1pPr>
          </a:lstStyle>
          <a:p>
            <a:r>
              <a:rPr lang="th-TH" sz="3100" b="1" dirty="0" smtClean="0">
                <a:latin typeface="TH SarabunPSK" pitchFamily="34" charset="-34"/>
                <a:cs typeface="TH SarabunPSK" pitchFamily="34" charset="-34"/>
              </a:rPr>
              <a:t>การสนับสนุนการพัฒนาคลัสเตอร์ </a:t>
            </a:r>
            <a:endParaRPr lang="th-TH" sz="3100" b="1" dirty="0">
              <a:latin typeface="TH SarabunPSK" pitchFamily="34" charset="-34"/>
              <a:cs typeface="TH SarabunPSK" pitchFamily="34" charset="-34"/>
            </a:endParaRPr>
          </a:p>
        </p:txBody>
      </p:sp>
      <p:graphicFrame>
        <p:nvGraphicFramePr>
          <p:cNvPr id="3" name="Diagram 2"/>
          <p:cNvGraphicFramePr/>
          <p:nvPr>
            <p:extLst>
              <p:ext uri="{D42A27DB-BD31-4B8C-83A1-F6EECF244321}">
                <p14:modId xmlns:p14="http://schemas.microsoft.com/office/powerpoint/2010/main" xmlns="" val="1297712125"/>
              </p:ext>
            </p:extLst>
          </p:nvPr>
        </p:nvGraphicFramePr>
        <p:xfrm>
          <a:off x="515065" y="1203599"/>
          <a:ext cx="8381043" cy="325815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pSp>
        <p:nvGrpSpPr>
          <p:cNvPr id="4" name="Group 3"/>
          <p:cNvGrpSpPr/>
          <p:nvPr/>
        </p:nvGrpSpPr>
        <p:grpSpPr>
          <a:xfrm>
            <a:off x="1000100" y="1857370"/>
            <a:ext cx="1024550" cy="607762"/>
            <a:chOff x="876328" y="861844"/>
            <a:chExt cx="5495872" cy="3222074"/>
          </a:xfrm>
        </p:grpSpPr>
        <p:pic>
          <p:nvPicPr>
            <p:cNvPr id="5" name="Picture 4"/>
            <p:cNvPicPr>
              <a:picLocks noChangeAspect="1"/>
            </p:cNvPicPr>
            <p:nvPr/>
          </p:nvPicPr>
          <p:blipFill>
            <a:blip r:embed="rId7" cstate="print">
              <a:extLst>
                <a:ext uri="{BEBA8EAE-BF5A-486C-A8C5-ECC9F3942E4B}">
                  <a14:imgProps xmlns:a14="http://schemas.microsoft.com/office/drawing/2010/main" xmlns="">
                    <a14:imgLayer r:embed="rId9">
                      <a14:imgEffect>
                        <a14:sharpenSoften amount="50000"/>
                      </a14:imgEffect>
                      <a14:imgEffect>
                        <a14:saturation sat="33000"/>
                      </a14:imgEffect>
                    </a14:imgLayer>
                  </a14:imgProps>
                </a:ext>
                <a:ext uri="{28A0092B-C50C-407E-A947-70E740481C1C}">
                  <a14:useLocalDpi xmlns:a14="http://schemas.microsoft.com/office/drawing/2010/main" xmlns="" val="0"/>
                </a:ext>
              </a:extLst>
            </a:blip>
            <a:stretch>
              <a:fillRect/>
            </a:stretch>
          </p:blipFill>
          <p:spPr>
            <a:xfrm>
              <a:off x="876328" y="861844"/>
              <a:ext cx="5495872" cy="3222074"/>
            </a:xfrm>
            <a:prstGeom prst="rect">
              <a:avLst/>
            </a:prstGeom>
          </p:spPr>
        </p:pic>
        <p:pic>
          <p:nvPicPr>
            <p:cNvPr id="6" name="Picture 2" descr="http://hammeroftruth.com/wp-content/uploads/2011/03/bitcoin-logo.jpg"/>
            <p:cNvPicPr>
              <a:picLocks noChangeAspect="1" noChangeArrowheads="1"/>
            </p:cNvPicPr>
            <p:nvPr/>
          </p:nvPicPr>
          <p:blipFill>
            <a:blip r:embed="rId10" cstate="print">
              <a:duotone>
                <a:prstClr val="black"/>
                <a:schemeClr val="accent3">
                  <a:tint val="45000"/>
                  <a:satMod val="400000"/>
                </a:schemeClr>
              </a:duotone>
              <a:extLst>
                <a:ext uri="{BEBA8EAE-BF5A-486C-A8C5-ECC9F3942E4B}">
                  <a14:imgProps xmlns:a14="http://schemas.microsoft.com/office/drawing/2010/main" xmlns="">
                    <a14:imgLayer r:embed="rId11">
                      <a14:imgEffect>
                        <a14:backgroundRemoval t="10000" b="90000" l="10000" r="90000">
                          <a14:foregroundMark x1="48000" y1="53769" x2="48000" y2="53769"/>
                          <a14:foregroundMark x1="48000" y1="55779" x2="58500" y2="19095"/>
                        </a14:backgroundRemoval>
                      </a14:imgEffect>
                      <a14:imgEffect>
                        <a14:sharpenSoften amount="-50000"/>
                      </a14:imgEffect>
                      <a14:imgEffect>
                        <a14:brightnessContrast bright="-20000"/>
                      </a14:imgEffect>
                    </a14:imgLayer>
                  </a14:imgProps>
                </a:ext>
                <a:ext uri="{28A0092B-C50C-407E-A947-70E740481C1C}">
                  <a14:useLocalDpi xmlns:a14="http://schemas.microsoft.com/office/drawing/2010/main" xmlns="" val="0"/>
                </a:ext>
              </a:extLst>
            </a:blip>
            <a:srcRect/>
            <a:stretch>
              <a:fillRect/>
            </a:stretch>
          </p:blipFill>
          <p:spPr bwMode="auto">
            <a:xfrm>
              <a:off x="1863280" y="1596791"/>
              <a:ext cx="1760984" cy="1752180"/>
            </a:xfrm>
            <a:prstGeom prst="rect">
              <a:avLst/>
            </a:prstGeom>
            <a:noFill/>
            <a:extLst>
              <a:ext uri="{909E8E84-426E-40DD-AFC4-6F175D3DCCD1}">
                <a14:hiddenFill xmlns:a14="http://schemas.microsoft.com/office/drawing/2010/main" xmlns="">
                  <a:solidFill>
                    <a:srgbClr val="FFFFFF"/>
                  </a:solidFill>
                </a14:hiddenFill>
              </a:ext>
            </a:extLst>
          </p:spPr>
        </p:pic>
        <p:pic>
          <p:nvPicPr>
            <p:cNvPr id="7" name="Picture 2" descr="http://hammeroftruth.com/wp-content/uploads/2011/03/bitcoin-logo.jpg"/>
            <p:cNvPicPr>
              <a:picLocks noChangeAspect="1" noChangeArrowheads="1"/>
            </p:cNvPicPr>
            <p:nvPr/>
          </p:nvPicPr>
          <p:blipFill>
            <a:blip r:embed="rId10" cstate="print">
              <a:duotone>
                <a:prstClr val="black"/>
                <a:schemeClr val="accent3">
                  <a:tint val="45000"/>
                  <a:satMod val="400000"/>
                </a:schemeClr>
              </a:duotone>
              <a:extLst>
                <a:ext uri="{BEBA8EAE-BF5A-486C-A8C5-ECC9F3942E4B}">
                  <a14:imgProps xmlns:a14="http://schemas.microsoft.com/office/drawing/2010/main" xmlns="">
                    <a14:imgLayer r:embed="rId11">
                      <a14:imgEffect>
                        <a14:backgroundRemoval t="10000" b="90000" l="10000" r="90000">
                          <a14:foregroundMark x1="48000" y1="53769" x2="48000" y2="53769"/>
                          <a14:foregroundMark x1="48000" y1="55779" x2="58500" y2="19095"/>
                        </a14:backgroundRemoval>
                      </a14:imgEffect>
                      <a14:imgEffect>
                        <a14:sharpenSoften amount="-50000"/>
                      </a14:imgEffect>
                      <a14:imgEffect>
                        <a14:brightnessContrast bright="-20000"/>
                      </a14:imgEffect>
                    </a14:imgLayer>
                  </a14:imgProps>
                </a:ext>
                <a:ext uri="{28A0092B-C50C-407E-A947-70E740481C1C}">
                  <a14:useLocalDpi xmlns:a14="http://schemas.microsoft.com/office/drawing/2010/main" xmlns="" val="0"/>
                </a:ext>
              </a:extLst>
            </a:blip>
            <a:srcRect/>
            <a:stretch>
              <a:fillRect/>
            </a:stretch>
          </p:blipFill>
          <p:spPr bwMode="auto">
            <a:xfrm>
              <a:off x="2979241" y="2134803"/>
              <a:ext cx="1760985" cy="1752179"/>
            </a:xfrm>
            <a:prstGeom prst="rect">
              <a:avLst/>
            </a:prstGeom>
            <a:noFill/>
            <a:extLst>
              <a:ext uri="{909E8E84-426E-40DD-AFC4-6F175D3DCCD1}">
                <a14:hiddenFill xmlns:a14="http://schemas.microsoft.com/office/drawing/2010/main" xmlns="">
                  <a:solidFill>
                    <a:srgbClr val="FFFFFF"/>
                  </a:solidFill>
                </a14:hiddenFill>
              </a:ext>
            </a:extLst>
          </p:spPr>
        </p:pic>
        <p:pic>
          <p:nvPicPr>
            <p:cNvPr id="8" name="Picture 2" descr="http://hammeroftruth.com/wp-content/uploads/2011/03/bitcoin-logo.jpg"/>
            <p:cNvPicPr>
              <a:picLocks noChangeAspect="1" noChangeArrowheads="1"/>
            </p:cNvPicPr>
            <p:nvPr/>
          </p:nvPicPr>
          <p:blipFill>
            <a:blip r:embed="rId10" cstate="print">
              <a:duotone>
                <a:prstClr val="black"/>
                <a:schemeClr val="accent3">
                  <a:tint val="45000"/>
                  <a:satMod val="400000"/>
                </a:schemeClr>
              </a:duotone>
              <a:extLst>
                <a:ext uri="{BEBA8EAE-BF5A-486C-A8C5-ECC9F3942E4B}">
                  <a14:imgProps xmlns:a14="http://schemas.microsoft.com/office/drawing/2010/main" xmlns="">
                    <a14:imgLayer r:embed="rId11">
                      <a14:imgEffect>
                        <a14:backgroundRemoval t="10000" b="90000" l="10000" r="90000">
                          <a14:foregroundMark x1="48000" y1="53769" x2="48000" y2="53769"/>
                          <a14:foregroundMark x1="48000" y1="55779" x2="58500" y2="19095"/>
                        </a14:backgroundRemoval>
                      </a14:imgEffect>
                      <a14:imgEffect>
                        <a14:sharpenSoften amount="-50000"/>
                      </a14:imgEffect>
                      <a14:imgEffect>
                        <a14:brightnessContrast bright="-20000"/>
                      </a14:imgEffect>
                    </a14:imgLayer>
                  </a14:imgProps>
                </a:ext>
                <a:ext uri="{28A0092B-C50C-407E-A947-70E740481C1C}">
                  <a14:useLocalDpi xmlns:a14="http://schemas.microsoft.com/office/drawing/2010/main" xmlns="" val="0"/>
                </a:ext>
              </a:extLst>
            </a:blip>
            <a:srcRect/>
            <a:stretch>
              <a:fillRect/>
            </a:stretch>
          </p:blipFill>
          <p:spPr bwMode="auto">
            <a:xfrm>
              <a:off x="4283968" y="1576449"/>
              <a:ext cx="1760984" cy="1752180"/>
            </a:xfrm>
            <a:prstGeom prst="rect">
              <a:avLst/>
            </a:prstGeom>
            <a:noFill/>
            <a:extLst>
              <a:ext uri="{909E8E84-426E-40DD-AFC4-6F175D3DCCD1}">
                <a14:hiddenFill xmlns:a14="http://schemas.microsoft.com/office/drawing/2010/main" xmlns="">
                  <a:solidFill>
                    <a:srgbClr val="FFFFFF"/>
                  </a:solidFill>
                </a14:hiddenFill>
              </a:ext>
            </a:extLst>
          </p:spPr>
        </p:pic>
      </p:grpSp>
      <p:pic>
        <p:nvPicPr>
          <p:cNvPr id="9" name="Picture 16" descr="http://www.iconshock.com/img_jpg/SOPHISTIQUE/education_icons/jpg/256/technology_icon.jpg"/>
          <p:cNvPicPr>
            <a:picLocks noChangeAspect="1" noChangeArrowheads="1"/>
          </p:cNvPicPr>
          <p:nvPr/>
        </p:nvPicPr>
        <p:blipFill>
          <a:blip r:embed="rId12" cstate="print">
            <a:extLst>
              <a:ext uri="{BEBA8EAE-BF5A-486C-A8C5-ECC9F3942E4B}">
                <a14:imgProps xmlns:a14="http://schemas.microsoft.com/office/drawing/2010/main" xmlns="">
                  <a14:imgLayer r:embed="rId13">
                    <a14:imgEffect>
                      <a14:backgroundRemoval t="0" b="100000" l="9766" r="100000"/>
                    </a14:imgEffect>
                    <a14:imgEffect>
                      <a14:saturation sat="33000"/>
                    </a14:imgEffect>
                  </a14:imgLayer>
                </a14:imgProps>
              </a:ext>
              <a:ext uri="{28A0092B-C50C-407E-A947-70E740481C1C}">
                <a14:useLocalDpi xmlns:a14="http://schemas.microsoft.com/office/drawing/2010/main" xmlns="" val="0"/>
              </a:ext>
            </a:extLst>
          </a:blip>
          <a:srcRect/>
          <a:stretch>
            <a:fillRect/>
          </a:stretch>
        </p:blipFill>
        <p:spPr bwMode="auto">
          <a:xfrm>
            <a:off x="7884380" y="2497838"/>
            <a:ext cx="648060" cy="645416"/>
          </a:xfrm>
          <a:prstGeom prst="rect">
            <a:avLst/>
          </a:prstGeom>
          <a:noFill/>
          <a:extLst>
            <a:ext uri="{909E8E84-426E-40DD-AFC4-6F175D3DCCD1}">
              <a14:hiddenFill xmlns:a14="http://schemas.microsoft.com/office/drawing/2010/main" xmlns="">
                <a:solidFill>
                  <a:srgbClr val="FFFFFF"/>
                </a:solidFill>
              </a14:hiddenFill>
            </a:ext>
          </a:extLst>
        </p:spPr>
      </p:pic>
      <p:pic>
        <p:nvPicPr>
          <p:cNvPr id="10" name="Picture 4" descr="http://www.psdgraphics.com/file/gold-scales.jpg"/>
          <p:cNvPicPr>
            <a:picLocks noChangeAspect="1" noChangeArrowheads="1"/>
          </p:cNvPicPr>
          <p:nvPr/>
        </p:nvPicPr>
        <p:blipFill>
          <a:blip r:embed="rId14" cstate="print">
            <a:extLst>
              <a:ext uri="{BEBA8EAE-BF5A-486C-A8C5-ECC9F3942E4B}">
                <a14:imgProps xmlns:a14="http://schemas.microsoft.com/office/drawing/2010/main" xmlns="">
                  <a14:imgLayer r:embed="rId15">
                    <a14:imgEffect>
                      <a14:backgroundRemoval t="0" b="90000" l="10000" r="90000"/>
                    </a14:imgEffect>
                  </a14:imgLayer>
                </a14:imgProps>
              </a:ext>
              <a:ext uri="{28A0092B-C50C-407E-A947-70E740481C1C}">
                <a14:useLocalDpi xmlns:a14="http://schemas.microsoft.com/office/drawing/2010/main" xmlns="" val="0"/>
              </a:ext>
            </a:extLst>
          </a:blip>
          <a:srcRect/>
          <a:stretch>
            <a:fillRect/>
          </a:stretch>
        </p:blipFill>
        <p:spPr bwMode="auto">
          <a:xfrm>
            <a:off x="1563317" y="3939905"/>
            <a:ext cx="1086721" cy="834481"/>
          </a:xfrm>
          <a:prstGeom prst="rect">
            <a:avLst/>
          </a:prstGeom>
          <a:noFill/>
          <a:extLst>
            <a:ext uri="{909E8E84-426E-40DD-AFC4-6F175D3DCCD1}">
              <a14:hiddenFill xmlns:a14="http://schemas.microsoft.com/office/drawing/2010/main" xmlns="">
                <a:solidFill>
                  <a:srgbClr val="FFFFFF"/>
                </a:solidFill>
              </a14:hiddenFill>
            </a:ext>
          </a:extLst>
        </p:spPr>
      </p:pic>
      <p:pic>
        <p:nvPicPr>
          <p:cNvPr id="11" name="Picture 8" descr="http://www.bestfreeicons.com/smimages/SubwayTrain-icon.png"/>
          <p:cNvPicPr>
            <a:picLocks noChangeAspect="1" noChangeArrowheads="1"/>
          </p:cNvPicPr>
          <p:nvPr/>
        </p:nvPicPr>
        <p:blipFill>
          <a:blip r:embed="rId16" cstate="print">
            <a:extLst>
              <a:ext uri="{28A0092B-C50C-407E-A947-70E740481C1C}">
                <a14:useLocalDpi xmlns:a14="http://schemas.microsoft.com/office/drawing/2010/main" xmlns="" val="0"/>
              </a:ext>
            </a:extLst>
          </a:blip>
          <a:srcRect/>
          <a:stretch>
            <a:fillRect/>
          </a:stretch>
        </p:blipFill>
        <p:spPr bwMode="auto">
          <a:xfrm>
            <a:off x="6781504" y="4083921"/>
            <a:ext cx="958848" cy="794141"/>
          </a:xfrm>
          <a:prstGeom prst="rect">
            <a:avLst/>
          </a:prstGeom>
          <a:noFill/>
          <a:extLst>
            <a:ext uri="{909E8E84-426E-40DD-AFC4-6F175D3DCCD1}">
              <a14:hiddenFill xmlns:a14="http://schemas.microsoft.com/office/drawing/2010/main" xmlns="">
                <a:solidFill>
                  <a:srgbClr val="FFFFFF"/>
                </a:solidFill>
              </a14:hiddenFill>
            </a:ext>
          </a:extLst>
        </p:spPr>
      </p:pic>
      <p:pic>
        <p:nvPicPr>
          <p:cNvPr id="13" name="Picture 10" descr="http://icons.iconarchive.com/icons/custom-icon-design/pretty-office-11/512/customer-service-icon.png"/>
          <p:cNvPicPr>
            <a:picLocks noChangeAspect="1" noChangeArrowheads="1"/>
          </p:cNvPicPr>
          <p:nvPr/>
        </p:nvPicPr>
        <p:blipFill>
          <a:blip r:embed="rId17" cstate="print">
            <a:extLst>
              <a:ext uri="{28A0092B-C50C-407E-A947-70E740481C1C}">
                <a14:useLocalDpi xmlns:a14="http://schemas.microsoft.com/office/drawing/2010/main" xmlns="" val="0"/>
              </a:ext>
            </a:extLst>
          </a:blip>
          <a:srcRect/>
          <a:stretch>
            <a:fillRect/>
          </a:stretch>
        </p:blipFill>
        <p:spPr bwMode="auto">
          <a:xfrm>
            <a:off x="7591665" y="2338415"/>
            <a:ext cx="585417" cy="482130"/>
          </a:xfrm>
          <a:prstGeom prst="rect">
            <a:avLst/>
          </a:prstGeom>
          <a:noFill/>
          <a:extLst>
            <a:ext uri="{909E8E84-426E-40DD-AFC4-6F175D3DCCD1}">
              <a14:hiddenFill xmlns:a14="http://schemas.microsoft.com/office/drawing/2010/main" xmlns="">
                <a:solidFill>
                  <a:srgbClr val="FFFFFF"/>
                </a:solidFill>
              </a14:hiddenFill>
            </a:ext>
          </a:extLst>
        </p:spPr>
      </p:pic>
      <p:sp>
        <p:nvSpPr>
          <p:cNvPr id="15" name="TextBox 14"/>
          <p:cNvSpPr txBox="1"/>
          <p:nvPr/>
        </p:nvSpPr>
        <p:spPr>
          <a:xfrm>
            <a:off x="5929322" y="428610"/>
            <a:ext cx="3428991" cy="1327030"/>
          </a:xfrm>
          <a:prstGeom prst="rect">
            <a:avLst/>
          </a:prstGeom>
          <a:noFill/>
          <a:ln w="9525">
            <a:noFill/>
          </a:ln>
        </p:spPr>
        <p:txBody>
          <a:bodyPr vert="horz" wrap="square" lIns="0" tIns="0" rIns="0" bIns="0" rtlCol="0">
            <a:spAutoFit/>
          </a:bodyPr>
          <a:lstStyle/>
          <a:p>
            <a:pPr>
              <a:lnSpc>
                <a:spcPct val="90000"/>
              </a:lnSpc>
              <a:spcBef>
                <a:spcPts val="400"/>
              </a:spcBef>
              <a:buClr>
                <a:srgbClr val="000000"/>
              </a:buClr>
              <a:buSzPct val="100000"/>
            </a:pPr>
            <a:r>
              <a:rPr lang="th-TH" sz="1500" b="1" noProof="0" dirty="0" smtClean="0">
                <a:solidFill>
                  <a:schemeClr val="accent3">
                    <a:lumMod val="75000"/>
                    <a:lumOff val="25000"/>
                  </a:schemeClr>
                </a:solidFill>
                <a:latin typeface="+mn-lt"/>
                <a:cs typeface="Arial Narrow" pitchFamily="34" charset="0"/>
              </a:rPr>
              <a:t>ให้คลัสเตอร์</a:t>
            </a:r>
            <a:r>
              <a:rPr lang="en-US" sz="1500" b="1" noProof="0" dirty="0" smtClean="0">
                <a:solidFill>
                  <a:schemeClr val="accent3">
                    <a:lumMod val="75000"/>
                    <a:lumOff val="25000"/>
                  </a:schemeClr>
                </a:solidFill>
                <a:latin typeface="+mn-lt"/>
                <a:cs typeface="Arial Narrow" pitchFamily="34" charset="0"/>
              </a:rPr>
              <a:t>+</a:t>
            </a:r>
            <a:r>
              <a:rPr lang="th-TH" sz="1500" b="1" noProof="0" dirty="0" smtClean="0">
                <a:solidFill>
                  <a:schemeClr val="accent3">
                    <a:lumMod val="75000"/>
                    <a:lumOff val="25000"/>
                  </a:schemeClr>
                </a:solidFill>
                <a:latin typeface="+mn-lt"/>
                <a:cs typeface="Arial Narrow" pitchFamily="34" charset="0"/>
              </a:rPr>
              <a:t>กิจการสนับสนุน </a:t>
            </a:r>
          </a:p>
          <a:p>
            <a:pPr>
              <a:lnSpc>
                <a:spcPct val="90000"/>
              </a:lnSpc>
              <a:spcBef>
                <a:spcPts val="400"/>
              </a:spcBef>
              <a:buClr>
                <a:srgbClr val="000000"/>
              </a:buClr>
              <a:buSzPct val="100000"/>
            </a:pPr>
            <a:r>
              <a:rPr lang="th-TH" sz="1500" b="0" noProof="0" dirty="0" smtClean="0">
                <a:latin typeface="+mn-lt"/>
                <a:cs typeface="Arial Narrow" pitchFamily="34" charset="0"/>
              </a:rPr>
              <a:t>ภาษีเงินได้นิติบุคคล</a:t>
            </a:r>
          </a:p>
          <a:p>
            <a:pPr>
              <a:lnSpc>
                <a:spcPct val="90000"/>
              </a:lnSpc>
              <a:spcBef>
                <a:spcPts val="400"/>
              </a:spcBef>
              <a:buClr>
                <a:srgbClr val="000000"/>
              </a:buClr>
              <a:buSzPct val="100000"/>
            </a:pPr>
            <a:r>
              <a:rPr lang="th-TH" sz="1500" dirty="0" smtClean="0">
                <a:cs typeface="Arial Narrow" pitchFamily="34" charset="0"/>
              </a:rPr>
              <a:t>อารขาเข้าเครื่องจักร</a:t>
            </a:r>
          </a:p>
          <a:p>
            <a:pPr>
              <a:lnSpc>
                <a:spcPct val="90000"/>
              </a:lnSpc>
              <a:spcBef>
                <a:spcPts val="400"/>
              </a:spcBef>
              <a:buClr>
                <a:srgbClr val="000000"/>
              </a:buClr>
              <a:buSzPct val="100000"/>
            </a:pPr>
            <a:r>
              <a:rPr lang="th-TH" sz="1500" b="0" noProof="0" dirty="0" smtClean="0">
                <a:latin typeface="+mn-lt"/>
                <a:cs typeface="Arial Narrow" pitchFamily="34" charset="0"/>
              </a:rPr>
              <a:t>ให้ต่างชาติถือกรรมสิทธิ์ที่ดิน</a:t>
            </a:r>
          </a:p>
          <a:p>
            <a:pPr>
              <a:lnSpc>
                <a:spcPct val="90000"/>
              </a:lnSpc>
              <a:spcBef>
                <a:spcPts val="400"/>
              </a:spcBef>
              <a:buClr>
                <a:srgbClr val="000000"/>
              </a:buClr>
              <a:buSzPct val="100000"/>
            </a:pPr>
            <a:r>
              <a:rPr lang="th-TH" sz="1500" dirty="0" smtClean="0">
                <a:cs typeface="Arial Narrow" pitchFamily="34" charset="0"/>
              </a:rPr>
              <a:t>ให้ถิ่นที่อยู่ถาวรแก่ผู้เชี่ยวชาญต่างชาติ</a:t>
            </a:r>
            <a:endParaRPr lang="th-TH" sz="1500" b="0" noProof="0" dirty="0" smtClean="0">
              <a:latin typeface="+mn-lt"/>
              <a:cs typeface="Arial Narrow" pitchFamily="34" charset="0"/>
            </a:endParaRPr>
          </a:p>
        </p:txBody>
      </p:sp>
      <p:sp>
        <p:nvSpPr>
          <p:cNvPr id="16" name="Rectangle 15"/>
          <p:cNvSpPr/>
          <p:nvPr/>
        </p:nvSpPr>
        <p:spPr>
          <a:xfrm>
            <a:off x="214282" y="714362"/>
            <a:ext cx="3214710" cy="707886"/>
          </a:xfrm>
          <a:prstGeom prst="rect">
            <a:avLst/>
          </a:prstGeom>
          <a:ln w="15875">
            <a:solidFill>
              <a:srgbClr val="C00000"/>
            </a:solidFill>
            <a:prstDash val="sysDot"/>
          </a:ln>
        </p:spPr>
        <p:txBody>
          <a:bodyPr wrap="square">
            <a:spAutoFit/>
          </a:bodyPr>
          <a:lstStyle/>
          <a:p>
            <a:pPr algn="ctr"/>
            <a:r>
              <a:rPr lang="th-TH" sz="2000" b="1" dirty="0" smtClean="0">
                <a:solidFill>
                  <a:srgbClr val="C00000"/>
                </a:solidFill>
                <a:latin typeface="TH SarabunPSK" pitchFamily="34" charset="-34"/>
                <a:cs typeface="TH SarabunPSK" pitchFamily="34" charset="-34"/>
              </a:rPr>
              <a:t>ยื่นขอรับการส่งเสริมภายในสิ้นปี 2559 </a:t>
            </a:r>
            <a:br>
              <a:rPr lang="th-TH" sz="2000" b="1" dirty="0" smtClean="0">
                <a:solidFill>
                  <a:srgbClr val="C00000"/>
                </a:solidFill>
                <a:latin typeface="TH SarabunPSK" pitchFamily="34" charset="-34"/>
                <a:cs typeface="TH SarabunPSK" pitchFamily="34" charset="-34"/>
              </a:rPr>
            </a:br>
            <a:r>
              <a:rPr lang="th-TH" sz="2000" b="1" dirty="0" smtClean="0">
                <a:solidFill>
                  <a:srgbClr val="C00000"/>
                </a:solidFill>
                <a:latin typeface="TH SarabunPSK" pitchFamily="34" charset="-34"/>
                <a:cs typeface="TH SarabunPSK" pitchFamily="34" charset="-34"/>
              </a:rPr>
              <a:t>และต้องเริ่มดำเนินการภายในปี 2560 </a:t>
            </a:r>
            <a:endParaRPr lang="th-TH" sz="2000" dirty="0">
              <a:solidFill>
                <a:srgbClr val="C00000"/>
              </a:solidFill>
              <a:latin typeface="TH SarabunPSK" pitchFamily="34" charset="-34"/>
              <a:cs typeface="TH SarabunPSK" pitchFamily="34" charset="-34"/>
            </a:endParaRPr>
          </a:p>
        </p:txBody>
      </p:sp>
    </p:spTree>
    <p:extLst>
      <p:ext uri="{BB962C8B-B14F-4D97-AF65-F5344CB8AC3E}">
        <p14:creationId xmlns:p14="http://schemas.microsoft.com/office/powerpoint/2010/main" xmlns="" val="1108359304"/>
      </p:ext>
    </p:extLst>
  </p:cSld>
  <p:clrMapOvr>
    <a:masterClrMapping/>
  </p:clrMapOvr>
  <p:transition>
    <p:fade thruBlk="1"/>
  </p:transition>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2"/>
          <p:cNvSpPr>
            <a:spLocks noGrp="1"/>
          </p:cNvSpPr>
          <p:nvPr>
            <p:ph type="title"/>
          </p:nvPr>
        </p:nvSpPr>
        <p:spPr>
          <a:xfrm>
            <a:off x="4643438" y="1428742"/>
            <a:ext cx="7826190" cy="560923"/>
          </a:xfrm>
        </p:spPr>
        <p:txBody>
          <a:bodyPr/>
          <a:lstStyle/>
          <a:p>
            <a:r>
              <a:rPr lang="th-TH" sz="2000" b="1" dirty="0">
                <a:latin typeface="TH SarabunPSK" pitchFamily="34" charset="-34"/>
                <a:ea typeface="+mn-ea"/>
                <a:cs typeface="TH SarabunPSK" pitchFamily="34" charset="-34"/>
              </a:rPr>
              <a:t>หลักการพัฒนาเขตเศรษฐกิจพิเศษ</a:t>
            </a:r>
            <a:endParaRPr lang="en-US" sz="2000" b="1" dirty="0">
              <a:latin typeface="TH SarabunPSK" pitchFamily="34" charset="-34"/>
              <a:ea typeface="+mn-ea"/>
              <a:cs typeface="TH SarabunPSK" pitchFamily="34" charset="-34"/>
            </a:endParaRPr>
          </a:p>
        </p:txBody>
      </p:sp>
      <p:sp>
        <p:nvSpPr>
          <p:cNvPr id="24" name="Title 2"/>
          <p:cNvSpPr txBox="1">
            <a:spLocks/>
          </p:cNvSpPr>
          <p:nvPr/>
        </p:nvSpPr>
        <p:spPr>
          <a:xfrm>
            <a:off x="310890" y="339505"/>
            <a:ext cx="8618394" cy="560923"/>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defRPr lang="en-US" sz="2700" b="0" kern="1200" baseline="0">
                <a:solidFill>
                  <a:schemeClr val="tx1"/>
                </a:solidFill>
                <a:latin typeface="+mj-lt"/>
                <a:ea typeface="+mj-ea"/>
                <a:cs typeface="+mj-cs"/>
                <a:sym typeface="+mn-lt"/>
              </a:defRPr>
            </a:lvl1pPr>
          </a:lstStyle>
          <a:p>
            <a:r>
              <a:rPr lang="th-TH" b="1" dirty="0" smtClean="0">
                <a:latin typeface="TH SarabunPSK" pitchFamily="34" charset="-34"/>
                <a:cs typeface="TH SarabunPSK" pitchFamily="34" charset="-34"/>
              </a:rPr>
              <a:t>รัฐบาลเริ่มเขตพัฒนาเศรษฐกิจพิเศษใน</a:t>
            </a:r>
            <a:r>
              <a:rPr lang="th-TH" b="1" dirty="0">
                <a:latin typeface="TH SarabunPSK" pitchFamily="34" charset="-34"/>
                <a:cs typeface="TH SarabunPSK" pitchFamily="34" charset="-34"/>
              </a:rPr>
              <a:t>ปี 2557</a:t>
            </a:r>
            <a:r>
              <a:rPr b="1" dirty="0">
                <a:latin typeface="TH SarabunPSK" pitchFamily="34" charset="-34"/>
                <a:cs typeface="TH SarabunPSK" pitchFamily="34" charset="-34"/>
              </a:rPr>
              <a:t> </a:t>
            </a:r>
            <a:r>
              <a:rPr lang="th-TH" b="1" dirty="0">
                <a:latin typeface="TH SarabunPSK" pitchFamily="34" charset="-34"/>
                <a:cs typeface="TH SarabunPSK" pitchFamily="34" charset="-34"/>
              </a:rPr>
              <a:t>เพื่อส่งเสริมการลงทุนในพื้นที่ชายแดน และเพื่อสร้างประโยชน์จากการเข้าสู่ประชาคมอาเซียน</a:t>
            </a:r>
            <a:endParaRPr lang="en-US" b="1" dirty="0">
              <a:latin typeface="TH SarabunPSK" pitchFamily="34" charset="-34"/>
              <a:cs typeface="TH SarabunPSK" pitchFamily="34" charset="-34"/>
            </a:endParaRPr>
          </a:p>
        </p:txBody>
      </p:sp>
      <p:grpSp>
        <p:nvGrpSpPr>
          <p:cNvPr id="3" name="Group 8"/>
          <p:cNvGrpSpPr/>
          <p:nvPr/>
        </p:nvGrpSpPr>
        <p:grpSpPr>
          <a:xfrm>
            <a:off x="4532162" y="1791552"/>
            <a:ext cx="4326117" cy="3070581"/>
            <a:chOff x="4833642" y="2560179"/>
            <a:chExt cx="4686627" cy="4094108"/>
          </a:xfrm>
        </p:grpSpPr>
        <p:sp>
          <p:nvSpPr>
            <p:cNvPr id="2" name="Rectangle 1"/>
            <p:cNvSpPr/>
            <p:nvPr/>
          </p:nvSpPr>
          <p:spPr>
            <a:xfrm>
              <a:off x="4833642" y="2594714"/>
              <a:ext cx="4686627" cy="4059573"/>
            </a:xfrm>
            <a:prstGeom prst="rect">
              <a:avLst/>
            </a:prstGeom>
          </p:spPr>
          <p:txBody>
            <a:bodyPr wrap="square">
              <a:spAutoFit/>
            </a:bodyPr>
            <a:lstStyle/>
            <a:p>
              <a:pPr marL="173167" indent="-173167" defTabSz="854710">
                <a:lnSpc>
                  <a:spcPct val="90000"/>
                </a:lnSpc>
                <a:spcBef>
                  <a:spcPts val="511"/>
                </a:spcBef>
                <a:spcAft>
                  <a:spcPct val="35000"/>
                </a:spcAft>
              </a:pPr>
              <a:r>
                <a:rPr lang="en-US" sz="1700" b="0" dirty="0">
                  <a:latin typeface="TH SarabunPSK" pitchFamily="34" charset="-34"/>
                  <a:cs typeface="TH SarabunPSK" pitchFamily="34" charset="-34"/>
                </a:rPr>
                <a:t>&gt; </a:t>
              </a:r>
              <a:r>
                <a:rPr lang="th-TH" sz="1700" spc="17" dirty="0">
                  <a:latin typeface="TH SarabunPSK" pitchFamily="34" charset="-34"/>
                  <a:cs typeface="TH SarabunPSK" pitchFamily="34" charset="-34"/>
                </a:rPr>
                <a:t>ดำเนินงานภายใต้กรอบกฎหมายปัจจุบัน </a:t>
              </a:r>
              <a:endParaRPr lang="en-US" sz="1700" spc="17" dirty="0">
                <a:latin typeface="TH SarabunPSK" pitchFamily="34" charset="-34"/>
                <a:cs typeface="TH SarabunPSK" pitchFamily="34" charset="-34"/>
              </a:endParaRPr>
            </a:p>
            <a:p>
              <a:pPr marL="455917" indent="-455917" defTabSz="719726">
                <a:tabLst>
                  <a:tab pos="147463" algn="l"/>
                </a:tabLst>
              </a:pPr>
              <a:r>
                <a:rPr lang="en-US" sz="1700" b="0" spc="26" dirty="0">
                  <a:latin typeface="TH SarabunPSK" pitchFamily="34" charset="-34"/>
                  <a:cs typeface="TH SarabunPSK" pitchFamily="34" charset="-34"/>
                </a:rPr>
                <a:t>&gt;</a:t>
              </a:r>
              <a:r>
                <a:rPr lang="th-TH" sz="1700" b="0" spc="26" dirty="0">
                  <a:latin typeface="TH SarabunPSK" pitchFamily="34" charset="-34"/>
                  <a:cs typeface="TH SarabunPSK" pitchFamily="34" charset="-34"/>
                </a:rPr>
                <a:t> </a:t>
              </a:r>
              <a:r>
                <a:rPr lang="th-TH" sz="1700" dirty="0">
                  <a:latin typeface="TH SarabunPSK" pitchFamily="34" charset="-34"/>
                  <a:cs typeface="TH SarabunPSK" pitchFamily="34" charset="-34"/>
                </a:rPr>
                <a:t>บทบาทแต่ละภาคส่วน </a:t>
              </a:r>
            </a:p>
            <a:p>
              <a:pPr marL="455917" indent="-455917" defTabSz="719726">
                <a:tabLst>
                  <a:tab pos="147463" algn="l"/>
                </a:tabLst>
              </a:pPr>
              <a:r>
                <a:rPr lang="th-TH" sz="1700" dirty="0">
                  <a:latin typeface="TH SarabunPSK" pitchFamily="34" charset="-34"/>
                  <a:cs typeface="TH SarabunPSK" pitchFamily="34" charset="-34"/>
                </a:rPr>
                <a:t>    (1)  รัฐ</a:t>
              </a:r>
              <a:r>
                <a:rPr lang="en-US" sz="1700" dirty="0">
                  <a:latin typeface="TH SarabunPSK" pitchFamily="34" charset="-34"/>
                  <a:cs typeface="TH SarabunPSK" pitchFamily="34" charset="-34"/>
                </a:rPr>
                <a:t>  </a:t>
              </a:r>
              <a:r>
                <a:rPr lang="th-TH" sz="1700" dirty="0">
                  <a:latin typeface="TH SarabunPSK" pitchFamily="34" charset="-34"/>
                  <a:cs typeface="TH SarabunPSK" pitchFamily="34" charset="-34"/>
                </a:rPr>
                <a:t>-  ให้สิทธิประโยชน์จัดโครงสร้างพื้นฐาน ปรับ </a:t>
              </a:r>
              <a:br>
                <a:rPr lang="th-TH" sz="1700" dirty="0">
                  <a:latin typeface="TH SarabunPSK" pitchFamily="34" charset="-34"/>
                  <a:cs typeface="TH SarabunPSK" pitchFamily="34" charset="-34"/>
                </a:rPr>
              </a:br>
              <a:r>
                <a:rPr lang="th-TH" sz="1700" dirty="0">
                  <a:latin typeface="TH SarabunPSK" pitchFamily="34" charset="-34"/>
                  <a:cs typeface="TH SarabunPSK" pitchFamily="34" charset="-34"/>
                </a:rPr>
                <a:t> กฎระเบียบ </a:t>
              </a:r>
            </a:p>
            <a:p>
              <a:pPr marL="455917" indent="-455917" defTabSz="719726">
                <a:tabLst>
                  <a:tab pos="147463" algn="l"/>
                </a:tabLst>
              </a:pPr>
              <a:r>
                <a:rPr lang="th-TH" sz="1700" dirty="0">
                  <a:latin typeface="TH SarabunPSK" pitchFamily="34" charset="-34"/>
                  <a:cs typeface="TH SarabunPSK" pitchFamily="34" charset="-34"/>
                </a:rPr>
                <a:t>    (2)  เอกชน </a:t>
              </a:r>
              <a:r>
                <a:rPr lang="en-US" sz="1700" dirty="0">
                  <a:latin typeface="TH SarabunPSK" pitchFamily="34" charset="-34"/>
                  <a:cs typeface="TH SarabunPSK" pitchFamily="34" charset="-34"/>
                </a:rPr>
                <a:t> </a:t>
              </a:r>
              <a:r>
                <a:rPr lang="th-TH" sz="1700" dirty="0">
                  <a:latin typeface="TH SarabunPSK" pitchFamily="34" charset="-34"/>
                  <a:cs typeface="TH SarabunPSK" pitchFamily="34" charset="-34"/>
                </a:rPr>
                <a:t>-  ลงทุน ประชาชน - มีส่วนร่วม และได้รับ </a:t>
              </a:r>
              <a:br>
                <a:rPr lang="th-TH" sz="1700" dirty="0">
                  <a:latin typeface="TH SarabunPSK" pitchFamily="34" charset="-34"/>
                  <a:cs typeface="TH SarabunPSK" pitchFamily="34" charset="-34"/>
                </a:rPr>
              </a:br>
              <a:r>
                <a:rPr lang="th-TH" sz="1700" dirty="0">
                  <a:latin typeface="TH SarabunPSK" pitchFamily="34" charset="-34"/>
                  <a:cs typeface="TH SarabunPSK" pitchFamily="34" charset="-34"/>
                </a:rPr>
                <a:t> ประโยชน์จากการพัฒนา</a:t>
              </a:r>
            </a:p>
            <a:p>
              <a:pPr marL="173167" indent="-173167" defTabSz="854710">
                <a:lnSpc>
                  <a:spcPct val="90000"/>
                </a:lnSpc>
                <a:spcBef>
                  <a:spcPts val="511"/>
                </a:spcBef>
                <a:spcAft>
                  <a:spcPct val="35000"/>
                </a:spcAft>
              </a:pPr>
              <a:r>
                <a:rPr lang="en-US" sz="1700" b="0" spc="26" dirty="0">
                  <a:latin typeface="TH SarabunPSK" pitchFamily="34" charset="-34"/>
                  <a:cs typeface="TH SarabunPSK" pitchFamily="34" charset="-34"/>
                </a:rPr>
                <a:t>&gt; </a:t>
              </a:r>
              <a:r>
                <a:rPr lang="th-TH" sz="1700" dirty="0">
                  <a:latin typeface="TH SarabunPSK" pitchFamily="34" charset="-34"/>
                  <a:cs typeface="TH SarabunPSK" pitchFamily="34" charset="-34"/>
                </a:rPr>
                <a:t>ไม่ส่งผลกระทบทางลบต่อทรัพยากรธรรมชาติ สิ่งแวดล้อม สังคม และความมั่นคง </a:t>
              </a:r>
              <a:endParaRPr lang="en-US" sz="1700" dirty="0">
                <a:latin typeface="TH SarabunPSK" pitchFamily="34" charset="-34"/>
                <a:cs typeface="TH SarabunPSK" pitchFamily="34" charset="-34"/>
              </a:endParaRPr>
            </a:p>
            <a:p>
              <a:pPr marL="173167" indent="-173167" defTabSz="854710">
                <a:lnSpc>
                  <a:spcPct val="90000"/>
                </a:lnSpc>
                <a:spcBef>
                  <a:spcPts val="511"/>
                </a:spcBef>
                <a:spcAft>
                  <a:spcPct val="35000"/>
                </a:spcAft>
              </a:pPr>
              <a:r>
                <a:rPr lang="en-US" sz="1700" b="0" spc="26" dirty="0">
                  <a:latin typeface="TH SarabunPSK" pitchFamily="34" charset="-34"/>
                  <a:cs typeface="TH SarabunPSK" pitchFamily="34" charset="-34"/>
                </a:rPr>
                <a:t>&gt; </a:t>
              </a:r>
              <a:r>
                <a:rPr lang="th-TH" sz="1700" dirty="0">
                  <a:latin typeface="TH SarabunPSK" pitchFamily="34" charset="-34"/>
                  <a:cs typeface="TH SarabunPSK" pitchFamily="34" charset="-34"/>
                </a:rPr>
                <a:t>มีความยืดหยุ่น สามารถปรับเปลี่ยนได้ตามสถานการณ์</a:t>
              </a:r>
              <a:endParaRPr lang="th-TH" sz="1700" b="0" spc="26" dirty="0">
                <a:latin typeface="TH SarabunPSK" pitchFamily="34" charset="-34"/>
                <a:cs typeface="TH SarabunPSK" pitchFamily="34" charset="-34"/>
              </a:endParaRPr>
            </a:p>
            <a:p>
              <a:pPr marL="173167" indent="-173167" defTabSz="854710">
                <a:lnSpc>
                  <a:spcPct val="90000"/>
                </a:lnSpc>
                <a:spcBef>
                  <a:spcPts val="511"/>
                </a:spcBef>
                <a:spcAft>
                  <a:spcPct val="35000"/>
                </a:spcAft>
              </a:pPr>
              <a:r>
                <a:rPr lang="en-US" sz="1700" dirty="0">
                  <a:latin typeface="TH SarabunPSK" pitchFamily="34" charset="-34"/>
                  <a:cs typeface="TH SarabunPSK" pitchFamily="34" charset="-34"/>
                </a:rPr>
                <a:t>&gt; </a:t>
              </a:r>
              <a:r>
                <a:rPr lang="th-TH" sz="1700" dirty="0">
                  <a:latin typeface="TH SarabunPSK" pitchFamily="34" charset="-34"/>
                  <a:cs typeface="TH SarabunPSK" pitchFamily="34" charset="-34"/>
                </a:rPr>
                <a:t>กำหนดพื้นที่ตามเขตปกครอง เพื่อความสะดวกในการ</a:t>
              </a:r>
              <a:r>
                <a:rPr lang="th-TH" sz="1700" dirty="0" smtClean="0">
                  <a:latin typeface="TH SarabunPSK" pitchFamily="34" charset="-34"/>
                  <a:cs typeface="TH SarabunPSK" pitchFamily="34" charset="-34"/>
                </a:rPr>
                <a:t>บริหารจัดการ</a:t>
              </a:r>
              <a:endParaRPr lang="th-TH" sz="1700" b="0" spc="26" dirty="0">
                <a:latin typeface="TH SarabunPSK" pitchFamily="34" charset="-34"/>
                <a:ea typeface="Cordia New"/>
                <a:cs typeface="TH SarabunPSK" pitchFamily="34" charset="-34"/>
              </a:endParaRPr>
            </a:p>
          </p:txBody>
        </p:sp>
        <p:cxnSp>
          <p:nvCxnSpPr>
            <p:cNvPr id="7" name="Horizontal Line"/>
            <p:cNvCxnSpPr>
              <a:cxnSpLocks/>
            </p:cNvCxnSpPr>
            <p:nvPr/>
          </p:nvCxnSpPr>
          <p:spPr>
            <a:xfrm>
              <a:off x="4895850" y="2560179"/>
              <a:ext cx="4453690" cy="0"/>
            </a:xfrm>
            <a:prstGeom prst="line">
              <a:avLst/>
            </a:prstGeom>
            <a:ln w="22225">
              <a:solidFill>
                <a:schemeClr val="accent3"/>
              </a:solidFill>
            </a:ln>
            <a:effectLst/>
          </p:spPr>
          <p:style>
            <a:lnRef idx="1">
              <a:schemeClr val="accent1"/>
            </a:lnRef>
            <a:fillRef idx="0">
              <a:schemeClr val="accent1"/>
            </a:fillRef>
            <a:effectRef idx="0">
              <a:schemeClr val="accent1"/>
            </a:effectRef>
            <a:fontRef idx="minor">
              <a:schemeClr val="tx1"/>
            </a:fontRef>
          </p:style>
        </p:cxnSp>
      </p:grpSp>
      <p:grpSp>
        <p:nvGrpSpPr>
          <p:cNvPr id="4" name="Group 7"/>
          <p:cNvGrpSpPr/>
          <p:nvPr/>
        </p:nvGrpSpPr>
        <p:grpSpPr>
          <a:xfrm>
            <a:off x="257931" y="1285866"/>
            <a:ext cx="4016526" cy="2996890"/>
            <a:chOff x="203221" y="1885935"/>
            <a:chExt cx="4351237" cy="3995855"/>
          </a:xfrm>
        </p:grpSpPr>
        <p:cxnSp>
          <p:nvCxnSpPr>
            <p:cNvPr id="28" name="Straight Arrow Connector 27"/>
            <p:cNvCxnSpPr/>
            <p:nvPr/>
          </p:nvCxnSpPr>
          <p:spPr>
            <a:xfrm rot="16200000">
              <a:off x="2827750" y="4828414"/>
              <a:ext cx="714380" cy="3049"/>
            </a:xfrm>
            <a:prstGeom prst="straightConnector1">
              <a:avLst/>
            </a:prstGeom>
            <a:ln w="19050">
              <a:solidFill>
                <a:schemeClr val="tx1">
                  <a:lumMod val="50000"/>
                  <a:lumOff val="50000"/>
                </a:schemeClr>
              </a:solidFill>
              <a:prstDash val="sysDot"/>
              <a:tailEnd type="arrow"/>
            </a:ln>
          </p:spPr>
          <p:style>
            <a:lnRef idx="1">
              <a:schemeClr val="accent1"/>
            </a:lnRef>
            <a:fillRef idx="0">
              <a:schemeClr val="accent1"/>
            </a:fillRef>
            <a:effectRef idx="0">
              <a:schemeClr val="accent1"/>
            </a:effectRef>
            <a:fontRef idx="minor">
              <a:schemeClr val="tx1"/>
            </a:fontRef>
          </p:style>
        </p:cxnSp>
        <p:cxnSp>
          <p:nvCxnSpPr>
            <p:cNvPr id="29" name="Straight Arrow Connector 28"/>
            <p:cNvCxnSpPr/>
            <p:nvPr/>
          </p:nvCxnSpPr>
          <p:spPr>
            <a:xfrm>
              <a:off x="1062583" y="3755544"/>
              <a:ext cx="771212" cy="2824"/>
            </a:xfrm>
            <a:prstGeom prst="straightConnector1">
              <a:avLst/>
            </a:prstGeom>
            <a:ln w="19050">
              <a:solidFill>
                <a:schemeClr val="tx1">
                  <a:lumMod val="50000"/>
                  <a:lumOff val="50000"/>
                </a:schemeClr>
              </a:solidFill>
              <a:prstDash val="sysDot"/>
              <a:tailEnd type="arrow"/>
            </a:ln>
          </p:spPr>
          <p:style>
            <a:lnRef idx="1">
              <a:schemeClr val="accent1"/>
            </a:lnRef>
            <a:fillRef idx="0">
              <a:schemeClr val="accent1"/>
            </a:fillRef>
            <a:effectRef idx="0">
              <a:schemeClr val="accent1"/>
            </a:effectRef>
            <a:fontRef idx="minor">
              <a:schemeClr val="tx1"/>
            </a:fontRef>
          </p:style>
        </p:cxnSp>
        <p:cxnSp>
          <p:nvCxnSpPr>
            <p:cNvPr id="30" name="Straight Arrow Connector 29"/>
            <p:cNvCxnSpPr/>
            <p:nvPr/>
          </p:nvCxnSpPr>
          <p:spPr>
            <a:xfrm>
              <a:off x="1062583" y="2924925"/>
              <a:ext cx="771212" cy="2824"/>
            </a:xfrm>
            <a:prstGeom prst="straightConnector1">
              <a:avLst/>
            </a:prstGeom>
            <a:ln w="19050">
              <a:solidFill>
                <a:schemeClr val="tx1">
                  <a:lumMod val="50000"/>
                  <a:lumOff val="50000"/>
                </a:schemeClr>
              </a:solidFill>
              <a:prstDash val="sysDot"/>
              <a:tailEnd type="arrow"/>
            </a:ln>
          </p:spPr>
          <p:style>
            <a:lnRef idx="1">
              <a:schemeClr val="accent1"/>
            </a:lnRef>
            <a:fillRef idx="0">
              <a:schemeClr val="accent1"/>
            </a:fillRef>
            <a:effectRef idx="0">
              <a:schemeClr val="accent1"/>
            </a:effectRef>
            <a:fontRef idx="minor">
              <a:schemeClr val="tx1"/>
            </a:fontRef>
          </p:style>
        </p:cxnSp>
        <p:sp>
          <p:nvSpPr>
            <p:cNvPr id="31" name="TextBox 30"/>
            <p:cNvSpPr txBox="1"/>
            <p:nvPr/>
          </p:nvSpPr>
          <p:spPr>
            <a:xfrm>
              <a:off x="248717" y="2670074"/>
              <a:ext cx="1156817" cy="677108"/>
            </a:xfrm>
            <a:prstGeom prst="rect">
              <a:avLst/>
            </a:prstGeom>
            <a:ln w="19050">
              <a:solidFill>
                <a:schemeClr val="tx1">
                  <a:lumMod val="50000"/>
                  <a:lumOff val="50000"/>
                </a:schemeClr>
              </a:solidFill>
              <a:prstDash val="sysDot"/>
            </a:ln>
          </p:spPr>
          <p:style>
            <a:lnRef idx="2">
              <a:schemeClr val="accent6"/>
            </a:lnRef>
            <a:fillRef idx="1">
              <a:schemeClr val="lt1"/>
            </a:fillRef>
            <a:effectRef idx="0">
              <a:schemeClr val="accent6"/>
            </a:effectRef>
            <a:fontRef idx="minor">
              <a:schemeClr val="dk1"/>
            </a:fontRef>
          </p:style>
          <p:txBody>
            <a:bodyPr wrap="square" rtlCol="0">
              <a:spAutoFit/>
            </a:bodyPr>
            <a:lstStyle/>
            <a:p>
              <a:pPr algn="ctr">
                <a:lnSpc>
                  <a:spcPct val="90000"/>
                </a:lnSpc>
              </a:pPr>
              <a:r>
                <a:rPr lang="th-TH" sz="1500" dirty="0">
                  <a:latin typeface="TH SarabunPSK" pitchFamily="34" charset="-34"/>
                  <a:cs typeface="TH SarabunPSK" pitchFamily="34" charset="-34"/>
                </a:rPr>
                <a:t>มีการกำหนดขอบเขตชัดเจน</a:t>
              </a:r>
              <a:endParaRPr lang="en-US" sz="1500" dirty="0">
                <a:latin typeface="TH SarabunPSK" pitchFamily="34" charset="-34"/>
                <a:cs typeface="TH SarabunPSK" pitchFamily="34" charset="-34"/>
              </a:endParaRPr>
            </a:p>
          </p:txBody>
        </p:sp>
        <p:sp>
          <p:nvSpPr>
            <p:cNvPr id="32" name="TextBox 31"/>
            <p:cNvSpPr txBox="1"/>
            <p:nvPr/>
          </p:nvSpPr>
          <p:spPr>
            <a:xfrm>
              <a:off x="1871558" y="4835350"/>
              <a:ext cx="2682900" cy="1046440"/>
            </a:xfrm>
            <a:prstGeom prst="rect">
              <a:avLst/>
            </a:prstGeom>
            <a:solidFill>
              <a:schemeClr val="bg1"/>
            </a:solidFill>
            <a:ln w="19050">
              <a:solidFill>
                <a:schemeClr val="tx1">
                  <a:lumMod val="50000"/>
                  <a:lumOff val="50000"/>
                </a:schemeClr>
              </a:solidFill>
              <a:prstDash val="sysDot"/>
            </a:ln>
          </p:spPr>
          <p:style>
            <a:lnRef idx="2">
              <a:schemeClr val="accent6"/>
            </a:lnRef>
            <a:fillRef idx="1">
              <a:schemeClr val="lt1"/>
            </a:fillRef>
            <a:effectRef idx="0">
              <a:schemeClr val="accent6"/>
            </a:effectRef>
            <a:fontRef idx="minor">
              <a:schemeClr val="dk1"/>
            </a:fontRef>
          </p:style>
          <p:txBody>
            <a:bodyPr wrap="square" rtlCol="0">
              <a:spAutoFit/>
            </a:bodyPr>
            <a:lstStyle/>
            <a:p>
              <a:pPr algn="ctr"/>
              <a:r>
                <a:rPr lang="th-TH" sz="1500" dirty="0">
                  <a:latin typeface="TH SarabunPSK" pitchFamily="34" charset="-34"/>
                  <a:cs typeface="TH SarabunPSK" pitchFamily="34" charset="-34"/>
                </a:rPr>
                <a:t>การบริหารจัดการ</a:t>
              </a:r>
              <a:br>
                <a:rPr lang="th-TH" sz="1500" dirty="0">
                  <a:latin typeface="TH SarabunPSK" pitchFamily="34" charset="-34"/>
                  <a:cs typeface="TH SarabunPSK" pitchFamily="34" charset="-34"/>
                </a:rPr>
              </a:br>
              <a:r>
                <a:rPr lang="th-TH" sz="1500" dirty="0">
                  <a:latin typeface="TH SarabunPSK" pitchFamily="34" charset="-34"/>
                  <a:cs typeface="TH SarabunPSK" pitchFamily="34" charset="-34"/>
                </a:rPr>
                <a:t>ที่แตกต่างจากที่อื่น</a:t>
              </a:r>
            </a:p>
            <a:p>
              <a:pPr algn="ctr"/>
              <a:r>
                <a:rPr lang="th-TH" sz="1500" dirty="0">
                  <a:latin typeface="TH SarabunPSK" pitchFamily="34" charset="-34"/>
                  <a:cs typeface="TH SarabunPSK" pitchFamily="34" charset="-34"/>
                </a:rPr>
                <a:t>เพื่อสนับสนุนกิจกรรมทางเศรษฐกิจ</a:t>
              </a:r>
              <a:endParaRPr lang="en-US" sz="1500" dirty="0">
                <a:latin typeface="TH SarabunPSK" pitchFamily="34" charset="-34"/>
                <a:cs typeface="TH SarabunPSK" pitchFamily="34" charset="-34"/>
              </a:endParaRPr>
            </a:p>
          </p:txBody>
        </p:sp>
        <p:sp>
          <p:nvSpPr>
            <p:cNvPr id="33" name="TextBox 32"/>
            <p:cNvSpPr txBox="1"/>
            <p:nvPr/>
          </p:nvSpPr>
          <p:spPr>
            <a:xfrm>
              <a:off x="203221" y="3517418"/>
              <a:ext cx="1221089" cy="1046441"/>
            </a:xfrm>
            <a:prstGeom prst="rect">
              <a:avLst/>
            </a:prstGeom>
            <a:ln w="19050">
              <a:solidFill>
                <a:schemeClr val="tx1">
                  <a:lumMod val="50000"/>
                  <a:lumOff val="50000"/>
                </a:schemeClr>
              </a:solidFill>
              <a:prstDash val="sysDot"/>
            </a:ln>
          </p:spPr>
          <p:style>
            <a:lnRef idx="2">
              <a:schemeClr val="accent6"/>
            </a:lnRef>
            <a:fillRef idx="1">
              <a:schemeClr val="lt1"/>
            </a:fillRef>
            <a:effectRef idx="0">
              <a:schemeClr val="accent6"/>
            </a:effectRef>
            <a:fontRef idx="minor">
              <a:schemeClr val="dk1"/>
            </a:fontRef>
          </p:style>
          <p:txBody>
            <a:bodyPr wrap="square" rtlCol="0">
              <a:spAutoFit/>
            </a:bodyPr>
            <a:lstStyle/>
            <a:p>
              <a:pPr algn="ctr"/>
              <a:r>
                <a:rPr lang="th-TH" sz="1500" dirty="0">
                  <a:latin typeface="TH SarabunPSK" pitchFamily="34" charset="-34"/>
                  <a:cs typeface="TH SarabunPSK" pitchFamily="34" charset="-34"/>
                </a:rPr>
                <a:t>มีกิจกรรมทางเศรษฐกิจที่</a:t>
              </a:r>
            </a:p>
            <a:p>
              <a:pPr algn="ctr"/>
              <a:r>
                <a:rPr lang="th-TH" sz="1500" dirty="0">
                  <a:latin typeface="TH SarabunPSK" pitchFamily="34" charset="-34"/>
                  <a:cs typeface="TH SarabunPSK" pitchFamily="34" charset="-34"/>
                </a:rPr>
                <a:t>เฉพาะ</a:t>
              </a:r>
              <a:endParaRPr lang="en-US" sz="1500" dirty="0">
                <a:latin typeface="TH SarabunPSK" pitchFamily="34" charset="-34"/>
                <a:cs typeface="TH SarabunPSK" pitchFamily="34" charset="-34"/>
              </a:endParaRPr>
            </a:p>
          </p:txBody>
        </p:sp>
        <p:sp>
          <p:nvSpPr>
            <p:cNvPr id="34" name="Rectangle 33"/>
            <p:cNvSpPr/>
            <p:nvPr/>
          </p:nvSpPr>
          <p:spPr>
            <a:xfrm>
              <a:off x="1855217" y="2594713"/>
              <a:ext cx="2699241" cy="1850253"/>
            </a:xfrm>
            <a:prstGeom prst="rect">
              <a:avLst/>
            </a:prstGeom>
            <a:solidFill>
              <a:schemeClr val="accent3">
                <a:lumMod val="60000"/>
                <a:lumOff val="40000"/>
              </a:schemeClr>
            </a:solidFill>
            <a:ln>
              <a:solidFill>
                <a:schemeClr val="accent3">
                  <a:lumMod val="75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p:txBody>
        </p:sp>
        <p:sp>
          <p:nvSpPr>
            <p:cNvPr id="35" name="Rectangle 34"/>
            <p:cNvSpPr/>
            <p:nvPr/>
          </p:nvSpPr>
          <p:spPr>
            <a:xfrm>
              <a:off x="1983751" y="2837611"/>
              <a:ext cx="1135395" cy="1488292"/>
            </a:xfrm>
            <a:prstGeom prst="rect">
              <a:avLst/>
            </a:prstGeom>
            <a:solidFill>
              <a:schemeClr val="accent3">
                <a:lumMod val="75000"/>
              </a:schemeClr>
            </a:solidFill>
            <a:ln>
              <a:solidFill>
                <a:schemeClr val="accent3">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th-TH" sz="1900" spc="-43" dirty="0">
                  <a:latin typeface="TH SarabunPSK" pitchFamily="34" charset="-34"/>
                  <a:cs typeface="TH SarabunPSK" pitchFamily="34" charset="-34"/>
                </a:rPr>
                <a:t>นิคมอุตสาหกรรม</a:t>
              </a:r>
              <a:endParaRPr lang="en-US" sz="1900" spc="-43" dirty="0">
                <a:latin typeface="TH SarabunPSK" pitchFamily="34" charset="-34"/>
                <a:cs typeface="TH SarabunPSK" pitchFamily="34" charset="-34"/>
              </a:endParaRPr>
            </a:p>
          </p:txBody>
        </p:sp>
        <p:sp>
          <p:nvSpPr>
            <p:cNvPr id="36" name="Rectangle 35"/>
            <p:cNvSpPr/>
            <p:nvPr/>
          </p:nvSpPr>
          <p:spPr>
            <a:xfrm>
              <a:off x="3251666" y="2838021"/>
              <a:ext cx="1217101" cy="476253"/>
            </a:xfrm>
            <a:prstGeom prst="rect">
              <a:avLst/>
            </a:prstGeom>
            <a:solidFill>
              <a:srgbClr val="FFFFCC"/>
            </a:solidFill>
            <a:ln>
              <a:solidFill>
                <a:srgbClr val="FFFFC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th-TH" sz="1200" dirty="0">
                  <a:solidFill>
                    <a:schemeClr val="tx1"/>
                  </a:solidFill>
                  <a:latin typeface="TH SarabunPSK" pitchFamily="34" charset="-34"/>
                  <a:cs typeface="TH SarabunPSK" pitchFamily="34" charset="-34"/>
                </a:rPr>
                <a:t>บริการ/ </a:t>
              </a:r>
              <a:r>
                <a:rPr lang="th-TH" sz="1200" dirty="0" err="1">
                  <a:solidFill>
                    <a:schemeClr val="tx1"/>
                  </a:solidFill>
                  <a:latin typeface="TH SarabunPSK" pitchFamily="34" charset="-34"/>
                  <a:cs typeface="TH SarabunPSK" pitchFamily="34" charset="-34"/>
                </a:rPr>
                <a:t>โล</a:t>
              </a:r>
              <a:r>
                <a:rPr lang="th-TH" sz="1200" dirty="0">
                  <a:solidFill>
                    <a:schemeClr val="tx1"/>
                  </a:solidFill>
                  <a:latin typeface="TH SarabunPSK" pitchFamily="34" charset="-34"/>
                  <a:cs typeface="TH SarabunPSK" pitchFamily="34" charset="-34"/>
                </a:rPr>
                <a:t>จิ</a:t>
              </a:r>
              <a:r>
                <a:rPr lang="th-TH" sz="1200" dirty="0" err="1">
                  <a:solidFill>
                    <a:schemeClr val="tx1"/>
                  </a:solidFill>
                  <a:latin typeface="TH SarabunPSK" pitchFamily="34" charset="-34"/>
                  <a:cs typeface="TH SarabunPSK" pitchFamily="34" charset="-34"/>
                </a:rPr>
                <a:t>สติกส์</a:t>
              </a:r>
              <a:r>
                <a:rPr lang="th-TH" sz="1200" dirty="0">
                  <a:solidFill>
                    <a:schemeClr val="tx1"/>
                  </a:solidFill>
                  <a:latin typeface="TH SarabunPSK" pitchFamily="34" charset="-34"/>
                  <a:cs typeface="TH SarabunPSK" pitchFamily="34" charset="-34"/>
                </a:rPr>
                <a:t>/ บรรจุและแยกสินค้า</a:t>
              </a:r>
              <a:endParaRPr lang="en-US" sz="1200" dirty="0">
                <a:solidFill>
                  <a:schemeClr val="tx1"/>
                </a:solidFill>
                <a:latin typeface="TH SarabunPSK" pitchFamily="34" charset="-34"/>
                <a:cs typeface="TH SarabunPSK" pitchFamily="34" charset="-34"/>
              </a:endParaRPr>
            </a:p>
          </p:txBody>
        </p:sp>
        <p:sp>
          <p:nvSpPr>
            <p:cNvPr id="37" name="Rectangle 36"/>
            <p:cNvSpPr/>
            <p:nvPr/>
          </p:nvSpPr>
          <p:spPr>
            <a:xfrm>
              <a:off x="3251667" y="3401587"/>
              <a:ext cx="899747" cy="654848"/>
            </a:xfrm>
            <a:prstGeom prst="rect">
              <a:avLst/>
            </a:prstGeom>
            <a:solidFill>
              <a:srgbClr val="CFE5FD"/>
            </a:solidFill>
            <a:ln>
              <a:solidFill>
                <a:schemeClr val="accent5">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th-TH" sz="1200" dirty="0">
                  <a:solidFill>
                    <a:schemeClr val="tx1"/>
                  </a:solidFill>
                  <a:latin typeface="TH SarabunPSK" pitchFamily="34" charset="-34"/>
                  <a:cs typeface="TH SarabunPSK" pitchFamily="34" charset="-34"/>
                </a:rPr>
                <a:t>พื้นที่กิจกรรมเศรษฐกิจอื่นๆ</a:t>
              </a:r>
              <a:endParaRPr lang="en-US" sz="1200" dirty="0">
                <a:solidFill>
                  <a:schemeClr val="tx1"/>
                </a:solidFill>
                <a:latin typeface="TH SarabunPSK" pitchFamily="34" charset="-34"/>
                <a:cs typeface="TH SarabunPSK" pitchFamily="34" charset="-34"/>
              </a:endParaRPr>
            </a:p>
          </p:txBody>
        </p:sp>
        <p:sp>
          <p:nvSpPr>
            <p:cNvPr id="38" name="TextBox 37"/>
            <p:cNvSpPr txBox="1"/>
            <p:nvPr/>
          </p:nvSpPr>
          <p:spPr>
            <a:xfrm>
              <a:off x="1084629" y="1885935"/>
              <a:ext cx="2570706" cy="533480"/>
            </a:xfrm>
            <a:prstGeom prst="rect">
              <a:avLst/>
            </a:prstGeom>
            <a:solidFill>
              <a:schemeClr val="bg1"/>
            </a:solidFill>
            <a:ln w="19050">
              <a:noFill/>
              <a:prstDash val="sysDot"/>
            </a:ln>
          </p:spPr>
          <p:style>
            <a:lnRef idx="2">
              <a:schemeClr val="accent6"/>
            </a:lnRef>
            <a:fillRef idx="1">
              <a:schemeClr val="lt1"/>
            </a:fillRef>
            <a:effectRef idx="0">
              <a:schemeClr val="accent6"/>
            </a:effectRef>
            <a:fontRef idx="minor">
              <a:schemeClr val="dk1"/>
            </a:fontRef>
          </p:style>
          <p:txBody>
            <a:bodyPr wrap="square" rtlCol="0">
              <a:spAutoFit/>
            </a:bodyPr>
            <a:lstStyle/>
            <a:p>
              <a:pPr algn="ctr"/>
              <a:r>
                <a:rPr lang="th-TH" sz="2000" b="1" dirty="0">
                  <a:latin typeface="TH SarabunPSK" pitchFamily="34" charset="-34"/>
                  <a:cs typeface="TH SarabunPSK" pitchFamily="34" charset="-34"/>
                </a:rPr>
                <a:t>เขตเศรษฐกิจพิเศษ</a:t>
              </a:r>
              <a:endParaRPr lang="en-US" sz="2000" b="1" dirty="0">
                <a:latin typeface="TH SarabunPSK" pitchFamily="34" charset="-34"/>
                <a:cs typeface="TH SarabunPSK" pitchFamily="34" charset="-34"/>
              </a:endParaRPr>
            </a:p>
          </p:txBody>
        </p:sp>
      </p:grpSp>
    </p:spTree>
    <p:extLst>
      <p:ext uri="{BB962C8B-B14F-4D97-AF65-F5344CB8AC3E}">
        <p14:creationId xmlns:p14="http://schemas.microsoft.com/office/powerpoint/2010/main" xmlns="" val="553528654"/>
      </p:ext>
    </p:extLst>
  </p:cSld>
  <p:clrMapOvr>
    <a:masterClrMapping/>
  </p:clrMapOvr>
  <p:transition spd="med">
    <p:fade thruBlk="1"/>
  </p:transition>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325220" y="321725"/>
            <a:ext cx="8640943" cy="560923"/>
          </a:xfrm>
        </p:spPr>
        <p:txBody>
          <a:bodyPr/>
          <a:lstStyle/>
          <a:p>
            <a:r>
              <a:rPr lang="th-TH" sz="2700" b="1" dirty="0">
                <a:latin typeface="TH SarabunPSK" pitchFamily="34" charset="-34"/>
                <a:cs typeface="TH SarabunPSK" pitchFamily="34" charset="-34"/>
              </a:rPr>
              <a:t>เขตเศรษฐกิจ</a:t>
            </a:r>
            <a:r>
              <a:rPr lang="th-TH" sz="2700" b="1" dirty="0" smtClean="0">
                <a:latin typeface="TH SarabunPSK" pitchFamily="34" charset="-34"/>
                <a:cs typeface="TH SarabunPSK" pitchFamily="34" charset="-34"/>
              </a:rPr>
              <a:t>พิเศษชายแดนจะ</a:t>
            </a:r>
            <a:r>
              <a:rPr lang="th-TH" sz="2700" b="1" dirty="0">
                <a:latin typeface="TH SarabunPSK" pitchFamily="34" charset="-34"/>
                <a:cs typeface="TH SarabunPSK" pitchFamily="34" charset="-34"/>
              </a:rPr>
              <a:t>ได้รับการสนับสนุน ทั้งในเรื่องสิทธิประโยชน์</a:t>
            </a:r>
            <a:r>
              <a:rPr lang="en-US" sz="2700" b="1" dirty="0">
                <a:latin typeface="TH SarabunPSK" pitchFamily="34" charset="-34"/>
                <a:cs typeface="TH SarabunPSK" pitchFamily="34" charset="-34"/>
              </a:rPr>
              <a:t> </a:t>
            </a:r>
            <a:r>
              <a:rPr lang="th-TH" sz="2700" b="1" dirty="0">
                <a:latin typeface="TH SarabunPSK" pitchFamily="34" charset="-34"/>
                <a:cs typeface="TH SarabunPSK" pitchFamily="34" charset="-34"/>
              </a:rPr>
              <a:t>การให้บริการโดยศูนย์บริการเบ็ดเสร็จ</a:t>
            </a:r>
            <a:r>
              <a:rPr lang="en-US" sz="2700" b="1" dirty="0">
                <a:latin typeface="TH SarabunPSK" pitchFamily="34" charset="-34"/>
                <a:cs typeface="TH SarabunPSK" pitchFamily="34" charset="-34"/>
              </a:rPr>
              <a:t> </a:t>
            </a:r>
            <a:r>
              <a:rPr lang="th-TH" sz="2700" b="1" dirty="0">
                <a:latin typeface="TH SarabunPSK" pitchFamily="34" charset="-34"/>
                <a:cs typeface="TH SarabunPSK" pitchFamily="34" charset="-34"/>
              </a:rPr>
              <a:t>โครงสร้างพื้นฐาน และการบริหารจัดการแรงงานข้ามพรมแดน</a:t>
            </a:r>
            <a:endParaRPr lang="en-US" sz="2700" b="1" dirty="0">
              <a:latin typeface="TH SarabunPSK" pitchFamily="34" charset="-34"/>
              <a:cs typeface="TH SarabunPSK" pitchFamily="34" charset="-34"/>
            </a:endParaRPr>
          </a:p>
        </p:txBody>
      </p:sp>
      <p:grpSp>
        <p:nvGrpSpPr>
          <p:cNvPr id="2" name="Group 46"/>
          <p:cNvGrpSpPr/>
          <p:nvPr/>
        </p:nvGrpSpPr>
        <p:grpSpPr>
          <a:xfrm>
            <a:off x="785786" y="1142990"/>
            <a:ext cx="7769699" cy="3593136"/>
            <a:chOff x="-121117" y="-749582"/>
            <a:chExt cx="9265518" cy="6215499"/>
          </a:xfrm>
        </p:grpSpPr>
        <p:pic>
          <p:nvPicPr>
            <p:cNvPr id="48" name="Picture 47" descr="C:\Documents and Settings\sawanrat\My Documents\aec_pics\images (54).jpg"/>
            <p:cNvPicPr>
              <a:picLocks noChangeAspect="1" noChangeArrowheads="1"/>
            </p:cNvPicPr>
            <p:nvPr/>
          </p:nvPicPr>
          <p:blipFill>
            <a:blip r:embed="rId3" cstate="print"/>
            <a:srcRect/>
            <a:stretch>
              <a:fillRect/>
            </a:stretch>
          </p:blipFill>
          <p:spPr bwMode="auto">
            <a:xfrm rot="483414">
              <a:off x="75314" y="645889"/>
              <a:ext cx="1823455" cy="2434406"/>
            </a:xfrm>
            <a:prstGeom prst="rect">
              <a:avLst/>
            </a:prstGeom>
            <a:noFill/>
          </p:spPr>
        </p:pic>
        <p:grpSp>
          <p:nvGrpSpPr>
            <p:cNvPr id="4" name="Group 48"/>
            <p:cNvGrpSpPr/>
            <p:nvPr/>
          </p:nvGrpSpPr>
          <p:grpSpPr>
            <a:xfrm>
              <a:off x="-121117" y="-749582"/>
              <a:ext cx="9265518" cy="6215499"/>
              <a:chOff x="-120718" y="-589990"/>
              <a:chExt cx="9265114" cy="6049326"/>
            </a:xfrm>
          </p:grpSpPr>
          <p:sp>
            <p:nvSpPr>
              <p:cNvPr id="50" name="Title 3"/>
              <p:cNvSpPr txBox="1">
                <a:spLocks/>
              </p:cNvSpPr>
              <p:nvPr/>
            </p:nvSpPr>
            <p:spPr>
              <a:xfrm>
                <a:off x="396" y="0"/>
                <a:ext cx="9144000" cy="634984"/>
              </a:xfrm>
              <a:prstGeom prst="rect">
                <a:avLst/>
              </a:prstGeom>
            </p:spPr>
            <p:txBody>
              <a:bodyPr>
                <a:noAutofit/>
              </a:bodyPr>
              <a:lstStyle/>
              <a:p>
                <a:pPr marL="458623" indent="-309807" eaLnBrk="0" hangingPunct="0">
                  <a:lnSpc>
                    <a:spcPts val="3409"/>
                  </a:lnSpc>
                  <a:tabLst>
                    <a:tab pos="2297169" algn="l"/>
                    <a:tab pos="2600211" algn="l"/>
                    <a:tab pos="4584868" algn="l"/>
                  </a:tabLst>
                  <a:defRPr/>
                </a:pPr>
                <a:endParaRPr lang="en-US" sz="2000" kern="0" dirty="0">
                  <a:solidFill>
                    <a:srgbClr val="C0504D">
                      <a:lumMod val="50000"/>
                    </a:srgbClr>
                  </a:solidFill>
                  <a:latin typeface="Tahoma" pitchFamily="34" charset="0"/>
                  <a:ea typeface="Tahoma" pitchFamily="34" charset="0"/>
                  <a:cs typeface="Tahoma" pitchFamily="34" charset="0"/>
                </a:endParaRPr>
              </a:p>
            </p:txBody>
          </p:sp>
          <p:sp>
            <p:nvSpPr>
              <p:cNvPr id="51" name="Title 3"/>
              <p:cNvSpPr txBox="1">
                <a:spLocks/>
              </p:cNvSpPr>
              <p:nvPr/>
            </p:nvSpPr>
            <p:spPr>
              <a:xfrm>
                <a:off x="-120718" y="-589990"/>
                <a:ext cx="8348375" cy="634984"/>
              </a:xfrm>
              <a:prstGeom prst="rect">
                <a:avLst/>
              </a:prstGeom>
            </p:spPr>
            <p:txBody>
              <a:bodyPr>
                <a:noAutofit/>
              </a:bodyPr>
              <a:lstStyle/>
              <a:p>
                <a:pPr marL="458623" indent="-309807" eaLnBrk="0" hangingPunct="0">
                  <a:lnSpc>
                    <a:spcPts val="3409"/>
                  </a:lnSpc>
                  <a:tabLst>
                    <a:tab pos="2297169" algn="l"/>
                    <a:tab pos="2600211" algn="l"/>
                    <a:tab pos="4584868" algn="l"/>
                  </a:tabLst>
                  <a:defRPr/>
                </a:pPr>
                <a:r>
                  <a:rPr lang="th-TH" b="1" kern="0" dirty="0" smtClean="0">
                    <a:solidFill>
                      <a:srgbClr val="C00000"/>
                    </a:solidFill>
                    <a:latin typeface="TH SarabunPSK" pitchFamily="34" charset="-34"/>
                    <a:ea typeface="Tahoma" pitchFamily="34" charset="0"/>
                    <a:cs typeface="TH SarabunPSK" pitchFamily="34" charset="-34"/>
                  </a:rPr>
                  <a:t>กรอบ</a:t>
                </a:r>
                <a:r>
                  <a:rPr lang="th-TH" b="1" kern="0" dirty="0">
                    <a:solidFill>
                      <a:srgbClr val="C00000"/>
                    </a:solidFill>
                    <a:latin typeface="TH SarabunPSK" pitchFamily="34" charset="-34"/>
                    <a:ea typeface="Tahoma" pitchFamily="34" charset="0"/>
                    <a:cs typeface="TH SarabunPSK" pitchFamily="34" charset="-34"/>
                  </a:rPr>
                  <a:t>แนวคิด“เขตเศรษฐกิจ</a:t>
                </a:r>
                <a:r>
                  <a:rPr lang="th-TH" b="1" kern="0" dirty="0" smtClean="0">
                    <a:solidFill>
                      <a:srgbClr val="C00000"/>
                    </a:solidFill>
                    <a:latin typeface="TH SarabunPSK" pitchFamily="34" charset="-34"/>
                    <a:ea typeface="Tahoma" pitchFamily="34" charset="0"/>
                    <a:cs typeface="TH SarabunPSK" pitchFamily="34" charset="-34"/>
                  </a:rPr>
                  <a:t>พิเศษชายแดน”</a:t>
                </a:r>
                <a:r>
                  <a:rPr lang="th-TH" b="1" kern="0" dirty="0">
                    <a:solidFill>
                      <a:srgbClr val="C00000"/>
                    </a:solidFill>
                    <a:latin typeface="TH SarabunPSK" pitchFamily="34" charset="-34"/>
                    <a:ea typeface="Tahoma" pitchFamily="34" charset="0"/>
                    <a:cs typeface="TH SarabunPSK" pitchFamily="34" charset="-34"/>
                  </a:rPr>
                  <a:t>ของไทย</a:t>
                </a:r>
                <a:endParaRPr lang="en-US" b="1" kern="0" dirty="0">
                  <a:solidFill>
                    <a:srgbClr val="C00000"/>
                  </a:solidFill>
                  <a:latin typeface="TH SarabunPSK" pitchFamily="34" charset="-34"/>
                  <a:ea typeface="Tahoma" pitchFamily="34" charset="0"/>
                  <a:cs typeface="TH SarabunPSK" pitchFamily="34" charset="-34"/>
                </a:endParaRPr>
              </a:p>
            </p:txBody>
          </p:sp>
          <p:grpSp>
            <p:nvGrpSpPr>
              <p:cNvPr id="5" name="Group 51"/>
              <p:cNvGrpSpPr/>
              <p:nvPr/>
            </p:nvGrpSpPr>
            <p:grpSpPr>
              <a:xfrm>
                <a:off x="131202" y="492453"/>
                <a:ext cx="8749332" cy="4966883"/>
                <a:chOff x="228598" y="187653"/>
                <a:chExt cx="8749332" cy="4966883"/>
              </a:xfrm>
            </p:grpSpPr>
            <p:grpSp>
              <p:nvGrpSpPr>
                <p:cNvPr id="6" name="Group 52"/>
                <p:cNvGrpSpPr/>
                <p:nvPr/>
              </p:nvGrpSpPr>
              <p:grpSpPr>
                <a:xfrm>
                  <a:off x="228598" y="187653"/>
                  <a:ext cx="8749332" cy="4966883"/>
                  <a:chOff x="228598" y="187653"/>
                  <a:chExt cx="8749332" cy="4966883"/>
                </a:xfrm>
              </p:grpSpPr>
              <p:sp>
                <p:nvSpPr>
                  <p:cNvPr id="60" name="TextBox 59"/>
                  <p:cNvSpPr txBox="1"/>
                  <p:nvPr/>
                </p:nvSpPr>
                <p:spPr>
                  <a:xfrm>
                    <a:off x="1765615" y="187653"/>
                    <a:ext cx="6449065" cy="1399049"/>
                  </a:xfrm>
                  <a:prstGeom prst="rect">
                    <a:avLst/>
                  </a:prstGeom>
                  <a:noFill/>
                </p:spPr>
                <p:txBody>
                  <a:bodyPr wrap="square">
                    <a:spAutoFit/>
                  </a:bodyPr>
                  <a:lstStyle/>
                  <a:p>
                    <a:pPr algn="ctr">
                      <a:defRPr/>
                    </a:pPr>
                    <a:r>
                      <a:rPr lang="th-TH" sz="2400" b="1" dirty="0">
                        <a:solidFill>
                          <a:srgbClr val="1F497D">
                            <a:lumMod val="75000"/>
                          </a:srgbClr>
                        </a:solidFill>
                        <a:latin typeface="TH SarabunPSK" pitchFamily="34" charset="-34"/>
                        <a:cs typeface="TH SarabunPSK" pitchFamily="34" charset="-34"/>
                      </a:rPr>
                      <a:t>เพิ่มความสามารถการแข่งขัน </a:t>
                    </a:r>
                    <a:r>
                      <a:rPr lang="en-US" sz="2400" b="1" dirty="0">
                        <a:solidFill>
                          <a:srgbClr val="1F497D">
                            <a:lumMod val="75000"/>
                          </a:srgbClr>
                        </a:solidFill>
                        <a:latin typeface="TH SarabunPSK" pitchFamily="34" charset="-34"/>
                        <a:cs typeface="TH SarabunPSK" pitchFamily="34" charset="-34"/>
                      </a:rPr>
                      <a:t>+ </a:t>
                    </a:r>
                    <a:r>
                      <a:rPr lang="th-TH" sz="2400" b="1" dirty="0">
                        <a:solidFill>
                          <a:srgbClr val="1F497D">
                            <a:lumMod val="75000"/>
                          </a:srgbClr>
                        </a:solidFill>
                        <a:latin typeface="TH SarabunPSK" pitchFamily="34" charset="-34"/>
                        <a:cs typeface="TH SarabunPSK" pitchFamily="34" charset="-34"/>
                      </a:rPr>
                      <a:t>ลดความเหลื่อมล้ำการพัฒนา </a:t>
                    </a:r>
                    <a:br>
                      <a:rPr lang="th-TH" sz="2400" b="1" dirty="0">
                        <a:solidFill>
                          <a:srgbClr val="1F497D">
                            <a:lumMod val="75000"/>
                          </a:srgbClr>
                        </a:solidFill>
                        <a:latin typeface="TH SarabunPSK" pitchFamily="34" charset="-34"/>
                        <a:cs typeface="TH SarabunPSK" pitchFamily="34" charset="-34"/>
                      </a:rPr>
                    </a:br>
                    <a:r>
                      <a:rPr lang="en-US" sz="2400" b="1" dirty="0">
                        <a:solidFill>
                          <a:srgbClr val="1F497D">
                            <a:lumMod val="75000"/>
                          </a:srgbClr>
                        </a:solidFill>
                        <a:latin typeface="TH SarabunPSK" pitchFamily="34" charset="-34"/>
                        <a:cs typeface="TH SarabunPSK" pitchFamily="34" charset="-34"/>
                      </a:rPr>
                      <a:t>+ </a:t>
                    </a:r>
                    <a:r>
                      <a:rPr lang="th-TH" sz="2400" b="1" dirty="0">
                        <a:solidFill>
                          <a:srgbClr val="1F497D">
                            <a:lumMod val="75000"/>
                          </a:srgbClr>
                        </a:solidFill>
                        <a:latin typeface="TH SarabunPSK" pitchFamily="34" charset="-34"/>
                        <a:cs typeface="TH SarabunPSK" pitchFamily="34" charset="-34"/>
                      </a:rPr>
                      <a:t>เสริมสร้างความมั่นคง</a:t>
                    </a:r>
                  </a:p>
                </p:txBody>
              </p:sp>
              <p:sp>
                <p:nvSpPr>
                  <p:cNvPr id="61" name="AutoShape 18"/>
                  <p:cNvSpPr>
                    <a:spLocks noChangeArrowheads="1"/>
                  </p:cNvSpPr>
                  <p:nvPr/>
                </p:nvSpPr>
                <p:spPr bwMode="auto">
                  <a:xfrm>
                    <a:off x="3086100" y="1573294"/>
                    <a:ext cx="3080329" cy="299251"/>
                  </a:xfrm>
                  <a:prstGeom prst="triangle">
                    <a:avLst>
                      <a:gd name="adj" fmla="val 49614"/>
                    </a:avLst>
                  </a:prstGeom>
                  <a:solidFill>
                    <a:schemeClr val="accent4">
                      <a:lumMod val="25000"/>
                    </a:schemeClr>
                  </a:solidFill>
                  <a:ln w="9525">
                    <a:solidFill>
                      <a:schemeClr val="bg1">
                        <a:lumMod val="65000"/>
                      </a:schemeClr>
                    </a:solidFill>
                    <a:miter lim="800000"/>
                    <a:headEnd/>
                    <a:tailEnd/>
                  </a:ln>
                  <a:effectLst/>
                </p:spPr>
                <p:txBody>
                  <a:bodyPr wrap="none" anchor="ctr"/>
                  <a:lstStyle/>
                  <a:p>
                    <a:pPr>
                      <a:defRPr/>
                    </a:pPr>
                    <a:endParaRPr lang="th-TH" sz="2000">
                      <a:solidFill>
                        <a:prstClr val="black"/>
                      </a:solidFill>
                    </a:endParaRPr>
                  </a:p>
                </p:txBody>
              </p:sp>
              <p:sp>
                <p:nvSpPr>
                  <p:cNvPr id="62" name="Rounded Rectangle 61"/>
                  <p:cNvSpPr/>
                  <p:nvPr/>
                </p:nvSpPr>
                <p:spPr>
                  <a:xfrm>
                    <a:off x="228598" y="4240135"/>
                    <a:ext cx="1337193" cy="914401"/>
                  </a:xfrm>
                  <a:prstGeom prst="round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lstStyle/>
                  <a:p>
                    <a:pPr algn="ctr" fontAlgn="base">
                      <a:spcBef>
                        <a:spcPct val="0"/>
                      </a:spcBef>
                      <a:spcAft>
                        <a:spcPct val="0"/>
                      </a:spcAft>
                    </a:pPr>
                    <a:r>
                      <a:rPr lang="th-TH" sz="1500" b="1" dirty="0">
                        <a:solidFill>
                          <a:schemeClr val="accent4">
                            <a:lumMod val="25000"/>
                          </a:schemeClr>
                        </a:solidFill>
                        <a:latin typeface="TH SarabunPSK" pitchFamily="34" charset="-34"/>
                        <a:cs typeface="TH SarabunPSK" pitchFamily="34" charset="-34"/>
                      </a:rPr>
                      <a:t>กำหนดขอบเขตพื้นที่</a:t>
                    </a:r>
                    <a:r>
                      <a:rPr lang="en-US" sz="1500" b="1" dirty="0">
                        <a:solidFill>
                          <a:schemeClr val="accent4">
                            <a:lumMod val="25000"/>
                          </a:schemeClr>
                        </a:solidFill>
                        <a:latin typeface="TH SarabunPSK" pitchFamily="34" charset="-34"/>
                        <a:cs typeface="TH SarabunPSK" pitchFamily="34" charset="-34"/>
                      </a:rPr>
                      <a:t> SEZ</a:t>
                    </a:r>
                  </a:p>
                </p:txBody>
              </p:sp>
              <p:sp>
                <p:nvSpPr>
                  <p:cNvPr id="63" name="Rounded Rectangle 62"/>
                  <p:cNvSpPr/>
                  <p:nvPr/>
                </p:nvSpPr>
                <p:spPr>
                  <a:xfrm>
                    <a:off x="3026311" y="4240134"/>
                    <a:ext cx="1131903" cy="914401"/>
                  </a:xfrm>
                  <a:prstGeom prst="round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lstStyle/>
                  <a:p>
                    <a:pPr algn="ctr" fontAlgn="base">
                      <a:spcBef>
                        <a:spcPct val="0"/>
                      </a:spcBef>
                      <a:spcAft>
                        <a:spcPct val="0"/>
                      </a:spcAft>
                    </a:pPr>
                    <a:r>
                      <a:rPr lang="en-US" sz="1700" b="1" dirty="0">
                        <a:solidFill>
                          <a:schemeClr val="accent4">
                            <a:lumMod val="25000"/>
                          </a:schemeClr>
                        </a:solidFill>
                        <a:latin typeface="TH SarabunPSK" pitchFamily="34" charset="-34"/>
                        <a:cs typeface="TH SarabunPSK" pitchFamily="34" charset="-34"/>
                      </a:rPr>
                      <a:t>OSS</a:t>
                    </a:r>
                  </a:p>
                </p:txBody>
              </p:sp>
              <p:sp>
                <p:nvSpPr>
                  <p:cNvPr id="64" name="Rounded Rectangle 63"/>
                  <p:cNvSpPr/>
                  <p:nvPr/>
                </p:nvSpPr>
                <p:spPr>
                  <a:xfrm>
                    <a:off x="4267753" y="4240134"/>
                    <a:ext cx="1241442" cy="914401"/>
                  </a:xfrm>
                  <a:prstGeom prst="round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lstStyle/>
                  <a:p>
                    <a:pPr algn="ctr" fontAlgn="base">
                      <a:spcBef>
                        <a:spcPct val="0"/>
                      </a:spcBef>
                      <a:spcAft>
                        <a:spcPct val="0"/>
                      </a:spcAft>
                    </a:pPr>
                    <a:r>
                      <a:rPr lang="th-TH" sz="2000" b="1" dirty="0">
                        <a:solidFill>
                          <a:schemeClr val="accent4">
                            <a:lumMod val="25000"/>
                          </a:schemeClr>
                        </a:solidFill>
                        <a:latin typeface="TH SarabunPSK" pitchFamily="34" charset="-34"/>
                        <a:cs typeface="TH SarabunPSK" pitchFamily="34" charset="-34"/>
                      </a:rPr>
                      <a:t>ใช้แรงงานต่างด้าว</a:t>
                    </a:r>
                    <a:endParaRPr lang="en-US" sz="2000" b="1" dirty="0">
                      <a:solidFill>
                        <a:schemeClr val="accent4">
                          <a:lumMod val="25000"/>
                        </a:schemeClr>
                      </a:solidFill>
                      <a:latin typeface="TH SarabunPSK" pitchFamily="34" charset="-34"/>
                      <a:cs typeface="TH SarabunPSK" pitchFamily="34" charset="-34"/>
                    </a:endParaRPr>
                  </a:p>
                </p:txBody>
              </p:sp>
              <p:sp>
                <p:nvSpPr>
                  <p:cNvPr id="65" name="Rounded Rectangle 64"/>
                  <p:cNvSpPr/>
                  <p:nvPr/>
                </p:nvSpPr>
                <p:spPr>
                  <a:xfrm>
                    <a:off x="7333396" y="4216343"/>
                    <a:ext cx="1644534" cy="914401"/>
                  </a:xfrm>
                  <a:prstGeom prst="round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lstStyle/>
                  <a:p>
                    <a:pPr algn="ctr" fontAlgn="base">
                      <a:spcBef>
                        <a:spcPct val="0"/>
                      </a:spcBef>
                      <a:spcAft>
                        <a:spcPct val="0"/>
                      </a:spcAft>
                    </a:pPr>
                    <a:r>
                      <a:rPr lang="th-TH" sz="1700" b="1" dirty="0">
                        <a:solidFill>
                          <a:schemeClr val="accent4">
                            <a:lumMod val="25000"/>
                          </a:schemeClr>
                        </a:solidFill>
                        <a:latin typeface="TH SarabunPSK" pitchFamily="34" charset="-34"/>
                        <a:cs typeface="TH SarabunPSK" pitchFamily="34" charset="-34"/>
                      </a:rPr>
                      <a:t>ศูนย์รวบรวมและรับซื้อสินค้าเกษตร</a:t>
                    </a:r>
                    <a:endParaRPr lang="en-US" sz="1700" b="1" dirty="0">
                      <a:solidFill>
                        <a:schemeClr val="accent4">
                          <a:lumMod val="25000"/>
                        </a:schemeClr>
                      </a:solidFill>
                      <a:latin typeface="TH SarabunPSK" pitchFamily="34" charset="-34"/>
                      <a:cs typeface="TH SarabunPSK" pitchFamily="34" charset="-34"/>
                    </a:endParaRPr>
                  </a:p>
                </p:txBody>
              </p:sp>
              <p:sp>
                <p:nvSpPr>
                  <p:cNvPr id="66" name="Rectangle 65"/>
                  <p:cNvSpPr/>
                  <p:nvPr/>
                </p:nvSpPr>
                <p:spPr>
                  <a:xfrm>
                    <a:off x="4049860" y="2097510"/>
                    <a:ext cx="952937" cy="777249"/>
                  </a:xfrm>
                  <a:prstGeom prst="rect">
                    <a:avLst/>
                  </a:prstGeom>
                  <a:noFill/>
                </p:spPr>
                <p:txBody>
                  <a:bodyPr wrap="none" lIns="91440" tIns="45720" rIns="91440" bIns="45720">
                    <a:spAutoFit/>
                    <a:scene3d>
                      <a:camera prst="orthographicFront"/>
                      <a:lightRig rig="soft" dir="tl">
                        <a:rot lat="0" lon="0" rev="0"/>
                      </a:lightRig>
                    </a:scene3d>
                    <a:sp3d contourW="25400" prstMaterial="matte">
                      <a:bevelT w="25400" h="55880" prst="artDeco"/>
                      <a:contourClr>
                        <a:schemeClr val="accent2">
                          <a:tint val="20000"/>
                        </a:schemeClr>
                      </a:contourClr>
                    </a:sp3d>
                  </a:bodyPr>
                  <a:lstStyle/>
                  <a:p>
                    <a:pPr algn="ctr" fontAlgn="base">
                      <a:spcBef>
                        <a:spcPct val="0"/>
                      </a:spcBef>
                      <a:spcAft>
                        <a:spcPct val="0"/>
                      </a:spcAft>
                    </a:pPr>
                    <a:r>
                      <a:rPr lang="en-US" sz="2400" spc="43" dirty="0">
                        <a:ln w="11430"/>
                        <a:gradFill>
                          <a:gsLst>
                            <a:gs pos="25000">
                              <a:srgbClr val="C0504D">
                                <a:satMod val="155000"/>
                              </a:srgbClr>
                            </a:gs>
                            <a:gs pos="100000">
                              <a:srgbClr val="C0504D">
                                <a:shade val="45000"/>
                                <a:satMod val="165000"/>
                              </a:srgbClr>
                            </a:gs>
                          </a:gsLst>
                          <a:lin ang="5400000"/>
                        </a:gradFill>
                        <a:effectLst>
                          <a:outerShdw blurRad="76200" dist="50800" dir="5400000" algn="tl" rotWithShape="0">
                            <a:srgbClr val="000000">
                              <a:alpha val="65000"/>
                            </a:srgbClr>
                          </a:outerShdw>
                        </a:effectLst>
                        <a:latin typeface="Arial" pitchFamily="34" charset="0"/>
                        <a:cs typeface="Arial" pitchFamily="34" charset="0"/>
                      </a:rPr>
                      <a:t>SEZ</a:t>
                    </a:r>
                  </a:p>
                </p:txBody>
              </p:sp>
              <p:sp>
                <p:nvSpPr>
                  <p:cNvPr id="67" name="Rounded Rectangle 18"/>
                  <p:cNvSpPr/>
                  <p:nvPr/>
                </p:nvSpPr>
                <p:spPr>
                  <a:xfrm>
                    <a:off x="1711843" y="4240134"/>
                    <a:ext cx="1118570" cy="914401"/>
                  </a:xfrm>
                  <a:prstGeom prst="round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lstStyle/>
                  <a:p>
                    <a:pPr algn="ctr" fontAlgn="base">
                      <a:spcBef>
                        <a:spcPct val="0"/>
                      </a:spcBef>
                      <a:spcAft>
                        <a:spcPct val="0"/>
                      </a:spcAft>
                    </a:pPr>
                    <a:r>
                      <a:rPr lang="th-TH" sz="1700" b="1" dirty="0">
                        <a:solidFill>
                          <a:schemeClr val="accent4">
                            <a:lumMod val="25000"/>
                          </a:schemeClr>
                        </a:solidFill>
                        <a:latin typeface="TH SarabunPSK" pitchFamily="34" charset="-34"/>
                        <a:cs typeface="TH SarabunPSK" pitchFamily="34" charset="-34"/>
                      </a:rPr>
                      <a:t>ให้สิทธิประโยชน์</a:t>
                    </a:r>
                  </a:p>
                </p:txBody>
              </p:sp>
              <p:sp>
                <p:nvSpPr>
                  <p:cNvPr id="68" name="Rounded Rectangle 19"/>
                  <p:cNvSpPr/>
                  <p:nvPr/>
                </p:nvSpPr>
                <p:spPr>
                  <a:xfrm>
                    <a:off x="5728273" y="4240134"/>
                    <a:ext cx="1497033" cy="914401"/>
                  </a:xfrm>
                  <a:prstGeom prst="round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lstStyle/>
                  <a:p>
                    <a:pPr algn="ctr" fontAlgn="base">
                      <a:spcBef>
                        <a:spcPct val="0"/>
                      </a:spcBef>
                      <a:spcAft>
                        <a:spcPct val="0"/>
                      </a:spcAft>
                    </a:pPr>
                    <a:r>
                      <a:rPr lang="th-TH" sz="2000" b="1" dirty="0">
                        <a:solidFill>
                          <a:schemeClr val="accent4">
                            <a:lumMod val="25000"/>
                          </a:schemeClr>
                        </a:solidFill>
                        <a:latin typeface="TH SarabunPSK" pitchFamily="34" charset="-34"/>
                        <a:cs typeface="TH SarabunPSK" pitchFamily="34" charset="-34"/>
                      </a:rPr>
                      <a:t>โครงสร้างพื้นฐาน-ด่าน</a:t>
                    </a:r>
                    <a:endParaRPr lang="en-US" sz="2000" b="1" dirty="0">
                      <a:solidFill>
                        <a:schemeClr val="accent4">
                          <a:lumMod val="25000"/>
                        </a:schemeClr>
                      </a:solidFill>
                      <a:latin typeface="TH SarabunPSK" pitchFamily="34" charset="-34"/>
                      <a:cs typeface="TH SarabunPSK" pitchFamily="34" charset="-34"/>
                    </a:endParaRPr>
                  </a:p>
                </p:txBody>
              </p:sp>
              <p:sp>
                <p:nvSpPr>
                  <p:cNvPr id="69" name="Rectangle 68"/>
                  <p:cNvSpPr/>
                  <p:nvPr/>
                </p:nvSpPr>
                <p:spPr>
                  <a:xfrm>
                    <a:off x="744961" y="2857500"/>
                    <a:ext cx="7776863" cy="533400"/>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b"/>
                  <a:lstStyle/>
                  <a:p>
                    <a:pPr algn="ctr">
                      <a:defRPr/>
                    </a:pPr>
                    <a:endParaRPr lang="th-TH" sz="2000" b="1" dirty="0">
                      <a:solidFill>
                        <a:schemeClr val="accent4">
                          <a:lumMod val="25000"/>
                        </a:schemeClr>
                      </a:solidFill>
                      <a:latin typeface="TH SarabunPSK" pitchFamily="34" charset="-34"/>
                      <a:cs typeface="TH SarabunPSK" pitchFamily="34" charset="-34"/>
                    </a:endParaRPr>
                  </a:p>
                  <a:p>
                    <a:pPr algn="ctr">
                      <a:defRPr/>
                    </a:pPr>
                    <a:r>
                      <a:rPr lang="th-TH" sz="2000" b="1" dirty="0">
                        <a:solidFill>
                          <a:schemeClr val="accent4">
                            <a:lumMod val="25000"/>
                          </a:schemeClr>
                        </a:solidFill>
                        <a:latin typeface="TH SarabunPSK" pitchFamily="34" charset="-34"/>
                        <a:cs typeface="TH SarabunPSK" pitchFamily="34" charset="-34"/>
                      </a:rPr>
                      <a:t>พัฒนาเขตเศรษฐกิจพิเศษระยะแรกในพื้นที่ชายแดนที่มีศักยภาพ</a:t>
                    </a:r>
                  </a:p>
                </p:txBody>
              </p:sp>
            </p:grpSp>
            <p:sp>
              <p:nvSpPr>
                <p:cNvPr id="54" name="Up Arrow 53"/>
                <p:cNvSpPr/>
                <p:nvPr/>
              </p:nvSpPr>
              <p:spPr>
                <a:xfrm>
                  <a:off x="861609" y="3576025"/>
                  <a:ext cx="484633" cy="457200"/>
                </a:xfrm>
                <a:prstGeom prst="upArrow">
                  <a:avLst/>
                </a:prstGeom>
                <a:ln>
                  <a:solidFill>
                    <a:schemeClr val="accent4">
                      <a:lumMod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a:solidFill>
                      <a:prstClr val="white"/>
                    </a:solidFill>
                  </a:endParaRPr>
                </a:p>
              </p:txBody>
            </p:sp>
            <p:sp>
              <p:nvSpPr>
                <p:cNvPr id="55" name="Up Arrow 54"/>
                <p:cNvSpPr/>
                <p:nvPr/>
              </p:nvSpPr>
              <p:spPr>
                <a:xfrm>
                  <a:off x="2157753" y="3576025"/>
                  <a:ext cx="484633" cy="457200"/>
                </a:xfrm>
                <a:prstGeom prst="upArrow">
                  <a:avLst/>
                </a:prstGeom>
                <a:ln>
                  <a:solidFill>
                    <a:schemeClr val="accent4">
                      <a:lumMod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a:solidFill>
                      <a:prstClr val="white"/>
                    </a:solidFill>
                  </a:endParaRPr>
                </a:p>
              </p:txBody>
            </p:sp>
            <p:sp>
              <p:nvSpPr>
                <p:cNvPr id="56" name="Up Arrow 55"/>
                <p:cNvSpPr/>
                <p:nvPr/>
              </p:nvSpPr>
              <p:spPr>
                <a:xfrm>
                  <a:off x="3399059" y="3574451"/>
                  <a:ext cx="484633" cy="457200"/>
                </a:xfrm>
                <a:prstGeom prst="upArrow">
                  <a:avLst/>
                </a:prstGeom>
                <a:ln>
                  <a:solidFill>
                    <a:schemeClr val="accent4">
                      <a:lumMod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a:solidFill>
                      <a:prstClr val="white"/>
                    </a:solidFill>
                  </a:endParaRPr>
                </a:p>
              </p:txBody>
            </p:sp>
            <p:sp>
              <p:nvSpPr>
                <p:cNvPr id="57" name="Up Arrow 56"/>
                <p:cNvSpPr/>
                <p:nvPr/>
              </p:nvSpPr>
              <p:spPr>
                <a:xfrm>
                  <a:off x="4714037" y="3576025"/>
                  <a:ext cx="484633" cy="457200"/>
                </a:xfrm>
                <a:prstGeom prst="upArrow">
                  <a:avLst/>
                </a:prstGeom>
                <a:ln>
                  <a:solidFill>
                    <a:schemeClr val="accent4">
                      <a:lumMod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a:solidFill>
                      <a:prstClr val="white"/>
                    </a:solidFill>
                  </a:endParaRPr>
                </a:p>
              </p:txBody>
            </p:sp>
            <p:sp>
              <p:nvSpPr>
                <p:cNvPr id="58" name="Up Arrow 26"/>
                <p:cNvSpPr/>
                <p:nvPr/>
              </p:nvSpPr>
              <p:spPr>
                <a:xfrm>
                  <a:off x="7955472" y="3576025"/>
                  <a:ext cx="484633" cy="457200"/>
                </a:xfrm>
                <a:prstGeom prst="upArrow">
                  <a:avLst/>
                </a:prstGeom>
                <a:ln>
                  <a:solidFill>
                    <a:schemeClr val="accent4">
                      <a:lumMod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a:solidFill>
                      <a:prstClr val="white"/>
                    </a:solidFill>
                  </a:endParaRPr>
                </a:p>
              </p:txBody>
            </p:sp>
            <p:sp>
              <p:nvSpPr>
                <p:cNvPr id="59" name="Up Arrow 26"/>
                <p:cNvSpPr/>
                <p:nvPr/>
              </p:nvSpPr>
              <p:spPr>
                <a:xfrm>
                  <a:off x="6356612" y="3576025"/>
                  <a:ext cx="438156" cy="457200"/>
                </a:xfrm>
                <a:prstGeom prst="upArrow">
                  <a:avLst>
                    <a:gd name="adj1" fmla="val 50000"/>
                    <a:gd name="adj2" fmla="val 39528"/>
                  </a:avLst>
                </a:prstGeom>
                <a:ln>
                  <a:solidFill>
                    <a:schemeClr val="accent4">
                      <a:lumMod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a:solidFill>
                      <a:prstClr val="white"/>
                    </a:solidFill>
                  </a:endParaRPr>
                </a:p>
              </p:txBody>
            </p:sp>
          </p:grpSp>
        </p:grpSp>
      </p:grpSp>
    </p:spTree>
    <p:extLst>
      <p:ext uri="{BB962C8B-B14F-4D97-AF65-F5344CB8AC3E}">
        <p14:creationId xmlns:p14="http://schemas.microsoft.com/office/powerpoint/2010/main" xmlns="" val="3802620898"/>
      </p:ext>
    </p:extLst>
  </p:cSld>
  <p:clrMapOvr>
    <a:masterClrMapping/>
  </p:clrMapOvr>
  <p:transition spd="med">
    <p:fade thruBlk="1"/>
  </p:transition>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34"/>
          <p:cNvSpPr>
            <a:spLocks noChangeArrowheads="1"/>
          </p:cNvSpPr>
          <p:nvPr/>
        </p:nvSpPr>
        <p:spPr bwMode="auto">
          <a:xfrm>
            <a:off x="2" y="30551"/>
            <a:ext cx="177614" cy="350383"/>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87916" tIns="43957" rIns="87916" bIns="43957" numCol="1" anchor="ctr" anchorCtr="0" compatLnSpc="1">
            <a:prstTxWarp prst="textNoShape">
              <a:avLst/>
            </a:prstTxWarp>
            <a:spAutoFit/>
          </a:bodyPr>
          <a:lstStyle/>
          <a:p>
            <a:pPr defTabSz="879152"/>
            <a:endParaRPr lang="en-US" sz="1700" b="0">
              <a:latin typeface="Arial" pitchFamily="34" charset="0"/>
              <a:cs typeface="Arial" pitchFamily="34" charset="0"/>
            </a:endParaRPr>
          </a:p>
        </p:txBody>
      </p:sp>
      <p:grpSp>
        <p:nvGrpSpPr>
          <p:cNvPr id="2" name="Group 1"/>
          <p:cNvGrpSpPr/>
          <p:nvPr/>
        </p:nvGrpSpPr>
        <p:grpSpPr>
          <a:xfrm>
            <a:off x="240577" y="1265135"/>
            <a:ext cx="8723933" cy="3466857"/>
            <a:chOff x="240556" y="573137"/>
            <a:chExt cx="8723933" cy="4084563"/>
          </a:xfrm>
        </p:grpSpPr>
        <p:cxnSp>
          <p:nvCxnSpPr>
            <p:cNvPr id="48" name="Straight Connector 47"/>
            <p:cNvCxnSpPr/>
            <p:nvPr/>
          </p:nvCxnSpPr>
          <p:spPr>
            <a:xfrm>
              <a:off x="1835696" y="2497461"/>
              <a:ext cx="0" cy="1768258"/>
            </a:xfrm>
            <a:prstGeom prst="line">
              <a:avLst/>
            </a:prstGeom>
            <a:ln w="28575">
              <a:solidFill>
                <a:srgbClr val="C00000"/>
              </a:solidFill>
            </a:ln>
          </p:spPr>
          <p:style>
            <a:lnRef idx="1">
              <a:schemeClr val="accent2"/>
            </a:lnRef>
            <a:fillRef idx="0">
              <a:schemeClr val="accent2"/>
            </a:fillRef>
            <a:effectRef idx="0">
              <a:schemeClr val="accent2"/>
            </a:effectRef>
            <a:fontRef idx="minor">
              <a:schemeClr val="tx1"/>
            </a:fontRef>
          </p:style>
        </p:cxnSp>
        <p:cxnSp>
          <p:nvCxnSpPr>
            <p:cNvPr id="41" name="Straight Connector 40"/>
            <p:cNvCxnSpPr/>
            <p:nvPr/>
          </p:nvCxnSpPr>
          <p:spPr>
            <a:xfrm>
              <a:off x="357358" y="1777380"/>
              <a:ext cx="3566569" cy="0"/>
            </a:xfrm>
            <a:prstGeom prst="line">
              <a:avLst/>
            </a:prstGeom>
            <a:ln w="28575">
              <a:solidFill>
                <a:srgbClr val="990000"/>
              </a:solidFill>
            </a:ln>
          </p:spPr>
          <p:style>
            <a:lnRef idx="1">
              <a:schemeClr val="accent2"/>
            </a:lnRef>
            <a:fillRef idx="0">
              <a:schemeClr val="accent2"/>
            </a:fillRef>
            <a:effectRef idx="0">
              <a:schemeClr val="accent2"/>
            </a:effectRef>
            <a:fontRef idx="minor">
              <a:schemeClr val="tx1"/>
            </a:fontRef>
          </p:style>
        </p:cxnSp>
        <p:cxnSp>
          <p:nvCxnSpPr>
            <p:cNvPr id="39" name="Straight Connector 38"/>
            <p:cNvCxnSpPr/>
            <p:nvPr/>
          </p:nvCxnSpPr>
          <p:spPr>
            <a:xfrm>
              <a:off x="1630475" y="3703106"/>
              <a:ext cx="684517" cy="0"/>
            </a:xfrm>
            <a:prstGeom prst="line">
              <a:avLst/>
            </a:prstGeom>
            <a:noFill/>
            <a:ln w="28575" cap="flat" cmpd="sng" algn="ctr">
              <a:solidFill>
                <a:srgbClr val="C0504D">
                  <a:shade val="95000"/>
                  <a:satMod val="105000"/>
                </a:srgbClr>
              </a:solidFill>
              <a:prstDash val="solid"/>
            </a:ln>
            <a:effectLst/>
          </p:spPr>
        </p:cxnSp>
        <p:sp>
          <p:nvSpPr>
            <p:cNvPr id="29" name="Text Box 11"/>
            <p:cNvSpPr txBox="1"/>
            <p:nvPr/>
          </p:nvSpPr>
          <p:spPr>
            <a:xfrm>
              <a:off x="346480" y="3001516"/>
              <a:ext cx="1148045" cy="314301"/>
            </a:xfrm>
            <a:prstGeom prst="rect">
              <a:avLst/>
            </a:prstGeom>
            <a:solidFill>
              <a:schemeClr val="tx2">
                <a:lumMod val="40000"/>
                <a:lumOff val="60000"/>
              </a:schemeClr>
            </a:solidFill>
            <a:ln w="19050">
              <a:prstDash val="sysDash"/>
            </a:ln>
          </p:spPr>
          <p:style>
            <a:lnRef idx="2">
              <a:schemeClr val="accent1"/>
            </a:lnRef>
            <a:fillRef idx="1">
              <a:schemeClr val="lt1"/>
            </a:fillRef>
            <a:effectRef idx="0">
              <a:schemeClr val="accent1"/>
            </a:effectRef>
            <a:fontRef idx="minor">
              <a:schemeClr val="dk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ctr">
                <a:lnSpc>
                  <a:spcPct val="90000"/>
                </a:lnSpc>
              </a:pPr>
              <a:r>
                <a:rPr lang="en-US" sz="1600" b="1" dirty="0">
                  <a:latin typeface="TH SarabunPSK" pitchFamily="34" charset="-34"/>
                  <a:ea typeface="Tahoma" pitchFamily="34" charset="0"/>
                  <a:cs typeface="TH SarabunPSK" pitchFamily="34" charset="-34"/>
                </a:rPr>
                <a:t>OSS- </a:t>
              </a:r>
              <a:r>
                <a:rPr lang="th-TH" sz="1600" b="1" dirty="0">
                  <a:latin typeface="TH SarabunPSK" pitchFamily="34" charset="-34"/>
                  <a:ea typeface="Tahoma" pitchFamily="34" charset="0"/>
                  <a:cs typeface="TH SarabunPSK" pitchFamily="34" charset="-34"/>
                </a:rPr>
                <a:t>ตาก</a:t>
              </a:r>
              <a:endParaRPr lang="en-US" sz="1600" b="1" dirty="0">
                <a:latin typeface="TH SarabunPSK" pitchFamily="34" charset="-34"/>
                <a:ea typeface="Tahoma" pitchFamily="34" charset="0"/>
                <a:cs typeface="TH SarabunPSK" pitchFamily="34" charset="-34"/>
              </a:endParaRPr>
            </a:p>
          </p:txBody>
        </p:sp>
        <p:sp>
          <p:nvSpPr>
            <p:cNvPr id="33" name="Text Box 16"/>
            <p:cNvSpPr txBox="1"/>
            <p:nvPr/>
          </p:nvSpPr>
          <p:spPr>
            <a:xfrm>
              <a:off x="357358" y="3498345"/>
              <a:ext cx="1273117" cy="443936"/>
            </a:xfrm>
            <a:prstGeom prst="rect">
              <a:avLst/>
            </a:prstGeom>
            <a:solidFill>
              <a:schemeClr val="tx2">
                <a:lumMod val="40000"/>
                <a:lumOff val="60000"/>
              </a:schemeClr>
            </a:solidFill>
            <a:ln w="19050">
              <a:prstDash val="sysDash"/>
            </a:ln>
          </p:spPr>
          <p:style>
            <a:lnRef idx="2">
              <a:schemeClr val="accent1"/>
            </a:lnRef>
            <a:fillRef idx="1">
              <a:schemeClr val="lt1"/>
            </a:fillRef>
            <a:effectRef idx="0">
              <a:schemeClr val="accent1"/>
            </a:effectRef>
            <a:fontRef idx="minor">
              <a:schemeClr val="dk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ctr">
                <a:lnSpc>
                  <a:spcPct val="90000"/>
                </a:lnSpc>
              </a:pPr>
              <a:r>
                <a:rPr lang="en-US" sz="1600" b="1" dirty="0">
                  <a:latin typeface="TH SarabunPSK" pitchFamily="34" charset="-34"/>
                  <a:ea typeface="Tahoma" pitchFamily="34" charset="0"/>
                  <a:cs typeface="TH SarabunPSK" pitchFamily="34" charset="-34"/>
                </a:rPr>
                <a:t>OSS-</a:t>
              </a:r>
              <a:r>
                <a:rPr lang="th-TH" sz="1600" b="1" dirty="0">
                  <a:latin typeface="TH SarabunPSK" pitchFamily="34" charset="-34"/>
                  <a:ea typeface="Tahoma" pitchFamily="34" charset="0"/>
                  <a:cs typeface="TH SarabunPSK" pitchFamily="34" charset="-34"/>
                </a:rPr>
                <a:t>สระแก้ว</a:t>
              </a:r>
              <a:endParaRPr lang="en-US" sz="1600" b="1" dirty="0">
                <a:latin typeface="TH SarabunPSK" pitchFamily="34" charset="-34"/>
                <a:ea typeface="Tahoma" pitchFamily="34" charset="0"/>
                <a:cs typeface="TH SarabunPSK" pitchFamily="34" charset="-34"/>
              </a:endParaRPr>
            </a:p>
          </p:txBody>
        </p:sp>
        <p:sp>
          <p:nvSpPr>
            <p:cNvPr id="32" name="Text Box 15"/>
            <p:cNvSpPr txBox="1"/>
            <p:nvPr/>
          </p:nvSpPr>
          <p:spPr>
            <a:xfrm>
              <a:off x="2045790" y="3564036"/>
              <a:ext cx="1158057" cy="301577"/>
            </a:xfrm>
            <a:prstGeom prst="rect">
              <a:avLst/>
            </a:prstGeom>
            <a:solidFill>
              <a:schemeClr val="tx2">
                <a:lumMod val="40000"/>
                <a:lumOff val="60000"/>
              </a:schemeClr>
            </a:solidFill>
            <a:ln w="19050">
              <a:prstDash val="sysDash"/>
            </a:ln>
          </p:spPr>
          <p:style>
            <a:lnRef idx="2">
              <a:schemeClr val="accent1"/>
            </a:lnRef>
            <a:fillRef idx="1">
              <a:schemeClr val="lt1"/>
            </a:fillRef>
            <a:effectRef idx="0">
              <a:schemeClr val="accent1"/>
            </a:effectRef>
            <a:fontRef idx="minor">
              <a:schemeClr val="dk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ctr">
                <a:lnSpc>
                  <a:spcPct val="90000"/>
                </a:lnSpc>
              </a:pPr>
              <a:r>
                <a:rPr lang="th-TH" sz="2000" b="1" dirty="0">
                  <a:latin typeface="TH SarabunPSK" pitchFamily="34" charset="-34"/>
                  <a:ea typeface="Calibri"/>
                  <a:cs typeface="TH SarabunPSK" pitchFamily="34" charset="-34"/>
                </a:rPr>
                <a:t> </a:t>
              </a:r>
              <a:r>
                <a:rPr lang="en-US" sz="1600" b="1" dirty="0">
                  <a:latin typeface="TH SarabunPSK" pitchFamily="34" charset="-34"/>
                  <a:ea typeface="Tahoma" pitchFamily="34" charset="0"/>
                  <a:cs typeface="TH SarabunPSK" pitchFamily="34" charset="-34"/>
                </a:rPr>
                <a:t>OSS-</a:t>
              </a:r>
              <a:r>
                <a:rPr lang="th-TH" sz="1600" b="1" dirty="0">
                  <a:latin typeface="TH SarabunPSK" pitchFamily="34" charset="-34"/>
                  <a:ea typeface="Tahoma" pitchFamily="34" charset="0"/>
                  <a:cs typeface="TH SarabunPSK" pitchFamily="34" charset="-34"/>
                </a:rPr>
                <a:t>ตราด</a:t>
              </a:r>
              <a:endParaRPr lang="en-US" sz="1600" b="1" dirty="0">
                <a:latin typeface="TH SarabunPSK" pitchFamily="34" charset="-34"/>
                <a:ea typeface="Tahoma" pitchFamily="34" charset="0"/>
                <a:cs typeface="TH SarabunPSK" pitchFamily="34" charset="-34"/>
              </a:endParaRPr>
            </a:p>
          </p:txBody>
        </p:sp>
        <p:cxnSp>
          <p:nvCxnSpPr>
            <p:cNvPr id="44" name="Straight Connector 43"/>
            <p:cNvCxnSpPr/>
            <p:nvPr/>
          </p:nvCxnSpPr>
          <p:spPr>
            <a:xfrm>
              <a:off x="3561531" y="1018847"/>
              <a:ext cx="0" cy="3351649"/>
            </a:xfrm>
            <a:prstGeom prst="line">
              <a:avLst/>
            </a:prstGeom>
            <a:ln w="28575">
              <a:solidFill>
                <a:srgbClr val="C00000"/>
              </a:solidFill>
            </a:ln>
          </p:spPr>
          <p:style>
            <a:lnRef idx="1">
              <a:schemeClr val="accent2"/>
            </a:lnRef>
            <a:fillRef idx="0">
              <a:schemeClr val="accent2"/>
            </a:fillRef>
            <a:effectRef idx="0">
              <a:schemeClr val="accent2"/>
            </a:effectRef>
            <a:fontRef idx="minor">
              <a:schemeClr val="tx1"/>
            </a:fontRef>
          </p:style>
        </p:cxnSp>
        <p:cxnSp>
          <p:nvCxnSpPr>
            <p:cNvPr id="55" name="Straight Connector 54"/>
            <p:cNvCxnSpPr/>
            <p:nvPr/>
          </p:nvCxnSpPr>
          <p:spPr>
            <a:xfrm>
              <a:off x="3564811" y="1023634"/>
              <a:ext cx="553113" cy="0"/>
            </a:xfrm>
            <a:prstGeom prst="line">
              <a:avLst/>
            </a:prstGeom>
            <a:noFill/>
            <a:ln w="28575" cap="flat" cmpd="sng" algn="ctr">
              <a:solidFill>
                <a:srgbClr val="C0504D">
                  <a:shade val="95000"/>
                  <a:satMod val="105000"/>
                </a:srgbClr>
              </a:solidFill>
              <a:prstDash val="solid"/>
            </a:ln>
            <a:effectLst/>
          </p:spPr>
        </p:cxnSp>
        <p:cxnSp>
          <p:nvCxnSpPr>
            <p:cNvPr id="56" name="Straight Connector 55"/>
            <p:cNvCxnSpPr/>
            <p:nvPr/>
          </p:nvCxnSpPr>
          <p:spPr>
            <a:xfrm>
              <a:off x="3564811" y="2490284"/>
              <a:ext cx="553113" cy="0"/>
            </a:xfrm>
            <a:prstGeom prst="line">
              <a:avLst/>
            </a:prstGeom>
            <a:noFill/>
            <a:ln w="28575" cap="flat" cmpd="sng" algn="ctr">
              <a:solidFill>
                <a:srgbClr val="C0504D">
                  <a:shade val="95000"/>
                  <a:satMod val="105000"/>
                </a:srgbClr>
              </a:solidFill>
              <a:prstDash val="solid"/>
            </a:ln>
            <a:effectLst/>
          </p:spPr>
        </p:cxnSp>
        <p:cxnSp>
          <p:nvCxnSpPr>
            <p:cNvPr id="58" name="Straight Connector 57"/>
            <p:cNvCxnSpPr/>
            <p:nvPr/>
          </p:nvCxnSpPr>
          <p:spPr>
            <a:xfrm>
              <a:off x="3561531" y="3174797"/>
              <a:ext cx="553113" cy="0"/>
            </a:xfrm>
            <a:prstGeom prst="line">
              <a:avLst/>
            </a:prstGeom>
            <a:noFill/>
            <a:ln w="28575" cap="flat" cmpd="sng" algn="ctr">
              <a:solidFill>
                <a:srgbClr val="C0504D">
                  <a:shade val="95000"/>
                  <a:satMod val="105000"/>
                </a:srgbClr>
              </a:solidFill>
              <a:prstDash val="solid"/>
            </a:ln>
            <a:effectLst/>
          </p:spPr>
        </p:cxnSp>
        <p:cxnSp>
          <p:nvCxnSpPr>
            <p:cNvPr id="59" name="Straight Connector 58"/>
            <p:cNvCxnSpPr/>
            <p:nvPr/>
          </p:nvCxnSpPr>
          <p:spPr>
            <a:xfrm>
              <a:off x="3563888" y="3790054"/>
              <a:ext cx="553113" cy="0"/>
            </a:xfrm>
            <a:prstGeom prst="line">
              <a:avLst/>
            </a:prstGeom>
            <a:noFill/>
            <a:ln w="28575" cap="flat" cmpd="sng" algn="ctr">
              <a:solidFill>
                <a:srgbClr val="C0504D">
                  <a:shade val="95000"/>
                  <a:satMod val="105000"/>
                </a:srgbClr>
              </a:solidFill>
              <a:prstDash val="solid"/>
            </a:ln>
            <a:effectLst/>
          </p:spPr>
        </p:cxnSp>
        <p:sp>
          <p:nvSpPr>
            <p:cNvPr id="21" name="Text Box 3"/>
            <p:cNvSpPr txBox="1"/>
            <p:nvPr/>
          </p:nvSpPr>
          <p:spPr>
            <a:xfrm>
              <a:off x="3923930" y="1341115"/>
              <a:ext cx="5040559" cy="724979"/>
            </a:xfrm>
            <a:prstGeom prst="rect">
              <a:avLst/>
            </a:prstGeom>
            <a:solidFill>
              <a:schemeClr val="tx2">
                <a:lumMod val="40000"/>
                <a:lumOff val="60000"/>
              </a:schemeClr>
            </a:solidFill>
            <a:ln/>
          </p:spPr>
          <p:style>
            <a:lnRef idx="2">
              <a:schemeClr val="accent1"/>
            </a:lnRef>
            <a:fillRef idx="1">
              <a:schemeClr val="lt1"/>
            </a:fillRef>
            <a:effectRef idx="0">
              <a:schemeClr val="accent1"/>
            </a:effectRef>
            <a:fontRef idx="minor">
              <a:schemeClr val="dk1"/>
            </a:fontRef>
          </p:style>
          <p:txBody>
            <a:bodyPr rot="0" spcFirstLastPara="0" vert="horz" wrap="square" lIns="91440" tIns="45720" rIns="91440" bIns="45720" numCol="1" spcCol="0" rtlCol="0" fromWordArt="0" anchor="t" anchorCtr="0" forceAA="0" compatLnSpc="1">
              <a:prstTxWarp prst="textNoShape">
                <a:avLst/>
              </a:prstTxWarp>
              <a:noAutofit/>
            </a:bodyPr>
            <a:lstStyle/>
            <a:p>
              <a:pPr algn="ctr">
                <a:lnSpc>
                  <a:spcPct val="90000"/>
                </a:lnSpc>
              </a:pPr>
              <a:r>
                <a:rPr lang="th-TH" sz="2000" b="1" dirty="0">
                  <a:solidFill>
                    <a:schemeClr val="tx1"/>
                  </a:solidFill>
                  <a:latin typeface="TH SarabunPSK" pitchFamily="34" charset="-34"/>
                  <a:cs typeface="TH SarabunPSK" pitchFamily="34" charset="-34"/>
                </a:rPr>
                <a:t>คณะอนุกรรมการศูนย์บริการเบ็ดเสร็จด้านแรงงาน สาธารณสุข  และความมั่นคง </a:t>
              </a:r>
              <a:endParaRPr lang="en-US" sz="2000" b="1" dirty="0">
                <a:solidFill>
                  <a:schemeClr val="tx1"/>
                </a:solidFill>
                <a:latin typeface="TH SarabunPSK" pitchFamily="34" charset="-34"/>
                <a:cs typeface="TH SarabunPSK" pitchFamily="34" charset="-34"/>
              </a:endParaRPr>
            </a:p>
          </p:txBody>
        </p:sp>
        <p:sp>
          <p:nvSpPr>
            <p:cNvPr id="22" name="Text Box 4"/>
            <p:cNvSpPr txBox="1"/>
            <p:nvPr/>
          </p:nvSpPr>
          <p:spPr>
            <a:xfrm>
              <a:off x="3923930" y="573137"/>
              <a:ext cx="5040559" cy="644577"/>
            </a:xfrm>
            <a:prstGeom prst="rect">
              <a:avLst/>
            </a:prstGeom>
            <a:solidFill>
              <a:schemeClr val="tx2">
                <a:lumMod val="40000"/>
                <a:lumOff val="60000"/>
              </a:schemeClr>
            </a:solidFill>
            <a:ln/>
          </p:spPr>
          <p:style>
            <a:lnRef idx="2">
              <a:schemeClr val="accent1"/>
            </a:lnRef>
            <a:fillRef idx="1">
              <a:schemeClr val="lt1"/>
            </a:fillRef>
            <a:effectRef idx="0">
              <a:schemeClr val="accent1"/>
            </a:effectRef>
            <a:fontRef idx="minor">
              <a:schemeClr val="dk1"/>
            </a:fontRef>
          </p:style>
          <p:txBody>
            <a:bodyPr rot="0" spcFirstLastPara="0" vert="horz" wrap="square" lIns="91440" tIns="45720" rIns="91440" bIns="45720" numCol="1" spcCol="0" rtlCol="0" fromWordArt="0" anchor="t" anchorCtr="0" forceAA="0" compatLnSpc="1">
              <a:prstTxWarp prst="textNoShape">
                <a:avLst/>
              </a:prstTxWarp>
              <a:noAutofit/>
            </a:bodyPr>
            <a:lstStyle/>
            <a:p>
              <a:pPr algn="ctr">
                <a:lnSpc>
                  <a:spcPct val="90000"/>
                </a:lnSpc>
              </a:pPr>
              <a:r>
                <a:rPr lang="th-TH" sz="2000" b="1" dirty="0">
                  <a:solidFill>
                    <a:schemeClr val="tx1"/>
                  </a:solidFill>
                  <a:latin typeface="TH SarabunPSK" pitchFamily="34" charset="-34"/>
                  <a:cs typeface="TH SarabunPSK" pitchFamily="34" charset="-34"/>
                </a:rPr>
                <a:t>คณะอนุกรรมการด้านสิทธิประโยชน์ กำหนด</a:t>
              </a:r>
              <a:r>
                <a:rPr lang="th-TH" sz="2000" b="1" dirty="0" smtClean="0">
                  <a:solidFill>
                    <a:schemeClr val="tx1"/>
                  </a:solidFill>
                  <a:latin typeface="TH SarabunPSK" pitchFamily="34" charset="-34"/>
                  <a:cs typeface="TH SarabunPSK" pitchFamily="34" charset="-34"/>
                </a:rPr>
                <a:t>พื้นที่ และ</a:t>
              </a:r>
              <a:r>
                <a:rPr lang="th-TH" sz="2000" b="1" dirty="0">
                  <a:solidFill>
                    <a:schemeClr val="tx1"/>
                  </a:solidFill>
                  <a:latin typeface="TH SarabunPSK" pitchFamily="34" charset="-34"/>
                  <a:cs typeface="TH SarabunPSK" pitchFamily="34" charset="-34"/>
                </a:rPr>
                <a:t>ศูนย์บริการ</a:t>
              </a:r>
              <a:r>
                <a:rPr lang="th-TH" sz="2000" b="1" dirty="0" smtClean="0">
                  <a:solidFill>
                    <a:schemeClr val="tx1"/>
                  </a:solidFill>
                  <a:latin typeface="TH SarabunPSK" pitchFamily="34" charset="-34"/>
                  <a:cs typeface="TH SarabunPSK" pitchFamily="34" charset="-34"/>
                </a:rPr>
                <a:t>เบ็ดเสร็จด้าน</a:t>
              </a:r>
              <a:r>
                <a:rPr lang="th-TH" sz="2000" b="1" dirty="0">
                  <a:solidFill>
                    <a:schemeClr val="tx1"/>
                  </a:solidFill>
                  <a:latin typeface="TH SarabunPSK" pitchFamily="34" charset="-34"/>
                  <a:cs typeface="TH SarabunPSK" pitchFamily="34" charset="-34"/>
                </a:rPr>
                <a:t>การลงทุน</a:t>
              </a:r>
              <a:endParaRPr lang="en-US" sz="2000" b="1" dirty="0">
                <a:solidFill>
                  <a:schemeClr val="tx1"/>
                </a:solidFill>
                <a:latin typeface="TH SarabunPSK" pitchFamily="34" charset="-34"/>
                <a:cs typeface="TH SarabunPSK" pitchFamily="34" charset="-34"/>
              </a:endParaRPr>
            </a:p>
          </p:txBody>
        </p:sp>
        <p:sp>
          <p:nvSpPr>
            <p:cNvPr id="23" name="Text Box 5"/>
            <p:cNvSpPr txBox="1"/>
            <p:nvPr/>
          </p:nvSpPr>
          <p:spPr>
            <a:xfrm>
              <a:off x="3923928" y="2205707"/>
              <a:ext cx="5040559" cy="539091"/>
            </a:xfrm>
            <a:prstGeom prst="rect">
              <a:avLst/>
            </a:prstGeom>
            <a:solidFill>
              <a:schemeClr val="tx2">
                <a:lumMod val="40000"/>
                <a:lumOff val="60000"/>
              </a:schemeClr>
            </a:solidFill>
            <a:ln/>
          </p:spPr>
          <p:style>
            <a:lnRef idx="2">
              <a:schemeClr val="accent1"/>
            </a:lnRef>
            <a:fillRef idx="1">
              <a:schemeClr val="lt1"/>
            </a:fillRef>
            <a:effectRef idx="0">
              <a:schemeClr val="accent1"/>
            </a:effectRef>
            <a:fontRef idx="minor">
              <a:schemeClr val="dk1"/>
            </a:fontRef>
          </p:style>
          <p:txBody>
            <a:bodyPr rot="0" spcFirstLastPara="0" vert="horz" wrap="square" lIns="91440" tIns="45720" rIns="91440" bIns="45720" numCol="1" spcCol="0" rtlCol="0" fromWordArt="0" anchor="t" anchorCtr="0" forceAA="0" compatLnSpc="1">
              <a:prstTxWarp prst="textNoShape">
                <a:avLst/>
              </a:prstTxWarp>
              <a:noAutofit/>
            </a:bodyPr>
            <a:lstStyle/>
            <a:p>
              <a:pPr algn="ctr">
                <a:lnSpc>
                  <a:spcPct val="90000"/>
                </a:lnSpc>
              </a:pPr>
              <a:r>
                <a:rPr lang="th-TH" sz="2000" b="1" dirty="0">
                  <a:solidFill>
                    <a:schemeClr val="tx1"/>
                  </a:solidFill>
                  <a:latin typeface="TH SarabunPSK" pitchFamily="34" charset="-34"/>
                  <a:cs typeface="TH SarabunPSK" pitchFamily="34" charset="-34"/>
                </a:rPr>
                <a:t>คณะอนุกรรมการด้าน</a:t>
              </a:r>
              <a:r>
                <a:rPr lang="th-TH" sz="2000" b="1" dirty="0" smtClean="0">
                  <a:solidFill>
                    <a:schemeClr val="tx1"/>
                  </a:solidFill>
                  <a:latin typeface="TH SarabunPSK" pitchFamily="34" charset="-34"/>
                  <a:cs typeface="TH SarabunPSK" pitchFamily="34" charset="-34"/>
                </a:rPr>
                <a:t>โครงสร้างพื้นฐาน และ</a:t>
              </a:r>
              <a:r>
                <a:rPr lang="th-TH" sz="2000" b="1" dirty="0">
                  <a:solidFill>
                    <a:schemeClr val="tx1"/>
                  </a:solidFill>
                  <a:latin typeface="TH SarabunPSK" pitchFamily="34" charset="-34"/>
                  <a:cs typeface="TH SarabunPSK" pitchFamily="34" charset="-34"/>
                </a:rPr>
                <a:t>ด่านศุลกากร</a:t>
              </a:r>
              <a:endParaRPr lang="en-US" sz="2000" b="1" dirty="0">
                <a:solidFill>
                  <a:schemeClr val="tx1"/>
                </a:solidFill>
                <a:latin typeface="TH SarabunPSK" pitchFamily="34" charset="-34"/>
                <a:cs typeface="TH SarabunPSK" pitchFamily="34" charset="-34"/>
              </a:endParaRPr>
            </a:p>
          </p:txBody>
        </p:sp>
        <p:sp>
          <p:nvSpPr>
            <p:cNvPr id="52" name="Text Box 4"/>
            <p:cNvSpPr txBox="1"/>
            <p:nvPr/>
          </p:nvSpPr>
          <p:spPr>
            <a:xfrm>
              <a:off x="3923929" y="2967111"/>
              <a:ext cx="5040558" cy="456391"/>
            </a:xfrm>
            <a:prstGeom prst="rect">
              <a:avLst/>
            </a:prstGeom>
            <a:solidFill>
              <a:schemeClr val="tx2">
                <a:lumMod val="40000"/>
                <a:lumOff val="60000"/>
              </a:schemeClr>
            </a:solidFill>
            <a:ln/>
          </p:spPr>
          <p:style>
            <a:lnRef idx="2">
              <a:schemeClr val="accent1"/>
            </a:lnRef>
            <a:fillRef idx="1">
              <a:schemeClr val="lt1"/>
            </a:fillRef>
            <a:effectRef idx="0">
              <a:schemeClr val="accent1"/>
            </a:effectRef>
            <a:fontRef idx="minor">
              <a:schemeClr val="dk1"/>
            </a:fontRef>
          </p:style>
          <p:txBody>
            <a:bodyPr rot="0" spcFirstLastPara="0" vert="horz" wrap="square" lIns="91440" tIns="45720" rIns="91440" bIns="45720" numCol="1" spcCol="0" rtlCol="0" fromWordArt="0" anchor="ctr" anchorCtr="1" forceAA="0" compatLnSpc="1">
              <a:prstTxWarp prst="textNoShape">
                <a:avLst/>
              </a:prstTxWarp>
              <a:noAutofit/>
            </a:bodyPr>
            <a:lstStyle/>
            <a:p>
              <a:pPr algn="ctr">
                <a:lnSpc>
                  <a:spcPct val="90000"/>
                </a:lnSpc>
              </a:pPr>
              <a:r>
                <a:rPr lang="th-TH" sz="2000" b="1" dirty="0">
                  <a:solidFill>
                    <a:schemeClr val="tx1"/>
                  </a:solidFill>
                  <a:latin typeface="TH SarabunPSK" pitchFamily="34" charset="-34"/>
                  <a:cs typeface="TH SarabunPSK" pitchFamily="34" charset="-34"/>
                </a:rPr>
                <a:t>คณะอนุกรรมการด้านการจัดหา</a:t>
              </a:r>
              <a:r>
                <a:rPr lang="th-TH" sz="2000" b="1" dirty="0" smtClean="0">
                  <a:solidFill>
                    <a:schemeClr val="tx1"/>
                  </a:solidFill>
                  <a:latin typeface="TH SarabunPSK" pitchFamily="34" charset="-34"/>
                  <a:cs typeface="TH SarabunPSK" pitchFamily="34" charset="-34"/>
                </a:rPr>
                <a:t>ที่ดินและ</a:t>
              </a:r>
              <a:r>
                <a:rPr lang="th-TH" sz="2000" b="1" dirty="0">
                  <a:solidFill>
                    <a:schemeClr val="tx1"/>
                  </a:solidFill>
                  <a:latin typeface="TH SarabunPSK" pitchFamily="34" charset="-34"/>
                  <a:cs typeface="TH SarabunPSK" pitchFamily="34" charset="-34"/>
                </a:rPr>
                <a:t>บริหารจัดการ</a:t>
              </a:r>
              <a:endParaRPr lang="en-US" sz="2000" b="1" dirty="0">
                <a:solidFill>
                  <a:schemeClr val="tx1"/>
                </a:solidFill>
                <a:latin typeface="TH SarabunPSK" pitchFamily="34" charset="-34"/>
                <a:cs typeface="TH SarabunPSK" pitchFamily="34" charset="-34"/>
              </a:endParaRPr>
            </a:p>
          </p:txBody>
        </p:sp>
        <p:sp>
          <p:nvSpPr>
            <p:cNvPr id="40" name="Text Box 4"/>
            <p:cNvSpPr txBox="1"/>
            <p:nvPr/>
          </p:nvSpPr>
          <p:spPr>
            <a:xfrm>
              <a:off x="3923930" y="3593178"/>
              <a:ext cx="5040557" cy="430392"/>
            </a:xfrm>
            <a:prstGeom prst="rect">
              <a:avLst/>
            </a:prstGeom>
            <a:solidFill>
              <a:schemeClr val="tx2">
                <a:lumMod val="40000"/>
                <a:lumOff val="60000"/>
              </a:schemeClr>
            </a:solidFill>
            <a:ln/>
          </p:spPr>
          <p:style>
            <a:lnRef idx="2">
              <a:schemeClr val="accent1"/>
            </a:lnRef>
            <a:fillRef idx="1">
              <a:schemeClr val="lt1"/>
            </a:fillRef>
            <a:effectRef idx="0">
              <a:schemeClr val="accent1"/>
            </a:effectRef>
            <a:fontRef idx="minor">
              <a:schemeClr val="dk1"/>
            </a:fontRef>
          </p:style>
          <p:txBody>
            <a:bodyPr rot="0" spcFirstLastPara="0" vert="horz" wrap="square" lIns="91440" tIns="45720" rIns="91440" bIns="45720" numCol="1" spcCol="0" rtlCol="0" fromWordArt="0" anchor="ctr" anchorCtr="1" forceAA="0" compatLnSpc="1">
              <a:prstTxWarp prst="textNoShape">
                <a:avLst/>
              </a:prstTxWarp>
              <a:noAutofit/>
            </a:bodyPr>
            <a:lstStyle>
              <a:defPPr>
                <a:defRPr lang="th-TH"/>
              </a:defPPr>
              <a:lvl1pPr algn="ctr">
                <a:lnSpc>
                  <a:spcPct val="90000"/>
                </a:lnSpc>
                <a:defRPr sz="1600" b="1">
                  <a:ea typeface="Calibri"/>
                  <a:cs typeface="TH SarabunPSK"/>
                </a:defRPr>
              </a:lvl1pPr>
            </a:lstStyle>
            <a:p>
              <a:r>
                <a:rPr lang="th-TH" sz="2000" dirty="0">
                  <a:solidFill>
                    <a:schemeClr val="tx1"/>
                  </a:solidFill>
                  <a:latin typeface="TH SarabunPSK" pitchFamily="34" charset="-34"/>
                  <a:cs typeface="TH SarabunPSK" pitchFamily="34" charset="-34"/>
                </a:rPr>
                <a:t>คณะอนุกรรมการ</a:t>
              </a:r>
              <a:r>
                <a:rPr lang="th-TH" sz="2000" dirty="0" smtClean="0">
                  <a:solidFill>
                    <a:schemeClr val="tx1"/>
                  </a:solidFill>
                  <a:latin typeface="TH SarabunPSK" pitchFamily="34" charset="-34"/>
                  <a:cs typeface="TH SarabunPSK" pitchFamily="34" charset="-34"/>
                </a:rPr>
                <a:t>ด้าน</a:t>
              </a:r>
              <a:r>
                <a:rPr lang="th-TH" sz="2000" dirty="0">
                  <a:solidFill>
                    <a:schemeClr val="tx1"/>
                  </a:solidFill>
                  <a:latin typeface="TH SarabunPSK" pitchFamily="34" charset="-34"/>
                  <a:cs typeface="TH SarabunPSK" pitchFamily="34" charset="-34"/>
                </a:rPr>
                <a:t>การตลาดและประชาสัมพันธ์</a:t>
              </a:r>
              <a:endParaRPr lang="en-US" sz="2000" dirty="0">
                <a:solidFill>
                  <a:schemeClr val="tx1"/>
                </a:solidFill>
                <a:latin typeface="TH SarabunPSK" pitchFamily="34" charset="-34"/>
                <a:cs typeface="TH SarabunPSK" pitchFamily="34" charset="-34"/>
              </a:endParaRPr>
            </a:p>
          </p:txBody>
        </p:sp>
        <p:cxnSp>
          <p:nvCxnSpPr>
            <p:cNvPr id="60" name="Straight Connector 59"/>
            <p:cNvCxnSpPr/>
            <p:nvPr/>
          </p:nvCxnSpPr>
          <p:spPr>
            <a:xfrm>
              <a:off x="1605966" y="4265719"/>
              <a:ext cx="684517" cy="0"/>
            </a:xfrm>
            <a:prstGeom prst="line">
              <a:avLst/>
            </a:prstGeom>
            <a:noFill/>
            <a:ln w="28575" cap="flat" cmpd="sng" algn="ctr">
              <a:solidFill>
                <a:srgbClr val="C0504D">
                  <a:shade val="95000"/>
                  <a:satMod val="105000"/>
                </a:srgbClr>
              </a:solidFill>
              <a:prstDash val="solid"/>
            </a:ln>
            <a:effectLst/>
          </p:spPr>
        </p:cxnSp>
        <p:sp>
          <p:nvSpPr>
            <p:cNvPr id="30" name="Text Box 13"/>
            <p:cNvSpPr txBox="1"/>
            <p:nvPr/>
          </p:nvSpPr>
          <p:spPr>
            <a:xfrm>
              <a:off x="240556" y="4108444"/>
              <a:ext cx="1379116" cy="449064"/>
            </a:xfrm>
            <a:prstGeom prst="rect">
              <a:avLst/>
            </a:prstGeom>
            <a:solidFill>
              <a:schemeClr val="tx2">
                <a:lumMod val="40000"/>
                <a:lumOff val="60000"/>
              </a:schemeClr>
            </a:solidFill>
            <a:ln w="19050">
              <a:prstDash val="sysDash"/>
            </a:ln>
          </p:spPr>
          <p:style>
            <a:lnRef idx="2">
              <a:schemeClr val="accent1"/>
            </a:lnRef>
            <a:fillRef idx="1">
              <a:schemeClr val="lt1"/>
            </a:fillRef>
            <a:effectRef idx="0">
              <a:schemeClr val="accent1"/>
            </a:effectRef>
            <a:fontRef idx="minor">
              <a:schemeClr val="dk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ctr">
                <a:lnSpc>
                  <a:spcPct val="90000"/>
                </a:lnSpc>
              </a:pPr>
              <a:r>
                <a:rPr lang="en-US" sz="1600" b="1" dirty="0">
                  <a:latin typeface="TH SarabunPSK" pitchFamily="34" charset="-34"/>
                  <a:ea typeface="Tahoma" pitchFamily="34" charset="0"/>
                  <a:cs typeface="TH SarabunPSK" pitchFamily="34" charset="-34"/>
                </a:rPr>
                <a:t>OSS-</a:t>
              </a:r>
              <a:r>
                <a:rPr lang="th-TH" sz="1600" b="1" dirty="0">
                  <a:latin typeface="TH SarabunPSK" pitchFamily="34" charset="-34"/>
                  <a:ea typeface="Tahoma" pitchFamily="34" charset="0"/>
                  <a:cs typeface="TH SarabunPSK" pitchFamily="34" charset="-34"/>
                </a:rPr>
                <a:t>มุกดาหาร</a:t>
              </a:r>
              <a:endParaRPr lang="en-US" sz="1600" b="1" dirty="0">
                <a:latin typeface="TH SarabunPSK" pitchFamily="34" charset="-34"/>
                <a:ea typeface="Tahoma" pitchFamily="34" charset="0"/>
                <a:cs typeface="TH SarabunPSK" pitchFamily="34" charset="-34"/>
              </a:endParaRPr>
            </a:p>
          </p:txBody>
        </p:sp>
        <p:sp>
          <p:nvSpPr>
            <p:cNvPr id="31" name="Text Box 14"/>
            <p:cNvSpPr txBox="1"/>
            <p:nvPr/>
          </p:nvSpPr>
          <p:spPr>
            <a:xfrm>
              <a:off x="2051696" y="4108446"/>
              <a:ext cx="1368176" cy="449062"/>
            </a:xfrm>
            <a:prstGeom prst="rect">
              <a:avLst/>
            </a:prstGeom>
            <a:solidFill>
              <a:schemeClr val="tx2">
                <a:lumMod val="40000"/>
                <a:lumOff val="60000"/>
              </a:schemeClr>
            </a:solidFill>
            <a:ln w="19050">
              <a:prstDash val="sysDash"/>
            </a:ln>
          </p:spPr>
          <p:style>
            <a:lnRef idx="2">
              <a:schemeClr val="accent1"/>
            </a:lnRef>
            <a:fillRef idx="1">
              <a:schemeClr val="lt1"/>
            </a:fillRef>
            <a:effectRef idx="0">
              <a:schemeClr val="accent1"/>
            </a:effectRef>
            <a:fontRef idx="minor">
              <a:schemeClr val="dk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ctr">
                <a:lnSpc>
                  <a:spcPct val="90000"/>
                </a:lnSpc>
              </a:pPr>
              <a:r>
                <a:rPr lang="en-US" sz="1600" b="1" dirty="0">
                  <a:latin typeface="TH SarabunPSK" pitchFamily="34" charset="-34"/>
                  <a:ea typeface="Tahoma" pitchFamily="34" charset="0"/>
                  <a:cs typeface="TH SarabunPSK" pitchFamily="34" charset="-34"/>
                </a:rPr>
                <a:t>OSS-</a:t>
              </a:r>
              <a:r>
                <a:rPr lang="th-TH" sz="1600" b="1" dirty="0">
                  <a:latin typeface="TH SarabunPSK" pitchFamily="34" charset="-34"/>
                  <a:ea typeface="Tahoma" pitchFamily="34" charset="0"/>
                  <a:cs typeface="TH SarabunPSK" pitchFamily="34" charset="-34"/>
                </a:rPr>
                <a:t>มุกดาหาร</a:t>
              </a:r>
              <a:endParaRPr lang="en-US" sz="1600" b="1" dirty="0">
                <a:latin typeface="TH SarabunPSK" pitchFamily="34" charset="-34"/>
                <a:ea typeface="Tahoma" pitchFamily="34" charset="0"/>
                <a:cs typeface="TH SarabunPSK" pitchFamily="34" charset="-34"/>
              </a:endParaRPr>
            </a:p>
          </p:txBody>
        </p:sp>
        <p:cxnSp>
          <p:nvCxnSpPr>
            <p:cNvPr id="61" name="Straight Connector 60"/>
            <p:cNvCxnSpPr/>
            <p:nvPr/>
          </p:nvCxnSpPr>
          <p:spPr>
            <a:xfrm>
              <a:off x="1501013" y="3148025"/>
              <a:ext cx="334683" cy="0"/>
            </a:xfrm>
            <a:prstGeom prst="line">
              <a:avLst/>
            </a:prstGeom>
            <a:noFill/>
            <a:ln w="28575" cap="flat" cmpd="sng" algn="ctr">
              <a:solidFill>
                <a:srgbClr val="C0504D">
                  <a:shade val="95000"/>
                  <a:satMod val="105000"/>
                </a:srgbClr>
              </a:solidFill>
              <a:prstDash val="solid"/>
            </a:ln>
            <a:effectLst/>
          </p:spPr>
        </p:cxnSp>
        <p:cxnSp>
          <p:nvCxnSpPr>
            <p:cNvPr id="64" name="Straight Connector 63"/>
            <p:cNvCxnSpPr/>
            <p:nvPr/>
          </p:nvCxnSpPr>
          <p:spPr>
            <a:xfrm>
              <a:off x="3563888" y="4370496"/>
              <a:ext cx="553113" cy="0"/>
            </a:xfrm>
            <a:prstGeom prst="line">
              <a:avLst/>
            </a:prstGeom>
            <a:noFill/>
            <a:ln w="28575" cap="flat" cmpd="sng" algn="ctr">
              <a:solidFill>
                <a:srgbClr val="C0504D">
                  <a:shade val="95000"/>
                  <a:satMod val="105000"/>
                </a:srgbClr>
              </a:solidFill>
              <a:prstDash val="solid"/>
            </a:ln>
            <a:effectLst/>
          </p:spPr>
        </p:cxnSp>
        <p:sp>
          <p:nvSpPr>
            <p:cNvPr id="43" name="Text Box 4"/>
            <p:cNvSpPr txBox="1"/>
            <p:nvPr/>
          </p:nvSpPr>
          <p:spPr>
            <a:xfrm>
              <a:off x="3923930" y="4227308"/>
              <a:ext cx="5040557" cy="430392"/>
            </a:xfrm>
            <a:prstGeom prst="rect">
              <a:avLst/>
            </a:prstGeom>
            <a:solidFill>
              <a:schemeClr val="tx2">
                <a:lumMod val="40000"/>
                <a:lumOff val="60000"/>
              </a:schemeClr>
            </a:solidFill>
            <a:ln/>
          </p:spPr>
          <p:style>
            <a:lnRef idx="2">
              <a:schemeClr val="accent1"/>
            </a:lnRef>
            <a:fillRef idx="1">
              <a:schemeClr val="lt1"/>
            </a:fillRef>
            <a:effectRef idx="0">
              <a:schemeClr val="accent1"/>
            </a:effectRef>
            <a:fontRef idx="minor">
              <a:schemeClr val="dk1"/>
            </a:fontRef>
          </p:style>
          <p:txBody>
            <a:bodyPr rot="0" spcFirstLastPara="0" vert="horz" wrap="square" lIns="91440" tIns="45720" rIns="91440" bIns="45720" numCol="1" spcCol="0" rtlCol="0" fromWordArt="0" anchor="ctr" anchorCtr="1" forceAA="0" compatLnSpc="1">
              <a:prstTxWarp prst="textNoShape">
                <a:avLst/>
              </a:prstTxWarp>
              <a:noAutofit/>
            </a:bodyPr>
            <a:lstStyle>
              <a:defPPr>
                <a:defRPr lang="th-TH"/>
              </a:defPPr>
              <a:lvl1pPr algn="ctr">
                <a:lnSpc>
                  <a:spcPct val="90000"/>
                </a:lnSpc>
                <a:defRPr sz="1600" b="1">
                  <a:ea typeface="Calibri"/>
                  <a:cs typeface="TH SarabunPSK"/>
                </a:defRPr>
              </a:lvl1pPr>
            </a:lstStyle>
            <a:p>
              <a:r>
                <a:rPr lang="th-TH" sz="2000" dirty="0">
                  <a:solidFill>
                    <a:schemeClr val="tx1"/>
                  </a:solidFill>
                  <a:latin typeface="TH SarabunPSK" pitchFamily="34" charset="-34"/>
                  <a:cs typeface="TH SarabunPSK" pitchFamily="34" charset="-34"/>
                </a:rPr>
                <a:t>คณะอนุกรรมการ</a:t>
              </a:r>
              <a:r>
                <a:rPr lang="th-TH" sz="2000" dirty="0" smtClean="0">
                  <a:solidFill>
                    <a:schemeClr val="tx1"/>
                  </a:solidFill>
                  <a:latin typeface="TH SarabunPSK" pitchFamily="34" charset="-34"/>
                  <a:cs typeface="TH SarabunPSK" pitchFamily="34" charset="-34"/>
                </a:rPr>
                <a:t>ขับเคลื่อนเขต</a:t>
              </a:r>
              <a:r>
                <a:rPr lang="th-TH" sz="2000" dirty="0">
                  <a:solidFill>
                    <a:schemeClr val="tx1"/>
                  </a:solidFill>
                  <a:latin typeface="TH SarabunPSK" pitchFamily="34" charset="-34"/>
                  <a:cs typeface="TH SarabunPSK" pitchFamily="34" charset="-34"/>
                </a:rPr>
                <a:t>พัฒนาเศรษฐกิจ</a:t>
              </a:r>
              <a:r>
                <a:rPr lang="th-TH" sz="2000" dirty="0" smtClean="0">
                  <a:solidFill>
                    <a:schemeClr val="tx1"/>
                  </a:solidFill>
                  <a:latin typeface="TH SarabunPSK" pitchFamily="34" charset="-34"/>
                  <a:cs typeface="TH SarabunPSK" pitchFamily="34" charset="-34"/>
                </a:rPr>
                <a:t>พิเศษระดับ</a:t>
              </a:r>
              <a:r>
                <a:rPr lang="th-TH" sz="2000" dirty="0">
                  <a:solidFill>
                    <a:schemeClr val="tx1"/>
                  </a:solidFill>
                  <a:latin typeface="TH SarabunPSK" pitchFamily="34" charset="-34"/>
                  <a:cs typeface="TH SarabunPSK" pitchFamily="34" charset="-34"/>
                </a:rPr>
                <a:t>พื้นที่</a:t>
              </a:r>
              <a:endParaRPr lang="en-US" sz="2000" dirty="0">
                <a:solidFill>
                  <a:schemeClr val="tx1"/>
                </a:solidFill>
                <a:latin typeface="TH SarabunPSK" pitchFamily="34" charset="-34"/>
                <a:cs typeface="TH SarabunPSK" pitchFamily="34" charset="-34"/>
              </a:endParaRPr>
            </a:p>
          </p:txBody>
        </p:sp>
        <p:sp>
          <p:nvSpPr>
            <p:cNvPr id="20" name="Text Box 2"/>
            <p:cNvSpPr txBox="1"/>
            <p:nvPr/>
          </p:nvSpPr>
          <p:spPr>
            <a:xfrm>
              <a:off x="357358" y="769269"/>
              <a:ext cx="2846490" cy="1728192"/>
            </a:xfrm>
            <a:prstGeom prst="rect">
              <a:avLst/>
            </a:prstGeom>
            <a:solidFill>
              <a:schemeClr val="accent4">
                <a:lumMod val="25000"/>
              </a:schemeClr>
            </a:solidFill>
            <a:ln/>
          </p:spPr>
          <p:style>
            <a:lnRef idx="2">
              <a:schemeClr val="accent1"/>
            </a:lnRef>
            <a:fillRef idx="1">
              <a:schemeClr val="lt1"/>
            </a:fillRef>
            <a:effectRef idx="0">
              <a:schemeClr val="accent1"/>
            </a:effectRef>
            <a:fontRef idx="minor">
              <a:schemeClr val="dk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ctr">
                <a:lnSpc>
                  <a:spcPct val="115000"/>
                </a:lnSpc>
                <a:spcAft>
                  <a:spcPts val="961"/>
                </a:spcAft>
              </a:pPr>
              <a:r>
                <a:rPr lang="th-TH" sz="2000" b="1" dirty="0">
                  <a:solidFill>
                    <a:schemeClr val="bg1"/>
                  </a:solidFill>
                  <a:latin typeface="TH SarabunPSK" pitchFamily="34" charset="-34"/>
                  <a:ea typeface="Tahoma" pitchFamily="34" charset="0"/>
                  <a:cs typeface="TH SarabunPSK" pitchFamily="34" charset="-34"/>
                </a:rPr>
                <a:t>คณะกรรมการนโยบายเขตพัฒนาเศรษฐกิจ</a:t>
              </a:r>
              <a:r>
                <a:rPr lang="th-TH" sz="2000" b="1" dirty="0" smtClean="0">
                  <a:solidFill>
                    <a:schemeClr val="bg1"/>
                  </a:solidFill>
                  <a:latin typeface="TH SarabunPSK" pitchFamily="34" charset="-34"/>
                  <a:ea typeface="Tahoma" pitchFamily="34" charset="0"/>
                  <a:cs typeface="TH SarabunPSK" pitchFamily="34" charset="-34"/>
                </a:rPr>
                <a:t>พิเศษ </a:t>
              </a:r>
              <a:r>
                <a:rPr lang="en-US" sz="2000" b="1" dirty="0" smtClean="0">
                  <a:solidFill>
                    <a:schemeClr val="bg1"/>
                  </a:solidFill>
                  <a:latin typeface="TH SarabunPSK" pitchFamily="34" charset="-34"/>
                  <a:ea typeface="Tahoma" pitchFamily="34" charset="0"/>
                  <a:cs typeface="TH SarabunPSK" pitchFamily="34" charset="-34"/>
                </a:rPr>
                <a:t>(</a:t>
              </a:r>
              <a:r>
                <a:rPr lang="th-TH" sz="2000" b="1" dirty="0" err="1">
                  <a:solidFill>
                    <a:schemeClr val="bg1"/>
                  </a:solidFill>
                  <a:latin typeface="TH SarabunPSK" pitchFamily="34" charset="-34"/>
                  <a:ea typeface="Tahoma" pitchFamily="34" charset="0"/>
                  <a:cs typeface="TH SarabunPSK" pitchFamily="34" charset="-34"/>
                </a:rPr>
                <a:t>กนพ</a:t>
              </a:r>
              <a:r>
                <a:rPr lang="th-TH" sz="2000" b="1" dirty="0">
                  <a:solidFill>
                    <a:schemeClr val="bg1"/>
                  </a:solidFill>
                  <a:latin typeface="TH SarabunPSK" pitchFamily="34" charset="-34"/>
                  <a:ea typeface="Tahoma" pitchFamily="34" charset="0"/>
                  <a:cs typeface="TH SarabunPSK" pitchFamily="34" charset="-34"/>
                </a:rPr>
                <a:t>.</a:t>
              </a:r>
              <a:r>
                <a:rPr lang="en-US" sz="2000" b="1" dirty="0">
                  <a:solidFill>
                    <a:schemeClr val="bg1"/>
                  </a:solidFill>
                  <a:latin typeface="TH SarabunPSK" pitchFamily="34" charset="-34"/>
                  <a:ea typeface="Tahoma" pitchFamily="34" charset="0"/>
                  <a:cs typeface="TH SarabunPSK" pitchFamily="34" charset="-34"/>
                </a:rPr>
                <a:t>) </a:t>
              </a:r>
            </a:p>
          </p:txBody>
        </p:sp>
      </p:grpSp>
      <p:sp>
        <p:nvSpPr>
          <p:cNvPr id="36" name="Title 2"/>
          <p:cNvSpPr>
            <a:spLocks noGrp="1"/>
          </p:cNvSpPr>
          <p:nvPr>
            <p:ph type="title"/>
          </p:nvPr>
        </p:nvSpPr>
        <p:spPr>
          <a:xfrm>
            <a:off x="289379" y="205745"/>
            <a:ext cx="8618006" cy="560923"/>
          </a:xfrm>
        </p:spPr>
        <p:txBody>
          <a:bodyPr/>
          <a:lstStyle/>
          <a:p>
            <a:r>
              <a:rPr lang="th-TH" sz="2700" b="1" dirty="0">
                <a:latin typeface="TH SarabunPSK" pitchFamily="34" charset="-34"/>
                <a:cs typeface="TH SarabunPSK" pitchFamily="34" charset="-34"/>
              </a:rPr>
              <a:t>คณะกรรมการนโยบายเขตพัฒนาเศรษฐกิจพิเศษ (</a:t>
            </a:r>
            <a:r>
              <a:rPr lang="th-TH" sz="2700" b="1" dirty="0" err="1">
                <a:latin typeface="TH SarabunPSK" pitchFamily="34" charset="-34"/>
                <a:cs typeface="TH SarabunPSK" pitchFamily="34" charset="-34"/>
              </a:rPr>
              <a:t>กนพ</a:t>
            </a:r>
            <a:r>
              <a:rPr lang="th-TH" sz="2700" b="1" dirty="0">
                <a:latin typeface="TH SarabunPSK" pitchFamily="34" charset="-34"/>
                <a:cs typeface="TH SarabunPSK" pitchFamily="34" charset="-34"/>
              </a:rPr>
              <a:t>.)</a:t>
            </a:r>
            <a:r>
              <a:rPr lang="en-US" sz="2700" b="1" dirty="0">
                <a:latin typeface="TH SarabunPSK" pitchFamily="34" charset="-34"/>
                <a:cs typeface="TH SarabunPSK" pitchFamily="34" charset="-34"/>
              </a:rPr>
              <a:t> </a:t>
            </a:r>
            <a:r>
              <a:rPr lang="th-TH" sz="2700" b="1" dirty="0">
                <a:latin typeface="TH SarabunPSK" pitchFamily="34" charset="-34"/>
                <a:cs typeface="TH SarabunPSK" pitchFamily="34" charset="-34"/>
              </a:rPr>
              <a:t>และอนุกรรมการ 6 </a:t>
            </a:r>
            <a:r>
              <a:rPr lang="th-TH" sz="2700" b="1" dirty="0" smtClean="0">
                <a:latin typeface="TH SarabunPSK" pitchFamily="34" charset="-34"/>
                <a:cs typeface="TH SarabunPSK" pitchFamily="34" charset="-34"/>
              </a:rPr>
              <a:t>ชุด ทำ</a:t>
            </a:r>
            <a:r>
              <a:rPr lang="th-TH" sz="2700" b="1" dirty="0">
                <a:latin typeface="TH SarabunPSK" pitchFamily="34" charset="-34"/>
                <a:cs typeface="TH SarabunPSK" pitchFamily="34" charset="-34"/>
              </a:rPr>
              <a:t>หน้าที่ขับเคลื่อนเขตเศรษฐกิจพิเศษ โดยจะทำงานเชื่อมโยงกับศูนย์บริการเบ็ดเสร็จในแต่ละพื้นที่</a:t>
            </a:r>
            <a:r>
              <a:rPr lang="en-US" sz="2700" b="1" dirty="0">
                <a:latin typeface="TH SarabunPSK" pitchFamily="34" charset="-34"/>
                <a:cs typeface="TH SarabunPSK" pitchFamily="34" charset="-34"/>
              </a:rPr>
              <a:t> </a:t>
            </a:r>
          </a:p>
        </p:txBody>
      </p:sp>
    </p:spTree>
    <p:extLst>
      <p:ext uri="{BB962C8B-B14F-4D97-AF65-F5344CB8AC3E}">
        <p14:creationId xmlns:p14="http://schemas.microsoft.com/office/powerpoint/2010/main" xmlns="" val="686689930"/>
      </p:ext>
    </p:extLst>
  </p:cSld>
  <p:clrMapOvr>
    <a:masterClrMapping/>
  </p:clrMapOvr>
  <p:transition spd="med">
    <p:fade thruBlk="1"/>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Box 9"/>
          <p:cNvSpPr txBox="1"/>
          <p:nvPr/>
        </p:nvSpPr>
        <p:spPr>
          <a:xfrm>
            <a:off x="694756" y="2112767"/>
            <a:ext cx="2310398" cy="746358"/>
          </a:xfrm>
          <a:prstGeom prst="rect">
            <a:avLst/>
          </a:prstGeom>
          <a:noFill/>
        </p:spPr>
        <p:txBody>
          <a:bodyPr wrap="square" rtlCol="0">
            <a:spAutoFit/>
          </a:bodyPr>
          <a:lstStyle/>
          <a:p>
            <a:pPr marL="265113" indent="-265113">
              <a:lnSpc>
                <a:spcPts val="1700"/>
              </a:lnSpc>
            </a:pPr>
            <a:r>
              <a:rPr lang="th-TH" sz="1800" b="1" spc="-20" dirty="0" smtClean="0">
                <a:solidFill>
                  <a:prstClr val="black"/>
                </a:solidFill>
                <a:latin typeface="TH SarabunPSK" pitchFamily="34" charset="-34"/>
                <a:cs typeface="TH SarabunPSK" pitchFamily="34" charset="-34"/>
              </a:rPr>
              <a:t>1. 	เศรษฐกิจโลกยังมีแนวโน้มขยายตัวต่ำและผัน</a:t>
            </a:r>
            <a:r>
              <a:rPr lang="th-TH" sz="1800" b="1" spc="-20" dirty="0">
                <a:solidFill>
                  <a:prstClr val="black"/>
                </a:solidFill>
                <a:latin typeface="TH SarabunPSK" pitchFamily="34" charset="-34"/>
                <a:cs typeface="TH SarabunPSK" pitchFamily="34" charset="-34"/>
              </a:rPr>
              <a:t>ผวน </a:t>
            </a:r>
            <a:r>
              <a:rPr lang="th-TH" sz="1800" b="1" spc="-20" dirty="0" smtClean="0">
                <a:solidFill>
                  <a:prstClr val="black"/>
                </a:solidFill>
                <a:latin typeface="TH SarabunPSK" pitchFamily="34" charset="-34"/>
                <a:cs typeface="TH SarabunPSK" pitchFamily="34" charset="-34"/>
              </a:rPr>
              <a:t/>
            </a:r>
            <a:br>
              <a:rPr lang="th-TH" sz="1800" b="1" spc="-20" dirty="0" smtClean="0">
                <a:solidFill>
                  <a:prstClr val="black"/>
                </a:solidFill>
                <a:latin typeface="TH SarabunPSK" pitchFamily="34" charset="-34"/>
                <a:cs typeface="TH SarabunPSK" pitchFamily="34" charset="-34"/>
              </a:rPr>
            </a:br>
            <a:r>
              <a:rPr lang="th-TH" sz="1800" b="1" spc="-20" dirty="0" smtClean="0">
                <a:solidFill>
                  <a:prstClr val="black"/>
                </a:solidFill>
                <a:latin typeface="TH SarabunPSK" pitchFamily="34" charset="-34"/>
                <a:cs typeface="TH SarabunPSK" pitchFamily="34" charset="-34"/>
              </a:rPr>
              <a:t>เป็น</a:t>
            </a:r>
            <a:r>
              <a:rPr lang="th-TH" sz="1800" b="1" spc="-20" dirty="0">
                <a:solidFill>
                  <a:prstClr val="black"/>
                </a:solidFill>
                <a:latin typeface="TH SarabunPSK" pitchFamily="34" charset="-34"/>
                <a:cs typeface="TH SarabunPSK" pitchFamily="34" charset="-34"/>
              </a:rPr>
              <a:t>ข้อจำกัดต่อภาคการ</a:t>
            </a:r>
            <a:r>
              <a:rPr lang="th-TH" sz="1800" b="1" spc="-20" dirty="0" smtClean="0">
                <a:solidFill>
                  <a:prstClr val="black"/>
                </a:solidFill>
                <a:latin typeface="TH SarabunPSK" pitchFamily="34" charset="-34"/>
                <a:cs typeface="TH SarabunPSK" pitchFamily="34" charset="-34"/>
              </a:rPr>
              <a:t>ส่งออก</a:t>
            </a:r>
            <a:endParaRPr lang="th-TH" sz="1800" b="1" spc="-20" dirty="0">
              <a:solidFill>
                <a:prstClr val="black"/>
              </a:solidFill>
              <a:latin typeface="TH SarabunPSK" pitchFamily="34" charset="-34"/>
              <a:cs typeface="TH SarabunPSK" pitchFamily="34" charset="-34"/>
            </a:endParaRPr>
          </a:p>
        </p:txBody>
      </p:sp>
      <p:sp>
        <p:nvSpPr>
          <p:cNvPr id="18" name="TextBox 17"/>
          <p:cNvSpPr txBox="1"/>
          <p:nvPr/>
        </p:nvSpPr>
        <p:spPr>
          <a:xfrm>
            <a:off x="3203855" y="2141702"/>
            <a:ext cx="2159613" cy="746358"/>
          </a:xfrm>
          <a:prstGeom prst="rect">
            <a:avLst/>
          </a:prstGeom>
          <a:noFill/>
        </p:spPr>
        <p:txBody>
          <a:bodyPr wrap="square" rtlCol="0">
            <a:spAutoFit/>
          </a:bodyPr>
          <a:lstStyle/>
          <a:p>
            <a:pPr marL="265113" indent="-265113">
              <a:lnSpc>
                <a:spcPts val="1700"/>
              </a:lnSpc>
            </a:pPr>
            <a:r>
              <a:rPr lang="th-TH" sz="1800" b="1" spc="-20" dirty="0" smtClean="0">
                <a:solidFill>
                  <a:prstClr val="black"/>
                </a:solidFill>
                <a:latin typeface="TH SarabunPSK" pitchFamily="34" charset="-34"/>
                <a:cs typeface="TH SarabunPSK" pitchFamily="34" charset="-34"/>
              </a:rPr>
              <a:t>2. 	</a:t>
            </a:r>
            <a:r>
              <a:rPr lang="th-TH" sz="1800" b="1" spc="-20" dirty="0" err="1" smtClean="0">
                <a:solidFill>
                  <a:prstClr val="black"/>
                </a:solidFill>
                <a:latin typeface="TH SarabunPSK" pitchFamily="34" charset="-34"/>
                <a:cs typeface="TH SarabunPSK" pitchFamily="34" charset="-34"/>
              </a:rPr>
              <a:t>อุปสงค์</a:t>
            </a:r>
            <a:r>
              <a:rPr lang="th-TH" sz="1800" b="1" spc="-20" dirty="0" smtClean="0">
                <a:solidFill>
                  <a:prstClr val="black"/>
                </a:solidFill>
                <a:latin typeface="TH SarabunPSK" pitchFamily="34" charset="-34"/>
                <a:cs typeface="TH SarabunPSK" pitchFamily="34" charset="-34"/>
              </a:rPr>
              <a:t>ในประเทศน้อยกว่าขีดความสามารถในการผลิตทำให้ยังต้องพึ่งส่งออก</a:t>
            </a:r>
          </a:p>
        </p:txBody>
      </p:sp>
      <p:sp>
        <p:nvSpPr>
          <p:cNvPr id="19" name="TextBox 18"/>
          <p:cNvSpPr txBox="1"/>
          <p:nvPr/>
        </p:nvSpPr>
        <p:spPr>
          <a:xfrm>
            <a:off x="5747218" y="2139702"/>
            <a:ext cx="2425182" cy="784830"/>
          </a:xfrm>
          <a:prstGeom prst="rect">
            <a:avLst/>
          </a:prstGeom>
          <a:noFill/>
        </p:spPr>
        <p:txBody>
          <a:bodyPr wrap="square" rtlCol="0">
            <a:spAutoFit/>
          </a:bodyPr>
          <a:lstStyle/>
          <a:p>
            <a:pPr marL="265113" indent="-265113">
              <a:lnSpc>
                <a:spcPts val="1800"/>
              </a:lnSpc>
            </a:pPr>
            <a:r>
              <a:rPr lang="th-TH" sz="1800" b="1" spc="-20" dirty="0" smtClean="0">
                <a:solidFill>
                  <a:prstClr val="black"/>
                </a:solidFill>
                <a:latin typeface="TH SarabunPSK" pitchFamily="34" charset="-34"/>
                <a:cs typeface="TH SarabunPSK" pitchFamily="34" charset="-34"/>
              </a:rPr>
              <a:t>3. 	ขาด</a:t>
            </a:r>
            <a:r>
              <a:rPr lang="th-TH" sz="1800" b="1" spc="-20" dirty="0">
                <a:solidFill>
                  <a:prstClr val="black"/>
                </a:solidFill>
                <a:latin typeface="TH SarabunPSK" pitchFamily="34" charset="-34"/>
                <a:cs typeface="TH SarabunPSK" pitchFamily="34" charset="-34"/>
              </a:rPr>
              <a:t>การลงทุนที่จำเป็นและ</a:t>
            </a:r>
            <a:r>
              <a:rPr lang="th-TH" sz="1800" b="1" spc="-20" dirty="0" smtClean="0">
                <a:solidFill>
                  <a:prstClr val="black"/>
                </a:solidFill>
                <a:latin typeface="TH SarabunPSK" pitchFamily="34" charset="-34"/>
                <a:cs typeface="TH SarabunPSK" pitchFamily="34" charset="-34"/>
              </a:rPr>
              <a:t>เพียงพอต่อการยกระดับศักยภาพเศรษฐกิจเป็นเวลานาน</a:t>
            </a:r>
            <a:endParaRPr lang="th-TH" sz="1800" b="1" spc="-20" dirty="0">
              <a:solidFill>
                <a:prstClr val="black"/>
              </a:solidFill>
              <a:latin typeface="TH SarabunPSK" pitchFamily="34" charset="-34"/>
              <a:cs typeface="TH SarabunPSK" pitchFamily="34" charset="-34"/>
            </a:endParaRPr>
          </a:p>
        </p:txBody>
      </p:sp>
      <p:sp>
        <p:nvSpPr>
          <p:cNvPr id="20" name="TextBox 19"/>
          <p:cNvSpPr txBox="1"/>
          <p:nvPr/>
        </p:nvSpPr>
        <p:spPr>
          <a:xfrm>
            <a:off x="719088" y="4007305"/>
            <a:ext cx="2286067" cy="746358"/>
          </a:xfrm>
          <a:prstGeom prst="rect">
            <a:avLst/>
          </a:prstGeom>
          <a:noFill/>
        </p:spPr>
        <p:txBody>
          <a:bodyPr wrap="square" rtlCol="0">
            <a:spAutoFit/>
          </a:bodyPr>
          <a:lstStyle/>
          <a:p>
            <a:pPr marL="265113" indent="-265113">
              <a:lnSpc>
                <a:spcPts val="1700"/>
              </a:lnSpc>
            </a:pPr>
            <a:r>
              <a:rPr lang="th-TH" sz="1800" b="1" spc="-20" dirty="0">
                <a:solidFill>
                  <a:prstClr val="black"/>
                </a:solidFill>
                <a:latin typeface="TH SarabunPSK" pitchFamily="34" charset="-34"/>
                <a:cs typeface="TH SarabunPSK" pitchFamily="34" charset="-34"/>
              </a:rPr>
              <a:t>4</a:t>
            </a:r>
            <a:r>
              <a:rPr lang="th-TH" sz="1800" b="1" spc="-20" dirty="0" smtClean="0">
                <a:solidFill>
                  <a:prstClr val="black"/>
                </a:solidFill>
                <a:latin typeface="TH SarabunPSK" pitchFamily="34" charset="-34"/>
                <a:cs typeface="TH SarabunPSK" pitchFamily="34" charset="-34"/>
              </a:rPr>
              <a:t>. 	กำลังแรงงานเริ่มลดลง ในขณะที่การเพิ่มประสิทธิภาพแรงงานล่าช้า</a:t>
            </a:r>
          </a:p>
        </p:txBody>
      </p:sp>
      <p:sp>
        <p:nvSpPr>
          <p:cNvPr id="21" name="TextBox 20"/>
          <p:cNvSpPr txBox="1"/>
          <p:nvPr/>
        </p:nvSpPr>
        <p:spPr>
          <a:xfrm>
            <a:off x="3275856" y="4014506"/>
            <a:ext cx="2232249" cy="964367"/>
          </a:xfrm>
          <a:prstGeom prst="rect">
            <a:avLst/>
          </a:prstGeom>
          <a:noFill/>
        </p:spPr>
        <p:txBody>
          <a:bodyPr wrap="square" rtlCol="0">
            <a:spAutoFit/>
          </a:bodyPr>
          <a:lstStyle/>
          <a:p>
            <a:pPr marL="265113" indent="-265113">
              <a:lnSpc>
                <a:spcPts val="1700"/>
              </a:lnSpc>
              <a:tabLst>
                <a:tab pos="265113" algn="l"/>
              </a:tabLst>
            </a:pPr>
            <a:r>
              <a:rPr lang="th-TH" sz="1800" b="1" spc="-20" dirty="0">
                <a:solidFill>
                  <a:prstClr val="black"/>
                </a:solidFill>
                <a:latin typeface="TH SarabunPSK" pitchFamily="34" charset="-34"/>
                <a:cs typeface="TH SarabunPSK" pitchFamily="34" charset="-34"/>
              </a:rPr>
              <a:t>5</a:t>
            </a:r>
            <a:r>
              <a:rPr lang="th-TH" sz="1800" b="1" spc="-20" dirty="0" smtClean="0">
                <a:solidFill>
                  <a:prstClr val="black"/>
                </a:solidFill>
                <a:latin typeface="TH SarabunPSK" pitchFamily="34" charset="-34"/>
                <a:cs typeface="TH SarabunPSK" pitchFamily="34" charset="-34"/>
              </a:rPr>
              <a:t>. 	ผลิตภาพปัจจัยการ</a:t>
            </a:r>
            <a:r>
              <a:rPr lang="th-TH" sz="1800" b="1" spc="-20" dirty="0">
                <a:solidFill>
                  <a:prstClr val="black"/>
                </a:solidFill>
                <a:latin typeface="TH SarabunPSK" pitchFamily="34" charset="-34"/>
                <a:cs typeface="TH SarabunPSK" pitchFamily="34" charset="-34"/>
              </a:rPr>
              <a:t>ผลิต (</a:t>
            </a:r>
            <a:r>
              <a:rPr lang="en-US" sz="1800" b="1" spc="-20" dirty="0">
                <a:solidFill>
                  <a:prstClr val="black"/>
                </a:solidFill>
                <a:latin typeface="TH SarabunPSK" pitchFamily="34" charset="-34"/>
                <a:cs typeface="TH SarabunPSK" pitchFamily="34" charset="-34"/>
              </a:rPr>
              <a:t>TFP) </a:t>
            </a:r>
            <a:r>
              <a:rPr lang="th-TH" sz="1800" b="1" spc="-20" dirty="0" smtClean="0">
                <a:solidFill>
                  <a:prstClr val="black"/>
                </a:solidFill>
                <a:latin typeface="TH SarabunPSK" pitchFamily="34" charset="-34"/>
                <a:cs typeface="TH SarabunPSK" pitchFamily="34" charset="-34"/>
              </a:rPr>
              <a:t>ขยายตัวน่าพอใจ</a:t>
            </a:r>
            <a:br>
              <a:rPr lang="th-TH" sz="1800" b="1" spc="-20" dirty="0" smtClean="0">
                <a:solidFill>
                  <a:prstClr val="black"/>
                </a:solidFill>
                <a:latin typeface="TH SarabunPSK" pitchFamily="34" charset="-34"/>
                <a:cs typeface="TH SarabunPSK" pitchFamily="34" charset="-34"/>
              </a:rPr>
            </a:br>
            <a:r>
              <a:rPr lang="th-TH" sz="1800" b="1" spc="-20" dirty="0" smtClean="0">
                <a:solidFill>
                  <a:prstClr val="black"/>
                </a:solidFill>
                <a:latin typeface="TH SarabunPSK" pitchFamily="34" charset="-34"/>
                <a:cs typeface="TH SarabunPSK" pitchFamily="34" charset="-34"/>
              </a:rPr>
              <a:t>แต่ยังต้องใช้เวลาในการสั่งสมเทคโนโลยี</a:t>
            </a:r>
            <a:endParaRPr lang="th-TH" sz="1800" b="1" spc="-20" dirty="0">
              <a:solidFill>
                <a:prstClr val="black"/>
              </a:solidFill>
              <a:latin typeface="TH SarabunPSK" pitchFamily="34" charset="-34"/>
              <a:cs typeface="TH SarabunPSK" pitchFamily="34" charset="-34"/>
            </a:endParaRPr>
          </a:p>
        </p:txBody>
      </p:sp>
      <p:sp>
        <p:nvSpPr>
          <p:cNvPr id="22" name="TextBox 21"/>
          <p:cNvSpPr txBox="1"/>
          <p:nvPr/>
        </p:nvSpPr>
        <p:spPr>
          <a:xfrm>
            <a:off x="5816935" y="4016200"/>
            <a:ext cx="2139442" cy="964367"/>
          </a:xfrm>
          <a:prstGeom prst="rect">
            <a:avLst/>
          </a:prstGeom>
          <a:noFill/>
        </p:spPr>
        <p:txBody>
          <a:bodyPr wrap="square" rtlCol="0">
            <a:spAutoFit/>
          </a:bodyPr>
          <a:lstStyle/>
          <a:p>
            <a:pPr marL="265113" indent="-265113">
              <a:lnSpc>
                <a:spcPts val="1700"/>
              </a:lnSpc>
            </a:pPr>
            <a:r>
              <a:rPr lang="th-TH" sz="1800" b="1" spc="-20" dirty="0">
                <a:solidFill>
                  <a:prstClr val="black"/>
                </a:solidFill>
                <a:latin typeface="TH SarabunPSK" pitchFamily="34" charset="-34"/>
                <a:cs typeface="TH SarabunPSK" pitchFamily="34" charset="-34"/>
              </a:rPr>
              <a:t>6</a:t>
            </a:r>
            <a:r>
              <a:rPr lang="th-TH" sz="1800" b="1" spc="-20" dirty="0" smtClean="0">
                <a:solidFill>
                  <a:prstClr val="black"/>
                </a:solidFill>
                <a:latin typeface="TH SarabunPSK" pitchFamily="34" charset="-34"/>
                <a:cs typeface="TH SarabunPSK" pitchFamily="34" charset="-34"/>
              </a:rPr>
              <a:t>. 	ความล่าช้าในการปรับโครงสร้างเศรษฐกิจ การเป็นเจ้าของตราสินค้า  การต่อยอดอุตสาหกรรมและบริการ </a:t>
            </a:r>
            <a:endParaRPr lang="th-TH" sz="1800" b="1" spc="-20" dirty="0">
              <a:solidFill>
                <a:prstClr val="black"/>
              </a:solidFill>
              <a:latin typeface="TH SarabunPSK" pitchFamily="34" charset="-34"/>
              <a:cs typeface="TH SarabunPSK" pitchFamily="34" charset="-34"/>
            </a:endParaRPr>
          </a:p>
        </p:txBody>
      </p:sp>
      <p:grpSp>
        <p:nvGrpSpPr>
          <p:cNvPr id="45" name="Group 44"/>
          <p:cNvGrpSpPr/>
          <p:nvPr/>
        </p:nvGrpSpPr>
        <p:grpSpPr>
          <a:xfrm>
            <a:off x="755576" y="2750022"/>
            <a:ext cx="7200800" cy="1261888"/>
            <a:chOff x="755576" y="2894038"/>
            <a:chExt cx="5680620" cy="1261888"/>
          </a:xfrm>
        </p:grpSpPr>
        <p:grpSp>
          <p:nvGrpSpPr>
            <p:cNvPr id="11" name="Group 10"/>
            <p:cNvGrpSpPr/>
            <p:nvPr/>
          </p:nvGrpSpPr>
          <p:grpSpPr>
            <a:xfrm>
              <a:off x="755576" y="3075806"/>
              <a:ext cx="5680620" cy="1080120"/>
              <a:chOff x="755576" y="1059582"/>
              <a:chExt cx="5680620" cy="1080120"/>
            </a:xfrm>
          </p:grpSpPr>
          <p:sp>
            <p:nvSpPr>
              <p:cNvPr id="12" name="Rectangle 11"/>
              <p:cNvSpPr/>
              <p:nvPr/>
            </p:nvSpPr>
            <p:spPr>
              <a:xfrm>
                <a:off x="755576" y="1059582"/>
                <a:ext cx="1728192" cy="1080120"/>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th-TH" smtClean="0">
                  <a:solidFill>
                    <a:prstClr val="white"/>
                  </a:solidFill>
                </a:endParaRPr>
              </a:p>
            </p:txBody>
          </p:sp>
          <p:sp>
            <p:nvSpPr>
              <p:cNvPr id="13" name="Rectangle 12"/>
              <p:cNvSpPr/>
              <p:nvPr/>
            </p:nvSpPr>
            <p:spPr>
              <a:xfrm>
                <a:off x="2662486" y="1059582"/>
                <a:ext cx="1728192" cy="1080120"/>
              </a:xfrm>
              <a:prstGeom prst="rect">
                <a:avLst/>
              </a:prstGeom>
              <a:solidFill>
                <a:srgbClr val="00B0F0">
                  <a:alpha val="3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th-TH" smtClean="0">
                  <a:solidFill>
                    <a:prstClr val="white"/>
                  </a:solidFill>
                </a:endParaRPr>
              </a:p>
            </p:txBody>
          </p:sp>
          <p:sp>
            <p:nvSpPr>
              <p:cNvPr id="14" name="Rectangle 13"/>
              <p:cNvSpPr/>
              <p:nvPr/>
            </p:nvSpPr>
            <p:spPr>
              <a:xfrm>
                <a:off x="4708004" y="1059582"/>
                <a:ext cx="1728192" cy="1080120"/>
              </a:xfrm>
              <a:prstGeom prst="rect">
                <a:avLst/>
              </a:prstGeom>
              <a:solidFill>
                <a:srgbClr val="00B0F0">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th-TH" smtClean="0">
                  <a:solidFill>
                    <a:prstClr val="white"/>
                  </a:solidFill>
                </a:endParaRPr>
              </a:p>
            </p:txBody>
          </p:sp>
        </p:grpSp>
        <p:grpSp>
          <p:nvGrpSpPr>
            <p:cNvPr id="37" name="Group 36"/>
            <p:cNvGrpSpPr/>
            <p:nvPr/>
          </p:nvGrpSpPr>
          <p:grpSpPr>
            <a:xfrm>
              <a:off x="899592" y="2894038"/>
              <a:ext cx="1655812" cy="1129738"/>
              <a:chOff x="899592" y="2894038"/>
              <a:chExt cx="1655812" cy="1129738"/>
            </a:xfrm>
          </p:grpSpPr>
          <p:pic>
            <p:nvPicPr>
              <p:cNvPr id="42" name="Picture 30" descr="https://encrypted-tbn3.gstatic.com/images?q=tbn:ANd9GcRG6ue52EO3Qw5nmrtozFQRdr2TWZoDQe-xhnQzsNhMQ9WgQ01G"/>
              <p:cNvPicPr>
                <a:picLocks noChangeAspect="1" noChangeArrowheads="1"/>
              </p:cNvPicPr>
              <p:nvPr/>
            </p:nvPicPr>
            <p:blipFill>
              <a:blip r:embed="rId2" cstate="print">
                <a:extLst>
                  <a:ext uri="{BEBA8EAE-BF5A-486C-A8C5-ECC9F3942E4B}">
                    <a14:imgProps xmlns:a14="http://schemas.microsoft.com/office/drawing/2010/main" xmlns="">
                      <a14:imgLayer r:embed="rId3">
                        <a14:imgEffect>
                          <a14:backgroundRemoval t="0" b="100000" l="0" r="100000">
                            <a14:foregroundMark x1="23039" y1="13235" x2="23039" y2="13235"/>
                            <a14:foregroundMark x1="73529" y1="14706" x2="73529" y2="14706"/>
                            <a14:foregroundMark x1="29902" y1="36275" x2="29902" y2="36275"/>
                          </a14:backgroundRemoval>
                        </a14:imgEffect>
                      </a14:imgLayer>
                    </a14:imgProps>
                  </a:ext>
                  <a:ext uri="{28A0092B-C50C-407E-A947-70E740481C1C}">
                    <a14:useLocalDpi xmlns:a14="http://schemas.microsoft.com/office/drawing/2010/main" xmlns="" val="0"/>
                  </a:ext>
                </a:extLst>
              </a:blip>
              <a:srcRect/>
              <a:stretch>
                <a:fillRect/>
              </a:stretch>
            </p:blipFill>
            <p:spPr bwMode="auto">
              <a:xfrm>
                <a:off x="899592" y="3215408"/>
                <a:ext cx="864095" cy="808368"/>
              </a:xfrm>
              <a:prstGeom prst="rect">
                <a:avLst/>
              </a:prstGeom>
              <a:noFill/>
              <a:extLst>
                <a:ext uri="{909E8E84-426E-40DD-AFC4-6F175D3DCCD1}">
                  <a14:hiddenFill xmlns:a14="http://schemas.microsoft.com/office/drawing/2010/main" xmlns="">
                    <a:solidFill>
                      <a:srgbClr val="FFFFFF"/>
                    </a:solidFill>
                  </a14:hiddenFill>
                </a:ext>
              </a:extLst>
            </p:spPr>
          </p:pic>
          <p:pic>
            <p:nvPicPr>
              <p:cNvPr id="43" name="Picture 28" descr="http://ericthelen.nl/wp-content/uploads/eric-thelen-aging-icon.png"/>
              <p:cNvPicPr>
                <a:picLocks noChangeAspect="1" noChangeArrowheads="1"/>
              </p:cNvPicPr>
              <p:nvPr/>
            </p:nvPicPr>
            <p:blipFill>
              <a:blip r:embed="rId4" cstate="print">
                <a:biLevel thresh="75000"/>
                <a:extLst>
                  <a:ext uri="{28A0092B-C50C-407E-A947-70E740481C1C}">
                    <a14:useLocalDpi xmlns:a14="http://schemas.microsoft.com/office/drawing/2010/main" xmlns="" val="0"/>
                  </a:ext>
                </a:extLst>
              </a:blip>
              <a:srcRect/>
              <a:stretch>
                <a:fillRect/>
              </a:stretch>
            </p:blipFill>
            <p:spPr bwMode="auto">
              <a:xfrm flipH="1">
                <a:off x="1403276" y="2894038"/>
                <a:ext cx="1152128" cy="1129738"/>
              </a:xfrm>
              <a:prstGeom prst="rect">
                <a:avLst/>
              </a:prstGeom>
              <a:noFill/>
              <a:extLst>
                <a:ext uri="{909E8E84-426E-40DD-AFC4-6F175D3DCCD1}">
                  <a14:hiddenFill xmlns:a14="http://schemas.microsoft.com/office/drawing/2010/main" xmlns="">
                    <a:solidFill>
                      <a:srgbClr val="FFFFFF"/>
                    </a:solidFill>
                  </a14:hiddenFill>
                </a:ext>
              </a:extLst>
            </p:spPr>
          </p:pic>
        </p:grpSp>
        <p:pic>
          <p:nvPicPr>
            <p:cNvPr id="47" name="Picture 32" descr="http://hr.blr.com/images/news/social-learning-tech.png"/>
            <p:cNvPicPr>
              <a:picLocks noChangeAspect="1" noChangeArrowheads="1"/>
            </p:cNvPicPr>
            <p:nvPr/>
          </p:nvPicPr>
          <p:blipFill>
            <a:blip r:embed="rId5" cstate="print">
              <a:duotone>
                <a:prstClr val="black"/>
                <a:srgbClr val="D9C3A5">
                  <a:tint val="50000"/>
                  <a:satMod val="180000"/>
                </a:srgbClr>
              </a:duotone>
              <a:extLst>
                <a:ext uri="{28A0092B-C50C-407E-A947-70E740481C1C}">
                  <a14:useLocalDpi xmlns:a14="http://schemas.microsoft.com/office/drawing/2010/main" xmlns="" val="0"/>
                </a:ext>
              </a:extLst>
            </a:blip>
            <a:srcRect/>
            <a:stretch>
              <a:fillRect/>
            </a:stretch>
          </p:blipFill>
          <p:spPr bwMode="auto">
            <a:xfrm>
              <a:off x="4819779" y="3141305"/>
              <a:ext cx="1452978" cy="962938"/>
            </a:xfrm>
            <a:prstGeom prst="rect">
              <a:avLst/>
            </a:prstGeom>
            <a:noFill/>
            <a:extLst>
              <a:ext uri="{909E8E84-426E-40DD-AFC4-6F175D3DCCD1}">
                <a14:hiddenFill xmlns:a14="http://schemas.microsoft.com/office/drawing/2010/main" xmlns="">
                  <a:solidFill>
                    <a:srgbClr val="FFFFFF"/>
                  </a:solidFill>
                </a14:hiddenFill>
              </a:ext>
            </a:extLst>
          </p:spPr>
        </p:pic>
      </p:grpSp>
      <p:pic>
        <p:nvPicPr>
          <p:cNvPr id="50" name="Picture 2" descr="http://www.inceif.org/_staging/wp-content/uploads/2014/10/financial-crisis.jpg"/>
          <p:cNvPicPr>
            <a:picLocks noChangeAspect="1" noChangeArrowheads="1"/>
          </p:cNvPicPr>
          <p:nvPr/>
        </p:nvPicPr>
        <p:blipFill>
          <a:blip r:embed="rId6" cstate="print">
            <a:duotone>
              <a:prstClr val="black"/>
              <a:srgbClr val="D9C3A5">
                <a:tint val="50000"/>
                <a:satMod val="180000"/>
              </a:srgbClr>
            </a:duotone>
            <a:extLst>
              <a:ext uri="{BEBA8EAE-BF5A-486C-A8C5-ECC9F3942E4B}">
                <a14:imgProps xmlns:a14="http://schemas.microsoft.com/office/drawing/2010/main" xmlns="">
                  <a14:imgLayer r:embed="rId7">
                    <a14:imgEffect>
                      <a14:backgroundRemoval t="2303" b="89803" l="3125" r="100000"/>
                    </a14:imgEffect>
                  </a14:imgLayer>
                </a14:imgProps>
              </a:ext>
              <a:ext uri="{28A0092B-C50C-407E-A947-70E740481C1C}">
                <a14:useLocalDpi xmlns:a14="http://schemas.microsoft.com/office/drawing/2010/main" xmlns="" val="0"/>
              </a:ext>
            </a:extLst>
          </a:blip>
          <a:srcRect/>
          <a:stretch>
            <a:fillRect/>
          </a:stretch>
        </p:blipFill>
        <p:spPr bwMode="auto">
          <a:xfrm>
            <a:off x="3329136" y="2898513"/>
            <a:ext cx="1746920" cy="1080661"/>
          </a:xfrm>
          <a:prstGeom prst="rect">
            <a:avLst/>
          </a:prstGeom>
          <a:noFill/>
          <a:extLst>
            <a:ext uri="{909E8E84-426E-40DD-AFC4-6F175D3DCCD1}">
              <a14:hiddenFill xmlns:a14="http://schemas.microsoft.com/office/drawing/2010/main" xmlns="">
                <a:solidFill>
                  <a:srgbClr val="FFFFFF"/>
                </a:solidFill>
              </a14:hiddenFill>
            </a:ext>
          </a:extLst>
        </p:spPr>
      </p:pic>
      <p:sp>
        <p:nvSpPr>
          <p:cNvPr id="52" name="Rectangle 51"/>
          <p:cNvSpPr/>
          <p:nvPr/>
        </p:nvSpPr>
        <p:spPr>
          <a:xfrm>
            <a:off x="0" y="104120"/>
            <a:ext cx="8953275" cy="451406"/>
          </a:xfrm>
          <a:prstGeom prst="rect">
            <a:avLst/>
          </a:prstGeom>
          <a:noFill/>
        </p:spPr>
        <p:txBody>
          <a:bodyPr wrap="square" lIns="91440" tIns="45720" rIns="91440" bIns="45720">
            <a:spAutoFit/>
          </a:bodyPr>
          <a:lstStyle/>
          <a:p>
            <a:pPr marL="0" lvl="1" indent="-2509838" defTabSz="914287">
              <a:lnSpc>
                <a:spcPts val="2799"/>
              </a:lnSpc>
              <a:spcBef>
                <a:spcPct val="50000"/>
              </a:spcBef>
              <a:spcAft>
                <a:spcPts val="1200"/>
              </a:spcAft>
              <a:defRPr/>
            </a:pPr>
            <a:r>
              <a:rPr lang="th-TH" sz="5400" b="1" dirty="0" smtClean="0">
                <a:solidFill>
                  <a:srgbClr val="0070C0"/>
                </a:solidFill>
                <a:latin typeface="TH SarabunPSK" pitchFamily="34" charset="-34"/>
                <a:cs typeface="TH SarabunPSK" pitchFamily="34" charset="-34"/>
              </a:rPr>
              <a:t>จุ</a:t>
            </a:r>
            <a:r>
              <a:rPr lang="th-TH" b="1" dirty="0" smtClean="0">
                <a:solidFill>
                  <a:srgbClr val="0070C0"/>
                </a:solidFill>
                <a:latin typeface="TH SarabunPSK" pitchFamily="34" charset="-34"/>
                <a:ea typeface="Tahoma" pitchFamily="34" charset="0"/>
                <a:cs typeface="TH SarabunPSK" pitchFamily="34" charset="-34"/>
              </a:rPr>
              <a:t>ดอ่อนและ</a:t>
            </a:r>
            <a:r>
              <a:rPr lang="th-TH" b="1" dirty="0">
                <a:solidFill>
                  <a:srgbClr val="0070C0"/>
                </a:solidFill>
                <a:latin typeface="TH SarabunPSK" pitchFamily="34" charset="-34"/>
                <a:ea typeface="Tahoma" pitchFamily="34" charset="0"/>
                <a:cs typeface="TH SarabunPSK" pitchFamily="34" charset="-34"/>
              </a:rPr>
              <a:t>เงื่อนไขที่สำคัญของเศรษฐกิจไทยในช่วงแผนฯ 12</a:t>
            </a:r>
            <a:endParaRPr lang="th-TH" b="1" dirty="0">
              <a:solidFill>
                <a:srgbClr val="F79646">
                  <a:lumMod val="75000"/>
                </a:srgbClr>
              </a:solidFill>
              <a:latin typeface="TH SarabunPSK" pitchFamily="34" charset="-34"/>
              <a:cs typeface="TH SarabunPSK" pitchFamily="34" charset="-34"/>
            </a:endParaRPr>
          </a:p>
        </p:txBody>
      </p:sp>
      <p:grpSp>
        <p:nvGrpSpPr>
          <p:cNvPr id="5" name="Group 4"/>
          <p:cNvGrpSpPr/>
          <p:nvPr/>
        </p:nvGrpSpPr>
        <p:grpSpPr>
          <a:xfrm>
            <a:off x="755576" y="1032907"/>
            <a:ext cx="7200800" cy="1106796"/>
            <a:chOff x="755576" y="1032906"/>
            <a:chExt cx="5652297" cy="1106796"/>
          </a:xfrm>
        </p:grpSpPr>
        <p:sp>
          <p:nvSpPr>
            <p:cNvPr id="3" name="Rectangle 2"/>
            <p:cNvSpPr/>
            <p:nvPr/>
          </p:nvSpPr>
          <p:spPr>
            <a:xfrm>
              <a:off x="755576" y="1059582"/>
              <a:ext cx="1728192" cy="1080120"/>
            </a:xfrm>
            <a:prstGeom prst="rect">
              <a:avLst/>
            </a:prstGeom>
            <a:solidFill>
              <a:srgbClr val="FF0000">
                <a:alpha val="6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th-TH" smtClean="0">
                <a:solidFill>
                  <a:prstClr val="white"/>
                </a:solidFill>
              </a:endParaRPr>
            </a:p>
          </p:txBody>
        </p:sp>
        <p:sp>
          <p:nvSpPr>
            <p:cNvPr id="7" name="Rectangle 6"/>
            <p:cNvSpPr/>
            <p:nvPr/>
          </p:nvSpPr>
          <p:spPr>
            <a:xfrm>
              <a:off x="2690367" y="1046532"/>
              <a:ext cx="1728192" cy="1080120"/>
            </a:xfrm>
            <a:prstGeom prst="rect">
              <a:avLst/>
            </a:prstGeom>
            <a:solidFill>
              <a:srgbClr val="FF0000">
                <a:alpha val="3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th-TH" smtClean="0">
                <a:solidFill>
                  <a:prstClr val="white"/>
                </a:solidFill>
              </a:endParaRPr>
            </a:p>
          </p:txBody>
        </p:sp>
        <p:sp>
          <p:nvSpPr>
            <p:cNvPr id="8" name="Rectangle 7"/>
            <p:cNvSpPr/>
            <p:nvPr/>
          </p:nvSpPr>
          <p:spPr>
            <a:xfrm>
              <a:off x="4679681" y="1032906"/>
              <a:ext cx="1728192" cy="108012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th-TH" smtClean="0">
                <a:solidFill>
                  <a:prstClr val="white"/>
                </a:solidFill>
              </a:endParaRPr>
            </a:p>
          </p:txBody>
        </p:sp>
      </p:grpSp>
      <p:grpSp>
        <p:nvGrpSpPr>
          <p:cNvPr id="16" name="Group 15"/>
          <p:cNvGrpSpPr/>
          <p:nvPr/>
        </p:nvGrpSpPr>
        <p:grpSpPr>
          <a:xfrm>
            <a:off x="3295973" y="1074319"/>
            <a:ext cx="2067488" cy="1228796"/>
            <a:chOff x="4708004" y="1060376"/>
            <a:chExt cx="1762847" cy="1228796"/>
          </a:xfrm>
        </p:grpSpPr>
        <p:grpSp>
          <p:nvGrpSpPr>
            <p:cNvPr id="29" name="Group 28"/>
            <p:cNvGrpSpPr/>
            <p:nvPr/>
          </p:nvGrpSpPr>
          <p:grpSpPr>
            <a:xfrm>
              <a:off x="5515305" y="1099073"/>
              <a:ext cx="928903" cy="1190099"/>
              <a:chOff x="6156176" y="771550"/>
              <a:chExt cx="2160240" cy="2170025"/>
            </a:xfrm>
          </p:grpSpPr>
          <p:pic>
            <p:nvPicPr>
              <p:cNvPr id="30" name="Picture 20" descr="http://cdn.mysitemyway.com/etc-mysitemyway/icons/legacy-previews/icons/glossy-black-icons-transport-travel/038416-glossy-black-icon-transport-travel-transportation-car4.png"/>
              <p:cNvPicPr>
                <a:picLocks noChangeAspect="1" noChangeArrowheads="1"/>
              </p:cNvPicPr>
              <p:nvPr/>
            </p:nvPicPr>
            <p:blipFill>
              <a:blip r:embed="rId8" cstate="print">
                <a:extLst>
                  <a:ext uri="{28A0092B-C50C-407E-A947-70E740481C1C}">
                    <a14:useLocalDpi xmlns:a14="http://schemas.microsoft.com/office/drawing/2010/main" xmlns="" val="0"/>
                  </a:ext>
                </a:extLst>
              </a:blip>
              <a:srcRect/>
              <a:stretch>
                <a:fillRect/>
              </a:stretch>
            </p:blipFill>
            <p:spPr bwMode="auto">
              <a:xfrm>
                <a:off x="6156176" y="843558"/>
                <a:ext cx="1224136" cy="1224136"/>
              </a:xfrm>
              <a:prstGeom prst="rect">
                <a:avLst/>
              </a:prstGeom>
              <a:noFill/>
              <a:extLst>
                <a:ext uri="{909E8E84-426E-40DD-AFC4-6F175D3DCCD1}">
                  <a14:hiddenFill xmlns:a14="http://schemas.microsoft.com/office/drawing/2010/main" xmlns="">
                    <a:solidFill>
                      <a:srgbClr val="FFFFFF"/>
                    </a:solidFill>
                  </a14:hiddenFill>
                </a:ext>
              </a:extLst>
            </p:spPr>
          </p:pic>
          <p:pic>
            <p:nvPicPr>
              <p:cNvPr id="31" name="Picture 20" descr="http://cdn.mysitemyway.com/etc-mysitemyway/icons/legacy-previews/icons/glossy-black-icons-transport-travel/038416-glossy-black-icon-transport-travel-transportation-car4.png"/>
              <p:cNvPicPr>
                <a:picLocks noChangeAspect="1" noChangeArrowheads="1"/>
              </p:cNvPicPr>
              <p:nvPr/>
            </p:nvPicPr>
            <p:blipFill>
              <a:blip r:embed="rId8" cstate="print">
                <a:extLst>
                  <a:ext uri="{28A0092B-C50C-407E-A947-70E740481C1C}">
                    <a14:useLocalDpi xmlns:a14="http://schemas.microsoft.com/office/drawing/2010/main" xmlns="" val="0"/>
                  </a:ext>
                </a:extLst>
              </a:blip>
              <a:srcRect/>
              <a:stretch>
                <a:fillRect/>
              </a:stretch>
            </p:blipFill>
            <p:spPr bwMode="auto">
              <a:xfrm>
                <a:off x="6228184" y="1275606"/>
                <a:ext cx="1224136" cy="1224136"/>
              </a:xfrm>
              <a:prstGeom prst="rect">
                <a:avLst/>
              </a:prstGeom>
              <a:noFill/>
              <a:extLst>
                <a:ext uri="{909E8E84-426E-40DD-AFC4-6F175D3DCCD1}">
                  <a14:hiddenFill xmlns:a14="http://schemas.microsoft.com/office/drawing/2010/main" xmlns="">
                    <a:solidFill>
                      <a:srgbClr val="FFFFFF"/>
                    </a:solidFill>
                  </a14:hiddenFill>
                </a:ext>
              </a:extLst>
            </p:spPr>
          </p:pic>
          <p:pic>
            <p:nvPicPr>
              <p:cNvPr id="32" name="Picture 20" descr="http://cdn.mysitemyway.com/etc-mysitemyway/icons/legacy-previews/icons/glossy-black-icons-transport-travel/038416-glossy-black-icon-transport-travel-transportation-car4.png"/>
              <p:cNvPicPr>
                <a:picLocks noChangeAspect="1" noChangeArrowheads="1"/>
              </p:cNvPicPr>
              <p:nvPr/>
            </p:nvPicPr>
            <p:blipFill>
              <a:blip r:embed="rId8" cstate="print">
                <a:extLst>
                  <a:ext uri="{28A0092B-C50C-407E-A947-70E740481C1C}">
                    <a14:useLocalDpi xmlns:a14="http://schemas.microsoft.com/office/drawing/2010/main" xmlns="" val="0"/>
                  </a:ext>
                </a:extLst>
              </a:blip>
              <a:srcRect/>
              <a:stretch>
                <a:fillRect/>
              </a:stretch>
            </p:blipFill>
            <p:spPr bwMode="auto">
              <a:xfrm>
                <a:off x="6300192" y="1717439"/>
                <a:ext cx="1224136" cy="1224136"/>
              </a:xfrm>
              <a:prstGeom prst="rect">
                <a:avLst/>
              </a:prstGeom>
              <a:noFill/>
              <a:extLst>
                <a:ext uri="{909E8E84-426E-40DD-AFC4-6F175D3DCCD1}">
                  <a14:hiddenFill xmlns:a14="http://schemas.microsoft.com/office/drawing/2010/main" xmlns="">
                    <a:solidFill>
                      <a:srgbClr val="FFFFFF"/>
                    </a:solidFill>
                  </a14:hiddenFill>
                </a:ext>
              </a:extLst>
            </p:spPr>
          </p:pic>
          <p:pic>
            <p:nvPicPr>
              <p:cNvPr id="33" name="Picture 20" descr="http://cdn.mysitemyway.com/etc-mysitemyway/icons/legacy-previews/icons/glossy-black-icons-transport-travel/038416-glossy-black-icon-transport-travel-transportation-car4.png"/>
              <p:cNvPicPr>
                <a:picLocks noChangeAspect="1" noChangeArrowheads="1"/>
              </p:cNvPicPr>
              <p:nvPr/>
            </p:nvPicPr>
            <p:blipFill>
              <a:blip r:embed="rId8" cstate="print">
                <a:extLst>
                  <a:ext uri="{28A0092B-C50C-407E-A947-70E740481C1C}">
                    <a14:useLocalDpi xmlns:a14="http://schemas.microsoft.com/office/drawing/2010/main" xmlns="" val="0"/>
                  </a:ext>
                </a:extLst>
              </a:blip>
              <a:srcRect/>
              <a:stretch>
                <a:fillRect/>
              </a:stretch>
            </p:blipFill>
            <p:spPr bwMode="auto">
              <a:xfrm>
                <a:off x="6948264" y="771550"/>
                <a:ext cx="1224136" cy="1224136"/>
              </a:xfrm>
              <a:prstGeom prst="rect">
                <a:avLst/>
              </a:prstGeom>
              <a:noFill/>
              <a:extLst>
                <a:ext uri="{909E8E84-426E-40DD-AFC4-6F175D3DCCD1}">
                  <a14:hiddenFill xmlns:a14="http://schemas.microsoft.com/office/drawing/2010/main" xmlns="">
                    <a:solidFill>
                      <a:srgbClr val="FFFFFF"/>
                    </a:solidFill>
                  </a14:hiddenFill>
                </a:ext>
              </a:extLst>
            </p:spPr>
          </p:pic>
          <p:pic>
            <p:nvPicPr>
              <p:cNvPr id="34" name="Picture 20" descr="http://cdn.mysitemyway.com/etc-mysitemyway/icons/legacy-previews/icons/glossy-black-icons-transport-travel/038416-glossy-black-icon-transport-travel-transportation-car4.png"/>
              <p:cNvPicPr>
                <a:picLocks noChangeAspect="1" noChangeArrowheads="1"/>
              </p:cNvPicPr>
              <p:nvPr/>
            </p:nvPicPr>
            <p:blipFill>
              <a:blip r:embed="rId8" cstate="print">
                <a:extLst>
                  <a:ext uri="{28A0092B-C50C-407E-A947-70E740481C1C}">
                    <a14:useLocalDpi xmlns:a14="http://schemas.microsoft.com/office/drawing/2010/main" xmlns="" val="0"/>
                  </a:ext>
                </a:extLst>
              </a:blip>
              <a:srcRect/>
              <a:stretch>
                <a:fillRect/>
              </a:stretch>
            </p:blipFill>
            <p:spPr bwMode="auto">
              <a:xfrm>
                <a:off x="7020272" y="1203598"/>
                <a:ext cx="1224136" cy="1224136"/>
              </a:xfrm>
              <a:prstGeom prst="rect">
                <a:avLst/>
              </a:prstGeom>
              <a:noFill/>
              <a:extLst>
                <a:ext uri="{909E8E84-426E-40DD-AFC4-6F175D3DCCD1}">
                  <a14:hiddenFill xmlns:a14="http://schemas.microsoft.com/office/drawing/2010/main" xmlns="">
                    <a:solidFill>
                      <a:srgbClr val="FFFFFF"/>
                    </a:solidFill>
                  </a14:hiddenFill>
                </a:ext>
              </a:extLst>
            </p:spPr>
          </p:pic>
          <p:pic>
            <p:nvPicPr>
              <p:cNvPr id="35" name="Picture 20" descr="http://cdn.mysitemyway.com/etc-mysitemyway/icons/legacy-previews/icons/glossy-black-icons-transport-travel/038416-glossy-black-icon-transport-travel-transportation-car4.png"/>
              <p:cNvPicPr>
                <a:picLocks noChangeAspect="1" noChangeArrowheads="1"/>
              </p:cNvPicPr>
              <p:nvPr/>
            </p:nvPicPr>
            <p:blipFill>
              <a:blip r:embed="rId8" cstate="print">
                <a:extLst>
                  <a:ext uri="{28A0092B-C50C-407E-A947-70E740481C1C}">
                    <a14:useLocalDpi xmlns:a14="http://schemas.microsoft.com/office/drawing/2010/main" xmlns="" val="0"/>
                  </a:ext>
                </a:extLst>
              </a:blip>
              <a:srcRect/>
              <a:stretch>
                <a:fillRect/>
              </a:stretch>
            </p:blipFill>
            <p:spPr bwMode="auto">
              <a:xfrm>
                <a:off x="7092280" y="1635646"/>
                <a:ext cx="1224136" cy="1224136"/>
              </a:xfrm>
              <a:prstGeom prst="rect">
                <a:avLst/>
              </a:prstGeom>
              <a:noFill/>
              <a:extLst>
                <a:ext uri="{909E8E84-426E-40DD-AFC4-6F175D3DCCD1}">
                  <a14:hiddenFill xmlns:a14="http://schemas.microsoft.com/office/drawing/2010/main" xmlns="">
                    <a:solidFill>
                      <a:srgbClr val="FFFFFF"/>
                    </a:solidFill>
                  </a14:hiddenFill>
                </a:ext>
              </a:extLst>
            </p:spPr>
          </p:pic>
        </p:grpSp>
        <p:sp>
          <p:nvSpPr>
            <p:cNvPr id="9" name="TextBox 8"/>
            <p:cNvSpPr txBox="1"/>
            <p:nvPr/>
          </p:nvSpPr>
          <p:spPr>
            <a:xfrm>
              <a:off x="4708004" y="1246388"/>
              <a:ext cx="1126020" cy="276999"/>
            </a:xfrm>
            <a:prstGeom prst="rect">
              <a:avLst/>
            </a:prstGeom>
            <a:noFill/>
          </p:spPr>
          <p:txBody>
            <a:bodyPr wrap="square" rtlCol="0">
              <a:spAutoFit/>
            </a:bodyPr>
            <a:lstStyle/>
            <a:p>
              <a:r>
                <a:rPr lang="en-US" sz="1200" dirty="0" smtClean="0">
                  <a:solidFill>
                    <a:prstClr val="black"/>
                  </a:solidFill>
                </a:rPr>
                <a:t>consumption</a:t>
              </a:r>
              <a:endParaRPr lang="th-TH" sz="1200" dirty="0">
                <a:solidFill>
                  <a:prstClr val="black"/>
                </a:solidFill>
              </a:endParaRPr>
            </a:p>
          </p:txBody>
        </p:sp>
        <p:sp>
          <p:nvSpPr>
            <p:cNvPr id="36" name="TextBox 35"/>
            <p:cNvSpPr txBox="1"/>
            <p:nvPr/>
          </p:nvSpPr>
          <p:spPr>
            <a:xfrm>
              <a:off x="5515305" y="1060376"/>
              <a:ext cx="955546" cy="276999"/>
            </a:xfrm>
            <a:prstGeom prst="rect">
              <a:avLst/>
            </a:prstGeom>
            <a:noFill/>
          </p:spPr>
          <p:txBody>
            <a:bodyPr wrap="square" rtlCol="0">
              <a:spAutoFit/>
            </a:bodyPr>
            <a:lstStyle/>
            <a:p>
              <a:r>
                <a:rPr lang="en-US" sz="1200" dirty="0" smtClean="0">
                  <a:solidFill>
                    <a:prstClr val="black"/>
                  </a:solidFill>
                </a:rPr>
                <a:t>production</a:t>
              </a:r>
              <a:endParaRPr lang="th-TH" sz="1200" dirty="0">
                <a:solidFill>
                  <a:prstClr val="black"/>
                </a:solidFill>
              </a:endParaRPr>
            </a:p>
          </p:txBody>
        </p:sp>
      </p:grpSp>
      <p:grpSp>
        <p:nvGrpSpPr>
          <p:cNvPr id="38" name="Group 37"/>
          <p:cNvGrpSpPr/>
          <p:nvPr/>
        </p:nvGrpSpPr>
        <p:grpSpPr>
          <a:xfrm>
            <a:off x="5907403" y="1076649"/>
            <a:ext cx="1976975" cy="1190099"/>
            <a:chOff x="334516" y="463632"/>
            <a:chExt cx="2421847" cy="1805172"/>
          </a:xfrm>
        </p:grpSpPr>
        <p:pic>
          <p:nvPicPr>
            <p:cNvPr id="39" name="Picture 16" descr="https://ccsmallbusiness.files.wordpress.com/2012/02/transportation.jpg"/>
            <p:cNvPicPr>
              <a:picLocks noChangeAspect="1" noChangeArrowheads="1"/>
            </p:cNvPicPr>
            <p:nvPr/>
          </p:nvPicPr>
          <p:blipFill>
            <a:blip r:embed="rId9" cstate="print">
              <a:extLst>
                <a:ext uri="{BEBA8EAE-BF5A-486C-A8C5-ECC9F3942E4B}">
                  <a14:imgProps xmlns:a14="http://schemas.microsoft.com/office/drawing/2010/main" xmlns="">
                    <a14:imgLayer r:embed="rId10">
                      <a14:imgEffect>
                        <a14:backgroundRemoval t="0" b="70667" l="0" r="100000"/>
                      </a14:imgEffect>
                    </a14:imgLayer>
                  </a14:imgProps>
                </a:ext>
                <a:ext uri="{28A0092B-C50C-407E-A947-70E740481C1C}">
                  <a14:useLocalDpi xmlns:a14="http://schemas.microsoft.com/office/drawing/2010/main" xmlns="" val="0"/>
                </a:ext>
              </a:extLst>
            </a:blip>
            <a:srcRect/>
            <a:stretch>
              <a:fillRect/>
            </a:stretch>
          </p:blipFill>
          <p:spPr bwMode="auto">
            <a:xfrm>
              <a:off x="683568" y="463632"/>
              <a:ext cx="1512168" cy="1134126"/>
            </a:xfrm>
            <a:prstGeom prst="rect">
              <a:avLst/>
            </a:prstGeom>
            <a:noFill/>
            <a:extLst>
              <a:ext uri="{909E8E84-426E-40DD-AFC4-6F175D3DCCD1}">
                <a14:hiddenFill xmlns:a14="http://schemas.microsoft.com/office/drawing/2010/main" xmlns="">
                  <a:solidFill>
                    <a:srgbClr val="FFFFFF"/>
                  </a:solidFill>
                </a14:hiddenFill>
              </a:ext>
            </a:extLst>
          </p:spPr>
        </p:pic>
        <p:pic>
          <p:nvPicPr>
            <p:cNvPr id="40" name="Picture 24" descr="https://encrypted-tbn2.gstatic.com/images?q=tbn:ANd9GcQA5J87QzdRqxgk7xbe9CQMVU-mWsf8Dw42ruqLGI3Y2Z7qZFRhOQ"/>
            <p:cNvPicPr>
              <a:picLocks noChangeAspect="1" noChangeArrowheads="1"/>
            </p:cNvPicPr>
            <p:nvPr/>
          </p:nvPicPr>
          <p:blipFill rotWithShape="1">
            <a:blip r:embed="rId11" cstate="print">
              <a:extLst>
                <a:ext uri="{BEBA8EAE-BF5A-486C-A8C5-ECC9F3942E4B}">
                  <a14:imgProps xmlns:a14="http://schemas.microsoft.com/office/drawing/2010/main" xmlns="">
                    <a14:imgLayer r:embed="rId12">
                      <a14:imgEffect>
                        <a14:backgroundRemoval t="14783" b="74783" l="0" r="100000">
                          <a14:foregroundMark x1="51142" y1="32174" x2="51142" y2="32174"/>
                        </a14:backgroundRemoval>
                      </a14:imgEffect>
                    </a14:imgLayer>
                  </a14:imgProps>
                </a:ext>
                <a:ext uri="{28A0092B-C50C-407E-A947-70E740481C1C}">
                  <a14:useLocalDpi xmlns:a14="http://schemas.microsoft.com/office/drawing/2010/main" xmlns="" val="0"/>
                </a:ext>
              </a:extLst>
            </a:blip>
            <a:srcRect l="1156" t="14495" r="-1156" b="17364"/>
            <a:stretch/>
          </p:blipFill>
          <p:spPr bwMode="auto">
            <a:xfrm>
              <a:off x="334516" y="1034851"/>
              <a:ext cx="1573188" cy="1125815"/>
            </a:xfrm>
            <a:prstGeom prst="rect">
              <a:avLst/>
            </a:prstGeom>
            <a:noFill/>
            <a:extLst>
              <a:ext uri="{909E8E84-426E-40DD-AFC4-6F175D3DCCD1}">
                <a14:hiddenFill xmlns:a14="http://schemas.microsoft.com/office/drawing/2010/main" xmlns="">
                  <a:solidFill>
                    <a:srgbClr val="FFFFFF"/>
                  </a:solidFill>
                </a14:hiddenFill>
              </a:ext>
            </a:extLst>
          </p:spPr>
        </p:pic>
        <p:pic>
          <p:nvPicPr>
            <p:cNvPr id="41" name="Picture 26" descr="http://www.powinenergy.com/wp-content/uploads/sites/2/2013/08/Renewable-Icon.png"/>
            <p:cNvPicPr>
              <a:picLocks noChangeAspect="1" noChangeArrowheads="1"/>
            </p:cNvPicPr>
            <p:nvPr/>
          </p:nvPicPr>
          <p:blipFill>
            <a:blip r:embed="rId13" cstate="print">
              <a:biLevel thresh="75000"/>
              <a:extLst>
                <a:ext uri="{BEBA8EAE-BF5A-486C-A8C5-ECC9F3942E4B}">
                  <a14:imgProps xmlns:a14="http://schemas.microsoft.com/office/drawing/2010/main" xmlns="">
                    <a14:imgLayer r:embed="rId14">
                      <a14:imgEffect>
                        <a14:backgroundRemoval t="0" b="89764" l="10000" r="90000">
                          <a14:foregroundMark x1="42105" y1="31234" x2="42105" y2="31234"/>
                          <a14:foregroundMark x1="53684" y1="31234" x2="53684" y2="31234"/>
                          <a14:foregroundMark x1="54211" y1="39633" x2="54211" y2="39633"/>
                          <a14:foregroundMark x1="72632" y1="62992" x2="72632" y2="62992"/>
                          <a14:foregroundMark x1="75526" y1="59580" x2="75526" y2="59580"/>
                          <a14:foregroundMark x1="77632" y1="56430" x2="77632" y2="56430"/>
                          <a14:foregroundMark x1="77895" y1="63255" x2="77895" y2="63255"/>
                        </a14:backgroundRemoval>
                      </a14:imgEffect>
                    </a14:imgLayer>
                  </a14:imgProps>
                </a:ext>
                <a:ext uri="{28A0092B-C50C-407E-A947-70E740481C1C}">
                  <a14:useLocalDpi xmlns:a14="http://schemas.microsoft.com/office/drawing/2010/main" xmlns="" val="0"/>
                </a:ext>
              </a:extLst>
            </a:blip>
            <a:srcRect/>
            <a:stretch>
              <a:fillRect/>
            </a:stretch>
          </p:blipFill>
          <p:spPr bwMode="auto">
            <a:xfrm>
              <a:off x="1275068" y="783611"/>
              <a:ext cx="1481295" cy="1485193"/>
            </a:xfrm>
            <a:prstGeom prst="rect">
              <a:avLst/>
            </a:prstGeom>
            <a:noFill/>
            <a:extLst>
              <a:ext uri="{909E8E84-426E-40DD-AFC4-6F175D3DCCD1}">
                <a14:hiddenFill xmlns:a14="http://schemas.microsoft.com/office/drawing/2010/main" xmlns="">
                  <a:solidFill>
                    <a:srgbClr val="FFFFFF"/>
                  </a:solidFill>
                </a14:hiddenFill>
              </a:ext>
            </a:extLst>
          </p:spPr>
        </p:pic>
      </p:grpSp>
      <p:pic>
        <p:nvPicPr>
          <p:cNvPr id="51" name="Picture 10" descr="http://www.lauchlan-leishman.com/wp-content/uploads/2014/09/Global-Ekonomic-Crisis.jpg"/>
          <p:cNvPicPr>
            <a:picLocks noChangeAspect="1" noChangeArrowheads="1"/>
          </p:cNvPicPr>
          <p:nvPr/>
        </p:nvPicPr>
        <p:blipFill>
          <a:blip r:embed="rId15" cstate="print">
            <a:biLevel thresh="75000"/>
            <a:extLst>
              <a:ext uri="{BEBA8EAE-BF5A-486C-A8C5-ECC9F3942E4B}">
                <a14:imgProps xmlns:a14="http://schemas.microsoft.com/office/drawing/2010/main" xmlns="">
                  <a14:imgLayer r:embed="rId16">
                    <a14:imgEffect>
                      <a14:backgroundRemoval t="0" b="100000" l="0" r="100000">
                        <a14:foregroundMark x1="20080" y1="27027" x2="20080" y2="27027"/>
                        <a14:foregroundMark x1="36546" y1="19257" x2="36546" y2="19257"/>
                        <a14:foregroundMark x1="70884" y1="21622" x2="70884" y2="21622"/>
                        <a14:foregroundMark x1="62249" y1="15878" x2="62249" y2="15878"/>
                        <a14:foregroundMark x1="53815" y1="11486" x2="53815" y2="11486"/>
                        <a14:foregroundMark x1="41365" y1="24324" x2="41365" y2="24324"/>
                        <a14:foregroundMark x1="38554" y1="32770" x2="38554" y2="32770"/>
                        <a14:foregroundMark x1="31325" y1="73986" x2="31325" y2="73986"/>
                        <a14:foregroundMark x1="28112" y1="63176" x2="28112" y2="63176"/>
                        <a14:foregroundMark x1="24699" y1="54054" x2="24699" y2="54054"/>
                        <a14:foregroundMark x1="79317" y1="61149" x2="79317" y2="61149"/>
                        <a14:foregroundMark x1="82129" y1="72973" x2="82129" y2="72973"/>
                        <a14:foregroundMark x1="88956" y1="71284" x2="88956" y2="71284"/>
                        <a14:foregroundMark x1="97791" y1="82770" x2="97791" y2="82770"/>
                        <a14:foregroundMark x1="47791" y1="13514" x2="47791" y2="13514"/>
                        <a14:foregroundMark x1="45382" y1="9459" x2="45382" y2="9459"/>
                        <a14:foregroundMark x1="13720" y1="7328" x2="13720" y2="7328"/>
                        <a14:foregroundMark x1="55937" y1="22414" x2="55937" y2="22414"/>
                        <a14:foregroundMark x1="63852" y1="33190" x2="63852" y2="33190"/>
                      </a14:backgroundRemoval>
                    </a14:imgEffect>
                    <a14:imgEffect>
                      <a14:saturation sat="33000"/>
                    </a14:imgEffect>
                  </a14:imgLayer>
                </a14:imgProps>
              </a:ext>
              <a:ext uri="{28A0092B-C50C-407E-A947-70E740481C1C}">
                <a14:useLocalDpi xmlns:a14="http://schemas.microsoft.com/office/drawing/2010/main" xmlns="" val="0"/>
              </a:ext>
            </a:extLst>
          </a:blip>
          <a:srcRect/>
          <a:stretch>
            <a:fillRect/>
          </a:stretch>
        </p:blipFill>
        <p:spPr bwMode="auto">
          <a:xfrm>
            <a:off x="832360" y="1138565"/>
            <a:ext cx="2012166" cy="963435"/>
          </a:xfrm>
          <a:prstGeom prst="rect">
            <a:avLst/>
          </a:prstGeom>
          <a:noFill/>
          <a:extLst>
            <a:ext uri="{909E8E84-426E-40DD-AFC4-6F175D3DCCD1}">
              <a14:hiddenFill xmlns:a14="http://schemas.microsoft.com/office/drawing/2010/main" xmlns="">
                <a:solidFill>
                  <a:srgbClr val="FFFFFF"/>
                </a:solidFill>
              </a14:hiddenFill>
            </a:ext>
          </a:extLst>
        </p:spPr>
      </p:pic>
      <p:pic>
        <p:nvPicPr>
          <p:cNvPr id="3080" name="Picture 8" descr="http://penndrivingschool.com/communities/7/000/001/389/517/images/4481309.png"/>
          <p:cNvPicPr>
            <a:picLocks noChangeAspect="1" noChangeArrowheads="1"/>
          </p:cNvPicPr>
          <p:nvPr/>
        </p:nvPicPr>
        <p:blipFill>
          <a:blip r:embed="rId17" cstate="print">
            <a:biLevel thresh="75000"/>
            <a:extLst>
              <a:ext uri="{28A0092B-C50C-407E-A947-70E740481C1C}">
                <a14:useLocalDpi xmlns:a14="http://schemas.microsoft.com/office/drawing/2010/main" xmlns="" val="0"/>
              </a:ext>
            </a:extLst>
          </a:blip>
          <a:srcRect/>
          <a:stretch>
            <a:fillRect/>
          </a:stretch>
        </p:blipFill>
        <p:spPr bwMode="auto">
          <a:xfrm>
            <a:off x="3475517" y="1463491"/>
            <a:ext cx="845731" cy="629078"/>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564807822"/>
      </p:ext>
    </p:extLst>
  </p:cSld>
  <p:clrMapOvr>
    <a:masterClrMapping/>
  </p:clrMapOvr>
  <p:transition>
    <p:fade thruBlk="1"/>
  </p:transition>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2" name="Object 21" hidden="1"/>
          <p:cNvGraphicFramePr>
            <a:graphicFrameLocks noChangeAspect="1"/>
          </p:cNvGraphicFramePr>
          <p:nvPr>
            <p:custDataLst>
              <p:tags r:id="rId2"/>
            </p:custDataLst>
            <p:extLst>
              <p:ext uri="{D42A27DB-BD31-4B8C-83A1-F6EECF244321}">
                <p14:modId xmlns:p14="http://schemas.microsoft.com/office/powerpoint/2010/main" xmlns="" val="4229223086"/>
              </p:ext>
            </p:extLst>
          </p:nvPr>
        </p:nvGraphicFramePr>
        <p:xfrm>
          <a:off x="1496" y="1194"/>
          <a:ext cx="1465" cy="1190"/>
        </p:xfrm>
        <a:graphic>
          <a:graphicData uri="http://schemas.openxmlformats.org/presentationml/2006/ole">
            <p:oleObj spid="_x0000_s8212" name="think-cell Slide" r:id="rId5" imgW="360" imgH="360" progId="">
              <p:embed/>
            </p:oleObj>
          </a:graphicData>
        </a:graphic>
      </p:graphicFrame>
      <p:sp>
        <p:nvSpPr>
          <p:cNvPr id="3" name="Title 2"/>
          <p:cNvSpPr>
            <a:spLocks noGrp="1"/>
          </p:cNvSpPr>
          <p:nvPr>
            <p:ph type="title"/>
          </p:nvPr>
        </p:nvSpPr>
        <p:spPr>
          <a:xfrm>
            <a:off x="679939" y="242627"/>
            <a:ext cx="8210842" cy="560923"/>
          </a:xfrm>
        </p:spPr>
        <p:txBody>
          <a:bodyPr/>
          <a:lstStyle/>
          <a:p>
            <a:r>
              <a:rPr lang="en-US" sz="2700" b="1" dirty="0">
                <a:latin typeface="TH SarabunPSK" pitchFamily="34" charset="-34"/>
                <a:cs typeface="TH SarabunPSK" pitchFamily="34" charset="-34"/>
              </a:rPr>
              <a:t>10 </a:t>
            </a:r>
            <a:r>
              <a:rPr lang="th-TH" sz="2700" b="1" dirty="0" smtClean="0">
                <a:latin typeface="TH SarabunPSK" pitchFamily="34" charset="-34"/>
                <a:cs typeface="TH SarabunPSK" pitchFamily="34" charset="-34"/>
              </a:rPr>
              <a:t>พื้นที่เขตพัฒนาเศรษฐกิจพิเศษชายแดนโดย</a:t>
            </a:r>
            <a:r>
              <a:rPr lang="th-TH" sz="2700" b="1" dirty="0">
                <a:latin typeface="TH SarabunPSK" pitchFamily="34" charset="-34"/>
                <a:cs typeface="TH SarabunPSK" pitchFamily="34" charset="-34"/>
              </a:rPr>
              <a:t>ส่วน</a:t>
            </a:r>
            <a:r>
              <a:rPr lang="th-TH" sz="2700" b="1" dirty="0" smtClean="0">
                <a:latin typeface="TH SarabunPSK" pitchFamily="34" charset="-34"/>
                <a:cs typeface="TH SarabunPSK" pitchFamily="34" charset="-34"/>
              </a:rPr>
              <a:t>ใหญ่ตั้งอยู่</a:t>
            </a:r>
            <a:r>
              <a:rPr lang="th-TH" sz="2700" b="1" dirty="0">
                <a:latin typeface="TH SarabunPSK" pitchFamily="34" charset="-34"/>
                <a:cs typeface="TH SarabunPSK" pitchFamily="34" charset="-34"/>
              </a:rPr>
              <a:t>ในแนวระเบียงเศรษฐกิจภายใต้แผนงาน </a:t>
            </a:r>
            <a:r>
              <a:rPr lang="en-US" sz="2700" b="1" dirty="0">
                <a:latin typeface="TH SarabunPSK" pitchFamily="34" charset="-34"/>
                <a:cs typeface="TH SarabunPSK" pitchFamily="34" charset="-34"/>
              </a:rPr>
              <a:t>GMS </a:t>
            </a:r>
          </a:p>
        </p:txBody>
      </p:sp>
      <p:sp>
        <p:nvSpPr>
          <p:cNvPr id="27" name="Source"/>
          <p:cNvSpPr txBox="1"/>
          <p:nvPr/>
        </p:nvSpPr>
        <p:spPr>
          <a:xfrm>
            <a:off x="3074133" y="4873862"/>
            <a:ext cx="602729" cy="110800"/>
          </a:xfrm>
          <a:prstGeom prst="rect">
            <a:avLst/>
          </a:prstGeom>
          <a:noFill/>
          <a:ln w="9525">
            <a:noFill/>
          </a:ln>
        </p:spPr>
        <p:txBody>
          <a:bodyPr vert="horz" wrap="none" lIns="0" tIns="0" rIns="0" bIns="0" rtlCol="0" anchor="b" anchorCtr="0">
            <a:spAutoFit/>
          </a:bodyPr>
          <a:lstStyle/>
          <a:p>
            <a:pPr>
              <a:lnSpc>
                <a:spcPct val="90000"/>
              </a:lnSpc>
              <a:buSzPct val="100000"/>
            </a:pPr>
            <a:r>
              <a:rPr lang="en-US" sz="800" b="0" dirty="0">
                <a:latin typeface="+mn-lt"/>
                <a:sym typeface="+mn-lt"/>
              </a:rPr>
              <a:t>Source: NESDB</a:t>
            </a:r>
          </a:p>
        </p:txBody>
      </p:sp>
      <p:grpSp>
        <p:nvGrpSpPr>
          <p:cNvPr id="98" name="Group 97"/>
          <p:cNvGrpSpPr/>
          <p:nvPr/>
        </p:nvGrpSpPr>
        <p:grpSpPr>
          <a:xfrm>
            <a:off x="679938" y="1060801"/>
            <a:ext cx="8085318" cy="373095"/>
            <a:chOff x="736599" y="1414379"/>
            <a:chExt cx="8759095" cy="497459"/>
          </a:xfrm>
        </p:grpSpPr>
        <p:cxnSp>
          <p:nvCxnSpPr>
            <p:cNvPr id="19" name="Straight Connector 18"/>
            <p:cNvCxnSpPr/>
            <p:nvPr/>
          </p:nvCxnSpPr>
          <p:spPr>
            <a:xfrm>
              <a:off x="736600" y="1911838"/>
              <a:ext cx="8527334" cy="0"/>
            </a:xfrm>
            <a:prstGeom prst="line">
              <a:avLst/>
            </a:prstGeom>
            <a:ln w="28575" cmpd="sng">
              <a:solidFill>
                <a:schemeClr val="bg1"/>
              </a:solidFill>
            </a:ln>
            <a:effectLst/>
          </p:spPr>
          <p:style>
            <a:lnRef idx="1">
              <a:schemeClr val="accent1"/>
            </a:lnRef>
            <a:fillRef idx="0">
              <a:schemeClr val="accent1"/>
            </a:fillRef>
            <a:effectRef idx="0">
              <a:schemeClr val="accent1"/>
            </a:effectRef>
            <a:fontRef idx="minor">
              <a:schemeClr val="tx1"/>
            </a:fontRef>
          </p:style>
        </p:cxnSp>
        <p:grpSp>
          <p:nvGrpSpPr>
            <p:cNvPr id="2" name="Group 22"/>
            <p:cNvGrpSpPr/>
            <p:nvPr/>
          </p:nvGrpSpPr>
          <p:grpSpPr>
            <a:xfrm>
              <a:off x="736599" y="1414379"/>
              <a:ext cx="3256757" cy="393275"/>
              <a:chOff x="736600" y="2253635"/>
              <a:chExt cx="4076700" cy="290621"/>
            </a:xfrm>
          </p:grpSpPr>
          <p:cxnSp>
            <p:nvCxnSpPr>
              <p:cNvPr id="24" name="Horizontal Line"/>
              <p:cNvCxnSpPr/>
              <p:nvPr/>
            </p:nvCxnSpPr>
            <p:spPr>
              <a:xfrm>
                <a:off x="736600" y="2544256"/>
                <a:ext cx="4076700" cy="0"/>
              </a:xfrm>
              <a:prstGeom prst="line">
                <a:avLst/>
              </a:prstGeom>
              <a:ln w="22225">
                <a:solidFill>
                  <a:schemeClr val="accent3"/>
                </a:solidFill>
              </a:ln>
              <a:effectLst/>
            </p:spPr>
            <p:style>
              <a:lnRef idx="1">
                <a:schemeClr val="accent1"/>
              </a:lnRef>
              <a:fillRef idx="0">
                <a:schemeClr val="accent1"/>
              </a:fillRef>
              <a:effectRef idx="0">
                <a:schemeClr val="accent1"/>
              </a:effectRef>
              <a:fontRef idx="minor">
                <a:schemeClr val="tx1"/>
              </a:fontRef>
            </p:style>
          </p:cxnSp>
          <p:sp>
            <p:nvSpPr>
              <p:cNvPr id="28" name="ListLeanHorizontalTextTopic0"/>
              <p:cNvSpPr txBox="1"/>
              <p:nvPr/>
            </p:nvSpPr>
            <p:spPr>
              <a:xfrm>
                <a:off x="736600" y="2253635"/>
                <a:ext cx="4076700" cy="249037"/>
              </a:xfrm>
              <a:prstGeom prst="rect">
                <a:avLst/>
              </a:prstGeom>
              <a:noFill/>
              <a:ln w="9525">
                <a:noFill/>
              </a:ln>
            </p:spPr>
            <p:txBody>
              <a:bodyPr vert="horz" wrap="square" lIns="0" tIns="0" rIns="0" bIns="72000" rtlCol="0" anchor="b">
                <a:spAutoFit/>
              </a:bodyPr>
              <a:lstStyle/>
              <a:p>
                <a:pPr>
                  <a:lnSpc>
                    <a:spcPct val="90000"/>
                  </a:lnSpc>
                  <a:spcBef>
                    <a:spcPts val="341"/>
                  </a:spcBef>
                  <a:buSzPct val="100000"/>
                </a:pPr>
                <a:r>
                  <a:rPr lang="en-US" sz="1300" dirty="0">
                    <a:latin typeface="+mn-lt"/>
                    <a:cs typeface="Arial Narrow" pitchFamily="34" charset="0"/>
                  </a:rPr>
                  <a:t>Target Areas for Thai </a:t>
                </a:r>
                <a:r>
                  <a:rPr lang="en-US" sz="1300" dirty="0" err="1">
                    <a:latin typeface="+mn-lt"/>
                    <a:cs typeface="Arial Narrow" pitchFamily="34" charset="0"/>
                  </a:rPr>
                  <a:t>SEZ</a:t>
                </a:r>
                <a:r>
                  <a:rPr lang="en-US" sz="1300" dirty="0">
                    <a:latin typeface="+mn-lt"/>
                    <a:cs typeface="Arial Narrow" pitchFamily="34" charset="0"/>
                  </a:rPr>
                  <a:t> Development</a:t>
                </a:r>
              </a:p>
            </p:txBody>
          </p:sp>
        </p:grpSp>
        <p:cxnSp>
          <p:nvCxnSpPr>
            <p:cNvPr id="30" name="Horizontal Line"/>
            <p:cNvCxnSpPr>
              <a:cxnSpLocks/>
            </p:cNvCxnSpPr>
            <p:nvPr/>
          </p:nvCxnSpPr>
          <p:spPr>
            <a:xfrm>
              <a:off x="4252908" y="1807662"/>
              <a:ext cx="5242786" cy="0"/>
            </a:xfrm>
            <a:prstGeom prst="line">
              <a:avLst/>
            </a:prstGeom>
            <a:ln w="22225">
              <a:solidFill>
                <a:schemeClr val="accent3"/>
              </a:solidFill>
            </a:ln>
            <a:effectLst/>
          </p:spPr>
          <p:style>
            <a:lnRef idx="1">
              <a:schemeClr val="accent1"/>
            </a:lnRef>
            <a:fillRef idx="0">
              <a:schemeClr val="accent1"/>
            </a:fillRef>
            <a:effectRef idx="0">
              <a:schemeClr val="accent1"/>
            </a:effectRef>
            <a:fontRef idx="minor">
              <a:schemeClr val="tx1"/>
            </a:fontRef>
          </p:style>
        </p:cxnSp>
        <p:sp>
          <p:nvSpPr>
            <p:cNvPr id="31" name="ListLeanHorizontalTextTopic1"/>
            <p:cNvSpPr txBox="1">
              <a:spLocks/>
            </p:cNvSpPr>
            <p:nvPr/>
          </p:nvSpPr>
          <p:spPr>
            <a:xfrm>
              <a:off x="4252909" y="1421127"/>
              <a:ext cx="4617133" cy="337002"/>
            </a:xfrm>
            <a:prstGeom prst="rect">
              <a:avLst/>
            </a:prstGeom>
            <a:noFill/>
            <a:ln w="9525">
              <a:noFill/>
            </a:ln>
          </p:spPr>
          <p:txBody>
            <a:bodyPr vert="horz" wrap="square" lIns="0" tIns="0" rIns="0" bIns="72000" rtlCol="0" anchor="b">
              <a:spAutoFit/>
            </a:bodyPr>
            <a:lstStyle/>
            <a:p>
              <a:pPr>
                <a:lnSpc>
                  <a:spcPct val="90000"/>
                </a:lnSpc>
                <a:spcBef>
                  <a:spcPts val="341"/>
                </a:spcBef>
                <a:buSzPct val="100000"/>
              </a:pPr>
              <a:r>
                <a:rPr lang="en-US" sz="1300" dirty="0">
                  <a:latin typeface="+mn-lt"/>
                  <a:cs typeface="Arial Narrow" pitchFamily="34" charset="0"/>
                </a:rPr>
                <a:t>Key highlights</a:t>
              </a:r>
            </a:p>
          </p:txBody>
        </p:sp>
      </p:grpSp>
      <p:sp>
        <p:nvSpPr>
          <p:cNvPr id="70" name="Source"/>
          <p:cNvSpPr txBox="1"/>
          <p:nvPr/>
        </p:nvSpPr>
        <p:spPr>
          <a:xfrm>
            <a:off x="862296" y="4707728"/>
            <a:ext cx="820738" cy="110800"/>
          </a:xfrm>
          <a:prstGeom prst="rect">
            <a:avLst/>
          </a:prstGeom>
          <a:noFill/>
          <a:ln w="9525">
            <a:noFill/>
          </a:ln>
        </p:spPr>
        <p:txBody>
          <a:bodyPr vert="horz" wrap="none" lIns="0" tIns="0" rIns="0" bIns="0" rtlCol="0" anchor="b" anchorCtr="0">
            <a:spAutoFit/>
          </a:bodyPr>
          <a:lstStyle/>
          <a:p>
            <a:pPr>
              <a:lnSpc>
                <a:spcPct val="90000"/>
              </a:lnSpc>
              <a:buSzPct val="100000"/>
            </a:pPr>
            <a:r>
              <a:rPr lang="en-US" sz="800" b="0" dirty="0">
                <a:latin typeface="+mn-lt"/>
                <a:sym typeface="+mn-lt"/>
              </a:rPr>
              <a:t>Target 1</a:t>
            </a:r>
            <a:r>
              <a:rPr lang="en-US" sz="800" b="0" baseline="30000" dirty="0">
                <a:latin typeface="+mn-lt"/>
                <a:sym typeface="+mn-lt"/>
              </a:rPr>
              <a:t>st</a:t>
            </a:r>
            <a:r>
              <a:rPr lang="en-US" sz="800" b="0" dirty="0">
                <a:latin typeface="+mn-lt"/>
                <a:sym typeface="+mn-lt"/>
              </a:rPr>
              <a:t> phase SEZ </a:t>
            </a:r>
          </a:p>
        </p:txBody>
      </p:sp>
      <p:sp>
        <p:nvSpPr>
          <p:cNvPr id="63" name="Rectangle 62"/>
          <p:cNvSpPr/>
          <p:nvPr/>
        </p:nvSpPr>
        <p:spPr>
          <a:xfrm>
            <a:off x="3879698" y="1419625"/>
            <a:ext cx="4885558" cy="3528349"/>
          </a:xfrm>
          <a:prstGeom prst="rect">
            <a:avLst/>
          </a:prstGeom>
        </p:spPr>
        <p:txBody>
          <a:bodyPr wrap="square" lIns="77925" tIns="38963" rIns="77925" bIns="38963">
            <a:spAutoFit/>
          </a:bodyPr>
          <a:lstStyle/>
          <a:p>
            <a:pPr marL="158947" lvl="1" indent="-158947">
              <a:lnSpc>
                <a:spcPts val="1364"/>
              </a:lnSpc>
              <a:spcBef>
                <a:spcPts val="2045"/>
              </a:spcBef>
              <a:spcAft>
                <a:spcPts val="511"/>
              </a:spcAft>
              <a:buSzPct val="100000"/>
              <a:buFont typeface="Arial Narrow"/>
              <a:buChar char="&gt;"/>
            </a:pPr>
            <a:r>
              <a:rPr lang="th-TH" sz="1700" spc="26" dirty="0">
                <a:latin typeface="TH SarabunPSK" pitchFamily="34" charset="-34"/>
                <a:ea typeface="Tahoma" pitchFamily="34" charset="0"/>
                <a:cs typeface="TH SarabunPSK" pitchFamily="34" charset="-34"/>
              </a:rPr>
              <a:t>พื้นที่สามารถเข้าถึงปัจจัยการผลิตในพื้นที่ใกล้เคียงและเขตเศรษฐกิจ รวมทั้งฐานการผลิตของประเทศเพื่อนบ้านและเป็นการเตรียมความพร้อมของไทยในการเข้าสู่ </a:t>
            </a:r>
            <a:r>
              <a:rPr lang="en-US" sz="1700" spc="26" dirty="0">
                <a:latin typeface="TH SarabunPSK" pitchFamily="34" charset="-34"/>
                <a:ea typeface="Tahoma" pitchFamily="34" charset="0"/>
                <a:cs typeface="TH SarabunPSK" pitchFamily="34" charset="-34"/>
              </a:rPr>
              <a:t>AEC</a:t>
            </a:r>
            <a:r>
              <a:rPr lang="th-TH" sz="1700" spc="26" dirty="0">
                <a:latin typeface="TH SarabunPSK" pitchFamily="34" charset="-34"/>
                <a:ea typeface="Tahoma" pitchFamily="34" charset="0"/>
                <a:cs typeface="TH SarabunPSK" pitchFamily="34" charset="-34"/>
              </a:rPr>
              <a:t> </a:t>
            </a:r>
          </a:p>
          <a:p>
            <a:pPr marL="158947" lvl="1" indent="-158947">
              <a:lnSpc>
                <a:spcPts val="1364"/>
              </a:lnSpc>
              <a:spcBef>
                <a:spcPts val="1023"/>
              </a:spcBef>
              <a:spcAft>
                <a:spcPts val="511"/>
              </a:spcAft>
              <a:buSzPct val="100000"/>
              <a:buFont typeface="Arial Narrow"/>
              <a:buChar char="&gt;"/>
            </a:pPr>
            <a:r>
              <a:rPr lang="th-TH" sz="1700" spc="26" dirty="0">
                <a:latin typeface="TH SarabunPSK" pitchFamily="34" charset="-34"/>
                <a:ea typeface="Tahoma" pitchFamily="34" charset="0"/>
                <a:cs typeface="TH SarabunPSK" pitchFamily="34" charset="-34"/>
              </a:rPr>
              <a:t>ปัจจัยพิจารณาการพัฒนาพื้นที่เป้าหมาย </a:t>
            </a:r>
            <a:r>
              <a:rPr lang="en-US" sz="2000" b="0" spc="26" dirty="0">
                <a:latin typeface="TH SarabunPSK" pitchFamily="34" charset="-34"/>
                <a:ea typeface="Cordia New"/>
                <a:cs typeface="TH SarabunPSK" pitchFamily="34" charset="-34"/>
              </a:rPr>
              <a:t>:</a:t>
            </a:r>
            <a:endParaRPr lang="th-TH" sz="2000" b="0" spc="26" dirty="0">
              <a:latin typeface="TH SarabunPSK" pitchFamily="34" charset="-34"/>
              <a:ea typeface="Cordia New"/>
              <a:cs typeface="TH SarabunPSK" pitchFamily="34" charset="-34"/>
            </a:endParaRPr>
          </a:p>
          <a:p>
            <a:pPr marL="455917" indent="-223224">
              <a:lnSpc>
                <a:spcPts val="1364"/>
              </a:lnSpc>
              <a:spcBef>
                <a:spcPts val="0"/>
              </a:spcBef>
              <a:spcAft>
                <a:spcPts val="0"/>
              </a:spcAft>
              <a:buFont typeface="+mj-lt"/>
              <a:buAutoNum type="arabicPeriod"/>
            </a:pPr>
            <a:r>
              <a:rPr lang="th-TH" sz="1700" spc="26" dirty="0">
                <a:latin typeface="TH SarabunPSK" pitchFamily="34" charset="-34"/>
                <a:ea typeface="Tahoma" pitchFamily="34" charset="0"/>
                <a:cs typeface="TH SarabunPSK" pitchFamily="34" charset="-34"/>
              </a:rPr>
              <a:t>ศักยภาพ ขีดความสามารถในการแข่งขัน</a:t>
            </a:r>
          </a:p>
          <a:p>
            <a:pPr marL="455917" indent="-223224">
              <a:lnSpc>
                <a:spcPts val="1364"/>
              </a:lnSpc>
              <a:spcBef>
                <a:spcPts val="0"/>
              </a:spcBef>
              <a:spcAft>
                <a:spcPts val="0"/>
              </a:spcAft>
              <a:buFont typeface="+mj-lt"/>
              <a:buAutoNum type="arabicPeriod"/>
            </a:pPr>
            <a:r>
              <a:rPr lang="th-TH" sz="1700" spc="26" dirty="0">
                <a:latin typeface="TH SarabunPSK" pitchFamily="34" charset="-34"/>
                <a:ea typeface="Tahoma" pitchFamily="34" charset="0"/>
                <a:cs typeface="TH SarabunPSK" pitchFamily="34" charset="-34"/>
              </a:rPr>
              <a:t>โอกาส</a:t>
            </a:r>
          </a:p>
          <a:p>
            <a:pPr marL="455917" indent="-223224">
              <a:lnSpc>
                <a:spcPts val="1364"/>
              </a:lnSpc>
              <a:spcBef>
                <a:spcPts val="0"/>
              </a:spcBef>
              <a:spcAft>
                <a:spcPts val="0"/>
              </a:spcAft>
              <a:buFont typeface="+mj-lt"/>
              <a:buAutoNum type="arabicPeriod"/>
            </a:pPr>
            <a:r>
              <a:rPr lang="th-TH" sz="1700" spc="26" dirty="0">
                <a:latin typeface="TH SarabunPSK" pitchFamily="34" charset="-34"/>
                <a:ea typeface="Tahoma" pitchFamily="34" charset="0"/>
                <a:cs typeface="TH SarabunPSK" pitchFamily="34" charset="-34"/>
              </a:rPr>
              <a:t>ความพร้อมของโครงสร้างพื้นฐาน</a:t>
            </a:r>
          </a:p>
          <a:p>
            <a:pPr marL="455917" indent="-223224">
              <a:lnSpc>
                <a:spcPts val="1364"/>
              </a:lnSpc>
              <a:spcBef>
                <a:spcPts val="0"/>
              </a:spcBef>
              <a:spcAft>
                <a:spcPts val="0"/>
              </a:spcAft>
              <a:buFont typeface="+mj-lt"/>
              <a:buAutoNum type="arabicPeriod"/>
            </a:pPr>
            <a:r>
              <a:rPr lang="th-TH" sz="1700" spc="26" dirty="0">
                <a:latin typeface="TH SarabunPSK" pitchFamily="34" charset="-34"/>
                <a:ea typeface="Tahoma" pitchFamily="34" charset="0"/>
                <a:cs typeface="TH SarabunPSK" pitchFamily="34" charset="-34"/>
              </a:rPr>
              <a:t>ปัจจัยการผลิตในพื้นที่</a:t>
            </a:r>
          </a:p>
          <a:p>
            <a:pPr marL="455917" indent="-223224">
              <a:lnSpc>
                <a:spcPts val="1364"/>
              </a:lnSpc>
              <a:spcBef>
                <a:spcPts val="0"/>
              </a:spcBef>
              <a:spcAft>
                <a:spcPts val="0"/>
              </a:spcAft>
              <a:buFont typeface="+mj-lt"/>
              <a:buAutoNum type="arabicPeriod"/>
            </a:pPr>
            <a:r>
              <a:rPr lang="th-TH" sz="1700" spc="26" dirty="0">
                <a:latin typeface="TH SarabunPSK" pitchFamily="34" charset="-34"/>
                <a:ea typeface="Tahoma" pitchFamily="34" charset="0"/>
                <a:cs typeface="TH SarabunPSK" pitchFamily="34" charset="-34"/>
              </a:rPr>
              <a:t>ลักษณะและมูลค่าการค้าชายแดน</a:t>
            </a:r>
          </a:p>
          <a:p>
            <a:pPr marL="455917" indent="-223224">
              <a:lnSpc>
                <a:spcPts val="1364"/>
              </a:lnSpc>
              <a:spcBef>
                <a:spcPts val="0"/>
              </a:spcBef>
              <a:spcAft>
                <a:spcPts val="0"/>
              </a:spcAft>
              <a:buFont typeface="+mj-lt"/>
              <a:buAutoNum type="arabicPeriod"/>
            </a:pPr>
            <a:r>
              <a:rPr lang="th-TH" sz="1700" spc="26" dirty="0">
                <a:latin typeface="TH SarabunPSK" pitchFamily="34" charset="-34"/>
                <a:ea typeface="Tahoma" pitchFamily="34" charset="0"/>
                <a:cs typeface="TH SarabunPSK" pitchFamily="34" charset="-34"/>
              </a:rPr>
              <a:t>แนวทางการพัฒนาพื้นที่ของ</a:t>
            </a:r>
            <a:br>
              <a:rPr lang="th-TH" sz="1700" spc="26" dirty="0">
                <a:latin typeface="TH SarabunPSK" pitchFamily="34" charset="-34"/>
                <a:ea typeface="Tahoma" pitchFamily="34" charset="0"/>
                <a:cs typeface="TH SarabunPSK" pitchFamily="34" charset="-34"/>
              </a:rPr>
            </a:br>
            <a:r>
              <a:rPr lang="th-TH" sz="1700" spc="26" dirty="0">
                <a:latin typeface="TH SarabunPSK" pitchFamily="34" charset="-34"/>
                <a:ea typeface="Tahoma" pitchFamily="34" charset="0"/>
                <a:cs typeface="TH SarabunPSK" pitchFamily="34" charset="-34"/>
              </a:rPr>
              <a:t>ประเทศเพื่อนบ้าน</a:t>
            </a:r>
          </a:p>
          <a:p>
            <a:pPr marL="455917" indent="-223224">
              <a:lnSpc>
                <a:spcPts val="1364"/>
              </a:lnSpc>
              <a:spcBef>
                <a:spcPts val="0"/>
              </a:spcBef>
              <a:spcAft>
                <a:spcPts val="0"/>
              </a:spcAft>
              <a:buFont typeface="+mj-lt"/>
              <a:buAutoNum type="arabicPeriod"/>
            </a:pPr>
            <a:r>
              <a:rPr lang="th-TH" sz="1700" spc="26" dirty="0">
                <a:latin typeface="TH SarabunPSK" pitchFamily="34" charset="-34"/>
                <a:ea typeface="Tahoma" pitchFamily="34" charset="0"/>
                <a:cs typeface="TH SarabunPSK" pitchFamily="34" charset="-34"/>
              </a:rPr>
              <a:t>ปัญหา/ข้อจำกัดในการพัฒนา</a:t>
            </a:r>
          </a:p>
          <a:p>
            <a:pPr marL="158947" lvl="1" indent="-158947">
              <a:lnSpc>
                <a:spcPts val="1364"/>
              </a:lnSpc>
              <a:spcBef>
                <a:spcPts val="1023"/>
              </a:spcBef>
              <a:spcAft>
                <a:spcPts val="511"/>
              </a:spcAft>
              <a:buSzPct val="100000"/>
              <a:buFont typeface="Arial Narrow"/>
              <a:buChar char="&gt;"/>
            </a:pPr>
            <a:r>
              <a:rPr lang="th-TH" sz="1700" spc="26" dirty="0">
                <a:latin typeface="TH SarabunPSK" pitchFamily="34" charset="-34"/>
                <a:ea typeface="Tahoma" pitchFamily="34" charset="0"/>
                <a:cs typeface="TH SarabunPSK" pitchFamily="34" charset="-34"/>
              </a:rPr>
              <a:t>ระยะที่ 1 </a:t>
            </a:r>
            <a:r>
              <a:rPr lang="en-US" sz="1700" spc="26" dirty="0">
                <a:latin typeface="TH SarabunPSK" pitchFamily="34" charset="-34"/>
                <a:ea typeface="Tahoma" pitchFamily="34" charset="0"/>
                <a:cs typeface="TH SarabunPSK" pitchFamily="34" charset="-34"/>
              </a:rPr>
              <a:t>: </a:t>
            </a:r>
            <a:r>
              <a:rPr lang="th-TH" sz="1700" spc="26" dirty="0">
                <a:latin typeface="TH SarabunPSK" pitchFamily="34" charset="-34"/>
                <a:ea typeface="Tahoma" pitchFamily="34" charset="0"/>
                <a:cs typeface="TH SarabunPSK" pitchFamily="34" charset="-34"/>
              </a:rPr>
              <a:t>ตาก สระแก้ว มุกดาหาร ตราด สงขลา </a:t>
            </a:r>
            <a:r>
              <a:rPr lang="en-US" sz="1700" spc="26" dirty="0">
                <a:latin typeface="TH SarabunPSK" pitchFamily="34" charset="-34"/>
                <a:ea typeface="Tahoma" pitchFamily="34" charset="0"/>
                <a:cs typeface="TH SarabunPSK" pitchFamily="34" charset="-34"/>
              </a:rPr>
              <a:t>  </a:t>
            </a:r>
            <a:br>
              <a:rPr lang="en-US" sz="1700" spc="26" dirty="0">
                <a:latin typeface="TH SarabunPSK" pitchFamily="34" charset="-34"/>
                <a:ea typeface="Tahoma" pitchFamily="34" charset="0"/>
                <a:cs typeface="TH SarabunPSK" pitchFamily="34" charset="-34"/>
              </a:rPr>
            </a:br>
            <a:r>
              <a:rPr lang="en-US" sz="1700" spc="26" dirty="0">
                <a:latin typeface="TH SarabunPSK" pitchFamily="34" charset="-34"/>
                <a:ea typeface="Tahoma" pitchFamily="34" charset="0"/>
                <a:cs typeface="TH SarabunPSK" pitchFamily="34" charset="-34"/>
              </a:rPr>
              <a:t>(36 </a:t>
            </a:r>
            <a:r>
              <a:rPr lang="th-TH" sz="1700" spc="26" dirty="0">
                <a:latin typeface="TH SarabunPSK" pitchFamily="34" charset="-34"/>
                <a:ea typeface="Tahoma" pitchFamily="34" charset="0"/>
                <a:cs typeface="TH SarabunPSK" pitchFamily="34" charset="-34"/>
              </a:rPr>
              <a:t>ตำบลใน</a:t>
            </a:r>
            <a:r>
              <a:rPr lang="en-US" sz="1700" spc="26" dirty="0">
                <a:latin typeface="TH SarabunPSK" pitchFamily="34" charset="-34"/>
                <a:ea typeface="Tahoma" pitchFamily="34" charset="0"/>
                <a:cs typeface="TH SarabunPSK" pitchFamily="34" charset="-34"/>
              </a:rPr>
              <a:t> 10  </a:t>
            </a:r>
            <a:r>
              <a:rPr lang="th-TH" sz="1700" spc="26" dirty="0">
                <a:latin typeface="TH SarabunPSK" pitchFamily="34" charset="-34"/>
                <a:ea typeface="Tahoma" pitchFamily="34" charset="0"/>
                <a:cs typeface="TH SarabunPSK" pitchFamily="34" charset="-34"/>
              </a:rPr>
              <a:t>อำเภอ</a:t>
            </a:r>
            <a:r>
              <a:rPr lang="en-US" sz="1700" spc="26" dirty="0">
                <a:latin typeface="TH SarabunPSK" pitchFamily="34" charset="-34"/>
                <a:ea typeface="Tahoma" pitchFamily="34" charset="0"/>
                <a:cs typeface="TH SarabunPSK" pitchFamily="34" charset="-34"/>
              </a:rPr>
              <a:t>) </a:t>
            </a:r>
          </a:p>
          <a:p>
            <a:pPr marL="158947" lvl="1" indent="-158947">
              <a:lnSpc>
                <a:spcPts val="1364"/>
              </a:lnSpc>
              <a:spcBef>
                <a:spcPts val="1023"/>
              </a:spcBef>
              <a:spcAft>
                <a:spcPts val="511"/>
              </a:spcAft>
              <a:buSzPct val="100000"/>
              <a:buFont typeface="Arial Narrow"/>
              <a:buChar char="&gt;"/>
            </a:pPr>
            <a:r>
              <a:rPr lang="th-TH" sz="1700" spc="26" dirty="0">
                <a:latin typeface="TH SarabunPSK" pitchFamily="34" charset="-34"/>
                <a:ea typeface="Tahoma" pitchFamily="34" charset="0"/>
                <a:cs typeface="TH SarabunPSK" pitchFamily="34" charset="-34"/>
              </a:rPr>
              <a:t>ระยะที่ 2</a:t>
            </a:r>
            <a:r>
              <a:rPr lang="en-US" sz="1700" spc="26" dirty="0">
                <a:latin typeface="TH SarabunPSK" pitchFamily="34" charset="-34"/>
                <a:ea typeface="Tahoma" pitchFamily="34" charset="0"/>
                <a:cs typeface="TH SarabunPSK" pitchFamily="34" charset="-34"/>
              </a:rPr>
              <a:t> : </a:t>
            </a:r>
            <a:r>
              <a:rPr lang="th-TH" sz="1700" spc="26" dirty="0">
                <a:latin typeface="TH SarabunPSK" pitchFamily="34" charset="-34"/>
                <a:ea typeface="Tahoma" pitchFamily="34" charset="0"/>
                <a:cs typeface="TH SarabunPSK" pitchFamily="34" charset="-34"/>
              </a:rPr>
              <a:t>กาญจนบุรี</a:t>
            </a:r>
            <a:r>
              <a:rPr lang="en-US" sz="1700" spc="26" dirty="0">
                <a:latin typeface="TH SarabunPSK" pitchFamily="34" charset="-34"/>
                <a:ea typeface="Tahoma" pitchFamily="34" charset="0"/>
                <a:cs typeface="TH SarabunPSK" pitchFamily="34" charset="-34"/>
              </a:rPr>
              <a:t> </a:t>
            </a:r>
            <a:r>
              <a:rPr lang="th-TH" sz="1700" spc="26" dirty="0">
                <a:latin typeface="TH SarabunPSK" pitchFamily="34" charset="-34"/>
                <a:ea typeface="Tahoma" pitchFamily="34" charset="0"/>
                <a:cs typeface="TH SarabunPSK" pitchFamily="34" charset="-34"/>
              </a:rPr>
              <a:t>เชียงราย</a:t>
            </a:r>
            <a:r>
              <a:rPr lang="en-US" sz="1700" spc="26" dirty="0">
                <a:latin typeface="TH SarabunPSK" pitchFamily="34" charset="-34"/>
                <a:ea typeface="Tahoma" pitchFamily="34" charset="0"/>
                <a:cs typeface="TH SarabunPSK" pitchFamily="34" charset="-34"/>
              </a:rPr>
              <a:t> </a:t>
            </a:r>
            <a:r>
              <a:rPr lang="th-TH" sz="1700" spc="26" dirty="0">
                <a:latin typeface="TH SarabunPSK" pitchFamily="34" charset="-34"/>
                <a:ea typeface="Tahoma" pitchFamily="34" charset="0"/>
                <a:cs typeface="TH SarabunPSK" pitchFamily="34" charset="-34"/>
              </a:rPr>
              <a:t>หนองคาย นครพนม นราธิวาส </a:t>
            </a:r>
            <a:br>
              <a:rPr lang="th-TH" sz="1700" spc="26" dirty="0">
                <a:latin typeface="TH SarabunPSK" pitchFamily="34" charset="-34"/>
                <a:ea typeface="Tahoma" pitchFamily="34" charset="0"/>
                <a:cs typeface="TH SarabunPSK" pitchFamily="34" charset="-34"/>
              </a:rPr>
            </a:br>
            <a:r>
              <a:rPr lang="en-US" sz="1700" spc="26" dirty="0">
                <a:latin typeface="TH SarabunPSK" pitchFamily="34" charset="-34"/>
                <a:ea typeface="Tahoma" pitchFamily="34" charset="0"/>
                <a:cs typeface="TH SarabunPSK" pitchFamily="34" charset="-34"/>
              </a:rPr>
              <a:t>(54 </a:t>
            </a:r>
            <a:r>
              <a:rPr lang="th-TH" sz="1700" spc="26" dirty="0">
                <a:latin typeface="TH SarabunPSK" pitchFamily="34" charset="-34"/>
                <a:ea typeface="Tahoma" pitchFamily="34" charset="0"/>
                <a:cs typeface="TH SarabunPSK" pitchFamily="34" charset="-34"/>
              </a:rPr>
              <a:t>ตำบล ใน</a:t>
            </a:r>
            <a:r>
              <a:rPr lang="en-US" sz="1700" spc="26" dirty="0">
                <a:latin typeface="TH SarabunPSK" pitchFamily="34" charset="-34"/>
                <a:ea typeface="Tahoma" pitchFamily="34" charset="0"/>
                <a:cs typeface="TH SarabunPSK" pitchFamily="34" charset="-34"/>
              </a:rPr>
              <a:t> 13 </a:t>
            </a:r>
            <a:r>
              <a:rPr lang="th-TH" sz="1700" spc="26" dirty="0">
                <a:latin typeface="TH SarabunPSK" pitchFamily="34" charset="-34"/>
                <a:ea typeface="Tahoma" pitchFamily="34" charset="0"/>
                <a:cs typeface="TH SarabunPSK" pitchFamily="34" charset="-34"/>
              </a:rPr>
              <a:t>อำเภอ</a:t>
            </a:r>
            <a:r>
              <a:rPr lang="en-US" sz="1700" spc="26" dirty="0">
                <a:latin typeface="TH SarabunPSK" pitchFamily="34" charset="-34"/>
                <a:ea typeface="Tahoma" pitchFamily="34" charset="0"/>
                <a:cs typeface="TH SarabunPSK" pitchFamily="34" charset="-34"/>
              </a:rPr>
              <a:t>)    </a:t>
            </a:r>
          </a:p>
        </p:txBody>
      </p:sp>
      <p:grpSp>
        <p:nvGrpSpPr>
          <p:cNvPr id="147" name="Group 146"/>
          <p:cNvGrpSpPr/>
          <p:nvPr/>
        </p:nvGrpSpPr>
        <p:grpSpPr>
          <a:xfrm>
            <a:off x="679939" y="1452201"/>
            <a:ext cx="3006236" cy="3214858"/>
            <a:chOff x="736599" y="2124823"/>
            <a:chExt cx="3644227" cy="4286477"/>
          </a:xfrm>
        </p:grpSpPr>
        <p:grpSp>
          <p:nvGrpSpPr>
            <p:cNvPr id="82" name="Group 81"/>
            <p:cNvGrpSpPr/>
            <p:nvPr/>
          </p:nvGrpSpPr>
          <p:grpSpPr>
            <a:xfrm>
              <a:off x="736599" y="2124823"/>
              <a:ext cx="3644227" cy="4286477"/>
              <a:chOff x="736599" y="2124823"/>
              <a:chExt cx="3644227" cy="4286477"/>
            </a:xfrm>
          </p:grpSpPr>
          <p:pic>
            <p:nvPicPr>
              <p:cNvPr id="32" name="Picture 2"/>
              <p:cNvPicPr>
                <a:picLocks noChangeAspect="1" noChangeArrowheads="1"/>
              </p:cNvPicPr>
              <p:nvPr/>
            </p:nvPicPr>
            <p:blipFill rotWithShape="1">
              <a:blip r:embed="rId6" cstate="print">
                <a:extLst>
                  <a:ext uri="{28A0092B-C50C-407E-A947-70E740481C1C}">
                    <a14:useLocalDpi xmlns:a14="http://schemas.microsoft.com/office/drawing/2010/main" xmlns="" val="0"/>
                  </a:ext>
                </a:extLst>
              </a:blip>
              <a:srcRect l="25198" t="38027" r="54250" b="26758"/>
              <a:stretch/>
            </p:blipFill>
            <p:spPr bwMode="auto">
              <a:xfrm>
                <a:off x="736599" y="2124823"/>
                <a:ext cx="3644227" cy="428647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33" name="Freeform 32"/>
              <p:cNvSpPr/>
              <p:nvPr/>
            </p:nvSpPr>
            <p:spPr>
              <a:xfrm>
                <a:off x="3276986" y="2518712"/>
                <a:ext cx="714229" cy="1020646"/>
              </a:xfrm>
              <a:custGeom>
                <a:avLst/>
                <a:gdLst>
                  <a:gd name="connsiteX0" fmla="*/ 1063819 w 1063819"/>
                  <a:gd name="connsiteY0" fmla="*/ 0 h 1490610"/>
                  <a:gd name="connsiteX1" fmla="*/ 1017637 w 1063819"/>
                  <a:gd name="connsiteY1" fmla="*/ 46182 h 1490610"/>
                  <a:gd name="connsiteX2" fmla="*/ 989928 w 1063819"/>
                  <a:gd name="connsiteY2" fmla="*/ 110837 h 1490610"/>
                  <a:gd name="connsiteX3" fmla="*/ 925273 w 1063819"/>
                  <a:gd name="connsiteY3" fmla="*/ 110837 h 1490610"/>
                  <a:gd name="connsiteX4" fmla="*/ 906801 w 1063819"/>
                  <a:gd name="connsiteY4" fmla="*/ 240146 h 1490610"/>
                  <a:gd name="connsiteX5" fmla="*/ 842146 w 1063819"/>
                  <a:gd name="connsiteY5" fmla="*/ 286328 h 1490610"/>
                  <a:gd name="connsiteX6" fmla="*/ 851382 w 1063819"/>
                  <a:gd name="connsiteY6" fmla="*/ 406400 h 1490610"/>
                  <a:gd name="connsiteX7" fmla="*/ 814437 w 1063819"/>
                  <a:gd name="connsiteY7" fmla="*/ 452582 h 1490610"/>
                  <a:gd name="connsiteX8" fmla="*/ 749782 w 1063819"/>
                  <a:gd name="connsiteY8" fmla="*/ 517237 h 1490610"/>
                  <a:gd name="connsiteX9" fmla="*/ 759019 w 1063819"/>
                  <a:gd name="connsiteY9" fmla="*/ 591128 h 1490610"/>
                  <a:gd name="connsiteX10" fmla="*/ 823673 w 1063819"/>
                  <a:gd name="connsiteY10" fmla="*/ 646546 h 1490610"/>
                  <a:gd name="connsiteX11" fmla="*/ 823673 w 1063819"/>
                  <a:gd name="connsiteY11" fmla="*/ 729673 h 1490610"/>
                  <a:gd name="connsiteX12" fmla="*/ 768255 w 1063819"/>
                  <a:gd name="connsiteY12" fmla="*/ 812800 h 1490610"/>
                  <a:gd name="connsiteX13" fmla="*/ 657419 w 1063819"/>
                  <a:gd name="connsiteY13" fmla="*/ 812800 h 1490610"/>
                  <a:gd name="connsiteX14" fmla="*/ 592764 w 1063819"/>
                  <a:gd name="connsiteY14" fmla="*/ 849746 h 1490610"/>
                  <a:gd name="connsiteX15" fmla="*/ 583528 w 1063819"/>
                  <a:gd name="connsiteY15" fmla="*/ 914400 h 1490610"/>
                  <a:gd name="connsiteX16" fmla="*/ 491164 w 1063819"/>
                  <a:gd name="connsiteY16" fmla="*/ 997528 h 1490610"/>
                  <a:gd name="connsiteX17" fmla="*/ 334146 w 1063819"/>
                  <a:gd name="connsiteY17" fmla="*/ 1136073 h 1490610"/>
                  <a:gd name="connsiteX18" fmla="*/ 232546 w 1063819"/>
                  <a:gd name="connsiteY18" fmla="*/ 1219200 h 1490610"/>
                  <a:gd name="connsiteX19" fmla="*/ 214073 w 1063819"/>
                  <a:gd name="connsiteY19" fmla="*/ 1302328 h 1490610"/>
                  <a:gd name="connsiteX20" fmla="*/ 140182 w 1063819"/>
                  <a:gd name="connsiteY20" fmla="*/ 1348509 h 1490610"/>
                  <a:gd name="connsiteX21" fmla="*/ 112473 w 1063819"/>
                  <a:gd name="connsiteY21" fmla="*/ 1376219 h 1490610"/>
                  <a:gd name="connsiteX22" fmla="*/ 57055 w 1063819"/>
                  <a:gd name="connsiteY22" fmla="*/ 1450109 h 1490610"/>
                  <a:gd name="connsiteX23" fmla="*/ 1637 w 1063819"/>
                  <a:gd name="connsiteY23" fmla="*/ 1487055 h 1490610"/>
                  <a:gd name="connsiteX24" fmla="*/ 20110 w 1063819"/>
                  <a:gd name="connsiteY24" fmla="*/ 1487055 h 1490610"/>
                  <a:gd name="connsiteX0" fmla="*/ 1063819 w 1063819"/>
                  <a:gd name="connsiteY0" fmla="*/ 0 h 1490610"/>
                  <a:gd name="connsiteX1" fmla="*/ 1017637 w 1063819"/>
                  <a:gd name="connsiteY1" fmla="*/ 46182 h 1490610"/>
                  <a:gd name="connsiteX2" fmla="*/ 989928 w 1063819"/>
                  <a:gd name="connsiteY2" fmla="*/ 110837 h 1490610"/>
                  <a:gd name="connsiteX3" fmla="*/ 918923 w 1063819"/>
                  <a:gd name="connsiteY3" fmla="*/ 129887 h 1490610"/>
                  <a:gd name="connsiteX4" fmla="*/ 906801 w 1063819"/>
                  <a:gd name="connsiteY4" fmla="*/ 240146 h 1490610"/>
                  <a:gd name="connsiteX5" fmla="*/ 842146 w 1063819"/>
                  <a:gd name="connsiteY5" fmla="*/ 286328 h 1490610"/>
                  <a:gd name="connsiteX6" fmla="*/ 851382 w 1063819"/>
                  <a:gd name="connsiteY6" fmla="*/ 406400 h 1490610"/>
                  <a:gd name="connsiteX7" fmla="*/ 814437 w 1063819"/>
                  <a:gd name="connsiteY7" fmla="*/ 452582 h 1490610"/>
                  <a:gd name="connsiteX8" fmla="*/ 749782 w 1063819"/>
                  <a:gd name="connsiteY8" fmla="*/ 517237 h 1490610"/>
                  <a:gd name="connsiteX9" fmla="*/ 759019 w 1063819"/>
                  <a:gd name="connsiteY9" fmla="*/ 591128 h 1490610"/>
                  <a:gd name="connsiteX10" fmla="*/ 823673 w 1063819"/>
                  <a:gd name="connsiteY10" fmla="*/ 646546 h 1490610"/>
                  <a:gd name="connsiteX11" fmla="*/ 823673 w 1063819"/>
                  <a:gd name="connsiteY11" fmla="*/ 729673 h 1490610"/>
                  <a:gd name="connsiteX12" fmla="*/ 768255 w 1063819"/>
                  <a:gd name="connsiteY12" fmla="*/ 812800 h 1490610"/>
                  <a:gd name="connsiteX13" fmla="*/ 657419 w 1063819"/>
                  <a:gd name="connsiteY13" fmla="*/ 812800 h 1490610"/>
                  <a:gd name="connsiteX14" fmla="*/ 592764 w 1063819"/>
                  <a:gd name="connsiteY14" fmla="*/ 849746 h 1490610"/>
                  <a:gd name="connsiteX15" fmla="*/ 583528 w 1063819"/>
                  <a:gd name="connsiteY15" fmla="*/ 914400 h 1490610"/>
                  <a:gd name="connsiteX16" fmla="*/ 491164 w 1063819"/>
                  <a:gd name="connsiteY16" fmla="*/ 997528 h 1490610"/>
                  <a:gd name="connsiteX17" fmla="*/ 334146 w 1063819"/>
                  <a:gd name="connsiteY17" fmla="*/ 1136073 h 1490610"/>
                  <a:gd name="connsiteX18" fmla="*/ 232546 w 1063819"/>
                  <a:gd name="connsiteY18" fmla="*/ 1219200 h 1490610"/>
                  <a:gd name="connsiteX19" fmla="*/ 214073 w 1063819"/>
                  <a:gd name="connsiteY19" fmla="*/ 1302328 h 1490610"/>
                  <a:gd name="connsiteX20" fmla="*/ 140182 w 1063819"/>
                  <a:gd name="connsiteY20" fmla="*/ 1348509 h 1490610"/>
                  <a:gd name="connsiteX21" fmla="*/ 112473 w 1063819"/>
                  <a:gd name="connsiteY21" fmla="*/ 1376219 h 1490610"/>
                  <a:gd name="connsiteX22" fmla="*/ 57055 w 1063819"/>
                  <a:gd name="connsiteY22" fmla="*/ 1450109 h 1490610"/>
                  <a:gd name="connsiteX23" fmla="*/ 1637 w 1063819"/>
                  <a:gd name="connsiteY23" fmla="*/ 1487055 h 1490610"/>
                  <a:gd name="connsiteX24" fmla="*/ 20110 w 1063819"/>
                  <a:gd name="connsiteY24" fmla="*/ 1487055 h 1490610"/>
                  <a:gd name="connsiteX0" fmla="*/ 1057469 w 1057469"/>
                  <a:gd name="connsiteY0" fmla="*/ 0 h 1484260"/>
                  <a:gd name="connsiteX1" fmla="*/ 1017637 w 1057469"/>
                  <a:gd name="connsiteY1" fmla="*/ 39832 h 1484260"/>
                  <a:gd name="connsiteX2" fmla="*/ 989928 w 1057469"/>
                  <a:gd name="connsiteY2" fmla="*/ 104487 h 1484260"/>
                  <a:gd name="connsiteX3" fmla="*/ 918923 w 1057469"/>
                  <a:gd name="connsiteY3" fmla="*/ 123537 h 1484260"/>
                  <a:gd name="connsiteX4" fmla="*/ 906801 w 1057469"/>
                  <a:gd name="connsiteY4" fmla="*/ 233796 h 1484260"/>
                  <a:gd name="connsiteX5" fmla="*/ 842146 w 1057469"/>
                  <a:gd name="connsiteY5" fmla="*/ 279978 h 1484260"/>
                  <a:gd name="connsiteX6" fmla="*/ 851382 w 1057469"/>
                  <a:gd name="connsiteY6" fmla="*/ 400050 h 1484260"/>
                  <a:gd name="connsiteX7" fmla="*/ 814437 w 1057469"/>
                  <a:gd name="connsiteY7" fmla="*/ 446232 h 1484260"/>
                  <a:gd name="connsiteX8" fmla="*/ 749782 w 1057469"/>
                  <a:gd name="connsiteY8" fmla="*/ 510887 h 1484260"/>
                  <a:gd name="connsiteX9" fmla="*/ 759019 w 1057469"/>
                  <a:gd name="connsiteY9" fmla="*/ 584778 h 1484260"/>
                  <a:gd name="connsiteX10" fmla="*/ 823673 w 1057469"/>
                  <a:gd name="connsiteY10" fmla="*/ 640196 h 1484260"/>
                  <a:gd name="connsiteX11" fmla="*/ 823673 w 1057469"/>
                  <a:gd name="connsiteY11" fmla="*/ 723323 h 1484260"/>
                  <a:gd name="connsiteX12" fmla="*/ 768255 w 1057469"/>
                  <a:gd name="connsiteY12" fmla="*/ 806450 h 1484260"/>
                  <a:gd name="connsiteX13" fmla="*/ 657419 w 1057469"/>
                  <a:gd name="connsiteY13" fmla="*/ 806450 h 1484260"/>
                  <a:gd name="connsiteX14" fmla="*/ 592764 w 1057469"/>
                  <a:gd name="connsiteY14" fmla="*/ 843396 h 1484260"/>
                  <a:gd name="connsiteX15" fmla="*/ 583528 w 1057469"/>
                  <a:gd name="connsiteY15" fmla="*/ 908050 h 1484260"/>
                  <a:gd name="connsiteX16" fmla="*/ 491164 w 1057469"/>
                  <a:gd name="connsiteY16" fmla="*/ 991178 h 1484260"/>
                  <a:gd name="connsiteX17" fmla="*/ 334146 w 1057469"/>
                  <a:gd name="connsiteY17" fmla="*/ 1129723 h 1484260"/>
                  <a:gd name="connsiteX18" fmla="*/ 232546 w 1057469"/>
                  <a:gd name="connsiteY18" fmla="*/ 1212850 h 1484260"/>
                  <a:gd name="connsiteX19" fmla="*/ 214073 w 1057469"/>
                  <a:gd name="connsiteY19" fmla="*/ 1295978 h 1484260"/>
                  <a:gd name="connsiteX20" fmla="*/ 140182 w 1057469"/>
                  <a:gd name="connsiteY20" fmla="*/ 1342159 h 1484260"/>
                  <a:gd name="connsiteX21" fmla="*/ 112473 w 1057469"/>
                  <a:gd name="connsiteY21" fmla="*/ 1369869 h 1484260"/>
                  <a:gd name="connsiteX22" fmla="*/ 57055 w 1057469"/>
                  <a:gd name="connsiteY22" fmla="*/ 1443759 h 1484260"/>
                  <a:gd name="connsiteX23" fmla="*/ 1637 w 1057469"/>
                  <a:gd name="connsiteY23" fmla="*/ 1480705 h 1484260"/>
                  <a:gd name="connsiteX24" fmla="*/ 20110 w 1057469"/>
                  <a:gd name="connsiteY24" fmla="*/ 1480705 h 1484260"/>
                  <a:gd name="connsiteX0" fmla="*/ 1057469 w 1057469"/>
                  <a:gd name="connsiteY0" fmla="*/ 0 h 1484260"/>
                  <a:gd name="connsiteX1" fmla="*/ 1017637 w 1057469"/>
                  <a:gd name="connsiteY1" fmla="*/ 39832 h 1484260"/>
                  <a:gd name="connsiteX2" fmla="*/ 989928 w 1057469"/>
                  <a:gd name="connsiteY2" fmla="*/ 104487 h 1484260"/>
                  <a:gd name="connsiteX3" fmla="*/ 918923 w 1057469"/>
                  <a:gd name="connsiteY3" fmla="*/ 123537 h 1484260"/>
                  <a:gd name="connsiteX4" fmla="*/ 906801 w 1057469"/>
                  <a:gd name="connsiteY4" fmla="*/ 233796 h 1484260"/>
                  <a:gd name="connsiteX5" fmla="*/ 842146 w 1057469"/>
                  <a:gd name="connsiteY5" fmla="*/ 279978 h 1484260"/>
                  <a:gd name="connsiteX6" fmla="*/ 851382 w 1057469"/>
                  <a:gd name="connsiteY6" fmla="*/ 400050 h 1484260"/>
                  <a:gd name="connsiteX7" fmla="*/ 814437 w 1057469"/>
                  <a:gd name="connsiteY7" fmla="*/ 446232 h 1484260"/>
                  <a:gd name="connsiteX8" fmla="*/ 749782 w 1057469"/>
                  <a:gd name="connsiteY8" fmla="*/ 510887 h 1484260"/>
                  <a:gd name="connsiteX9" fmla="*/ 759019 w 1057469"/>
                  <a:gd name="connsiteY9" fmla="*/ 584778 h 1484260"/>
                  <a:gd name="connsiteX10" fmla="*/ 823673 w 1057469"/>
                  <a:gd name="connsiteY10" fmla="*/ 640196 h 1484260"/>
                  <a:gd name="connsiteX11" fmla="*/ 823673 w 1057469"/>
                  <a:gd name="connsiteY11" fmla="*/ 723323 h 1484260"/>
                  <a:gd name="connsiteX12" fmla="*/ 749205 w 1057469"/>
                  <a:gd name="connsiteY12" fmla="*/ 812800 h 1484260"/>
                  <a:gd name="connsiteX13" fmla="*/ 657419 w 1057469"/>
                  <a:gd name="connsiteY13" fmla="*/ 806450 h 1484260"/>
                  <a:gd name="connsiteX14" fmla="*/ 592764 w 1057469"/>
                  <a:gd name="connsiteY14" fmla="*/ 843396 h 1484260"/>
                  <a:gd name="connsiteX15" fmla="*/ 583528 w 1057469"/>
                  <a:gd name="connsiteY15" fmla="*/ 908050 h 1484260"/>
                  <a:gd name="connsiteX16" fmla="*/ 491164 w 1057469"/>
                  <a:gd name="connsiteY16" fmla="*/ 991178 h 1484260"/>
                  <a:gd name="connsiteX17" fmla="*/ 334146 w 1057469"/>
                  <a:gd name="connsiteY17" fmla="*/ 1129723 h 1484260"/>
                  <a:gd name="connsiteX18" fmla="*/ 232546 w 1057469"/>
                  <a:gd name="connsiteY18" fmla="*/ 1212850 h 1484260"/>
                  <a:gd name="connsiteX19" fmla="*/ 214073 w 1057469"/>
                  <a:gd name="connsiteY19" fmla="*/ 1295978 h 1484260"/>
                  <a:gd name="connsiteX20" fmla="*/ 140182 w 1057469"/>
                  <a:gd name="connsiteY20" fmla="*/ 1342159 h 1484260"/>
                  <a:gd name="connsiteX21" fmla="*/ 112473 w 1057469"/>
                  <a:gd name="connsiteY21" fmla="*/ 1369869 h 1484260"/>
                  <a:gd name="connsiteX22" fmla="*/ 57055 w 1057469"/>
                  <a:gd name="connsiteY22" fmla="*/ 1443759 h 1484260"/>
                  <a:gd name="connsiteX23" fmla="*/ 1637 w 1057469"/>
                  <a:gd name="connsiteY23" fmla="*/ 1480705 h 1484260"/>
                  <a:gd name="connsiteX24" fmla="*/ 20110 w 1057469"/>
                  <a:gd name="connsiteY24" fmla="*/ 1480705 h 1484260"/>
                  <a:gd name="connsiteX0" fmla="*/ 1057469 w 1057469"/>
                  <a:gd name="connsiteY0" fmla="*/ 0 h 1484260"/>
                  <a:gd name="connsiteX1" fmla="*/ 1017637 w 1057469"/>
                  <a:gd name="connsiteY1" fmla="*/ 39832 h 1484260"/>
                  <a:gd name="connsiteX2" fmla="*/ 989928 w 1057469"/>
                  <a:gd name="connsiteY2" fmla="*/ 104487 h 1484260"/>
                  <a:gd name="connsiteX3" fmla="*/ 918923 w 1057469"/>
                  <a:gd name="connsiteY3" fmla="*/ 123537 h 1484260"/>
                  <a:gd name="connsiteX4" fmla="*/ 906801 w 1057469"/>
                  <a:gd name="connsiteY4" fmla="*/ 233796 h 1484260"/>
                  <a:gd name="connsiteX5" fmla="*/ 842146 w 1057469"/>
                  <a:gd name="connsiteY5" fmla="*/ 279978 h 1484260"/>
                  <a:gd name="connsiteX6" fmla="*/ 851382 w 1057469"/>
                  <a:gd name="connsiteY6" fmla="*/ 400050 h 1484260"/>
                  <a:gd name="connsiteX7" fmla="*/ 814437 w 1057469"/>
                  <a:gd name="connsiteY7" fmla="*/ 446232 h 1484260"/>
                  <a:gd name="connsiteX8" fmla="*/ 749782 w 1057469"/>
                  <a:gd name="connsiteY8" fmla="*/ 510887 h 1484260"/>
                  <a:gd name="connsiteX9" fmla="*/ 759019 w 1057469"/>
                  <a:gd name="connsiteY9" fmla="*/ 584778 h 1484260"/>
                  <a:gd name="connsiteX10" fmla="*/ 823673 w 1057469"/>
                  <a:gd name="connsiteY10" fmla="*/ 640196 h 1484260"/>
                  <a:gd name="connsiteX11" fmla="*/ 823673 w 1057469"/>
                  <a:gd name="connsiteY11" fmla="*/ 723323 h 1484260"/>
                  <a:gd name="connsiteX12" fmla="*/ 749205 w 1057469"/>
                  <a:gd name="connsiteY12" fmla="*/ 812800 h 1484260"/>
                  <a:gd name="connsiteX13" fmla="*/ 632019 w 1057469"/>
                  <a:gd name="connsiteY13" fmla="*/ 800100 h 1484260"/>
                  <a:gd name="connsiteX14" fmla="*/ 592764 w 1057469"/>
                  <a:gd name="connsiteY14" fmla="*/ 843396 h 1484260"/>
                  <a:gd name="connsiteX15" fmla="*/ 583528 w 1057469"/>
                  <a:gd name="connsiteY15" fmla="*/ 908050 h 1484260"/>
                  <a:gd name="connsiteX16" fmla="*/ 491164 w 1057469"/>
                  <a:gd name="connsiteY16" fmla="*/ 991178 h 1484260"/>
                  <a:gd name="connsiteX17" fmla="*/ 334146 w 1057469"/>
                  <a:gd name="connsiteY17" fmla="*/ 1129723 h 1484260"/>
                  <a:gd name="connsiteX18" fmla="*/ 232546 w 1057469"/>
                  <a:gd name="connsiteY18" fmla="*/ 1212850 h 1484260"/>
                  <a:gd name="connsiteX19" fmla="*/ 214073 w 1057469"/>
                  <a:gd name="connsiteY19" fmla="*/ 1295978 h 1484260"/>
                  <a:gd name="connsiteX20" fmla="*/ 140182 w 1057469"/>
                  <a:gd name="connsiteY20" fmla="*/ 1342159 h 1484260"/>
                  <a:gd name="connsiteX21" fmla="*/ 112473 w 1057469"/>
                  <a:gd name="connsiteY21" fmla="*/ 1369869 h 1484260"/>
                  <a:gd name="connsiteX22" fmla="*/ 57055 w 1057469"/>
                  <a:gd name="connsiteY22" fmla="*/ 1443759 h 1484260"/>
                  <a:gd name="connsiteX23" fmla="*/ 1637 w 1057469"/>
                  <a:gd name="connsiteY23" fmla="*/ 1480705 h 1484260"/>
                  <a:gd name="connsiteX24" fmla="*/ 20110 w 1057469"/>
                  <a:gd name="connsiteY24" fmla="*/ 1480705 h 1484260"/>
                  <a:gd name="connsiteX0" fmla="*/ 1057469 w 1057469"/>
                  <a:gd name="connsiteY0" fmla="*/ 0 h 1484260"/>
                  <a:gd name="connsiteX1" fmla="*/ 1017637 w 1057469"/>
                  <a:gd name="connsiteY1" fmla="*/ 39832 h 1484260"/>
                  <a:gd name="connsiteX2" fmla="*/ 989928 w 1057469"/>
                  <a:gd name="connsiteY2" fmla="*/ 104487 h 1484260"/>
                  <a:gd name="connsiteX3" fmla="*/ 918923 w 1057469"/>
                  <a:gd name="connsiteY3" fmla="*/ 123537 h 1484260"/>
                  <a:gd name="connsiteX4" fmla="*/ 906801 w 1057469"/>
                  <a:gd name="connsiteY4" fmla="*/ 233796 h 1484260"/>
                  <a:gd name="connsiteX5" fmla="*/ 842146 w 1057469"/>
                  <a:gd name="connsiteY5" fmla="*/ 279978 h 1484260"/>
                  <a:gd name="connsiteX6" fmla="*/ 851382 w 1057469"/>
                  <a:gd name="connsiteY6" fmla="*/ 400050 h 1484260"/>
                  <a:gd name="connsiteX7" fmla="*/ 814437 w 1057469"/>
                  <a:gd name="connsiteY7" fmla="*/ 446232 h 1484260"/>
                  <a:gd name="connsiteX8" fmla="*/ 749782 w 1057469"/>
                  <a:gd name="connsiteY8" fmla="*/ 510887 h 1484260"/>
                  <a:gd name="connsiteX9" fmla="*/ 759019 w 1057469"/>
                  <a:gd name="connsiteY9" fmla="*/ 584778 h 1484260"/>
                  <a:gd name="connsiteX10" fmla="*/ 823673 w 1057469"/>
                  <a:gd name="connsiteY10" fmla="*/ 640196 h 1484260"/>
                  <a:gd name="connsiteX11" fmla="*/ 823673 w 1057469"/>
                  <a:gd name="connsiteY11" fmla="*/ 723323 h 1484260"/>
                  <a:gd name="connsiteX12" fmla="*/ 749205 w 1057469"/>
                  <a:gd name="connsiteY12" fmla="*/ 812800 h 1484260"/>
                  <a:gd name="connsiteX13" fmla="*/ 632019 w 1057469"/>
                  <a:gd name="connsiteY13" fmla="*/ 800100 h 1484260"/>
                  <a:gd name="connsiteX14" fmla="*/ 592764 w 1057469"/>
                  <a:gd name="connsiteY14" fmla="*/ 843396 h 1484260"/>
                  <a:gd name="connsiteX15" fmla="*/ 583528 w 1057469"/>
                  <a:gd name="connsiteY15" fmla="*/ 908050 h 1484260"/>
                  <a:gd name="connsiteX16" fmla="*/ 491164 w 1057469"/>
                  <a:gd name="connsiteY16" fmla="*/ 991178 h 1484260"/>
                  <a:gd name="connsiteX17" fmla="*/ 334146 w 1057469"/>
                  <a:gd name="connsiteY17" fmla="*/ 1129723 h 1484260"/>
                  <a:gd name="connsiteX18" fmla="*/ 232546 w 1057469"/>
                  <a:gd name="connsiteY18" fmla="*/ 1212850 h 1484260"/>
                  <a:gd name="connsiteX19" fmla="*/ 214073 w 1057469"/>
                  <a:gd name="connsiteY19" fmla="*/ 1295978 h 1484260"/>
                  <a:gd name="connsiteX20" fmla="*/ 140182 w 1057469"/>
                  <a:gd name="connsiteY20" fmla="*/ 1342159 h 1484260"/>
                  <a:gd name="connsiteX21" fmla="*/ 112473 w 1057469"/>
                  <a:gd name="connsiteY21" fmla="*/ 1369869 h 1484260"/>
                  <a:gd name="connsiteX22" fmla="*/ 57055 w 1057469"/>
                  <a:gd name="connsiteY22" fmla="*/ 1443759 h 1484260"/>
                  <a:gd name="connsiteX23" fmla="*/ 1637 w 1057469"/>
                  <a:gd name="connsiteY23" fmla="*/ 1480705 h 1484260"/>
                  <a:gd name="connsiteX24" fmla="*/ 20110 w 1057469"/>
                  <a:gd name="connsiteY24" fmla="*/ 1480705 h 1484260"/>
                  <a:gd name="connsiteX0" fmla="*/ 1057469 w 1057469"/>
                  <a:gd name="connsiteY0" fmla="*/ 0 h 1484260"/>
                  <a:gd name="connsiteX1" fmla="*/ 1017637 w 1057469"/>
                  <a:gd name="connsiteY1" fmla="*/ 39832 h 1484260"/>
                  <a:gd name="connsiteX2" fmla="*/ 989928 w 1057469"/>
                  <a:gd name="connsiteY2" fmla="*/ 104487 h 1484260"/>
                  <a:gd name="connsiteX3" fmla="*/ 918923 w 1057469"/>
                  <a:gd name="connsiteY3" fmla="*/ 123537 h 1484260"/>
                  <a:gd name="connsiteX4" fmla="*/ 906801 w 1057469"/>
                  <a:gd name="connsiteY4" fmla="*/ 233796 h 1484260"/>
                  <a:gd name="connsiteX5" fmla="*/ 842146 w 1057469"/>
                  <a:gd name="connsiteY5" fmla="*/ 279978 h 1484260"/>
                  <a:gd name="connsiteX6" fmla="*/ 851382 w 1057469"/>
                  <a:gd name="connsiteY6" fmla="*/ 400050 h 1484260"/>
                  <a:gd name="connsiteX7" fmla="*/ 814437 w 1057469"/>
                  <a:gd name="connsiteY7" fmla="*/ 446232 h 1484260"/>
                  <a:gd name="connsiteX8" fmla="*/ 749782 w 1057469"/>
                  <a:gd name="connsiteY8" fmla="*/ 510887 h 1484260"/>
                  <a:gd name="connsiteX9" fmla="*/ 759019 w 1057469"/>
                  <a:gd name="connsiteY9" fmla="*/ 584778 h 1484260"/>
                  <a:gd name="connsiteX10" fmla="*/ 823673 w 1057469"/>
                  <a:gd name="connsiteY10" fmla="*/ 640196 h 1484260"/>
                  <a:gd name="connsiteX11" fmla="*/ 823673 w 1057469"/>
                  <a:gd name="connsiteY11" fmla="*/ 723323 h 1484260"/>
                  <a:gd name="connsiteX12" fmla="*/ 749205 w 1057469"/>
                  <a:gd name="connsiteY12" fmla="*/ 812800 h 1484260"/>
                  <a:gd name="connsiteX13" fmla="*/ 632019 w 1057469"/>
                  <a:gd name="connsiteY13" fmla="*/ 800100 h 1484260"/>
                  <a:gd name="connsiteX14" fmla="*/ 592764 w 1057469"/>
                  <a:gd name="connsiteY14" fmla="*/ 843396 h 1484260"/>
                  <a:gd name="connsiteX15" fmla="*/ 583528 w 1057469"/>
                  <a:gd name="connsiteY15" fmla="*/ 908050 h 1484260"/>
                  <a:gd name="connsiteX16" fmla="*/ 491164 w 1057469"/>
                  <a:gd name="connsiteY16" fmla="*/ 991178 h 1484260"/>
                  <a:gd name="connsiteX17" fmla="*/ 315096 w 1057469"/>
                  <a:gd name="connsiteY17" fmla="*/ 1136073 h 1484260"/>
                  <a:gd name="connsiteX18" fmla="*/ 232546 w 1057469"/>
                  <a:gd name="connsiteY18" fmla="*/ 1212850 h 1484260"/>
                  <a:gd name="connsiteX19" fmla="*/ 214073 w 1057469"/>
                  <a:gd name="connsiteY19" fmla="*/ 1295978 h 1484260"/>
                  <a:gd name="connsiteX20" fmla="*/ 140182 w 1057469"/>
                  <a:gd name="connsiteY20" fmla="*/ 1342159 h 1484260"/>
                  <a:gd name="connsiteX21" fmla="*/ 112473 w 1057469"/>
                  <a:gd name="connsiteY21" fmla="*/ 1369869 h 1484260"/>
                  <a:gd name="connsiteX22" fmla="*/ 57055 w 1057469"/>
                  <a:gd name="connsiteY22" fmla="*/ 1443759 h 1484260"/>
                  <a:gd name="connsiteX23" fmla="*/ 1637 w 1057469"/>
                  <a:gd name="connsiteY23" fmla="*/ 1480705 h 1484260"/>
                  <a:gd name="connsiteX24" fmla="*/ 20110 w 1057469"/>
                  <a:gd name="connsiteY24" fmla="*/ 1480705 h 1484260"/>
                  <a:gd name="connsiteX0" fmla="*/ 1057469 w 1057469"/>
                  <a:gd name="connsiteY0" fmla="*/ 0 h 1484260"/>
                  <a:gd name="connsiteX1" fmla="*/ 1017637 w 1057469"/>
                  <a:gd name="connsiteY1" fmla="*/ 39832 h 1484260"/>
                  <a:gd name="connsiteX2" fmla="*/ 989928 w 1057469"/>
                  <a:gd name="connsiteY2" fmla="*/ 104487 h 1484260"/>
                  <a:gd name="connsiteX3" fmla="*/ 918923 w 1057469"/>
                  <a:gd name="connsiteY3" fmla="*/ 123537 h 1484260"/>
                  <a:gd name="connsiteX4" fmla="*/ 906801 w 1057469"/>
                  <a:gd name="connsiteY4" fmla="*/ 233796 h 1484260"/>
                  <a:gd name="connsiteX5" fmla="*/ 842146 w 1057469"/>
                  <a:gd name="connsiteY5" fmla="*/ 279978 h 1484260"/>
                  <a:gd name="connsiteX6" fmla="*/ 851382 w 1057469"/>
                  <a:gd name="connsiteY6" fmla="*/ 400050 h 1484260"/>
                  <a:gd name="connsiteX7" fmla="*/ 814437 w 1057469"/>
                  <a:gd name="connsiteY7" fmla="*/ 446232 h 1484260"/>
                  <a:gd name="connsiteX8" fmla="*/ 749782 w 1057469"/>
                  <a:gd name="connsiteY8" fmla="*/ 510887 h 1484260"/>
                  <a:gd name="connsiteX9" fmla="*/ 759019 w 1057469"/>
                  <a:gd name="connsiteY9" fmla="*/ 584778 h 1484260"/>
                  <a:gd name="connsiteX10" fmla="*/ 823673 w 1057469"/>
                  <a:gd name="connsiteY10" fmla="*/ 640196 h 1484260"/>
                  <a:gd name="connsiteX11" fmla="*/ 823673 w 1057469"/>
                  <a:gd name="connsiteY11" fmla="*/ 723323 h 1484260"/>
                  <a:gd name="connsiteX12" fmla="*/ 749205 w 1057469"/>
                  <a:gd name="connsiteY12" fmla="*/ 812800 h 1484260"/>
                  <a:gd name="connsiteX13" fmla="*/ 632019 w 1057469"/>
                  <a:gd name="connsiteY13" fmla="*/ 800100 h 1484260"/>
                  <a:gd name="connsiteX14" fmla="*/ 592764 w 1057469"/>
                  <a:gd name="connsiteY14" fmla="*/ 843396 h 1484260"/>
                  <a:gd name="connsiteX15" fmla="*/ 583528 w 1057469"/>
                  <a:gd name="connsiteY15" fmla="*/ 908050 h 1484260"/>
                  <a:gd name="connsiteX16" fmla="*/ 491164 w 1057469"/>
                  <a:gd name="connsiteY16" fmla="*/ 991178 h 1484260"/>
                  <a:gd name="connsiteX17" fmla="*/ 315096 w 1057469"/>
                  <a:gd name="connsiteY17" fmla="*/ 1136073 h 1484260"/>
                  <a:gd name="connsiteX18" fmla="*/ 232546 w 1057469"/>
                  <a:gd name="connsiteY18" fmla="*/ 1212850 h 1484260"/>
                  <a:gd name="connsiteX19" fmla="*/ 214073 w 1057469"/>
                  <a:gd name="connsiteY19" fmla="*/ 1295978 h 1484260"/>
                  <a:gd name="connsiteX20" fmla="*/ 140182 w 1057469"/>
                  <a:gd name="connsiteY20" fmla="*/ 1342159 h 1484260"/>
                  <a:gd name="connsiteX21" fmla="*/ 112473 w 1057469"/>
                  <a:gd name="connsiteY21" fmla="*/ 1369869 h 1484260"/>
                  <a:gd name="connsiteX22" fmla="*/ 57055 w 1057469"/>
                  <a:gd name="connsiteY22" fmla="*/ 1443759 h 1484260"/>
                  <a:gd name="connsiteX23" fmla="*/ 1637 w 1057469"/>
                  <a:gd name="connsiteY23" fmla="*/ 1480705 h 1484260"/>
                  <a:gd name="connsiteX24" fmla="*/ 20110 w 1057469"/>
                  <a:gd name="connsiteY24" fmla="*/ 1480705 h 1484260"/>
                  <a:gd name="connsiteX0" fmla="*/ 1057469 w 1057469"/>
                  <a:gd name="connsiteY0" fmla="*/ 0 h 1484260"/>
                  <a:gd name="connsiteX1" fmla="*/ 1017637 w 1057469"/>
                  <a:gd name="connsiteY1" fmla="*/ 39832 h 1484260"/>
                  <a:gd name="connsiteX2" fmla="*/ 989928 w 1057469"/>
                  <a:gd name="connsiteY2" fmla="*/ 104487 h 1484260"/>
                  <a:gd name="connsiteX3" fmla="*/ 918923 w 1057469"/>
                  <a:gd name="connsiteY3" fmla="*/ 123537 h 1484260"/>
                  <a:gd name="connsiteX4" fmla="*/ 906801 w 1057469"/>
                  <a:gd name="connsiteY4" fmla="*/ 233796 h 1484260"/>
                  <a:gd name="connsiteX5" fmla="*/ 842146 w 1057469"/>
                  <a:gd name="connsiteY5" fmla="*/ 279978 h 1484260"/>
                  <a:gd name="connsiteX6" fmla="*/ 851382 w 1057469"/>
                  <a:gd name="connsiteY6" fmla="*/ 400050 h 1484260"/>
                  <a:gd name="connsiteX7" fmla="*/ 814437 w 1057469"/>
                  <a:gd name="connsiteY7" fmla="*/ 446232 h 1484260"/>
                  <a:gd name="connsiteX8" fmla="*/ 749782 w 1057469"/>
                  <a:gd name="connsiteY8" fmla="*/ 510887 h 1484260"/>
                  <a:gd name="connsiteX9" fmla="*/ 759019 w 1057469"/>
                  <a:gd name="connsiteY9" fmla="*/ 584778 h 1484260"/>
                  <a:gd name="connsiteX10" fmla="*/ 823673 w 1057469"/>
                  <a:gd name="connsiteY10" fmla="*/ 640196 h 1484260"/>
                  <a:gd name="connsiteX11" fmla="*/ 823673 w 1057469"/>
                  <a:gd name="connsiteY11" fmla="*/ 723323 h 1484260"/>
                  <a:gd name="connsiteX12" fmla="*/ 749205 w 1057469"/>
                  <a:gd name="connsiteY12" fmla="*/ 812800 h 1484260"/>
                  <a:gd name="connsiteX13" fmla="*/ 632019 w 1057469"/>
                  <a:gd name="connsiteY13" fmla="*/ 800100 h 1484260"/>
                  <a:gd name="connsiteX14" fmla="*/ 592764 w 1057469"/>
                  <a:gd name="connsiteY14" fmla="*/ 843396 h 1484260"/>
                  <a:gd name="connsiteX15" fmla="*/ 583528 w 1057469"/>
                  <a:gd name="connsiteY15" fmla="*/ 908050 h 1484260"/>
                  <a:gd name="connsiteX16" fmla="*/ 484814 w 1057469"/>
                  <a:gd name="connsiteY16" fmla="*/ 1022928 h 1484260"/>
                  <a:gd name="connsiteX17" fmla="*/ 315096 w 1057469"/>
                  <a:gd name="connsiteY17" fmla="*/ 1136073 h 1484260"/>
                  <a:gd name="connsiteX18" fmla="*/ 232546 w 1057469"/>
                  <a:gd name="connsiteY18" fmla="*/ 1212850 h 1484260"/>
                  <a:gd name="connsiteX19" fmla="*/ 214073 w 1057469"/>
                  <a:gd name="connsiteY19" fmla="*/ 1295978 h 1484260"/>
                  <a:gd name="connsiteX20" fmla="*/ 140182 w 1057469"/>
                  <a:gd name="connsiteY20" fmla="*/ 1342159 h 1484260"/>
                  <a:gd name="connsiteX21" fmla="*/ 112473 w 1057469"/>
                  <a:gd name="connsiteY21" fmla="*/ 1369869 h 1484260"/>
                  <a:gd name="connsiteX22" fmla="*/ 57055 w 1057469"/>
                  <a:gd name="connsiteY22" fmla="*/ 1443759 h 1484260"/>
                  <a:gd name="connsiteX23" fmla="*/ 1637 w 1057469"/>
                  <a:gd name="connsiteY23" fmla="*/ 1480705 h 1484260"/>
                  <a:gd name="connsiteX24" fmla="*/ 20110 w 1057469"/>
                  <a:gd name="connsiteY24" fmla="*/ 1480705 h 1484260"/>
                  <a:gd name="connsiteX0" fmla="*/ 1057469 w 1057469"/>
                  <a:gd name="connsiteY0" fmla="*/ 0 h 1484260"/>
                  <a:gd name="connsiteX1" fmla="*/ 1017637 w 1057469"/>
                  <a:gd name="connsiteY1" fmla="*/ 39832 h 1484260"/>
                  <a:gd name="connsiteX2" fmla="*/ 989928 w 1057469"/>
                  <a:gd name="connsiteY2" fmla="*/ 104487 h 1484260"/>
                  <a:gd name="connsiteX3" fmla="*/ 918923 w 1057469"/>
                  <a:gd name="connsiteY3" fmla="*/ 123537 h 1484260"/>
                  <a:gd name="connsiteX4" fmla="*/ 906801 w 1057469"/>
                  <a:gd name="connsiteY4" fmla="*/ 233796 h 1484260"/>
                  <a:gd name="connsiteX5" fmla="*/ 842146 w 1057469"/>
                  <a:gd name="connsiteY5" fmla="*/ 279978 h 1484260"/>
                  <a:gd name="connsiteX6" fmla="*/ 851382 w 1057469"/>
                  <a:gd name="connsiteY6" fmla="*/ 400050 h 1484260"/>
                  <a:gd name="connsiteX7" fmla="*/ 814437 w 1057469"/>
                  <a:gd name="connsiteY7" fmla="*/ 446232 h 1484260"/>
                  <a:gd name="connsiteX8" fmla="*/ 749782 w 1057469"/>
                  <a:gd name="connsiteY8" fmla="*/ 510887 h 1484260"/>
                  <a:gd name="connsiteX9" fmla="*/ 759019 w 1057469"/>
                  <a:gd name="connsiteY9" fmla="*/ 584778 h 1484260"/>
                  <a:gd name="connsiteX10" fmla="*/ 823673 w 1057469"/>
                  <a:gd name="connsiteY10" fmla="*/ 640196 h 1484260"/>
                  <a:gd name="connsiteX11" fmla="*/ 823673 w 1057469"/>
                  <a:gd name="connsiteY11" fmla="*/ 723323 h 1484260"/>
                  <a:gd name="connsiteX12" fmla="*/ 749205 w 1057469"/>
                  <a:gd name="connsiteY12" fmla="*/ 812800 h 1484260"/>
                  <a:gd name="connsiteX13" fmla="*/ 632019 w 1057469"/>
                  <a:gd name="connsiteY13" fmla="*/ 800100 h 1484260"/>
                  <a:gd name="connsiteX14" fmla="*/ 592764 w 1057469"/>
                  <a:gd name="connsiteY14" fmla="*/ 843396 h 1484260"/>
                  <a:gd name="connsiteX15" fmla="*/ 583528 w 1057469"/>
                  <a:gd name="connsiteY15" fmla="*/ 908050 h 1484260"/>
                  <a:gd name="connsiteX16" fmla="*/ 472114 w 1057469"/>
                  <a:gd name="connsiteY16" fmla="*/ 1010228 h 1484260"/>
                  <a:gd name="connsiteX17" fmla="*/ 315096 w 1057469"/>
                  <a:gd name="connsiteY17" fmla="*/ 1136073 h 1484260"/>
                  <a:gd name="connsiteX18" fmla="*/ 232546 w 1057469"/>
                  <a:gd name="connsiteY18" fmla="*/ 1212850 h 1484260"/>
                  <a:gd name="connsiteX19" fmla="*/ 214073 w 1057469"/>
                  <a:gd name="connsiteY19" fmla="*/ 1295978 h 1484260"/>
                  <a:gd name="connsiteX20" fmla="*/ 140182 w 1057469"/>
                  <a:gd name="connsiteY20" fmla="*/ 1342159 h 1484260"/>
                  <a:gd name="connsiteX21" fmla="*/ 112473 w 1057469"/>
                  <a:gd name="connsiteY21" fmla="*/ 1369869 h 1484260"/>
                  <a:gd name="connsiteX22" fmla="*/ 57055 w 1057469"/>
                  <a:gd name="connsiteY22" fmla="*/ 1443759 h 1484260"/>
                  <a:gd name="connsiteX23" fmla="*/ 1637 w 1057469"/>
                  <a:gd name="connsiteY23" fmla="*/ 1480705 h 1484260"/>
                  <a:gd name="connsiteX24" fmla="*/ 20110 w 1057469"/>
                  <a:gd name="connsiteY24" fmla="*/ 1480705 h 1484260"/>
                  <a:gd name="connsiteX0" fmla="*/ 1057469 w 1057469"/>
                  <a:gd name="connsiteY0" fmla="*/ 0 h 1484260"/>
                  <a:gd name="connsiteX1" fmla="*/ 1017637 w 1057469"/>
                  <a:gd name="connsiteY1" fmla="*/ 39832 h 1484260"/>
                  <a:gd name="connsiteX2" fmla="*/ 989928 w 1057469"/>
                  <a:gd name="connsiteY2" fmla="*/ 104487 h 1484260"/>
                  <a:gd name="connsiteX3" fmla="*/ 918923 w 1057469"/>
                  <a:gd name="connsiteY3" fmla="*/ 123537 h 1484260"/>
                  <a:gd name="connsiteX4" fmla="*/ 906801 w 1057469"/>
                  <a:gd name="connsiteY4" fmla="*/ 233796 h 1484260"/>
                  <a:gd name="connsiteX5" fmla="*/ 842146 w 1057469"/>
                  <a:gd name="connsiteY5" fmla="*/ 279978 h 1484260"/>
                  <a:gd name="connsiteX6" fmla="*/ 851382 w 1057469"/>
                  <a:gd name="connsiteY6" fmla="*/ 400050 h 1484260"/>
                  <a:gd name="connsiteX7" fmla="*/ 814437 w 1057469"/>
                  <a:gd name="connsiteY7" fmla="*/ 446232 h 1484260"/>
                  <a:gd name="connsiteX8" fmla="*/ 749782 w 1057469"/>
                  <a:gd name="connsiteY8" fmla="*/ 510887 h 1484260"/>
                  <a:gd name="connsiteX9" fmla="*/ 759019 w 1057469"/>
                  <a:gd name="connsiteY9" fmla="*/ 584778 h 1484260"/>
                  <a:gd name="connsiteX10" fmla="*/ 823673 w 1057469"/>
                  <a:gd name="connsiteY10" fmla="*/ 640196 h 1484260"/>
                  <a:gd name="connsiteX11" fmla="*/ 823673 w 1057469"/>
                  <a:gd name="connsiteY11" fmla="*/ 723323 h 1484260"/>
                  <a:gd name="connsiteX12" fmla="*/ 749205 w 1057469"/>
                  <a:gd name="connsiteY12" fmla="*/ 812800 h 1484260"/>
                  <a:gd name="connsiteX13" fmla="*/ 632019 w 1057469"/>
                  <a:gd name="connsiteY13" fmla="*/ 800100 h 1484260"/>
                  <a:gd name="connsiteX14" fmla="*/ 592764 w 1057469"/>
                  <a:gd name="connsiteY14" fmla="*/ 843396 h 1484260"/>
                  <a:gd name="connsiteX15" fmla="*/ 583528 w 1057469"/>
                  <a:gd name="connsiteY15" fmla="*/ 908050 h 1484260"/>
                  <a:gd name="connsiteX16" fmla="*/ 472114 w 1057469"/>
                  <a:gd name="connsiteY16" fmla="*/ 1010228 h 1484260"/>
                  <a:gd name="connsiteX17" fmla="*/ 315096 w 1057469"/>
                  <a:gd name="connsiteY17" fmla="*/ 1136073 h 1484260"/>
                  <a:gd name="connsiteX18" fmla="*/ 232546 w 1057469"/>
                  <a:gd name="connsiteY18" fmla="*/ 1212850 h 1484260"/>
                  <a:gd name="connsiteX19" fmla="*/ 214073 w 1057469"/>
                  <a:gd name="connsiteY19" fmla="*/ 1295978 h 1484260"/>
                  <a:gd name="connsiteX20" fmla="*/ 140182 w 1057469"/>
                  <a:gd name="connsiteY20" fmla="*/ 1342159 h 1484260"/>
                  <a:gd name="connsiteX21" fmla="*/ 112473 w 1057469"/>
                  <a:gd name="connsiteY21" fmla="*/ 1369869 h 1484260"/>
                  <a:gd name="connsiteX22" fmla="*/ 57055 w 1057469"/>
                  <a:gd name="connsiteY22" fmla="*/ 1443759 h 1484260"/>
                  <a:gd name="connsiteX23" fmla="*/ 1637 w 1057469"/>
                  <a:gd name="connsiteY23" fmla="*/ 1480705 h 1484260"/>
                  <a:gd name="connsiteX24" fmla="*/ 20110 w 1057469"/>
                  <a:gd name="connsiteY24" fmla="*/ 1480705 h 1484260"/>
                  <a:gd name="connsiteX0" fmla="*/ 1057469 w 1057469"/>
                  <a:gd name="connsiteY0" fmla="*/ 0 h 1484260"/>
                  <a:gd name="connsiteX1" fmla="*/ 1017637 w 1057469"/>
                  <a:gd name="connsiteY1" fmla="*/ 39832 h 1484260"/>
                  <a:gd name="connsiteX2" fmla="*/ 989928 w 1057469"/>
                  <a:gd name="connsiteY2" fmla="*/ 104487 h 1484260"/>
                  <a:gd name="connsiteX3" fmla="*/ 918923 w 1057469"/>
                  <a:gd name="connsiteY3" fmla="*/ 123537 h 1484260"/>
                  <a:gd name="connsiteX4" fmla="*/ 906801 w 1057469"/>
                  <a:gd name="connsiteY4" fmla="*/ 233796 h 1484260"/>
                  <a:gd name="connsiteX5" fmla="*/ 842146 w 1057469"/>
                  <a:gd name="connsiteY5" fmla="*/ 279978 h 1484260"/>
                  <a:gd name="connsiteX6" fmla="*/ 851382 w 1057469"/>
                  <a:gd name="connsiteY6" fmla="*/ 400050 h 1484260"/>
                  <a:gd name="connsiteX7" fmla="*/ 814437 w 1057469"/>
                  <a:gd name="connsiteY7" fmla="*/ 446232 h 1484260"/>
                  <a:gd name="connsiteX8" fmla="*/ 749782 w 1057469"/>
                  <a:gd name="connsiteY8" fmla="*/ 510887 h 1484260"/>
                  <a:gd name="connsiteX9" fmla="*/ 759019 w 1057469"/>
                  <a:gd name="connsiteY9" fmla="*/ 584778 h 1484260"/>
                  <a:gd name="connsiteX10" fmla="*/ 823673 w 1057469"/>
                  <a:gd name="connsiteY10" fmla="*/ 640196 h 1484260"/>
                  <a:gd name="connsiteX11" fmla="*/ 823673 w 1057469"/>
                  <a:gd name="connsiteY11" fmla="*/ 723323 h 1484260"/>
                  <a:gd name="connsiteX12" fmla="*/ 749205 w 1057469"/>
                  <a:gd name="connsiteY12" fmla="*/ 812800 h 1484260"/>
                  <a:gd name="connsiteX13" fmla="*/ 632019 w 1057469"/>
                  <a:gd name="connsiteY13" fmla="*/ 800100 h 1484260"/>
                  <a:gd name="connsiteX14" fmla="*/ 592764 w 1057469"/>
                  <a:gd name="connsiteY14" fmla="*/ 843396 h 1484260"/>
                  <a:gd name="connsiteX15" fmla="*/ 583528 w 1057469"/>
                  <a:gd name="connsiteY15" fmla="*/ 908050 h 1484260"/>
                  <a:gd name="connsiteX16" fmla="*/ 472114 w 1057469"/>
                  <a:gd name="connsiteY16" fmla="*/ 1010228 h 1484260"/>
                  <a:gd name="connsiteX17" fmla="*/ 315096 w 1057469"/>
                  <a:gd name="connsiteY17" fmla="*/ 1136073 h 1484260"/>
                  <a:gd name="connsiteX18" fmla="*/ 213496 w 1057469"/>
                  <a:gd name="connsiteY18" fmla="*/ 1193800 h 1484260"/>
                  <a:gd name="connsiteX19" fmla="*/ 214073 w 1057469"/>
                  <a:gd name="connsiteY19" fmla="*/ 1295978 h 1484260"/>
                  <a:gd name="connsiteX20" fmla="*/ 140182 w 1057469"/>
                  <a:gd name="connsiteY20" fmla="*/ 1342159 h 1484260"/>
                  <a:gd name="connsiteX21" fmla="*/ 112473 w 1057469"/>
                  <a:gd name="connsiteY21" fmla="*/ 1369869 h 1484260"/>
                  <a:gd name="connsiteX22" fmla="*/ 57055 w 1057469"/>
                  <a:gd name="connsiteY22" fmla="*/ 1443759 h 1484260"/>
                  <a:gd name="connsiteX23" fmla="*/ 1637 w 1057469"/>
                  <a:gd name="connsiteY23" fmla="*/ 1480705 h 1484260"/>
                  <a:gd name="connsiteX24" fmla="*/ 20110 w 1057469"/>
                  <a:gd name="connsiteY24" fmla="*/ 1480705 h 1484260"/>
                  <a:gd name="connsiteX0" fmla="*/ 1057469 w 1057469"/>
                  <a:gd name="connsiteY0" fmla="*/ 0 h 1484260"/>
                  <a:gd name="connsiteX1" fmla="*/ 1017637 w 1057469"/>
                  <a:gd name="connsiteY1" fmla="*/ 39832 h 1484260"/>
                  <a:gd name="connsiteX2" fmla="*/ 989928 w 1057469"/>
                  <a:gd name="connsiteY2" fmla="*/ 104487 h 1484260"/>
                  <a:gd name="connsiteX3" fmla="*/ 918923 w 1057469"/>
                  <a:gd name="connsiteY3" fmla="*/ 123537 h 1484260"/>
                  <a:gd name="connsiteX4" fmla="*/ 906801 w 1057469"/>
                  <a:gd name="connsiteY4" fmla="*/ 233796 h 1484260"/>
                  <a:gd name="connsiteX5" fmla="*/ 842146 w 1057469"/>
                  <a:gd name="connsiteY5" fmla="*/ 279978 h 1484260"/>
                  <a:gd name="connsiteX6" fmla="*/ 851382 w 1057469"/>
                  <a:gd name="connsiteY6" fmla="*/ 400050 h 1484260"/>
                  <a:gd name="connsiteX7" fmla="*/ 814437 w 1057469"/>
                  <a:gd name="connsiteY7" fmla="*/ 446232 h 1484260"/>
                  <a:gd name="connsiteX8" fmla="*/ 749782 w 1057469"/>
                  <a:gd name="connsiteY8" fmla="*/ 510887 h 1484260"/>
                  <a:gd name="connsiteX9" fmla="*/ 759019 w 1057469"/>
                  <a:gd name="connsiteY9" fmla="*/ 584778 h 1484260"/>
                  <a:gd name="connsiteX10" fmla="*/ 823673 w 1057469"/>
                  <a:gd name="connsiteY10" fmla="*/ 640196 h 1484260"/>
                  <a:gd name="connsiteX11" fmla="*/ 823673 w 1057469"/>
                  <a:gd name="connsiteY11" fmla="*/ 723323 h 1484260"/>
                  <a:gd name="connsiteX12" fmla="*/ 749205 w 1057469"/>
                  <a:gd name="connsiteY12" fmla="*/ 812800 h 1484260"/>
                  <a:gd name="connsiteX13" fmla="*/ 632019 w 1057469"/>
                  <a:gd name="connsiteY13" fmla="*/ 800100 h 1484260"/>
                  <a:gd name="connsiteX14" fmla="*/ 592764 w 1057469"/>
                  <a:gd name="connsiteY14" fmla="*/ 843396 h 1484260"/>
                  <a:gd name="connsiteX15" fmla="*/ 583528 w 1057469"/>
                  <a:gd name="connsiteY15" fmla="*/ 908050 h 1484260"/>
                  <a:gd name="connsiteX16" fmla="*/ 472114 w 1057469"/>
                  <a:gd name="connsiteY16" fmla="*/ 1010228 h 1484260"/>
                  <a:gd name="connsiteX17" fmla="*/ 315096 w 1057469"/>
                  <a:gd name="connsiteY17" fmla="*/ 1136073 h 1484260"/>
                  <a:gd name="connsiteX18" fmla="*/ 220639 w 1057469"/>
                  <a:gd name="connsiteY18" fmla="*/ 1208088 h 1484260"/>
                  <a:gd name="connsiteX19" fmla="*/ 214073 w 1057469"/>
                  <a:gd name="connsiteY19" fmla="*/ 1295978 h 1484260"/>
                  <a:gd name="connsiteX20" fmla="*/ 140182 w 1057469"/>
                  <a:gd name="connsiteY20" fmla="*/ 1342159 h 1484260"/>
                  <a:gd name="connsiteX21" fmla="*/ 112473 w 1057469"/>
                  <a:gd name="connsiteY21" fmla="*/ 1369869 h 1484260"/>
                  <a:gd name="connsiteX22" fmla="*/ 57055 w 1057469"/>
                  <a:gd name="connsiteY22" fmla="*/ 1443759 h 1484260"/>
                  <a:gd name="connsiteX23" fmla="*/ 1637 w 1057469"/>
                  <a:gd name="connsiteY23" fmla="*/ 1480705 h 1484260"/>
                  <a:gd name="connsiteX24" fmla="*/ 20110 w 1057469"/>
                  <a:gd name="connsiteY24" fmla="*/ 1480705 h 1484260"/>
                  <a:gd name="connsiteX0" fmla="*/ 1057469 w 1057469"/>
                  <a:gd name="connsiteY0" fmla="*/ 0 h 1484260"/>
                  <a:gd name="connsiteX1" fmla="*/ 1017637 w 1057469"/>
                  <a:gd name="connsiteY1" fmla="*/ 39832 h 1484260"/>
                  <a:gd name="connsiteX2" fmla="*/ 989928 w 1057469"/>
                  <a:gd name="connsiteY2" fmla="*/ 104487 h 1484260"/>
                  <a:gd name="connsiteX3" fmla="*/ 918923 w 1057469"/>
                  <a:gd name="connsiteY3" fmla="*/ 123537 h 1484260"/>
                  <a:gd name="connsiteX4" fmla="*/ 906801 w 1057469"/>
                  <a:gd name="connsiteY4" fmla="*/ 233796 h 1484260"/>
                  <a:gd name="connsiteX5" fmla="*/ 842146 w 1057469"/>
                  <a:gd name="connsiteY5" fmla="*/ 279978 h 1484260"/>
                  <a:gd name="connsiteX6" fmla="*/ 851382 w 1057469"/>
                  <a:gd name="connsiteY6" fmla="*/ 400050 h 1484260"/>
                  <a:gd name="connsiteX7" fmla="*/ 814437 w 1057469"/>
                  <a:gd name="connsiteY7" fmla="*/ 446232 h 1484260"/>
                  <a:gd name="connsiteX8" fmla="*/ 749782 w 1057469"/>
                  <a:gd name="connsiteY8" fmla="*/ 510887 h 1484260"/>
                  <a:gd name="connsiteX9" fmla="*/ 759019 w 1057469"/>
                  <a:gd name="connsiteY9" fmla="*/ 584778 h 1484260"/>
                  <a:gd name="connsiteX10" fmla="*/ 823673 w 1057469"/>
                  <a:gd name="connsiteY10" fmla="*/ 640196 h 1484260"/>
                  <a:gd name="connsiteX11" fmla="*/ 823673 w 1057469"/>
                  <a:gd name="connsiteY11" fmla="*/ 723323 h 1484260"/>
                  <a:gd name="connsiteX12" fmla="*/ 749205 w 1057469"/>
                  <a:gd name="connsiteY12" fmla="*/ 812800 h 1484260"/>
                  <a:gd name="connsiteX13" fmla="*/ 632019 w 1057469"/>
                  <a:gd name="connsiteY13" fmla="*/ 800100 h 1484260"/>
                  <a:gd name="connsiteX14" fmla="*/ 592764 w 1057469"/>
                  <a:gd name="connsiteY14" fmla="*/ 843396 h 1484260"/>
                  <a:gd name="connsiteX15" fmla="*/ 583528 w 1057469"/>
                  <a:gd name="connsiteY15" fmla="*/ 908050 h 1484260"/>
                  <a:gd name="connsiteX16" fmla="*/ 472114 w 1057469"/>
                  <a:gd name="connsiteY16" fmla="*/ 1010228 h 1484260"/>
                  <a:gd name="connsiteX17" fmla="*/ 315096 w 1057469"/>
                  <a:gd name="connsiteY17" fmla="*/ 1136073 h 1484260"/>
                  <a:gd name="connsiteX18" fmla="*/ 261193 w 1057469"/>
                  <a:gd name="connsiteY18" fmla="*/ 1164720 h 1484260"/>
                  <a:gd name="connsiteX19" fmla="*/ 220639 w 1057469"/>
                  <a:gd name="connsiteY19" fmla="*/ 1208088 h 1484260"/>
                  <a:gd name="connsiteX20" fmla="*/ 214073 w 1057469"/>
                  <a:gd name="connsiteY20" fmla="*/ 1295978 h 1484260"/>
                  <a:gd name="connsiteX21" fmla="*/ 140182 w 1057469"/>
                  <a:gd name="connsiteY21" fmla="*/ 1342159 h 1484260"/>
                  <a:gd name="connsiteX22" fmla="*/ 112473 w 1057469"/>
                  <a:gd name="connsiteY22" fmla="*/ 1369869 h 1484260"/>
                  <a:gd name="connsiteX23" fmla="*/ 57055 w 1057469"/>
                  <a:gd name="connsiteY23" fmla="*/ 1443759 h 1484260"/>
                  <a:gd name="connsiteX24" fmla="*/ 1637 w 1057469"/>
                  <a:gd name="connsiteY24" fmla="*/ 1480705 h 1484260"/>
                  <a:gd name="connsiteX25" fmla="*/ 20110 w 1057469"/>
                  <a:gd name="connsiteY25" fmla="*/ 1480705 h 1484260"/>
                  <a:gd name="connsiteX0" fmla="*/ 1057469 w 1057469"/>
                  <a:gd name="connsiteY0" fmla="*/ 0 h 1484260"/>
                  <a:gd name="connsiteX1" fmla="*/ 1017637 w 1057469"/>
                  <a:gd name="connsiteY1" fmla="*/ 39832 h 1484260"/>
                  <a:gd name="connsiteX2" fmla="*/ 989928 w 1057469"/>
                  <a:gd name="connsiteY2" fmla="*/ 104487 h 1484260"/>
                  <a:gd name="connsiteX3" fmla="*/ 918923 w 1057469"/>
                  <a:gd name="connsiteY3" fmla="*/ 123537 h 1484260"/>
                  <a:gd name="connsiteX4" fmla="*/ 906801 w 1057469"/>
                  <a:gd name="connsiteY4" fmla="*/ 233796 h 1484260"/>
                  <a:gd name="connsiteX5" fmla="*/ 842146 w 1057469"/>
                  <a:gd name="connsiteY5" fmla="*/ 279978 h 1484260"/>
                  <a:gd name="connsiteX6" fmla="*/ 851382 w 1057469"/>
                  <a:gd name="connsiteY6" fmla="*/ 400050 h 1484260"/>
                  <a:gd name="connsiteX7" fmla="*/ 814437 w 1057469"/>
                  <a:gd name="connsiteY7" fmla="*/ 446232 h 1484260"/>
                  <a:gd name="connsiteX8" fmla="*/ 749782 w 1057469"/>
                  <a:gd name="connsiteY8" fmla="*/ 510887 h 1484260"/>
                  <a:gd name="connsiteX9" fmla="*/ 759019 w 1057469"/>
                  <a:gd name="connsiteY9" fmla="*/ 584778 h 1484260"/>
                  <a:gd name="connsiteX10" fmla="*/ 823673 w 1057469"/>
                  <a:gd name="connsiteY10" fmla="*/ 640196 h 1484260"/>
                  <a:gd name="connsiteX11" fmla="*/ 823673 w 1057469"/>
                  <a:gd name="connsiteY11" fmla="*/ 723323 h 1484260"/>
                  <a:gd name="connsiteX12" fmla="*/ 749205 w 1057469"/>
                  <a:gd name="connsiteY12" fmla="*/ 812800 h 1484260"/>
                  <a:gd name="connsiteX13" fmla="*/ 632019 w 1057469"/>
                  <a:gd name="connsiteY13" fmla="*/ 800100 h 1484260"/>
                  <a:gd name="connsiteX14" fmla="*/ 592764 w 1057469"/>
                  <a:gd name="connsiteY14" fmla="*/ 843396 h 1484260"/>
                  <a:gd name="connsiteX15" fmla="*/ 571621 w 1057469"/>
                  <a:gd name="connsiteY15" fmla="*/ 900906 h 1484260"/>
                  <a:gd name="connsiteX16" fmla="*/ 472114 w 1057469"/>
                  <a:gd name="connsiteY16" fmla="*/ 1010228 h 1484260"/>
                  <a:gd name="connsiteX17" fmla="*/ 315096 w 1057469"/>
                  <a:gd name="connsiteY17" fmla="*/ 1136073 h 1484260"/>
                  <a:gd name="connsiteX18" fmla="*/ 261193 w 1057469"/>
                  <a:gd name="connsiteY18" fmla="*/ 1164720 h 1484260"/>
                  <a:gd name="connsiteX19" fmla="*/ 220639 w 1057469"/>
                  <a:gd name="connsiteY19" fmla="*/ 1208088 h 1484260"/>
                  <a:gd name="connsiteX20" fmla="*/ 214073 w 1057469"/>
                  <a:gd name="connsiteY20" fmla="*/ 1295978 h 1484260"/>
                  <a:gd name="connsiteX21" fmla="*/ 140182 w 1057469"/>
                  <a:gd name="connsiteY21" fmla="*/ 1342159 h 1484260"/>
                  <a:gd name="connsiteX22" fmla="*/ 112473 w 1057469"/>
                  <a:gd name="connsiteY22" fmla="*/ 1369869 h 1484260"/>
                  <a:gd name="connsiteX23" fmla="*/ 57055 w 1057469"/>
                  <a:gd name="connsiteY23" fmla="*/ 1443759 h 1484260"/>
                  <a:gd name="connsiteX24" fmla="*/ 1637 w 1057469"/>
                  <a:gd name="connsiteY24" fmla="*/ 1480705 h 1484260"/>
                  <a:gd name="connsiteX25" fmla="*/ 20110 w 1057469"/>
                  <a:gd name="connsiteY25" fmla="*/ 1480705 h 1484260"/>
                  <a:gd name="connsiteX0" fmla="*/ 1057469 w 1057469"/>
                  <a:gd name="connsiteY0" fmla="*/ 0 h 1484260"/>
                  <a:gd name="connsiteX1" fmla="*/ 1017637 w 1057469"/>
                  <a:gd name="connsiteY1" fmla="*/ 39832 h 1484260"/>
                  <a:gd name="connsiteX2" fmla="*/ 989928 w 1057469"/>
                  <a:gd name="connsiteY2" fmla="*/ 104487 h 1484260"/>
                  <a:gd name="connsiteX3" fmla="*/ 918923 w 1057469"/>
                  <a:gd name="connsiteY3" fmla="*/ 123537 h 1484260"/>
                  <a:gd name="connsiteX4" fmla="*/ 906801 w 1057469"/>
                  <a:gd name="connsiteY4" fmla="*/ 233796 h 1484260"/>
                  <a:gd name="connsiteX5" fmla="*/ 842146 w 1057469"/>
                  <a:gd name="connsiteY5" fmla="*/ 279978 h 1484260"/>
                  <a:gd name="connsiteX6" fmla="*/ 851382 w 1057469"/>
                  <a:gd name="connsiteY6" fmla="*/ 400050 h 1484260"/>
                  <a:gd name="connsiteX7" fmla="*/ 814437 w 1057469"/>
                  <a:gd name="connsiteY7" fmla="*/ 446232 h 1484260"/>
                  <a:gd name="connsiteX8" fmla="*/ 749782 w 1057469"/>
                  <a:gd name="connsiteY8" fmla="*/ 510887 h 1484260"/>
                  <a:gd name="connsiteX9" fmla="*/ 759019 w 1057469"/>
                  <a:gd name="connsiteY9" fmla="*/ 584778 h 1484260"/>
                  <a:gd name="connsiteX10" fmla="*/ 823673 w 1057469"/>
                  <a:gd name="connsiteY10" fmla="*/ 640196 h 1484260"/>
                  <a:gd name="connsiteX11" fmla="*/ 823673 w 1057469"/>
                  <a:gd name="connsiteY11" fmla="*/ 723323 h 1484260"/>
                  <a:gd name="connsiteX12" fmla="*/ 749205 w 1057469"/>
                  <a:gd name="connsiteY12" fmla="*/ 812800 h 1484260"/>
                  <a:gd name="connsiteX13" fmla="*/ 632019 w 1057469"/>
                  <a:gd name="connsiteY13" fmla="*/ 800100 h 1484260"/>
                  <a:gd name="connsiteX14" fmla="*/ 592764 w 1057469"/>
                  <a:gd name="connsiteY14" fmla="*/ 843396 h 1484260"/>
                  <a:gd name="connsiteX15" fmla="*/ 571621 w 1057469"/>
                  <a:gd name="connsiteY15" fmla="*/ 900906 h 1484260"/>
                  <a:gd name="connsiteX16" fmla="*/ 472114 w 1057469"/>
                  <a:gd name="connsiteY16" fmla="*/ 1010228 h 1484260"/>
                  <a:gd name="connsiteX17" fmla="*/ 396925 w 1057469"/>
                  <a:gd name="connsiteY17" fmla="*/ 1088520 h 1484260"/>
                  <a:gd name="connsiteX18" fmla="*/ 315096 w 1057469"/>
                  <a:gd name="connsiteY18" fmla="*/ 1136073 h 1484260"/>
                  <a:gd name="connsiteX19" fmla="*/ 261193 w 1057469"/>
                  <a:gd name="connsiteY19" fmla="*/ 1164720 h 1484260"/>
                  <a:gd name="connsiteX20" fmla="*/ 220639 w 1057469"/>
                  <a:gd name="connsiteY20" fmla="*/ 1208088 h 1484260"/>
                  <a:gd name="connsiteX21" fmla="*/ 214073 w 1057469"/>
                  <a:gd name="connsiteY21" fmla="*/ 1295978 h 1484260"/>
                  <a:gd name="connsiteX22" fmla="*/ 140182 w 1057469"/>
                  <a:gd name="connsiteY22" fmla="*/ 1342159 h 1484260"/>
                  <a:gd name="connsiteX23" fmla="*/ 112473 w 1057469"/>
                  <a:gd name="connsiteY23" fmla="*/ 1369869 h 1484260"/>
                  <a:gd name="connsiteX24" fmla="*/ 57055 w 1057469"/>
                  <a:gd name="connsiteY24" fmla="*/ 1443759 h 1484260"/>
                  <a:gd name="connsiteX25" fmla="*/ 1637 w 1057469"/>
                  <a:gd name="connsiteY25" fmla="*/ 1480705 h 1484260"/>
                  <a:gd name="connsiteX26" fmla="*/ 20110 w 1057469"/>
                  <a:gd name="connsiteY26" fmla="*/ 1480705 h 1484260"/>
                  <a:gd name="connsiteX0" fmla="*/ 1057469 w 1057469"/>
                  <a:gd name="connsiteY0" fmla="*/ 0 h 1484260"/>
                  <a:gd name="connsiteX1" fmla="*/ 1017637 w 1057469"/>
                  <a:gd name="connsiteY1" fmla="*/ 39832 h 1484260"/>
                  <a:gd name="connsiteX2" fmla="*/ 989928 w 1057469"/>
                  <a:gd name="connsiteY2" fmla="*/ 104487 h 1484260"/>
                  <a:gd name="connsiteX3" fmla="*/ 918923 w 1057469"/>
                  <a:gd name="connsiteY3" fmla="*/ 123537 h 1484260"/>
                  <a:gd name="connsiteX4" fmla="*/ 906801 w 1057469"/>
                  <a:gd name="connsiteY4" fmla="*/ 233796 h 1484260"/>
                  <a:gd name="connsiteX5" fmla="*/ 842146 w 1057469"/>
                  <a:gd name="connsiteY5" fmla="*/ 279978 h 1484260"/>
                  <a:gd name="connsiteX6" fmla="*/ 851382 w 1057469"/>
                  <a:gd name="connsiteY6" fmla="*/ 400050 h 1484260"/>
                  <a:gd name="connsiteX7" fmla="*/ 814437 w 1057469"/>
                  <a:gd name="connsiteY7" fmla="*/ 446232 h 1484260"/>
                  <a:gd name="connsiteX8" fmla="*/ 749782 w 1057469"/>
                  <a:gd name="connsiteY8" fmla="*/ 510887 h 1484260"/>
                  <a:gd name="connsiteX9" fmla="*/ 759019 w 1057469"/>
                  <a:gd name="connsiteY9" fmla="*/ 584778 h 1484260"/>
                  <a:gd name="connsiteX10" fmla="*/ 823673 w 1057469"/>
                  <a:gd name="connsiteY10" fmla="*/ 640196 h 1484260"/>
                  <a:gd name="connsiteX11" fmla="*/ 823673 w 1057469"/>
                  <a:gd name="connsiteY11" fmla="*/ 723323 h 1484260"/>
                  <a:gd name="connsiteX12" fmla="*/ 749205 w 1057469"/>
                  <a:gd name="connsiteY12" fmla="*/ 812800 h 1484260"/>
                  <a:gd name="connsiteX13" fmla="*/ 632019 w 1057469"/>
                  <a:gd name="connsiteY13" fmla="*/ 800100 h 1484260"/>
                  <a:gd name="connsiteX14" fmla="*/ 580858 w 1057469"/>
                  <a:gd name="connsiteY14" fmla="*/ 843396 h 1484260"/>
                  <a:gd name="connsiteX15" fmla="*/ 571621 w 1057469"/>
                  <a:gd name="connsiteY15" fmla="*/ 900906 h 1484260"/>
                  <a:gd name="connsiteX16" fmla="*/ 472114 w 1057469"/>
                  <a:gd name="connsiteY16" fmla="*/ 1010228 h 1484260"/>
                  <a:gd name="connsiteX17" fmla="*/ 396925 w 1057469"/>
                  <a:gd name="connsiteY17" fmla="*/ 1088520 h 1484260"/>
                  <a:gd name="connsiteX18" fmla="*/ 315096 w 1057469"/>
                  <a:gd name="connsiteY18" fmla="*/ 1136073 h 1484260"/>
                  <a:gd name="connsiteX19" fmla="*/ 261193 w 1057469"/>
                  <a:gd name="connsiteY19" fmla="*/ 1164720 h 1484260"/>
                  <a:gd name="connsiteX20" fmla="*/ 220639 w 1057469"/>
                  <a:gd name="connsiteY20" fmla="*/ 1208088 h 1484260"/>
                  <a:gd name="connsiteX21" fmla="*/ 214073 w 1057469"/>
                  <a:gd name="connsiteY21" fmla="*/ 1295978 h 1484260"/>
                  <a:gd name="connsiteX22" fmla="*/ 140182 w 1057469"/>
                  <a:gd name="connsiteY22" fmla="*/ 1342159 h 1484260"/>
                  <a:gd name="connsiteX23" fmla="*/ 112473 w 1057469"/>
                  <a:gd name="connsiteY23" fmla="*/ 1369869 h 1484260"/>
                  <a:gd name="connsiteX24" fmla="*/ 57055 w 1057469"/>
                  <a:gd name="connsiteY24" fmla="*/ 1443759 h 1484260"/>
                  <a:gd name="connsiteX25" fmla="*/ 1637 w 1057469"/>
                  <a:gd name="connsiteY25" fmla="*/ 1480705 h 1484260"/>
                  <a:gd name="connsiteX26" fmla="*/ 20110 w 1057469"/>
                  <a:gd name="connsiteY26" fmla="*/ 1480705 h 1484260"/>
                  <a:gd name="connsiteX0" fmla="*/ 1057469 w 1057469"/>
                  <a:gd name="connsiteY0" fmla="*/ 0 h 1484260"/>
                  <a:gd name="connsiteX1" fmla="*/ 1017637 w 1057469"/>
                  <a:gd name="connsiteY1" fmla="*/ 39832 h 1484260"/>
                  <a:gd name="connsiteX2" fmla="*/ 989928 w 1057469"/>
                  <a:gd name="connsiteY2" fmla="*/ 104487 h 1484260"/>
                  <a:gd name="connsiteX3" fmla="*/ 918923 w 1057469"/>
                  <a:gd name="connsiteY3" fmla="*/ 123537 h 1484260"/>
                  <a:gd name="connsiteX4" fmla="*/ 906801 w 1057469"/>
                  <a:gd name="connsiteY4" fmla="*/ 233796 h 1484260"/>
                  <a:gd name="connsiteX5" fmla="*/ 842146 w 1057469"/>
                  <a:gd name="connsiteY5" fmla="*/ 279978 h 1484260"/>
                  <a:gd name="connsiteX6" fmla="*/ 851382 w 1057469"/>
                  <a:gd name="connsiteY6" fmla="*/ 400050 h 1484260"/>
                  <a:gd name="connsiteX7" fmla="*/ 814437 w 1057469"/>
                  <a:gd name="connsiteY7" fmla="*/ 446232 h 1484260"/>
                  <a:gd name="connsiteX8" fmla="*/ 749782 w 1057469"/>
                  <a:gd name="connsiteY8" fmla="*/ 510887 h 1484260"/>
                  <a:gd name="connsiteX9" fmla="*/ 759019 w 1057469"/>
                  <a:gd name="connsiteY9" fmla="*/ 584778 h 1484260"/>
                  <a:gd name="connsiteX10" fmla="*/ 823673 w 1057469"/>
                  <a:gd name="connsiteY10" fmla="*/ 640196 h 1484260"/>
                  <a:gd name="connsiteX11" fmla="*/ 823673 w 1057469"/>
                  <a:gd name="connsiteY11" fmla="*/ 723323 h 1484260"/>
                  <a:gd name="connsiteX12" fmla="*/ 749205 w 1057469"/>
                  <a:gd name="connsiteY12" fmla="*/ 812800 h 1484260"/>
                  <a:gd name="connsiteX13" fmla="*/ 632019 w 1057469"/>
                  <a:gd name="connsiteY13" fmla="*/ 807243 h 1484260"/>
                  <a:gd name="connsiteX14" fmla="*/ 580858 w 1057469"/>
                  <a:gd name="connsiteY14" fmla="*/ 843396 h 1484260"/>
                  <a:gd name="connsiteX15" fmla="*/ 571621 w 1057469"/>
                  <a:gd name="connsiteY15" fmla="*/ 900906 h 1484260"/>
                  <a:gd name="connsiteX16" fmla="*/ 472114 w 1057469"/>
                  <a:gd name="connsiteY16" fmla="*/ 1010228 h 1484260"/>
                  <a:gd name="connsiteX17" fmla="*/ 396925 w 1057469"/>
                  <a:gd name="connsiteY17" fmla="*/ 1088520 h 1484260"/>
                  <a:gd name="connsiteX18" fmla="*/ 315096 w 1057469"/>
                  <a:gd name="connsiteY18" fmla="*/ 1136073 h 1484260"/>
                  <a:gd name="connsiteX19" fmla="*/ 261193 w 1057469"/>
                  <a:gd name="connsiteY19" fmla="*/ 1164720 h 1484260"/>
                  <a:gd name="connsiteX20" fmla="*/ 220639 w 1057469"/>
                  <a:gd name="connsiteY20" fmla="*/ 1208088 h 1484260"/>
                  <a:gd name="connsiteX21" fmla="*/ 214073 w 1057469"/>
                  <a:gd name="connsiteY21" fmla="*/ 1295978 h 1484260"/>
                  <a:gd name="connsiteX22" fmla="*/ 140182 w 1057469"/>
                  <a:gd name="connsiteY22" fmla="*/ 1342159 h 1484260"/>
                  <a:gd name="connsiteX23" fmla="*/ 112473 w 1057469"/>
                  <a:gd name="connsiteY23" fmla="*/ 1369869 h 1484260"/>
                  <a:gd name="connsiteX24" fmla="*/ 57055 w 1057469"/>
                  <a:gd name="connsiteY24" fmla="*/ 1443759 h 1484260"/>
                  <a:gd name="connsiteX25" fmla="*/ 1637 w 1057469"/>
                  <a:gd name="connsiteY25" fmla="*/ 1480705 h 1484260"/>
                  <a:gd name="connsiteX26" fmla="*/ 20110 w 1057469"/>
                  <a:gd name="connsiteY26" fmla="*/ 1480705 h 1484260"/>
                  <a:gd name="connsiteX0" fmla="*/ 1057469 w 1057469"/>
                  <a:gd name="connsiteY0" fmla="*/ 0 h 1484260"/>
                  <a:gd name="connsiteX1" fmla="*/ 1017637 w 1057469"/>
                  <a:gd name="connsiteY1" fmla="*/ 39832 h 1484260"/>
                  <a:gd name="connsiteX2" fmla="*/ 989928 w 1057469"/>
                  <a:gd name="connsiteY2" fmla="*/ 104487 h 1484260"/>
                  <a:gd name="connsiteX3" fmla="*/ 918923 w 1057469"/>
                  <a:gd name="connsiteY3" fmla="*/ 123537 h 1484260"/>
                  <a:gd name="connsiteX4" fmla="*/ 906801 w 1057469"/>
                  <a:gd name="connsiteY4" fmla="*/ 233796 h 1484260"/>
                  <a:gd name="connsiteX5" fmla="*/ 842146 w 1057469"/>
                  <a:gd name="connsiteY5" fmla="*/ 279978 h 1484260"/>
                  <a:gd name="connsiteX6" fmla="*/ 851382 w 1057469"/>
                  <a:gd name="connsiteY6" fmla="*/ 400050 h 1484260"/>
                  <a:gd name="connsiteX7" fmla="*/ 814437 w 1057469"/>
                  <a:gd name="connsiteY7" fmla="*/ 446232 h 1484260"/>
                  <a:gd name="connsiteX8" fmla="*/ 749782 w 1057469"/>
                  <a:gd name="connsiteY8" fmla="*/ 510887 h 1484260"/>
                  <a:gd name="connsiteX9" fmla="*/ 759019 w 1057469"/>
                  <a:gd name="connsiteY9" fmla="*/ 584778 h 1484260"/>
                  <a:gd name="connsiteX10" fmla="*/ 823673 w 1057469"/>
                  <a:gd name="connsiteY10" fmla="*/ 640196 h 1484260"/>
                  <a:gd name="connsiteX11" fmla="*/ 823673 w 1057469"/>
                  <a:gd name="connsiteY11" fmla="*/ 723323 h 1484260"/>
                  <a:gd name="connsiteX12" fmla="*/ 742061 w 1057469"/>
                  <a:gd name="connsiteY12" fmla="*/ 800894 h 1484260"/>
                  <a:gd name="connsiteX13" fmla="*/ 632019 w 1057469"/>
                  <a:gd name="connsiteY13" fmla="*/ 807243 h 1484260"/>
                  <a:gd name="connsiteX14" fmla="*/ 580858 w 1057469"/>
                  <a:gd name="connsiteY14" fmla="*/ 843396 h 1484260"/>
                  <a:gd name="connsiteX15" fmla="*/ 571621 w 1057469"/>
                  <a:gd name="connsiteY15" fmla="*/ 900906 h 1484260"/>
                  <a:gd name="connsiteX16" fmla="*/ 472114 w 1057469"/>
                  <a:gd name="connsiteY16" fmla="*/ 1010228 h 1484260"/>
                  <a:gd name="connsiteX17" fmla="*/ 396925 w 1057469"/>
                  <a:gd name="connsiteY17" fmla="*/ 1088520 h 1484260"/>
                  <a:gd name="connsiteX18" fmla="*/ 315096 w 1057469"/>
                  <a:gd name="connsiteY18" fmla="*/ 1136073 h 1484260"/>
                  <a:gd name="connsiteX19" fmla="*/ 261193 w 1057469"/>
                  <a:gd name="connsiteY19" fmla="*/ 1164720 h 1484260"/>
                  <a:gd name="connsiteX20" fmla="*/ 220639 w 1057469"/>
                  <a:gd name="connsiteY20" fmla="*/ 1208088 h 1484260"/>
                  <a:gd name="connsiteX21" fmla="*/ 214073 w 1057469"/>
                  <a:gd name="connsiteY21" fmla="*/ 1295978 h 1484260"/>
                  <a:gd name="connsiteX22" fmla="*/ 140182 w 1057469"/>
                  <a:gd name="connsiteY22" fmla="*/ 1342159 h 1484260"/>
                  <a:gd name="connsiteX23" fmla="*/ 112473 w 1057469"/>
                  <a:gd name="connsiteY23" fmla="*/ 1369869 h 1484260"/>
                  <a:gd name="connsiteX24" fmla="*/ 57055 w 1057469"/>
                  <a:gd name="connsiteY24" fmla="*/ 1443759 h 1484260"/>
                  <a:gd name="connsiteX25" fmla="*/ 1637 w 1057469"/>
                  <a:gd name="connsiteY25" fmla="*/ 1480705 h 1484260"/>
                  <a:gd name="connsiteX26" fmla="*/ 20110 w 1057469"/>
                  <a:gd name="connsiteY26" fmla="*/ 1480705 h 1484260"/>
                  <a:gd name="connsiteX0" fmla="*/ 1057469 w 1057469"/>
                  <a:gd name="connsiteY0" fmla="*/ 0 h 1484260"/>
                  <a:gd name="connsiteX1" fmla="*/ 1017637 w 1057469"/>
                  <a:gd name="connsiteY1" fmla="*/ 39832 h 1484260"/>
                  <a:gd name="connsiteX2" fmla="*/ 989928 w 1057469"/>
                  <a:gd name="connsiteY2" fmla="*/ 104487 h 1484260"/>
                  <a:gd name="connsiteX3" fmla="*/ 918923 w 1057469"/>
                  <a:gd name="connsiteY3" fmla="*/ 123537 h 1484260"/>
                  <a:gd name="connsiteX4" fmla="*/ 906801 w 1057469"/>
                  <a:gd name="connsiteY4" fmla="*/ 233796 h 1484260"/>
                  <a:gd name="connsiteX5" fmla="*/ 842146 w 1057469"/>
                  <a:gd name="connsiteY5" fmla="*/ 279978 h 1484260"/>
                  <a:gd name="connsiteX6" fmla="*/ 851382 w 1057469"/>
                  <a:gd name="connsiteY6" fmla="*/ 400050 h 1484260"/>
                  <a:gd name="connsiteX7" fmla="*/ 814437 w 1057469"/>
                  <a:gd name="connsiteY7" fmla="*/ 446232 h 1484260"/>
                  <a:gd name="connsiteX8" fmla="*/ 749782 w 1057469"/>
                  <a:gd name="connsiteY8" fmla="*/ 510887 h 1484260"/>
                  <a:gd name="connsiteX9" fmla="*/ 759019 w 1057469"/>
                  <a:gd name="connsiteY9" fmla="*/ 584778 h 1484260"/>
                  <a:gd name="connsiteX10" fmla="*/ 823673 w 1057469"/>
                  <a:gd name="connsiteY10" fmla="*/ 640196 h 1484260"/>
                  <a:gd name="connsiteX11" fmla="*/ 823673 w 1057469"/>
                  <a:gd name="connsiteY11" fmla="*/ 723323 h 1484260"/>
                  <a:gd name="connsiteX12" fmla="*/ 742061 w 1057469"/>
                  <a:gd name="connsiteY12" fmla="*/ 800894 h 1484260"/>
                  <a:gd name="connsiteX13" fmla="*/ 632019 w 1057469"/>
                  <a:gd name="connsiteY13" fmla="*/ 807243 h 1484260"/>
                  <a:gd name="connsiteX14" fmla="*/ 580858 w 1057469"/>
                  <a:gd name="connsiteY14" fmla="*/ 843396 h 1484260"/>
                  <a:gd name="connsiteX15" fmla="*/ 571621 w 1057469"/>
                  <a:gd name="connsiteY15" fmla="*/ 900906 h 1484260"/>
                  <a:gd name="connsiteX16" fmla="*/ 472114 w 1057469"/>
                  <a:gd name="connsiteY16" fmla="*/ 1010228 h 1484260"/>
                  <a:gd name="connsiteX17" fmla="*/ 396925 w 1057469"/>
                  <a:gd name="connsiteY17" fmla="*/ 1088520 h 1484260"/>
                  <a:gd name="connsiteX18" fmla="*/ 315096 w 1057469"/>
                  <a:gd name="connsiteY18" fmla="*/ 1136073 h 1484260"/>
                  <a:gd name="connsiteX19" fmla="*/ 261193 w 1057469"/>
                  <a:gd name="connsiteY19" fmla="*/ 1164720 h 1484260"/>
                  <a:gd name="connsiteX20" fmla="*/ 220639 w 1057469"/>
                  <a:gd name="connsiteY20" fmla="*/ 1208088 h 1484260"/>
                  <a:gd name="connsiteX21" fmla="*/ 214073 w 1057469"/>
                  <a:gd name="connsiteY21" fmla="*/ 1295978 h 1484260"/>
                  <a:gd name="connsiteX22" fmla="*/ 140182 w 1057469"/>
                  <a:gd name="connsiteY22" fmla="*/ 1342159 h 1484260"/>
                  <a:gd name="connsiteX23" fmla="*/ 112473 w 1057469"/>
                  <a:gd name="connsiteY23" fmla="*/ 1369869 h 1484260"/>
                  <a:gd name="connsiteX24" fmla="*/ 57055 w 1057469"/>
                  <a:gd name="connsiteY24" fmla="*/ 1443759 h 1484260"/>
                  <a:gd name="connsiteX25" fmla="*/ 1637 w 1057469"/>
                  <a:gd name="connsiteY25" fmla="*/ 1480705 h 1484260"/>
                  <a:gd name="connsiteX26" fmla="*/ 20110 w 1057469"/>
                  <a:gd name="connsiteY26" fmla="*/ 1480705 h 1484260"/>
                  <a:gd name="connsiteX0" fmla="*/ 1057469 w 1057469"/>
                  <a:gd name="connsiteY0" fmla="*/ 0 h 1484260"/>
                  <a:gd name="connsiteX1" fmla="*/ 1017637 w 1057469"/>
                  <a:gd name="connsiteY1" fmla="*/ 39832 h 1484260"/>
                  <a:gd name="connsiteX2" fmla="*/ 989928 w 1057469"/>
                  <a:gd name="connsiteY2" fmla="*/ 104487 h 1484260"/>
                  <a:gd name="connsiteX3" fmla="*/ 918923 w 1057469"/>
                  <a:gd name="connsiteY3" fmla="*/ 123537 h 1484260"/>
                  <a:gd name="connsiteX4" fmla="*/ 906801 w 1057469"/>
                  <a:gd name="connsiteY4" fmla="*/ 233796 h 1484260"/>
                  <a:gd name="connsiteX5" fmla="*/ 842146 w 1057469"/>
                  <a:gd name="connsiteY5" fmla="*/ 279978 h 1484260"/>
                  <a:gd name="connsiteX6" fmla="*/ 851382 w 1057469"/>
                  <a:gd name="connsiteY6" fmla="*/ 400050 h 1484260"/>
                  <a:gd name="connsiteX7" fmla="*/ 814437 w 1057469"/>
                  <a:gd name="connsiteY7" fmla="*/ 446232 h 1484260"/>
                  <a:gd name="connsiteX8" fmla="*/ 749782 w 1057469"/>
                  <a:gd name="connsiteY8" fmla="*/ 510887 h 1484260"/>
                  <a:gd name="connsiteX9" fmla="*/ 759019 w 1057469"/>
                  <a:gd name="connsiteY9" fmla="*/ 584778 h 1484260"/>
                  <a:gd name="connsiteX10" fmla="*/ 823673 w 1057469"/>
                  <a:gd name="connsiteY10" fmla="*/ 640196 h 1484260"/>
                  <a:gd name="connsiteX11" fmla="*/ 823673 w 1057469"/>
                  <a:gd name="connsiteY11" fmla="*/ 723323 h 1484260"/>
                  <a:gd name="connsiteX12" fmla="*/ 742061 w 1057469"/>
                  <a:gd name="connsiteY12" fmla="*/ 800894 h 1484260"/>
                  <a:gd name="connsiteX13" fmla="*/ 632019 w 1057469"/>
                  <a:gd name="connsiteY13" fmla="*/ 807243 h 1484260"/>
                  <a:gd name="connsiteX14" fmla="*/ 580858 w 1057469"/>
                  <a:gd name="connsiteY14" fmla="*/ 843396 h 1484260"/>
                  <a:gd name="connsiteX15" fmla="*/ 571621 w 1057469"/>
                  <a:gd name="connsiteY15" fmla="*/ 900906 h 1484260"/>
                  <a:gd name="connsiteX16" fmla="*/ 472114 w 1057469"/>
                  <a:gd name="connsiteY16" fmla="*/ 1010228 h 1484260"/>
                  <a:gd name="connsiteX17" fmla="*/ 396925 w 1057469"/>
                  <a:gd name="connsiteY17" fmla="*/ 1088520 h 1484260"/>
                  <a:gd name="connsiteX18" fmla="*/ 315096 w 1057469"/>
                  <a:gd name="connsiteY18" fmla="*/ 1136073 h 1484260"/>
                  <a:gd name="connsiteX19" fmla="*/ 261193 w 1057469"/>
                  <a:gd name="connsiteY19" fmla="*/ 1164720 h 1484260"/>
                  <a:gd name="connsiteX20" fmla="*/ 220639 w 1057469"/>
                  <a:gd name="connsiteY20" fmla="*/ 1208088 h 1484260"/>
                  <a:gd name="connsiteX21" fmla="*/ 214073 w 1057469"/>
                  <a:gd name="connsiteY21" fmla="*/ 1295978 h 1484260"/>
                  <a:gd name="connsiteX22" fmla="*/ 140182 w 1057469"/>
                  <a:gd name="connsiteY22" fmla="*/ 1342159 h 1484260"/>
                  <a:gd name="connsiteX23" fmla="*/ 112473 w 1057469"/>
                  <a:gd name="connsiteY23" fmla="*/ 1369869 h 1484260"/>
                  <a:gd name="connsiteX24" fmla="*/ 57055 w 1057469"/>
                  <a:gd name="connsiteY24" fmla="*/ 1443759 h 1484260"/>
                  <a:gd name="connsiteX25" fmla="*/ 1637 w 1057469"/>
                  <a:gd name="connsiteY25" fmla="*/ 1480705 h 1484260"/>
                  <a:gd name="connsiteX26" fmla="*/ 20110 w 1057469"/>
                  <a:gd name="connsiteY26" fmla="*/ 1480705 h 1484260"/>
                  <a:gd name="connsiteX0" fmla="*/ 1057469 w 1057469"/>
                  <a:gd name="connsiteY0" fmla="*/ 0 h 1484260"/>
                  <a:gd name="connsiteX1" fmla="*/ 1017637 w 1057469"/>
                  <a:gd name="connsiteY1" fmla="*/ 39832 h 1484260"/>
                  <a:gd name="connsiteX2" fmla="*/ 989928 w 1057469"/>
                  <a:gd name="connsiteY2" fmla="*/ 104487 h 1484260"/>
                  <a:gd name="connsiteX3" fmla="*/ 918923 w 1057469"/>
                  <a:gd name="connsiteY3" fmla="*/ 123537 h 1484260"/>
                  <a:gd name="connsiteX4" fmla="*/ 906801 w 1057469"/>
                  <a:gd name="connsiteY4" fmla="*/ 233796 h 1484260"/>
                  <a:gd name="connsiteX5" fmla="*/ 842146 w 1057469"/>
                  <a:gd name="connsiteY5" fmla="*/ 279978 h 1484260"/>
                  <a:gd name="connsiteX6" fmla="*/ 851382 w 1057469"/>
                  <a:gd name="connsiteY6" fmla="*/ 400050 h 1484260"/>
                  <a:gd name="connsiteX7" fmla="*/ 814437 w 1057469"/>
                  <a:gd name="connsiteY7" fmla="*/ 446232 h 1484260"/>
                  <a:gd name="connsiteX8" fmla="*/ 737876 w 1057469"/>
                  <a:gd name="connsiteY8" fmla="*/ 510887 h 1484260"/>
                  <a:gd name="connsiteX9" fmla="*/ 759019 w 1057469"/>
                  <a:gd name="connsiteY9" fmla="*/ 584778 h 1484260"/>
                  <a:gd name="connsiteX10" fmla="*/ 823673 w 1057469"/>
                  <a:gd name="connsiteY10" fmla="*/ 640196 h 1484260"/>
                  <a:gd name="connsiteX11" fmla="*/ 823673 w 1057469"/>
                  <a:gd name="connsiteY11" fmla="*/ 723323 h 1484260"/>
                  <a:gd name="connsiteX12" fmla="*/ 742061 w 1057469"/>
                  <a:gd name="connsiteY12" fmla="*/ 800894 h 1484260"/>
                  <a:gd name="connsiteX13" fmla="*/ 632019 w 1057469"/>
                  <a:gd name="connsiteY13" fmla="*/ 807243 h 1484260"/>
                  <a:gd name="connsiteX14" fmla="*/ 580858 w 1057469"/>
                  <a:gd name="connsiteY14" fmla="*/ 843396 h 1484260"/>
                  <a:gd name="connsiteX15" fmla="*/ 571621 w 1057469"/>
                  <a:gd name="connsiteY15" fmla="*/ 900906 h 1484260"/>
                  <a:gd name="connsiteX16" fmla="*/ 472114 w 1057469"/>
                  <a:gd name="connsiteY16" fmla="*/ 1010228 h 1484260"/>
                  <a:gd name="connsiteX17" fmla="*/ 396925 w 1057469"/>
                  <a:gd name="connsiteY17" fmla="*/ 1088520 h 1484260"/>
                  <a:gd name="connsiteX18" fmla="*/ 315096 w 1057469"/>
                  <a:gd name="connsiteY18" fmla="*/ 1136073 h 1484260"/>
                  <a:gd name="connsiteX19" fmla="*/ 261193 w 1057469"/>
                  <a:gd name="connsiteY19" fmla="*/ 1164720 h 1484260"/>
                  <a:gd name="connsiteX20" fmla="*/ 220639 w 1057469"/>
                  <a:gd name="connsiteY20" fmla="*/ 1208088 h 1484260"/>
                  <a:gd name="connsiteX21" fmla="*/ 214073 w 1057469"/>
                  <a:gd name="connsiteY21" fmla="*/ 1295978 h 1484260"/>
                  <a:gd name="connsiteX22" fmla="*/ 140182 w 1057469"/>
                  <a:gd name="connsiteY22" fmla="*/ 1342159 h 1484260"/>
                  <a:gd name="connsiteX23" fmla="*/ 112473 w 1057469"/>
                  <a:gd name="connsiteY23" fmla="*/ 1369869 h 1484260"/>
                  <a:gd name="connsiteX24" fmla="*/ 57055 w 1057469"/>
                  <a:gd name="connsiteY24" fmla="*/ 1443759 h 1484260"/>
                  <a:gd name="connsiteX25" fmla="*/ 1637 w 1057469"/>
                  <a:gd name="connsiteY25" fmla="*/ 1480705 h 1484260"/>
                  <a:gd name="connsiteX26" fmla="*/ 20110 w 1057469"/>
                  <a:gd name="connsiteY26" fmla="*/ 1480705 h 1484260"/>
                  <a:gd name="connsiteX0" fmla="*/ 1057469 w 1057469"/>
                  <a:gd name="connsiteY0" fmla="*/ 0 h 1484260"/>
                  <a:gd name="connsiteX1" fmla="*/ 1017637 w 1057469"/>
                  <a:gd name="connsiteY1" fmla="*/ 39832 h 1484260"/>
                  <a:gd name="connsiteX2" fmla="*/ 989928 w 1057469"/>
                  <a:gd name="connsiteY2" fmla="*/ 104487 h 1484260"/>
                  <a:gd name="connsiteX3" fmla="*/ 918923 w 1057469"/>
                  <a:gd name="connsiteY3" fmla="*/ 123537 h 1484260"/>
                  <a:gd name="connsiteX4" fmla="*/ 906801 w 1057469"/>
                  <a:gd name="connsiteY4" fmla="*/ 233796 h 1484260"/>
                  <a:gd name="connsiteX5" fmla="*/ 842146 w 1057469"/>
                  <a:gd name="connsiteY5" fmla="*/ 279978 h 1484260"/>
                  <a:gd name="connsiteX6" fmla="*/ 851382 w 1057469"/>
                  <a:gd name="connsiteY6" fmla="*/ 400050 h 1484260"/>
                  <a:gd name="connsiteX7" fmla="*/ 804912 w 1057469"/>
                  <a:gd name="connsiteY7" fmla="*/ 460520 h 1484260"/>
                  <a:gd name="connsiteX8" fmla="*/ 737876 w 1057469"/>
                  <a:gd name="connsiteY8" fmla="*/ 510887 h 1484260"/>
                  <a:gd name="connsiteX9" fmla="*/ 759019 w 1057469"/>
                  <a:gd name="connsiteY9" fmla="*/ 584778 h 1484260"/>
                  <a:gd name="connsiteX10" fmla="*/ 823673 w 1057469"/>
                  <a:gd name="connsiteY10" fmla="*/ 640196 h 1484260"/>
                  <a:gd name="connsiteX11" fmla="*/ 823673 w 1057469"/>
                  <a:gd name="connsiteY11" fmla="*/ 723323 h 1484260"/>
                  <a:gd name="connsiteX12" fmla="*/ 742061 w 1057469"/>
                  <a:gd name="connsiteY12" fmla="*/ 800894 h 1484260"/>
                  <a:gd name="connsiteX13" fmla="*/ 632019 w 1057469"/>
                  <a:gd name="connsiteY13" fmla="*/ 807243 h 1484260"/>
                  <a:gd name="connsiteX14" fmla="*/ 580858 w 1057469"/>
                  <a:gd name="connsiteY14" fmla="*/ 843396 h 1484260"/>
                  <a:gd name="connsiteX15" fmla="*/ 571621 w 1057469"/>
                  <a:gd name="connsiteY15" fmla="*/ 900906 h 1484260"/>
                  <a:gd name="connsiteX16" fmla="*/ 472114 w 1057469"/>
                  <a:gd name="connsiteY16" fmla="*/ 1010228 h 1484260"/>
                  <a:gd name="connsiteX17" fmla="*/ 396925 w 1057469"/>
                  <a:gd name="connsiteY17" fmla="*/ 1088520 h 1484260"/>
                  <a:gd name="connsiteX18" fmla="*/ 315096 w 1057469"/>
                  <a:gd name="connsiteY18" fmla="*/ 1136073 h 1484260"/>
                  <a:gd name="connsiteX19" fmla="*/ 261193 w 1057469"/>
                  <a:gd name="connsiteY19" fmla="*/ 1164720 h 1484260"/>
                  <a:gd name="connsiteX20" fmla="*/ 220639 w 1057469"/>
                  <a:gd name="connsiteY20" fmla="*/ 1208088 h 1484260"/>
                  <a:gd name="connsiteX21" fmla="*/ 214073 w 1057469"/>
                  <a:gd name="connsiteY21" fmla="*/ 1295978 h 1484260"/>
                  <a:gd name="connsiteX22" fmla="*/ 140182 w 1057469"/>
                  <a:gd name="connsiteY22" fmla="*/ 1342159 h 1484260"/>
                  <a:gd name="connsiteX23" fmla="*/ 112473 w 1057469"/>
                  <a:gd name="connsiteY23" fmla="*/ 1369869 h 1484260"/>
                  <a:gd name="connsiteX24" fmla="*/ 57055 w 1057469"/>
                  <a:gd name="connsiteY24" fmla="*/ 1443759 h 1484260"/>
                  <a:gd name="connsiteX25" fmla="*/ 1637 w 1057469"/>
                  <a:gd name="connsiteY25" fmla="*/ 1480705 h 1484260"/>
                  <a:gd name="connsiteX26" fmla="*/ 20110 w 1057469"/>
                  <a:gd name="connsiteY26" fmla="*/ 1480705 h 1484260"/>
                  <a:gd name="connsiteX0" fmla="*/ 1057469 w 1057469"/>
                  <a:gd name="connsiteY0" fmla="*/ 0 h 1484260"/>
                  <a:gd name="connsiteX1" fmla="*/ 1017637 w 1057469"/>
                  <a:gd name="connsiteY1" fmla="*/ 39832 h 1484260"/>
                  <a:gd name="connsiteX2" fmla="*/ 989928 w 1057469"/>
                  <a:gd name="connsiteY2" fmla="*/ 104487 h 1484260"/>
                  <a:gd name="connsiteX3" fmla="*/ 918923 w 1057469"/>
                  <a:gd name="connsiteY3" fmla="*/ 123537 h 1484260"/>
                  <a:gd name="connsiteX4" fmla="*/ 906801 w 1057469"/>
                  <a:gd name="connsiteY4" fmla="*/ 233796 h 1484260"/>
                  <a:gd name="connsiteX5" fmla="*/ 842146 w 1057469"/>
                  <a:gd name="connsiteY5" fmla="*/ 279978 h 1484260"/>
                  <a:gd name="connsiteX6" fmla="*/ 844238 w 1057469"/>
                  <a:gd name="connsiteY6" fmla="*/ 411956 h 1484260"/>
                  <a:gd name="connsiteX7" fmla="*/ 804912 w 1057469"/>
                  <a:gd name="connsiteY7" fmla="*/ 460520 h 1484260"/>
                  <a:gd name="connsiteX8" fmla="*/ 737876 w 1057469"/>
                  <a:gd name="connsiteY8" fmla="*/ 510887 h 1484260"/>
                  <a:gd name="connsiteX9" fmla="*/ 759019 w 1057469"/>
                  <a:gd name="connsiteY9" fmla="*/ 584778 h 1484260"/>
                  <a:gd name="connsiteX10" fmla="*/ 823673 w 1057469"/>
                  <a:gd name="connsiteY10" fmla="*/ 640196 h 1484260"/>
                  <a:gd name="connsiteX11" fmla="*/ 823673 w 1057469"/>
                  <a:gd name="connsiteY11" fmla="*/ 723323 h 1484260"/>
                  <a:gd name="connsiteX12" fmla="*/ 742061 w 1057469"/>
                  <a:gd name="connsiteY12" fmla="*/ 800894 h 1484260"/>
                  <a:gd name="connsiteX13" fmla="*/ 632019 w 1057469"/>
                  <a:gd name="connsiteY13" fmla="*/ 807243 h 1484260"/>
                  <a:gd name="connsiteX14" fmla="*/ 580858 w 1057469"/>
                  <a:gd name="connsiteY14" fmla="*/ 843396 h 1484260"/>
                  <a:gd name="connsiteX15" fmla="*/ 571621 w 1057469"/>
                  <a:gd name="connsiteY15" fmla="*/ 900906 h 1484260"/>
                  <a:gd name="connsiteX16" fmla="*/ 472114 w 1057469"/>
                  <a:gd name="connsiteY16" fmla="*/ 1010228 h 1484260"/>
                  <a:gd name="connsiteX17" fmla="*/ 396925 w 1057469"/>
                  <a:gd name="connsiteY17" fmla="*/ 1088520 h 1484260"/>
                  <a:gd name="connsiteX18" fmla="*/ 315096 w 1057469"/>
                  <a:gd name="connsiteY18" fmla="*/ 1136073 h 1484260"/>
                  <a:gd name="connsiteX19" fmla="*/ 261193 w 1057469"/>
                  <a:gd name="connsiteY19" fmla="*/ 1164720 h 1484260"/>
                  <a:gd name="connsiteX20" fmla="*/ 220639 w 1057469"/>
                  <a:gd name="connsiteY20" fmla="*/ 1208088 h 1484260"/>
                  <a:gd name="connsiteX21" fmla="*/ 214073 w 1057469"/>
                  <a:gd name="connsiteY21" fmla="*/ 1295978 h 1484260"/>
                  <a:gd name="connsiteX22" fmla="*/ 140182 w 1057469"/>
                  <a:gd name="connsiteY22" fmla="*/ 1342159 h 1484260"/>
                  <a:gd name="connsiteX23" fmla="*/ 112473 w 1057469"/>
                  <a:gd name="connsiteY23" fmla="*/ 1369869 h 1484260"/>
                  <a:gd name="connsiteX24" fmla="*/ 57055 w 1057469"/>
                  <a:gd name="connsiteY24" fmla="*/ 1443759 h 1484260"/>
                  <a:gd name="connsiteX25" fmla="*/ 1637 w 1057469"/>
                  <a:gd name="connsiteY25" fmla="*/ 1480705 h 1484260"/>
                  <a:gd name="connsiteX26" fmla="*/ 20110 w 1057469"/>
                  <a:gd name="connsiteY26" fmla="*/ 1480705 h 1484260"/>
                  <a:gd name="connsiteX0" fmla="*/ 1057469 w 1057469"/>
                  <a:gd name="connsiteY0" fmla="*/ 0 h 1484260"/>
                  <a:gd name="connsiteX1" fmla="*/ 1017637 w 1057469"/>
                  <a:gd name="connsiteY1" fmla="*/ 39832 h 1484260"/>
                  <a:gd name="connsiteX2" fmla="*/ 989928 w 1057469"/>
                  <a:gd name="connsiteY2" fmla="*/ 104487 h 1484260"/>
                  <a:gd name="connsiteX3" fmla="*/ 918923 w 1057469"/>
                  <a:gd name="connsiteY3" fmla="*/ 123537 h 1484260"/>
                  <a:gd name="connsiteX4" fmla="*/ 906801 w 1057469"/>
                  <a:gd name="connsiteY4" fmla="*/ 233796 h 1484260"/>
                  <a:gd name="connsiteX5" fmla="*/ 827859 w 1057469"/>
                  <a:gd name="connsiteY5" fmla="*/ 284740 h 1484260"/>
                  <a:gd name="connsiteX6" fmla="*/ 844238 w 1057469"/>
                  <a:gd name="connsiteY6" fmla="*/ 411956 h 1484260"/>
                  <a:gd name="connsiteX7" fmla="*/ 804912 w 1057469"/>
                  <a:gd name="connsiteY7" fmla="*/ 460520 h 1484260"/>
                  <a:gd name="connsiteX8" fmla="*/ 737876 w 1057469"/>
                  <a:gd name="connsiteY8" fmla="*/ 510887 h 1484260"/>
                  <a:gd name="connsiteX9" fmla="*/ 759019 w 1057469"/>
                  <a:gd name="connsiteY9" fmla="*/ 584778 h 1484260"/>
                  <a:gd name="connsiteX10" fmla="*/ 823673 w 1057469"/>
                  <a:gd name="connsiteY10" fmla="*/ 640196 h 1484260"/>
                  <a:gd name="connsiteX11" fmla="*/ 823673 w 1057469"/>
                  <a:gd name="connsiteY11" fmla="*/ 723323 h 1484260"/>
                  <a:gd name="connsiteX12" fmla="*/ 742061 w 1057469"/>
                  <a:gd name="connsiteY12" fmla="*/ 800894 h 1484260"/>
                  <a:gd name="connsiteX13" fmla="*/ 632019 w 1057469"/>
                  <a:gd name="connsiteY13" fmla="*/ 807243 h 1484260"/>
                  <a:gd name="connsiteX14" fmla="*/ 580858 w 1057469"/>
                  <a:gd name="connsiteY14" fmla="*/ 843396 h 1484260"/>
                  <a:gd name="connsiteX15" fmla="*/ 571621 w 1057469"/>
                  <a:gd name="connsiteY15" fmla="*/ 900906 h 1484260"/>
                  <a:gd name="connsiteX16" fmla="*/ 472114 w 1057469"/>
                  <a:gd name="connsiteY16" fmla="*/ 1010228 h 1484260"/>
                  <a:gd name="connsiteX17" fmla="*/ 396925 w 1057469"/>
                  <a:gd name="connsiteY17" fmla="*/ 1088520 h 1484260"/>
                  <a:gd name="connsiteX18" fmla="*/ 315096 w 1057469"/>
                  <a:gd name="connsiteY18" fmla="*/ 1136073 h 1484260"/>
                  <a:gd name="connsiteX19" fmla="*/ 261193 w 1057469"/>
                  <a:gd name="connsiteY19" fmla="*/ 1164720 h 1484260"/>
                  <a:gd name="connsiteX20" fmla="*/ 220639 w 1057469"/>
                  <a:gd name="connsiteY20" fmla="*/ 1208088 h 1484260"/>
                  <a:gd name="connsiteX21" fmla="*/ 214073 w 1057469"/>
                  <a:gd name="connsiteY21" fmla="*/ 1295978 h 1484260"/>
                  <a:gd name="connsiteX22" fmla="*/ 140182 w 1057469"/>
                  <a:gd name="connsiteY22" fmla="*/ 1342159 h 1484260"/>
                  <a:gd name="connsiteX23" fmla="*/ 112473 w 1057469"/>
                  <a:gd name="connsiteY23" fmla="*/ 1369869 h 1484260"/>
                  <a:gd name="connsiteX24" fmla="*/ 57055 w 1057469"/>
                  <a:gd name="connsiteY24" fmla="*/ 1443759 h 1484260"/>
                  <a:gd name="connsiteX25" fmla="*/ 1637 w 1057469"/>
                  <a:gd name="connsiteY25" fmla="*/ 1480705 h 1484260"/>
                  <a:gd name="connsiteX26" fmla="*/ 20110 w 1057469"/>
                  <a:gd name="connsiteY26" fmla="*/ 1480705 h 1484260"/>
                  <a:gd name="connsiteX0" fmla="*/ 1057469 w 1057469"/>
                  <a:gd name="connsiteY0" fmla="*/ 0 h 1484260"/>
                  <a:gd name="connsiteX1" fmla="*/ 1017637 w 1057469"/>
                  <a:gd name="connsiteY1" fmla="*/ 39832 h 1484260"/>
                  <a:gd name="connsiteX2" fmla="*/ 989928 w 1057469"/>
                  <a:gd name="connsiteY2" fmla="*/ 104487 h 1484260"/>
                  <a:gd name="connsiteX3" fmla="*/ 918923 w 1057469"/>
                  <a:gd name="connsiteY3" fmla="*/ 123537 h 1484260"/>
                  <a:gd name="connsiteX4" fmla="*/ 897276 w 1057469"/>
                  <a:gd name="connsiteY4" fmla="*/ 229033 h 1484260"/>
                  <a:gd name="connsiteX5" fmla="*/ 827859 w 1057469"/>
                  <a:gd name="connsiteY5" fmla="*/ 284740 h 1484260"/>
                  <a:gd name="connsiteX6" fmla="*/ 844238 w 1057469"/>
                  <a:gd name="connsiteY6" fmla="*/ 411956 h 1484260"/>
                  <a:gd name="connsiteX7" fmla="*/ 804912 w 1057469"/>
                  <a:gd name="connsiteY7" fmla="*/ 460520 h 1484260"/>
                  <a:gd name="connsiteX8" fmla="*/ 737876 w 1057469"/>
                  <a:gd name="connsiteY8" fmla="*/ 510887 h 1484260"/>
                  <a:gd name="connsiteX9" fmla="*/ 759019 w 1057469"/>
                  <a:gd name="connsiteY9" fmla="*/ 584778 h 1484260"/>
                  <a:gd name="connsiteX10" fmla="*/ 823673 w 1057469"/>
                  <a:gd name="connsiteY10" fmla="*/ 640196 h 1484260"/>
                  <a:gd name="connsiteX11" fmla="*/ 823673 w 1057469"/>
                  <a:gd name="connsiteY11" fmla="*/ 723323 h 1484260"/>
                  <a:gd name="connsiteX12" fmla="*/ 742061 w 1057469"/>
                  <a:gd name="connsiteY12" fmla="*/ 800894 h 1484260"/>
                  <a:gd name="connsiteX13" fmla="*/ 632019 w 1057469"/>
                  <a:gd name="connsiteY13" fmla="*/ 807243 h 1484260"/>
                  <a:gd name="connsiteX14" fmla="*/ 580858 w 1057469"/>
                  <a:gd name="connsiteY14" fmla="*/ 843396 h 1484260"/>
                  <a:gd name="connsiteX15" fmla="*/ 571621 w 1057469"/>
                  <a:gd name="connsiteY15" fmla="*/ 900906 h 1484260"/>
                  <a:gd name="connsiteX16" fmla="*/ 472114 w 1057469"/>
                  <a:gd name="connsiteY16" fmla="*/ 1010228 h 1484260"/>
                  <a:gd name="connsiteX17" fmla="*/ 396925 w 1057469"/>
                  <a:gd name="connsiteY17" fmla="*/ 1088520 h 1484260"/>
                  <a:gd name="connsiteX18" fmla="*/ 315096 w 1057469"/>
                  <a:gd name="connsiteY18" fmla="*/ 1136073 h 1484260"/>
                  <a:gd name="connsiteX19" fmla="*/ 261193 w 1057469"/>
                  <a:gd name="connsiteY19" fmla="*/ 1164720 h 1484260"/>
                  <a:gd name="connsiteX20" fmla="*/ 220639 w 1057469"/>
                  <a:gd name="connsiteY20" fmla="*/ 1208088 h 1484260"/>
                  <a:gd name="connsiteX21" fmla="*/ 214073 w 1057469"/>
                  <a:gd name="connsiteY21" fmla="*/ 1295978 h 1484260"/>
                  <a:gd name="connsiteX22" fmla="*/ 140182 w 1057469"/>
                  <a:gd name="connsiteY22" fmla="*/ 1342159 h 1484260"/>
                  <a:gd name="connsiteX23" fmla="*/ 112473 w 1057469"/>
                  <a:gd name="connsiteY23" fmla="*/ 1369869 h 1484260"/>
                  <a:gd name="connsiteX24" fmla="*/ 57055 w 1057469"/>
                  <a:gd name="connsiteY24" fmla="*/ 1443759 h 1484260"/>
                  <a:gd name="connsiteX25" fmla="*/ 1637 w 1057469"/>
                  <a:gd name="connsiteY25" fmla="*/ 1480705 h 1484260"/>
                  <a:gd name="connsiteX26" fmla="*/ 20110 w 1057469"/>
                  <a:gd name="connsiteY26" fmla="*/ 1480705 h 1484260"/>
                  <a:gd name="connsiteX0" fmla="*/ 1057469 w 1057469"/>
                  <a:gd name="connsiteY0" fmla="*/ 0 h 1484260"/>
                  <a:gd name="connsiteX1" fmla="*/ 1005731 w 1057469"/>
                  <a:gd name="connsiteY1" fmla="*/ 46976 h 1484260"/>
                  <a:gd name="connsiteX2" fmla="*/ 989928 w 1057469"/>
                  <a:gd name="connsiteY2" fmla="*/ 104487 h 1484260"/>
                  <a:gd name="connsiteX3" fmla="*/ 918923 w 1057469"/>
                  <a:gd name="connsiteY3" fmla="*/ 123537 h 1484260"/>
                  <a:gd name="connsiteX4" fmla="*/ 897276 w 1057469"/>
                  <a:gd name="connsiteY4" fmla="*/ 229033 h 1484260"/>
                  <a:gd name="connsiteX5" fmla="*/ 827859 w 1057469"/>
                  <a:gd name="connsiteY5" fmla="*/ 284740 h 1484260"/>
                  <a:gd name="connsiteX6" fmla="*/ 844238 w 1057469"/>
                  <a:gd name="connsiteY6" fmla="*/ 411956 h 1484260"/>
                  <a:gd name="connsiteX7" fmla="*/ 804912 w 1057469"/>
                  <a:gd name="connsiteY7" fmla="*/ 460520 h 1484260"/>
                  <a:gd name="connsiteX8" fmla="*/ 737876 w 1057469"/>
                  <a:gd name="connsiteY8" fmla="*/ 510887 h 1484260"/>
                  <a:gd name="connsiteX9" fmla="*/ 759019 w 1057469"/>
                  <a:gd name="connsiteY9" fmla="*/ 584778 h 1484260"/>
                  <a:gd name="connsiteX10" fmla="*/ 823673 w 1057469"/>
                  <a:gd name="connsiteY10" fmla="*/ 640196 h 1484260"/>
                  <a:gd name="connsiteX11" fmla="*/ 823673 w 1057469"/>
                  <a:gd name="connsiteY11" fmla="*/ 723323 h 1484260"/>
                  <a:gd name="connsiteX12" fmla="*/ 742061 w 1057469"/>
                  <a:gd name="connsiteY12" fmla="*/ 800894 h 1484260"/>
                  <a:gd name="connsiteX13" fmla="*/ 632019 w 1057469"/>
                  <a:gd name="connsiteY13" fmla="*/ 807243 h 1484260"/>
                  <a:gd name="connsiteX14" fmla="*/ 580858 w 1057469"/>
                  <a:gd name="connsiteY14" fmla="*/ 843396 h 1484260"/>
                  <a:gd name="connsiteX15" fmla="*/ 571621 w 1057469"/>
                  <a:gd name="connsiteY15" fmla="*/ 900906 h 1484260"/>
                  <a:gd name="connsiteX16" fmla="*/ 472114 w 1057469"/>
                  <a:gd name="connsiteY16" fmla="*/ 1010228 h 1484260"/>
                  <a:gd name="connsiteX17" fmla="*/ 396925 w 1057469"/>
                  <a:gd name="connsiteY17" fmla="*/ 1088520 h 1484260"/>
                  <a:gd name="connsiteX18" fmla="*/ 315096 w 1057469"/>
                  <a:gd name="connsiteY18" fmla="*/ 1136073 h 1484260"/>
                  <a:gd name="connsiteX19" fmla="*/ 261193 w 1057469"/>
                  <a:gd name="connsiteY19" fmla="*/ 1164720 h 1484260"/>
                  <a:gd name="connsiteX20" fmla="*/ 220639 w 1057469"/>
                  <a:gd name="connsiteY20" fmla="*/ 1208088 h 1484260"/>
                  <a:gd name="connsiteX21" fmla="*/ 214073 w 1057469"/>
                  <a:gd name="connsiteY21" fmla="*/ 1295978 h 1484260"/>
                  <a:gd name="connsiteX22" fmla="*/ 140182 w 1057469"/>
                  <a:gd name="connsiteY22" fmla="*/ 1342159 h 1484260"/>
                  <a:gd name="connsiteX23" fmla="*/ 112473 w 1057469"/>
                  <a:gd name="connsiteY23" fmla="*/ 1369869 h 1484260"/>
                  <a:gd name="connsiteX24" fmla="*/ 57055 w 1057469"/>
                  <a:gd name="connsiteY24" fmla="*/ 1443759 h 1484260"/>
                  <a:gd name="connsiteX25" fmla="*/ 1637 w 1057469"/>
                  <a:gd name="connsiteY25" fmla="*/ 1480705 h 1484260"/>
                  <a:gd name="connsiteX26" fmla="*/ 20110 w 1057469"/>
                  <a:gd name="connsiteY26" fmla="*/ 1480705 h 1484260"/>
                  <a:gd name="connsiteX0" fmla="*/ 1057469 w 1057469"/>
                  <a:gd name="connsiteY0" fmla="*/ 0 h 1484260"/>
                  <a:gd name="connsiteX1" fmla="*/ 1044625 w 1057469"/>
                  <a:gd name="connsiteY1" fmla="*/ 21720 h 1484260"/>
                  <a:gd name="connsiteX2" fmla="*/ 1005731 w 1057469"/>
                  <a:gd name="connsiteY2" fmla="*/ 46976 h 1484260"/>
                  <a:gd name="connsiteX3" fmla="*/ 989928 w 1057469"/>
                  <a:gd name="connsiteY3" fmla="*/ 104487 h 1484260"/>
                  <a:gd name="connsiteX4" fmla="*/ 918923 w 1057469"/>
                  <a:gd name="connsiteY4" fmla="*/ 123537 h 1484260"/>
                  <a:gd name="connsiteX5" fmla="*/ 897276 w 1057469"/>
                  <a:gd name="connsiteY5" fmla="*/ 229033 h 1484260"/>
                  <a:gd name="connsiteX6" fmla="*/ 827859 w 1057469"/>
                  <a:gd name="connsiteY6" fmla="*/ 284740 h 1484260"/>
                  <a:gd name="connsiteX7" fmla="*/ 844238 w 1057469"/>
                  <a:gd name="connsiteY7" fmla="*/ 411956 h 1484260"/>
                  <a:gd name="connsiteX8" fmla="*/ 804912 w 1057469"/>
                  <a:gd name="connsiteY8" fmla="*/ 460520 h 1484260"/>
                  <a:gd name="connsiteX9" fmla="*/ 737876 w 1057469"/>
                  <a:gd name="connsiteY9" fmla="*/ 510887 h 1484260"/>
                  <a:gd name="connsiteX10" fmla="*/ 759019 w 1057469"/>
                  <a:gd name="connsiteY10" fmla="*/ 584778 h 1484260"/>
                  <a:gd name="connsiteX11" fmla="*/ 823673 w 1057469"/>
                  <a:gd name="connsiteY11" fmla="*/ 640196 h 1484260"/>
                  <a:gd name="connsiteX12" fmla="*/ 823673 w 1057469"/>
                  <a:gd name="connsiteY12" fmla="*/ 723323 h 1484260"/>
                  <a:gd name="connsiteX13" fmla="*/ 742061 w 1057469"/>
                  <a:gd name="connsiteY13" fmla="*/ 800894 h 1484260"/>
                  <a:gd name="connsiteX14" fmla="*/ 632019 w 1057469"/>
                  <a:gd name="connsiteY14" fmla="*/ 807243 h 1484260"/>
                  <a:gd name="connsiteX15" fmla="*/ 580858 w 1057469"/>
                  <a:gd name="connsiteY15" fmla="*/ 843396 h 1484260"/>
                  <a:gd name="connsiteX16" fmla="*/ 571621 w 1057469"/>
                  <a:gd name="connsiteY16" fmla="*/ 900906 h 1484260"/>
                  <a:gd name="connsiteX17" fmla="*/ 472114 w 1057469"/>
                  <a:gd name="connsiteY17" fmla="*/ 1010228 h 1484260"/>
                  <a:gd name="connsiteX18" fmla="*/ 396925 w 1057469"/>
                  <a:gd name="connsiteY18" fmla="*/ 1088520 h 1484260"/>
                  <a:gd name="connsiteX19" fmla="*/ 315096 w 1057469"/>
                  <a:gd name="connsiteY19" fmla="*/ 1136073 h 1484260"/>
                  <a:gd name="connsiteX20" fmla="*/ 261193 w 1057469"/>
                  <a:gd name="connsiteY20" fmla="*/ 1164720 h 1484260"/>
                  <a:gd name="connsiteX21" fmla="*/ 220639 w 1057469"/>
                  <a:gd name="connsiteY21" fmla="*/ 1208088 h 1484260"/>
                  <a:gd name="connsiteX22" fmla="*/ 214073 w 1057469"/>
                  <a:gd name="connsiteY22" fmla="*/ 1295978 h 1484260"/>
                  <a:gd name="connsiteX23" fmla="*/ 140182 w 1057469"/>
                  <a:gd name="connsiteY23" fmla="*/ 1342159 h 1484260"/>
                  <a:gd name="connsiteX24" fmla="*/ 112473 w 1057469"/>
                  <a:gd name="connsiteY24" fmla="*/ 1369869 h 1484260"/>
                  <a:gd name="connsiteX25" fmla="*/ 57055 w 1057469"/>
                  <a:gd name="connsiteY25" fmla="*/ 1443759 h 1484260"/>
                  <a:gd name="connsiteX26" fmla="*/ 1637 w 1057469"/>
                  <a:gd name="connsiteY26" fmla="*/ 1480705 h 1484260"/>
                  <a:gd name="connsiteX27" fmla="*/ 20110 w 1057469"/>
                  <a:gd name="connsiteY27" fmla="*/ 1480705 h 1484260"/>
                  <a:gd name="connsiteX0" fmla="*/ 1057469 w 1057469"/>
                  <a:gd name="connsiteY0" fmla="*/ 0 h 1484260"/>
                  <a:gd name="connsiteX1" fmla="*/ 1044625 w 1057469"/>
                  <a:gd name="connsiteY1" fmla="*/ 21720 h 1484260"/>
                  <a:gd name="connsiteX2" fmla="*/ 1005731 w 1057469"/>
                  <a:gd name="connsiteY2" fmla="*/ 46976 h 1484260"/>
                  <a:gd name="connsiteX3" fmla="*/ 989928 w 1057469"/>
                  <a:gd name="connsiteY3" fmla="*/ 104487 h 1484260"/>
                  <a:gd name="connsiteX4" fmla="*/ 933211 w 1057469"/>
                  <a:gd name="connsiteY4" fmla="*/ 123537 h 1484260"/>
                  <a:gd name="connsiteX5" fmla="*/ 897276 w 1057469"/>
                  <a:gd name="connsiteY5" fmla="*/ 229033 h 1484260"/>
                  <a:gd name="connsiteX6" fmla="*/ 827859 w 1057469"/>
                  <a:gd name="connsiteY6" fmla="*/ 284740 h 1484260"/>
                  <a:gd name="connsiteX7" fmla="*/ 844238 w 1057469"/>
                  <a:gd name="connsiteY7" fmla="*/ 411956 h 1484260"/>
                  <a:gd name="connsiteX8" fmla="*/ 804912 w 1057469"/>
                  <a:gd name="connsiteY8" fmla="*/ 460520 h 1484260"/>
                  <a:gd name="connsiteX9" fmla="*/ 737876 w 1057469"/>
                  <a:gd name="connsiteY9" fmla="*/ 510887 h 1484260"/>
                  <a:gd name="connsiteX10" fmla="*/ 759019 w 1057469"/>
                  <a:gd name="connsiteY10" fmla="*/ 584778 h 1484260"/>
                  <a:gd name="connsiteX11" fmla="*/ 823673 w 1057469"/>
                  <a:gd name="connsiteY11" fmla="*/ 640196 h 1484260"/>
                  <a:gd name="connsiteX12" fmla="*/ 823673 w 1057469"/>
                  <a:gd name="connsiteY12" fmla="*/ 723323 h 1484260"/>
                  <a:gd name="connsiteX13" fmla="*/ 742061 w 1057469"/>
                  <a:gd name="connsiteY13" fmla="*/ 800894 h 1484260"/>
                  <a:gd name="connsiteX14" fmla="*/ 632019 w 1057469"/>
                  <a:gd name="connsiteY14" fmla="*/ 807243 h 1484260"/>
                  <a:gd name="connsiteX15" fmla="*/ 580858 w 1057469"/>
                  <a:gd name="connsiteY15" fmla="*/ 843396 h 1484260"/>
                  <a:gd name="connsiteX16" fmla="*/ 571621 w 1057469"/>
                  <a:gd name="connsiteY16" fmla="*/ 900906 h 1484260"/>
                  <a:gd name="connsiteX17" fmla="*/ 472114 w 1057469"/>
                  <a:gd name="connsiteY17" fmla="*/ 1010228 h 1484260"/>
                  <a:gd name="connsiteX18" fmla="*/ 396925 w 1057469"/>
                  <a:gd name="connsiteY18" fmla="*/ 1088520 h 1484260"/>
                  <a:gd name="connsiteX19" fmla="*/ 315096 w 1057469"/>
                  <a:gd name="connsiteY19" fmla="*/ 1136073 h 1484260"/>
                  <a:gd name="connsiteX20" fmla="*/ 261193 w 1057469"/>
                  <a:gd name="connsiteY20" fmla="*/ 1164720 h 1484260"/>
                  <a:gd name="connsiteX21" fmla="*/ 220639 w 1057469"/>
                  <a:gd name="connsiteY21" fmla="*/ 1208088 h 1484260"/>
                  <a:gd name="connsiteX22" fmla="*/ 214073 w 1057469"/>
                  <a:gd name="connsiteY22" fmla="*/ 1295978 h 1484260"/>
                  <a:gd name="connsiteX23" fmla="*/ 140182 w 1057469"/>
                  <a:gd name="connsiteY23" fmla="*/ 1342159 h 1484260"/>
                  <a:gd name="connsiteX24" fmla="*/ 112473 w 1057469"/>
                  <a:gd name="connsiteY24" fmla="*/ 1369869 h 1484260"/>
                  <a:gd name="connsiteX25" fmla="*/ 57055 w 1057469"/>
                  <a:gd name="connsiteY25" fmla="*/ 1443759 h 1484260"/>
                  <a:gd name="connsiteX26" fmla="*/ 1637 w 1057469"/>
                  <a:gd name="connsiteY26" fmla="*/ 1480705 h 1484260"/>
                  <a:gd name="connsiteX27" fmla="*/ 20110 w 1057469"/>
                  <a:gd name="connsiteY27" fmla="*/ 1480705 h 1484260"/>
                  <a:gd name="connsiteX0" fmla="*/ 1037359 w 1037359"/>
                  <a:gd name="connsiteY0" fmla="*/ 0 h 1480705"/>
                  <a:gd name="connsiteX1" fmla="*/ 1024515 w 1037359"/>
                  <a:gd name="connsiteY1" fmla="*/ 21720 h 1480705"/>
                  <a:gd name="connsiteX2" fmla="*/ 985621 w 1037359"/>
                  <a:gd name="connsiteY2" fmla="*/ 46976 h 1480705"/>
                  <a:gd name="connsiteX3" fmla="*/ 969818 w 1037359"/>
                  <a:gd name="connsiteY3" fmla="*/ 104487 h 1480705"/>
                  <a:gd name="connsiteX4" fmla="*/ 913101 w 1037359"/>
                  <a:gd name="connsiteY4" fmla="*/ 123537 h 1480705"/>
                  <a:gd name="connsiteX5" fmla="*/ 877166 w 1037359"/>
                  <a:gd name="connsiteY5" fmla="*/ 229033 h 1480705"/>
                  <a:gd name="connsiteX6" fmla="*/ 807749 w 1037359"/>
                  <a:gd name="connsiteY6" fmla="*/ 284740 h 1480705"/>
                  <a:gd name="connsiteX7" fmla="*/ 824128 w 1037359"/>
                  <a:gd name="connsiteY7" fmla="*/ 411956 h 1480705"/>
                  <a:gd name="connsiteX8" fmla="*/ 784802 w 1037359"/>
                  <a:gd name="connsiteY8" fmla="*/ 460520 h 1480705"/>
                  <a:gd name="connsiteX9" fmla="*/ 717766 w 1037359"/>
                  <a:gd name="connsiteY9" fmla="*/ 510887 h 1480705"/>
                  <a:gd name="connsiteX10" fmla="*/ 738909 w 1037359"/>
                  <a:gd name="connsiteY10" fmla="*/ 584778 h 1480705"/>
                  <a:gd name="connsiteX11" fmla="*/ 803563 w 1037359"/>
                  <a:gd name="connsiteY11" fmla="*/ 640196 h 1480705"/>
                  <a:gd name="connsiteX12" fmla="*/ 803563 w 1037359"/>
                  <a:gd name="connsiteY12" fmla="*/ 723323 h 1480705"/>
                  <a:gd name="connsiteX13" fmla="*/ 721951 w 1037359"/>
                  <a:gd name="connsiteY13" fmla="*/ 800894 h 1480705"/>
                  <a:gd name="connsiteX14" fmla="*/ 611909 w 1037359"/>
                  <a:gd name="connsiteY14" fmla="*/ 807243 h 1480705"/>
                  <a:gd name="connsiteX15" fmla="*/ 560748 w 1037359"/>
                  <a:gd name="connsiteY15" fmla="*/ 843396 h 1480705"/>
                  <a:gd name="connsiteX16" fmla="*/ 551511 w 1037359"/>
                  <a:gd name="connsiteY16" fmla="*/ 900906 h 1480705"/>
                  <a:gd name="connsiteX17" fmla="*/ 452004 w 1037359"/>
                  <a:gd name="connsiteY17" fmla="*/ 1010228 h 1480705"/>
                  <a:gd name="connsiteX18" fmla="*/ 376815 w 1037359"/>
                  <a:gd name="connsiteY18" fmla="*/ 1088520 h 1480705"/>
                  <a:gd name="connsiteX19" fmla="*/ 294986 w 1037359"/>
                  <a:gd name="connsiteY19" fmla="*/ 1136073 h 1480705"/>
                  <a:gd name="connsiteX20" fmla="*/ 241083 w 1037359"/>
                  <a:gd name="connsiteY20" fmla="*/ 1164720 h 1480705"/>
                  <a:gd name="connsiteX21" fmla="*/ 200529 w 1037359"/>
                  <a:gd name="connsiteY21" fmla="*/ 1208088 h 1480705"/>
                  <a:gd name="connsiteX22" fmla="*/ 193963 w 1037359"/>
                  <a:gd name="connsiteY22" fmla="*/ 1295978 h 1480705"/>
                  <a:gd name="connsiteX23" fmla="*/ 120072 w 1037359"/>
                  <a:gd name="connsiteY23" fmla="*/ 1342159 h 1480705"/>
                  <a:gd name="connsiteX24" fmla="*/ 92363 w 1037359"/>
                  <a:gd name="connsiteY24" fmla="*/ 1369869 h 1480705"/>
                  <a:gd name="connsiteX25" fmla="*/ 36945 w 1037359"/>
                  <a:gd name="connsiteY25" fmla="*/ 1443759 h 1480705"/>
                  <a:gd name="connsiteX26" fmla="*/ 0 w 1037359"/>
                  <a:gd name="connsiteY26" fmla="*/ 1480705 h 1480705"/>
                  <a:gd name="connsiteX0" fmla="*/ 1044502 w 1044502"/>
                  <a:gd name="connsiteY0" fmla="*/ 0 h 1492612"/>
                  <a:gd name="connsiteX1" fmla="*/ 1031658 w 1044502"/>
                  <a:gd name="connsiteY1" fmla="*/ 21720 h 1492612"/>
                  <a:gd name="connsiteX2" fmla="*/ 992764 w 1044502"/>
                  <a:gd name="connsiteY2" fmla="*/ 46976 h 1492612"/>
                  <a:gd name="connsiteX3" fmla="*/ 976961 w 1044502"/>
                  <a:gd name="connsiteY3" fmla="*/ 104487 h 1492612"/>
                  <a:gd name="connsiteX4" fmla="*/ 920244 w 1044502"/>
                  <a:gd name="connsiteY4" fmla="*/ 123537 h 1492612"/>
                  <a:gd name="connsiteX5" fmla="*/ 884309 w 1044502"/>
                  <a:gd name="connsiteY5" fmla="*/ 229033 h 1492612"/>
                  <a:gd name="connsiteX6" fmla="*/ 814892 w 1044502"/>
                  <a:gd name="connsiteY6" fmla="*/ 284740 h 1492612"/>
                  <a:gd name="connsiteX7" fmla="*/ 831271 w 1044502"/>
                  <a:gd name="connsiteY7" fmla="*/ 411956 h 1492612"/>
                  <a:gd name="connsiteX8" fmla="*/ 791945 w 1044502"/>
                  <a:gd name="connsiteY8" fmla="*/ 460520 h 1492612"/>
                  <a:gd name="connsiteX9" fmla="*/ 724909 w 1044502"/>
                  <a:gd name="connsiteY9" fmla="*/ 510887 h 1492612"/>
                  <a:gd name="connsiteX10" fmla="*/ 746052 w 1044502"/>
                  <a:gd name="connsiteY10" fmla="*/ 584778 h 1492612"/>
                  <a:gd name="connsiteX11" fmla="*/ 810706 w 1044502"/>
                  <a:gd name="connsiteY11" fmla="*/ 640196 h 1492612"/>
                  <a:gd name="connsiteX12" fmla="*/ 810706 w 1044502"/>
                  <a:gd name="connsiteY12" fmla="*/ 723323 h 1492612"/>
                  <a:gd name="connsiteX13" fmla="*/ 729094 w 1044502"/>
                  <a:gd name="connsiteY13" fmla="*/ 800894 h 1492612"/>
                  <a:gd name="connsiteX14" fmla="*/ 619052 w 1044502"/>
                  <a:gd name="connsiteY14" fmla="*/ 807243 h 1492612"/>
                  <a:gd name="connsiteX15" fmla="*/ 567891 w 1044502"/>
                  <a:gd name="connsiteY15" fmla="*/ 843396 h 1492612"/>
                  <a:gd name="connsiteX16" fmla="*/ 558654 w 1044502"/>
                  <a:gd name="connsiteY16" fmla="*/ 900906 h 1492612"/>
                  <a:gd name="connsiteX17" fmla="*/ 459147 w 1044502"/>
                  <a:gd name="connsiteY17" fmla="*/ 1010228 h 1492612"/>
                  <a:gd name="connsiteX18" fmla="*/ 383958 w 1044502"/>
                  <a:gd name="connsiteY18" fmla="*/ 1088520 h 1492612"/>
                  <a:gd name="connsiteX19" fmla="*/ 302129 w 1044502"/>
                  <a:gd name="connsiteY19" fmla="*/ 1136073 h 1492612"/>
                  <a:gd name="connsiteX20" fmla="*/ 248226 w 1044502"/>
                  <a:gd name="connsiteY20" fmla="*/ 1164720 h 1492612"/>
                  <a:gd name="connsiteX21" fmla="*/ 207672 w 1044502"/>
                  <a:gd name="connsiteY21" fmla="*/ 1208088 h 1492612"/>
                  <a:gd name="connsiteX22" fmla="*/ 201106 w 1044502"/>
                  <a:gd name="connsiteY22" fmla="*/ 1295978 h 1492612"/>
                  <a:gd name="connsiteX23" fmla="*/ 127215 w 1044502"/>
                  <a:gd name="connsiteY23" fmla="*/ 1342159 h 1492612"/>
                  <a:gd name="connsiteX24" fmla="*/ 99506 w 1044502"/>
                  <a:gd name="connsiteY24" fmla="*/ 1369869 h 1492612"/>
                  <a:gd name="connsiteX25" fmla="*/ 44088 w 1044502"/>
                  <a:gd name="connsiteY25" fmla="*/ 1443759 h 1492612"/>
                  <a:gd name="connsiteX26" fmla="*/ 0 w 1044502"/>
                  <a:gd name="connsiteY26" fmla="*/ 1492612 h 14926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044502" h="1492612">
                    <a:moveTo>
                      <a:pt x="1044502" y="0"/>
                    </a:moveTo>
                    <a:cubicBezTo>
                      <a:pt x="1040377" y="2826"/>
                      <a:pt x="1040281" y="13891"/>
                      <a:pt x="1031658" y="21720"/>
                    </a:cubicBezTo>
                    <a:cubicBezTo>
                      <a:pt x="1023035" y="29549"/>
                      <a:pt x="1001880" y="33182"/>
                      <a:pt x="992764" y="46976"/>
                    </a:cubicBezTo>
                    <a:cubicBezTo>
                      <a:pt x="983648" y="60770"/>
                      <a:pt x="989048" y="91727"/>
                      <a:pt x="976961" y="104487"/>
                    </a:cubicBezTo>
                    <a:cubicBezTo>
                      <a:pt x="964874" y="117247"/>
                      <a:pt x="935686" y="102779"/>
                      <a:pt x="920244" y="123537"/>
                    </a:cubicBezTo>
                    <a:cubicBezTo>
                      <a:pt x="904802" y="144295"/>
                      <a:pt x="901868" y="202166"/>
                      <a:pt x="884309" y="229033"/>
                    </a:cubicBezTo>
                    <a:cubicBezTo>
                      <a:pt x="866750" y="255900"/>
                      <a:pt x="823732" y="254253"/>
                      <a:pt x="814892" y="284740"/>
                    </a:cubicBezTo>
                    <a:cubicBezTo>
                      <a:pt x="806052" y="315227"/>
                      <a:pt x="835096" y="382659"/>
                      <a:pt x="831271" y="411956"/>
                    </a:cubicBezTo>
                    <a:cubicBezTo>
                      <a:pt x="827447" y="441253"/>
                      <a:pt x="809672" y="444031"/>
                      <a:pt x="791945" y="460520"/>
                    </a:cubicBezTo>
                    <a:cubicBezTo>
                      <a:pt x="774218" y="477009"/>
                      <a:pt x="732558" y="490177"/>
                      <a:pt x="724909" y="510887"/>
                    </a:cubicBezTo>
                    <a:cubicBezTo>
                      <a:pt x="717260" y="531597"/>
                      <a:pt x="731753" y="563227"/>
                      <a:pt x="746052" y="584778"/>
                    </a:cubicBezTo>
                    <a:cubicBezTo>
                      <a:pt x="760351" y="606329"/>
                      <a:pt x="799930" y="617105"/>
                      <a:pt x="810706" y="640196"/>
                    </a:cubicBezTo>
                    <a:cubicBezTo>
                      <a:pt x="821482" y="663287"/>
                      <a:pt x="826689" y="710827"/>
                      <a:pt x="810706" y="723323"/>
                    </a:cubicBezTo>
                    <a:cubicBezTo>
                      <a:pt x="794723" y="735819"/>
                      <a:pt x="761036" y="786907"/>
                      <a:pt x="729094" y="800894"/>
                    </a:cubicBezTo>
                    <a:cubicBezTo>
                      <a:pt x="697152" y="814881"/>
                      <a:pt x="645919" y="800159"/>
                      <a:pt x="619052" y="807243"/>
                    </a:cubicBezTo>
                    <a:cubicBezTo>
                      <a:pt x="592185" y="814327"/>
                      <a:pt x="577957" y="827786"/>
                      <a:pt x="567891" y="843396"/>
                    </a:cubicBezTo>
                    <a:cubicBezTo>
                      <a:pt x="557825" y="859007"/>
                      <a:pt x="576778" y="873101"/>
                      <a:pt x="558654" y="900906"/>
                    </a:cubicBezTo>
                    <a:cubicBezTo>
                      <a:pt x="540530" y="928711"/>
                      <a:pt x="488263" y="978959"/>
                      <a:pt x="459147" y="1010228"/>
                    </a:cubicBezTo>
                    <a:cubicBezTo>
                      <a:pt x="430031" y="1041497"/>
                      <a:pt x="410128" y="1067546"/>
                      <a:pt x="383958" y="1088520"/>
                    </a:cubicBezTo>
                    <a:cubicBezTo>
                      <a:pt x="357788" y="1109494"/>
                      <a:pt x="324751" y="1123373"/>
                      <a:pt x="302129" y="1136073"/>
                    </a:cubicBezTo>
                    <a:cubicBezTo>
                      <a:pt x="279507" y="1148773"/>
                      <a:pt x="263969" y="1152718"/>
                      <a:pt x="248226" y="1164720"/>
                    </a:cubicBezTo>
                    <a:cubicBezTo>
                      <a:pt x="232483" y="1176723"/>
                      <a:pt x="215525" y="1186212"/>
                      <a:pt x="207672" y="1208088"/>
                    </a:cubicBezTo>
                    <a:cubicBezTo>
                      <a:pt x="199819" y="1229964"/>
                      <a:pt x="214516" y="1273633"/>
                      <a:pt x="201106" y="1295978"/>
                    </a:cubicBezTo>
                    <a:cubicBezTo>
                      <a:pt x="187697" y="1318323"/>
                      <a:pt x="144148" y="1329844"/>
                      <a:pt x="127215" y="1342159"/>
                    </a:cubicBezTo>
                    <a:cubicBezTo>
                      <a:pt x="110282" y="1354474"/>
                      <a:pt x="113360" y="1352936"/>
                      <a:pt x="99506" y="1369869"/>
                    </a:cubicBezTo>
                    <a:cubicBezTo>
                      <a:pt x="85651" y="1386802"/>
                      <a:pt x="60672" y="1423302"/>
                      <a:pt x="44088" y="1443759"/>
                    </a:cubicBezTo>
                    <a:cubicBezTo>
                      <a:pt x="27504" y="1464216"/>
                      <a:pt x="7697" y="1484915"/>
                      <a:pt x="0" y="1492612"/>
                    </a:cubicBezTo>
                  </a:path>
                </a:pathLst>
              </a:custGeom>
              <a:noFill/>
              <a:ln w="15875" cmpd="sng">
                <a:solidFill>
                  <a:schemeClr val="accent6"/>
                </a:solidFill>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34" name="Freeform 33"/>
              <p:cNvSpPr/>
              <p:nvPr/>
            </p:nvSpPr>
            <p:spPr>
              <a:xfrm>
                <a:off x="2723868" y="2718691"/>
                <a:ext cx="746670" cy="852829"/>
              </a:xfrm>
              <a:custGeom>
                <a:avLst/>
                <a:gdLst>
                  <a:gd name="connsiteX0" fmla="*/ 0 w 1035050"/>
                  <a:gd name="connsiteY0" fmla="*/ 0 h 977900"/>
                  <a:gd name="connsiteX1" fmla="*/ 120650 w 1035050"/>
                  <a:gd name="connsiteY1" fmla="*/ 88900 h 977900"/>
                  <a:gd name="connsiteX2" fmla="*/ 146050 w 1035050"/>
                  <a:gd name="connsiteY2" fmla="*/ 209550 h 977900"/>
                  <a:gd name="connsiteX3" fmla="*/ 120650 w 1035050"/>
                  <a:gd name="connsiteY3" fmla="*/ 292100 h 977900"/>
                  <a:gd name="connsiteX4" fmla="*/ 120650 w 1035050"/>
                  <a:gd name="connsiteY4" fmla="*/ 400050 h 977900"/>
                  <a:gd name="connsiteX5" fmla="*/ 165100 w 1035050"/>
                  <a:gd name="connsiteY5" fmla="*/ 412750 h 977900"/>
                  <a:gd name="connsiteX6" fmla="*/ 209550 w 1035050"/>
                  <a:gd name="connsiteY6" fmla="*/ 476250 h 977900"/>
                  <a:gd name="connsiteX7" fmla="*/ 209550 w 1035050"/>
                  <a:gd name="connsiteY7" fmla="*/ 520700 h 977900"/>
                  <a:gd name="connsiteX8" fmla="*/ 349250 w 1035050"/>
                  <a:gd name="connsiteY8" fmla="*/ 628650 h 977900"/>
                  <a:gd name="connsiteX9" fmla="*/ 450850 w 1035050"/>
                  <a:gd name="connsiteY9" fmla="*/ 660400 h 977900"/>
                  <a:gd name="connsiteX10" fmla="*/ 539750 w 1035050"/>
                  <a:gd name="connsiteY10" fmla="*/ 641350 h 977900"/>
                  <a:gd name="connsiteX11" fmla="*/ 603250 w 1035050"/>
                  <a:gd name="connsiteY11" fmla="*/ 730250 h 977900"/>
                  <a:gd name="connsiteX12" fmla="*/ 622300 w 1035050"/>
                  <a:gd name="connsiteY12" fmla="*/ 806450 h 977900"/>
                  <a:gd name="connsiteX13" fmla="*/ 635000 w 1035050"/>
                  <a:gd name="connsiteY13" fmla="*/ 857250 h 977900"/>
                  <a:gd name="connsiteX14" fmla="*/ 654050 w 1035050"/>
                  <a:gd name="connsiteY14" fmla="*/ 869950 h 977900"/>
                  <a:gd name="connsiteX15" fmla="*/ 660400 w 1035050"/>
                  <a:gd name="connsiteY15" fmla="*/ 901700 h 977900"/>
                  <a:gd name="connsiteX16" fmla="*/ 723900 w 1035050"/>
                  <a:gd name="connsiteY16" fmla="*/ 901700 h 977900"/>
                  <a:gd name="connsiteX17" fmla="*/ 762000 w 1035050"/>
                  <a:gd name="connsiteY17" fmla="*/ 927100 h 977900"/>
                  <a:gd name="connsiteX18" fmla="*/ 812800 w 1035050"/>
                  <a:gd name="connsiteY18" fmla="*/ 971550 h 977900"/>
                  <a:gd name="connsiteX19" fmla="*/ 908050 w 1035050"/>
                  <a:gd name="connsiteY19" fmla="*/ 971550 h 977900"/>
                  <a:gd name="connsiteX20" fmla="*/ 971550 w 1035050"/>
                  <a:gd name="connsiteY20" fmla="*/ 952500 h 977900"/>
                  <a:gd name="connsiteX21" fmla="*/ 1035050 w 1035050"/>
                  <a:gd name="connsiteY21" fmla="*/ 977900 h 977900"/>
                  <a:gd name="connsiteX0" fmla="*/ 0 w 1035050"/>
                  <a:gd name="connsiteY0" fmla="*/ 0 h 977900"/>
                  <a:gd name="connsiteX1" fmla="*/ 120650 w 1035050"/>
                  <a:gd name="connsiteY1" fmla="*/ 88900 h 977900"/>
                  <a:gd name="connsiteX2" fmla="*/ 146050 w 1035050"/>
                  <a:gd name="connsiteY2" fmla="*/ 209550 h 977900"/>
                  <a:gd name="connsiteX3" fmla="*/ 120650 w 1035050"/>
                  <a:gd name="connsiteY3" fmla="*/ 292100 h 977900"/>
                  <a:gd name="connsiteX4" fmla="*/ 120650 w 1035050"/>
                  <a:gd name="connsiteY4" fmla="*/ 400050 h 977900"/>
                  <a:gd name="connsiteX5" fmla="*/ 165100 w 1035050"/>
                  <a:gd name="connsiteY5" fmla="*/ 412750 h 977900"/>
                  <a:gd name="connsiteX6" fmla="*/ 209550 w 1035050"/>
                  <a:gd name="connsiteY6" fmla="*/ 476250 h 977900"/>
                  <a:gd name="connsiteX7" fmla="*/ 209550 w 1035050"/>
                  <a:gd name="connsiteY7" fmla="*/ 520700 h 977900"/>
                  <a:gd name="connsiteX8" fmla="*/ 349250 w 1035050"/>
                  <a:gd name="connsiteY8" fmla="*/ 628650 h 977900"/>
                  <a:gd name="connsiteX9" fmla="*/ 450850 w 1035050"/>
                  <a:gd name="connsiteY9" fmla="*/ 660400 h 977900"/>
                  <a:gd name="connsiteX10" fmla="*/ 539750 w 1035050"/>
                  <a:gd name="connsiteY10" fmla="*/ 641350 h 977900"/>
                  <a:gd name="connsiteX11" fmla="*/ 603250 w 1035050"/>
                  <a:gd name="connsiteY11" fmla="*/ 730250 h 977900"/>
                  <a:gd name="connsiteX12" fmla="*/ 622300 w 1035050"/>
                  <a:gd name="connsiteY12" fmla="*/ 806450 h 977900"/>
                  <a:gd name="connsiteX13" fmla="*/ 623094 w 1035050"/>
                  <a:gd name="connsiteY13" fmla="*/ 845343 h 977900"/>
                  <a:gd name="connsiteX14" fmla="*/ 654050 w 1035050"/>
                  <a:gd name="connsiteY14" fmla="*/ 869950 h 977900"/>
                  <a:gd name="connsiteX15" fmla="*/ 660400 w 1035050"/>
                  <a:gd name="connsiteY15" fmla="*/ 901700 h 977900"/>
                  <a:gd name="connsiteX16" fmla="*/ 723900 w 1035050"/>
                  <a:gd name="connsiteY16" fmla="*/ 901700 h 977900"/>
                  <a:gd name="connsiteX17" fmla="*/ 762000 w 1035050"/>
                  <a:gd name="connsiteY17" fmla="*/ 927100 h 977900"/>
                  <a:gd name="connsiteX18" fmla="*/ 812800 w 1035050"/>
                  <a:gd name="connsiteY18" fmla="*/ 971550 h 977900"/>
                  <a:gd name="connsiteX19" fmla="*/ 908050 w 1035050"/>
                  <a:gd name="connsiteY19" fmla="*/ 971550 h 977900"/>
                  <a:gd name="connsiteX20" fmla="*/ 971550 w 1035050"/>
                  <a:gd name="connsiteY20" fmla="*/ 952500 h 977900"/>
                  <a:gd name="connsiteX21" fmla="*/ 1035050 w 1035050"/>
                  <a:gd name="connsiteY21" fmla="*/ 977900 h 977900"/>
                  <a:gd name="connsiteX0" fmla="*/ 0 w 1035050"/>
                  <a:gd name="connsiteY0" fmla="*/ 0 h 977900"/>
                  <a:gd name="connsiteX1" fmla="*/ 120650 w 1035050"/>
                  <a:gd name="connsiteY1" fmla="*/ 88900 h 977900"/>
                  <a:gd name="connsiteX2" fmla="*/ 146050 w 1035050"/>
                  <a:gd name="connsiteY2" fmla="*/ 209550 h 977900"/>
                  <a:gd name="connsiteX3" fmla="*/ 120650 w 1035050"/>
                  <a:gd name="connsiteY3" fmla="*/ 292100 h 977900"/>
                  <a:gd name="connsiteX4" fmla="*/ 120650 w 1035050"/>
                  <a:gd name="connsiteY4" fmla="*/ 400050 h 977900"/>
                  <a:gd name="connsiteX5" fmla="*/ 165100 w 1035050"/>
                  <a:gd name="connsiteY5" fmla="*/ 412750 h 977900"/>
                  <a:gd name="connsiteX6" fmla="*/ 209550 w 1035050"/>
                  <a:gd name="connsiteY6" fmla="*/ 476250 h 977900"/>
                  <a:gd name="connsiteX7" fmla="*/ 209550 w 1035050"/>
                  <a:gd name="connsiteY7" fmla="*/ 520700 h 977900"/>
                  <a:gd name="connsiteX8" fmla="*/ 349250 w 1035050"/>
                  <a:gd name="connsiteY8" fmla="*/ 628650 h 977900"/>
                  <a:gd name="connsiteX9" fmla="*/ 450850 w 1035050"/>
                  <a:gd name="connsiteY9" fmla="*/ 660400 h 977900"/>
                  <a:gd name="connsiteX10" fmla="*/ 539750 w 1035050"/>
                  <a:gd name="connsiteY10" fmla="*/ 641350 h 977900"/>
                  <a:gd name="connsiteX11" fmla="*/ 603250 w 1035050"/>
                  <a:gd name="connsiteY11" fmla="*/ 730250 h 977900"/>
                  <a:gd name="connsiteX12" fmla="*/ 622300 w 1035050"/>
                  <a:gd name="connsiteY12" fmla="*/ 806450 h 977900"/>
                  <a:gd name="connsiteX13" fmla="*/ 623094 w 1035050"/>
                  <a:gd name="connsiteY13" fmla="*/ 845343 h 977900"/>
                  <a:gd name="connsiteX14" fmla="*/ 654050 w 1035050"/>
                  <a:gd name="connsiteY14" fmla="*/ 869950 h 977900"/>
                  <a:gd name="connsiteX15" fmla="*/ 660400 w 1035050"/>
                  <a:gd name="connsiteY15" fmla="*/ 901700 h 977900"/>
                  <a:gd name="connsiteX16" fmla="*/ 723900 w 1035050"/>
                  <a:gd name="connsiteY16" fmla="*/ 901700 h 977900"/>
                  <a:gd name="connsiteX17" fmla="*/ 762000 w 1035050"/>
                  <a:gd name="connsiteY17" fmla="*/ 927100 h 977900"/>
                  <a:gd name="connsiteX18" fmla="*/ 812800 w 1035050"/>
                  <a:gd name="connsiteY18" fmla="*/ 971550 h 977900"/>
                  <a:gd name="connsiteX19" fmla="*/ 908050 w 1035050"/>
                  <a:gd name="connsiteY19" fmla="*/ 971550 h 977900"/>
                  <a:gd name="connsiteX20" fmla="*/ 971550 w 1035050"/>
                  <a:gd name="connsiteY20" fmla="*/ 952500 h 977900"/>
                  <a:gd name="connsiteX21" fmla="*/ 1035050 w 1035050"/>
                  <a:gd name="connsiteY21" fmla="*/ 977900 h 977900"/>
                  <a:gd name="connsiteX0" fmla="*/ 0 w 1035050"/>
                  <a:gd name="connsiteY0" fmla="*/ 0 h 977900"/>
                  <a:gd name="connsiteX1" fmla="*/ 120650 w 1035050"/>
                  <a:gd name="connsiteY1" fmla="*/ 88900 h 977900"/>
                  <a:gd name="connsiteX2" fmla="*/ 146050 w 1035050"/>
                  <a:gd name="connsiteY2" fmla="*/ 209550 h 977900"/>
                  <a:gd name="connsiteX3" fmla="*/ 120650 w 1035050"/>
                  <a:gd name="connsiteY3" fmla="*/ 292100 h 977900"/>
                  <a:gd name="connsiteX4" fmla="*/ 120650 w 1035050"/>
                  <a:gd name="connsiteY4" fmla="*/ 400050 h 977900"/>
                  <a:gd name="connsiteX5" fmla="*/ 165100 w 1035050"/>
                  <a:gd name="connsiteY5" fmla="*/ 412750 h 977900"/>
                  <a:gd name="connsiteX6" fmla="*/ 209550 w 1035050"/>
                  <a:gd name="connsiteY6" fmla="*/ 476250 h 977900"/>
                  <a:gd name="connsiteX7" fmla="*/ 209550 w 1035050"/>
                  <a:gd name="connsiteY7" fmla="*/ 520700 h 977900"/>
                  <a:gd name="connsiteX8" fmla="*/ 349250 w 1035050"/>
                  <a:gd name="connsiteY8" fmla="*/ 628650 h 977900"/>
                  <a:gd name="connsiteX9" fmla="*/ 450850 w 1035050"/>
                  <a:gd name="connsiteY9" fmla="*/ 660400 h 977900"/>
                  <a:gd name="connsiteX10" fmla="*/ 539750 w 1035050"/>
                  <a:gd name="connsiteY10" fmla="*/ 641350 h 977900"/>
                  <a:gd name="connsiteX11" fmla="*/ 603250 w 1035050"/>
                  <a:gd name="connsiteY11" fmla="*/ 730250 h 977900"/>
                  <a:gd name="connsiteX12" fmla="*/ 622300 w 1035050"/>
                  <a:gd name="connsiteY12" fmla="*/ 806450 h 977900"/>
                  <a:gd name="connsiteX13" fmla="*/ 623094 w 1035050"/>
                  <a:gd name="connsiteY13" fmla="*/ 845343 h 977900"/>
                  <a:gd name="connsiteX14" fmla="*/ 654050 w 1035050"/>
                  <a:gd name="connsiteY14" fmla="*/ 869950 h 977900"/>
                  <a:gd name="connsiteX15" fmla="*/ 660400 w 1035050"/>
                  <a:gd name="connsiteY15" fmla="*/ 901700 h 977900"/>
                  <a:gd name="connsiteX16" fmla="*/ 735806 w 1035050"/>
                  <a:gd name="connsiteY16" fmla="*/ 896937 h 977900"/>
                  <a:gd name="connsiteX17" fmla="*/ 762000 w 1035050"/>
                  <a:gd name="connsiteY17" fmla="*/ 927100 h 977900"/>
                  <a:gd name="connsiteX18" fmla="*/ 812800 w 1035050"/>
                  <a:gd name="connsiteY18" fmla="*/ 971550 h 977900"/>
                  <a:gd name="connsiteX19" fmla="*/ 908050 w 1035050"/>
                  <a:gd name="connsiteY19" fmla="*/ 971550 h 977900"/>
                  <a:gd name="connsiteX20" fmla="*/ 971550 w 1035050"/>
                  <a:gd name="connsiteY20" fmla="*/ 952500 h 977900"/>
                  <a:gd name="connsiteX21" fmla="*/ 1035050 w 1035050"/>
                  <a:gd name="connsiteY21" fmla="*/ 977900 h 977900"/>
                  <a:gd name="connsiteX0" fmla="*/ 0 w 1035050"/>
                  <a:gd name="connsiteY0" fmla="*/ 0 h 977900"/>
                  <a:gd name="connsiteX1" fmla="*/ 120650 w 1035050"/>
                  <a:gd name="connsiteY1" fmla="*/ 88900 h 977900"/>
                  <a:gd name="connsiteX2" fmla="*/ 146050 w 1035050"/>
                  <a:gd name="connsiteY2" fmla="*/ 209550 h 977900"/>
                  <a:gd name="connsiteX3" fmla="*/ 120650 w 1035050"/>
                  <a:gd name="connsiteY3" fmla="*/ 292100 h 977900"/>
                  <a:gd name="connsiteX4" fmla="*/ 120650 w 1035050"/>
                  <a:gd name="connsiteY4" fmla="*/ 400050 h 977900"/>
                  <a:gd name="connsiteX5" fmla="*/ 165100 w 1035050"/>
                  <a:gd name="connsiteY5" fmla="*/ 412750 h 977900"/>
                  <a:gd name="connsiteX6" fmla="*/ 209550 w 1035050"/>
                  <a:gd name="connsiteY6" fmla="*/ 476250 h 977900"/>
                  <a:gd name="connsiteX7" fmla="*/ 209550 w 1035050"/>
                  <a:gd name="connsiteY7" fmla="*/ 520700 h 977900"/>
                  <a:gd name="connsiteX8" fmla="*/ 349250 w 1035050"/>
                  <a:gd name="connsiteY8" fmla="*/ 628650 h 977900"/>
                  <a:gd name="connsiteX9" fmla="*/ 450850 w 1035050"/>
                  <a:gd name="connsiteY9" fmla="*/ 660400 h 977900"/>
                  <a:gd name="connsiteX10" fmla="*/ 539750 w 1035050"/>
                  <a:gd name="connsiteY10" fmla="*/ 641350 h 977900"/>
                  <a:gd name="connsiteX11" fmla="*/ 603250 w 1035050"/>
                  <a:gd name="connsiteY11" fmla="*/ 730250 h 977900"/>
                  <a:gd name="connsiteX12" fmla="*/ 622300 w 1035050"/>
                  <a:gd name="connsiteY12" fmla="*/ 806450 h 977900"/>
                  <a:gd name="connsiteX13" fmla="*/ 623094 w 1035050"/>
                  <a:gd name="connsiteY13" fmla="*/ 845343 h 977900"/>
                  <a:gd name="connsiteX14" fmla="*/ 654050 w 1035050"/>
                  <a:gd name="connsiteY14" fmla="*/ 869950 h 977900"/>
                  <a:gd name="connsiteX15" fmla="*/ 679450 w 1035050"/>
                  <a:gd name="connsiteY15" fmla="*/ 899319 h 977900"/>
                  <a:gd name="connsiteX16" fmla="*/ 735806 w 1035050"/>
                  <a:gd name="connsiteY16" fmla="*/ 896937 h 977900"/>
                  <a:gd name="connsiteX17" fmla="*/ 762000 w 1035050"/>
                  <a:gd name="connsiteY17" fmla="*/ 927100 h 977900"/>
                  <a:gd name="connsiteX18" fmla="*/ 812800 w 1035050"/>
                  <a:gd name="connsiteY18" fmla="*/ 971550 h 977900"/>
                  <a:gd name="connsiteX19" fmla="*/ 908050 w 1035050"/>
                  <a:gd name="connsiteY19" fmla="*/ 971550 h 977900"/>
                  <a:gd name="connsiteX20" fmla="*/ 971550 w 1035050"/>
                  <a:gd name="connsiteY20" fmla="*/ 952500 h 977900"/>
                  <a:gd name="connsiteX21" fmla="*/ 1035050 w 1035050"/>
                  <a:gd name="connsiteY21" fmla="*/ 977900 h 977900"/>
                  <a:gd name="connsiteX0" fmla="*/ 0 w 1035050"/>
                  <a:gd name="connsiteY0" fmla="*/ 0 h 977900"/>
                  <a:gd name="connsiteX1" fmla="*/ 120650 w 1035050"/>
                  <a:gd name="connsiteY1" fmla="*/ 88900 h 977900"/>
                  <a:gd name="connsiteX2" fmla="*/ 146050 w 1035050"/>
                  <a:gd name="connsiteY2" fmla="*/ 209550 h 977900"/>
                  <a:gd name="connsiteX3" fmla="*/ 120650 w 1035050"/>
                  <a:gd name="connsiteY3" fmla="*/ 292100 h 977900"/>
                  <a:gd name="connsiteX4" fmla="*/ 120650 w 1035050"/>
                  <a:gd name="connsiteY4" fmla="*/ 400050 h 977900"/>
                  <a:gd name="connsiteX5" fmla="*/ 165100 w 1035050"/>
                  <a:gd name="connsiteY5" fmla="*/ 412750 h 977900"/>
                  <a:gd name="connsiteX6" fmla="*/ 209550 w 1035050"/>
                  <a:gd name="connsiteY6" fmla="*/ 476250 h 977900"/>
                  <a:gd name="connsiteX7" fmla="*/ 209550 w 1035050"/>
                  <a:gd name="connsiteY7" fmla="*/ 520700 h 977900"/>
                  <a:gd name="connsiteX8" fmla="*/ 349250 w 1035050"/>
                  <a:gd name="connsiteY8" fmla="*/ 628650 h 977900"/>
                  <a:gd name="connsiteX9" fmla="*/ 450850 w 1035050"/>
                  <a:gd name="connsiteY9" fmla="*/ 660400 h 977900"/>
                  <a:gd name="connsiteX10" fmla="*/ 539750 w 1035050"/>
                  <a:gd name="connsiteY10" fmla="*/ 641350 h 977900"/>
                  <a:gd name="connsiteX11" fmla="*/ 603250 w 1035050"/>
                  <a:gd name="connsiteY11" fmla="*/ 730250 h 977900"/>
                  <a:gd name="connsiteX12" fmla="*/ 622300 w 1035050"/>
                  <a:gd name="connsiteY12" fmla="*/ 806450 h 977900"/>
                  <a:gd name="connsiteX13" fmla="*/ 623094 w 1035050"/>
                  <a:gd name="connsiteY13" fmla="*/ 845343 h 977900"/>
                  <a:gd name="connsiteX14" fmla="*/ 654050 w 1035050"/>
                  <a:gd name="connsiteY14" fmla="*/ 869950 h 977900"/>
                  <a:gd name="connsiteX15" fmla="*/ 679450 w 1035050"/>
                  <a:gd name="connsiteY15" fmla="*/ 899319 h 977900"/>
                  <a:gd name="connsiteX16" fmla="*/ 735806 w 1035050"/>
                  <a:gd name="connsiteY16" fmla="*/ 896937 h 977900"/>
                  <a:gd name="connsiteX17" fmla="*/ 771525 w 1035050"/>
                  <a:gd name="connsiteY17" fmla="*/ 922338 h 977900"/>
                  <a:gd name="connsiteX18" fmla="*/ 812800 w 1035050"/>
                  <a:gd name="connsiteY18" fmla="*/ 971550 h 977900"/>
                  <a:gd name="connsiteX19" fmla="*/ 908050 w 1035050"/>
                  <a:gd name="connsiteY19" fmla="*/ 971550 h 977900"/>
                  <a:gd name="connsiteX20" fmla="*/ 971550 w 1035050"/>
                  <a:gd name="connsiteY20" fmla="*/ 952500 h 977900"/>
                  <a:gd name="connsiteX21" fmla="*/ 1035050 w 1035050"/>
                  <a:gd name="connsiteY21" fmla="*/ 977900 h 977900"/>
                  <a:gd name="connsiteX0" fmla="*/ 0 w 1035050"/>
                  <a:gd name="connsiteY0" fmla="*/ 0 h 977900"/>
                  <a:gd name="connsiteX1" fmla="*/ 120650 w 1035050"/>
                  <a:gd name="connsiteY1" fmla="*/ 88900 h 977900"/>
                  <a:gd name="connsiteX2" fmla="*/ 146050 w 1035050"/>
                  <a:gd name="connsiteY2" fmla="*/ 209550 h 977900"/>
                  <a:gd name="connsiteX3" fmla="*/ 120650 w 1035050"/>
                  <a:gd name="connsiteY3" fmla="*/ 292100 h 977900"/>
                  <a:gd name="connsiteX4" fmla="*/ 120650 w 1035050"/>
                  <a:gd name="connsiteY4" fmla="*/ 400050 h 977900"/>
                  <a:gd name="connsiteX5" fmla="*/ 165100 w 1035050"/>
                  <a:gd name="connsiteY5" fmla="*/ 412750 h 977900"/>
                  <a:gd name="connsiteX6" fmla="*/ 209550 w 1035050"/>
                  <a:gd name="connsiteY6" fmla="*/ 476250 h 977900"/>
                  <a:gd name="connsiteX7" fmla="*/ 209550 w 1035050"/>
                  <a:gd name="connsiteY7" fmla="*/ 520700 h 977900"/>
                  <a:gd name="connsiteX8" fmla="*/ 349250 w 1035050"/>
                  <a:gd name="connsiteY8" fmla="*/ 628650 h 977900"/>
                  <a:gd name="connsiteX9" fmla="*/ 450850 w 1035050"/>
                  <a:gd name="connsiteY9" fmla="*/ 660400 h 977900"/>
                  <a:gd name="connsiteX10" fmla="*/ 539750 w 1035050"/>
                  <a:gd name="connsiteY10" fmla="*/ 641350 h 977900"/>
                  <a:gd name="connsiteX11" fmla="*/ 603250 w 1035050"/>
                  <a:gd name="connsiteY11" fmla="*/ 730250 h 977900"/>
                  <a:gd name="connsiteX12" fmla="*/ 622300 w 1035050"/>
                  <a:gd name="connsiteY12" fmla="*/ 806450 h 977900"/>
                  <a:gd name="connsiteX13" fmla="*/ 623094 w 1035050"/>
                  <a:gd name="connsiteY13" fmla="*/ 845343 h 977900"/>
                  <a:gd name="connsiteX14" fmla="*/ 654050 w 1035050"/>
                  <a:gd name="connsiteY14" fmla="*/ 869950 h 977900"/>
                  <a:gd name="connsiteX15" fmla="*/ 679450 w 1035050"/>
                  <a:gd name="connsiteY15" fmla="*/ 899319 h 977900"/>
                  <a:gd name="connsiteX16" fmla="*/ 735806 w 1035050"/>
                  <a:gd name="connsiteY16" fmla="*/ 896937 h 977900"/>
                  <a:gd name="connsiteX17" fmla="*/ 771525 w 1035050"/>
                  <a:gd name="connsiteY17" fmla="*/ 922338 h 977900"/>
                  <a:gd name="connsiteX18" fmla="*/ 815181 w 1035050"/>
                  <a:gd name="connsiteY18" fmla="*/ 962025 h 977900"/>
                  <a:gd name="connsiteX19" fmla="*/ 908050 w 1035050"/>
                  <a:gd name="connsiteY19" fmla="*/ 971550 h 977900"/>
                  <a:gd name="connsiteX20" fmla="*/ 971550 w 1035050"/>
                  <a:gd name="connsiteY20" fmla="*/ 952500 h 977900"/>
                  <a:gd name="connsiteX21" fmla="*/ 1035050 w 1035050"/>
                  <a:gd name="connsiteY21" fmla="*/ 977900 h 977900"/>
                  <a:gd name="connsiteX0" fmla="*/ 0 w 1020803"/>
                  <a:gd name="connsiteY0" fmla="*/ 0 h 989997"/>
                  <a:gd name="connsiteX1" fmla="*/ 106403 w 1020803"/>
                  <a:gd name="connsiteY1" fmla="*/ 100997 h 989997"/>
                  <a:gd name="connsiteX2" fmla="*/ 131803 w 1020803"/>
                  <a:gd name="connsiteY2" fmla="*/ 221647 h 989997"/>
                  <a:gd name="connsiteX3" fmla="*/ 106403 w 1020803"/>
                  <a:gd name="connsiteY3" fmla="*/ 304197 h 989997"/>
                  <a:gd name="connsiteX4" fmla="*/ 106403 w 1020803"/>
                  <a:gd name="connsiteY4" fmla="*/ 412147 h 989997"/>
                  <a:gd name="connsiteX5" fmla="*/ 150853 w 1020803"/>
                  <a:gd name="connsiteY5" fmla="*/ 424847 h 989997"/>
                  <a:gd name="connsiteX6" fmla="*/ 195303 w 1020803"/>
                  <a:gd name="connsiteY6" fmla="*/ 488347 h 989997"/>
                  <a:gd name="connsiteX7" fmla="*/ 195303 w 1020803"/>
                  <a:gd name="connsiteY7" fmla="*/ 532797 h 989997"/>
                  <a:gd name="connsiteX8" fmla="*/ 335003 w 1020803"/>
                  <a:gd name="connsiteY8" fmla="*/ 640747 h 989997"/>
                  <a:gd name="connsiteX9" fmla="*/ 436603 w 1020803"/>
                  <a:gd name="connsiteY9" fmla="*/ 672497 h 989997"/>
                  <a:gd name="connsiteX10" fmla="*/ 525503 w 1020803"/>
                  <a:gd name="connsiteY10" fmla="*/ 653447 h 989997"/>
                  <a:gd name="connsiteX11" fmla="*/ 589003 w 1020803"/>
                  <a:gd name="connsiteY11" fmla="*/ 742347 h 989997"/>
                  <a:gd name="connsiteX12" fmla="*/ 608053 w 1020803"/>
                  <a:gd name="connsiteY12" fmla="*/ 818547 h 989997"/>
                  <a:gd name="connsiteX13" fmla="*/ 608847 w 1020803"/>
                  <a:gd name="connsiteY13" fmla="*/ 857440 h 989997"/>
                  <a:gd name="connsiteX14" fmla="*/ 639803 w 1020803"/>
                  <a:gd name="connsiteY14" fmla="*/ 882047 h 989997"/>
                  <a:gd name="connsiteX15" fmla="*/ 665203 w 1020803"/>
                  <a:gd name="connsiteY15" fmla="*/ 911416 h 989997"/>
                  <a:gd name="connsiteX16" fmla="*/ 721559 w 1020803"/>
                  <a:gd name="connsiteY16" fmla="*/ 909034 h 989997"/>
                  <a:gd name="connsiteX17" fmla="*/ 757278 w 1020803"/>
                  <a:gd name="connsiteY17" fmla="*/ 934435 h 989997"/>
                  <a:gd name="connsiteX18" fmla="*/ 800934 w 1020803"/>
                  <a:gd name="connsiteY18" fmla="*/ 974122 h 989997"/>
                  <a:gd name="connsiteX19" fmla="*/ 893803 w 1020803"/>
                  <a:gd name="connsiteY19" fmla="*/ 983647 h 989997"/>
                  <a:gd name="connsiteX20" fmla="*/ 957303 w 1020803"/>
                  <a:gd name="connsiteY20" fmla="*/ 964597 h 989997"/>
                  <a:gd name="connsiteX21" fmla="*/ 1020803 w 1020803"/>
                  <a:gd name="connsiteY21" fmla="*/ 989997 h 9899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020803" h="989997">
                    <a:moveTo>
                      <a:pt x="0" y="0"/>
                    </a:moveTo>
                    <a:cubicBezTo>
                      <a:pt x="48154" y="26987"/>
                      <a:pt x="84436" y="64056"/>
                      <a:pt x="106403" y="100997"/>
                    </a:cubicBezTo>
                    <a:cubicBezTo>
                      <a:pt x="128370" y="137938"/>
                      <a:pt x="131803" y="187780"/>
                      <a:pt x="131803" y="221647"/>
                    </a:cubicBezTo>
                    <a:cubicBezTo>
                      <a:pt x="131803" y="255514"/>
                      <a:pt x="110636" y="272447"/>
                      <a:pt x="106403" y="304197"/>
                    </a:cubicBezTo>
                    <a:cubicBezTo>
                      <a:pt x="102170" y="335947"/>
                      <a:pt x="98995" y="392039"/>
                      <a:pt x="106403" y="412147"/>
                    </a:cubicBezTo>
                    <a:cubicBezTo>
                      <a:pt x="113811" y="432255"/>
                      <a:pt x="136036" y="412147"/>
                      <a:pt x="150853" y="424847"/>
                    </a:cubicBezTo>
                    <a:cubicBezTo>
                      <a:pt x="165670" y="437547"/>
                      <a:pt x="187895" y="470355"/>
                      <a:pt x="195303" y="488347"/>
                    </a:cubicBezTo>
                    <a:cubicBezTo>
                      <a:pt x="202711" y="506339"/>
                      <a:pt x="172020" y="507397"/>
                      <a:pt x="195303" y="532797"/>
                    </a:cubicBezTo>
                    <a:cubicBezTo>
                      <a:pt x="218586" y="558197"/>
                      <a:pt x="294786" y="617464"/>
                      <a:pt x="335003" y="640747"/>
                    </a:cubicBezTo>
                    <a:cubicBezTo>
                      <a:pt x="375220" y="664030"/>
                      <a:pt x="404853" y="670380"/>
                      <a:pt x="436603" y="672497"/>
                    </a:cubicBezTo>
                    <a:cubicBezTo>
                      <a:pt x="468353" y="674614"/>
                      <a:pt x="500103" y="641805"/>
                      <a:pt x="525503" y="653447"/>
                    </a:cubicBezTo>
                    <a:cubicBezTo>
                      <a:pt x="550903" y="665089"/>
                      <a:pt x="575245" y="714830"/>
                      <a:pt x="589003" y="742347"/>
                    </a:cubicBezTo>
                    <a:cubicBezTo>
                      <a:pt x="602761" y="769864"/>
                      <a:pt x="604746" y="799365"/>
                      <a:pt x="608053" y="818547"/>
                    </a:cubicBezTo>
                    <a:cubicBezTo>
                      <a:pt x="611360" y="837729"/>
                      <a:pt x="603555" y="846857"/>
                      <a:pt x="608847" y="857440"/>
                    </a:cubicBezTo>
                    <a:cubicBezTo>
                      <a:pt x="614139" y="868023"/>
                      <a:pt x="630410" y="873051"/>
                      <a:pt x="639803" y="882047"/>
                    </a:cubicBezTo>
                    <a:cubicBezTo>
                      <a:pt x="649196" y="891043"/>
                      <a:pt x="651577" y="906918"/>
                      <a:pt x="665203" y="911416"/>
                    </a:cubicBezTo>
                    <a:cubicBezTo>
                      <a:pt x="678829" y="915914"/>
                      <a:pt x="706213" y="905198"/>
                      <a:pt x="721559" y="909034"/>
                    </a:cubicBezTo>
                    <a:cubicBezTo>
                      <a:pt x="736905" y="912871"/>
                      <a:pt x="744049" y="923587"/>
                      <a:pt x="757278" y="934435"/>
                    </a:cubicBezTo>
                    <a:cubicBezTo>
                      <a:pt x="770507" y="945283"/>
                      <a:pt x="778180" y="965920"/>
                      <a:pt x="800934" y="974122"/>
                    </a:cubicBezTo>
                    <a:cubicBezTo>
                      <a:pt x="823688" y="982324"/>
                      <a:pt x="867742" y="985234"/>
                      <a:pt x="893803" y="983647"/>
                    </a:cubicBezTo>
                    <a:cubicBezTo>
                      <a:pt x="919864" y="982060"/>
                      <a:pt x="936136" y="963539"/>
                      <a:pt x="957303" y="964597"/>
                    </a:cubicBezTo>
                    <a:cubicBezTo>
                      <a:pt x="978470" y="965655"/>
                      <a:pt x="999636" y="977826"/>
                      <a:pt x="1020803" y="989997"/>
                    </a:cubicBezTo>
                  </a:path>
                </a:pathLst>
              </a:custGeom>
              <a:noFill/>
              <a:ln w="15875" cmpd="sng">
                <a:solidFill>
                  <a:schemeClr val="accent6"/>
                </a:solidFill>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35" name="Freeform 34"/>
              <p:cNvSpPr/>
              <p:nvPr/>
            </p:nvSpPr>
            <p:spPr>
              <a:xfrm>
                <a:off x="3269173" y="3532794"/>
                <a:ext cx="829411" cy="2220228"/>
              </a:xfrm>
              <a:custGeom>
                <a:avLst/>
                <a:gdLst>
                  <a:gd name="connsiteX0" fmla="*/ 6350 w 1231900"/>
                  <a:gd name="connsiteY0" fmla="*/ 0 h 3143250"/>
                  <a:gd name="connsiteX1" fmla="*/ 19050 w 1231900"/>
                  <a:gd name="connsiteY1" fmla="*/ 120650 h 3143250"/>
                  <a:gd name="connsiteX2" fmla="*/ 12700 w 1231900"/>
                  <a:gd name="connsiteY2" fmla="*/ 158750 h 3143250"/>
                  <a:gd name="connsiteX3" fmla="*/ 44450 w 1231900"/>
                  <a:gd name="connsiteY3" fmla="*/ 209550 h 3143250"/>
                  <a:gd name="connsiteX4" fmla="*/ 31750 w 1231900"/>
                  <a:gd name="connsiteY4" fmla="*/ 234950 h 3143250"/>
                  <a:gd name="connsiteX5" fmla="*/ 44450 w 1231900"/>
                  <a:gd name="connsiteY5" fmla="*/ 273050 h 3143250"/>
                  <a:gd name="connsiteX6" fmla="*/ 25400 w 1231900"/>
                  <a:gd name="connsiteY6" fmla="*/ 298450 h 3143250"/>
                  <a:gd name="connsiteX7" fmla="*/ 44450 w 1231900"/>
                  <a:gd name="connsiteY7" fmla="*/ 355600 h 3143250"/>
                  <a:gd name="connsiteX8" fmla="*/ 25400 w 1231900"/>
                  <a:gd name="connsiteY8" fmla="*/ 463550 h 3143250"/>
                  <a:gd name="connsiteX9" fmla="*/ 6350 w 1231900"/>
                  <a:gd name="connsiteY9" fmla="*/ 520700 h 3143250"/>
                  <a:gd name="connsiteX10" fmla="*/ 0 w 1231900"/>
                  <a:gd name="connsiteY10" fmla="*/ 603250 h 3143250"/>
                  <a:gd name="connsiteX11" fmla="*/ 44450 w 1231900"/>
                  <a:gd name="connsiteY11" fmla="*/ 647700 h 3143250"/>
                  <a:gd name="connsiteX12" fmla="*/ 57150 w 1231900"/>
                  <a:gd name="connsiteY12" fmla="*/ 704850 h 3143250"/>
                  <a:gd name="connsiteX13" fmla="*/ 114300 w 1231900"/>
                  <a:gd name="connsiteY13" fmla="*/ 749300 h 3143250"/>
                  <a:gd name="connsiteX14" fmla="*/ 171450 w 1231900"/>
                  <a:gd name="connsiteY14" fmla="*/ 768350 h 3143250"/>
                  <a:gd name="connsiteX15" fmla="*/ 234950 w 1231900"/>
                  <a:gd name="connsiteY15" fmla="*/ 806450 h 3143250"/>
                  <a:gd name="connsiteX16" fmla="*/ 222250 w 1231900"/>
                  <a:gd name="connsiteY16" fmla="*/ 857250 h 3143250"/>
                  <a:gd name="connsiteX17" fmla="*/ 266700 w 1231900"/>
                  <a:gd name="connsiteY17" fmla="*/ 901700 h 3143250"/>
                  <a:gd name="connsiteX18" fmla="*/ 374650 w 1231900"/>
                  <a:gd name="connsiteY18" fmla="*/ 1003300 h 3143250"/>
                  <a:gd name="connsiteX19" fmla="*/ 419100 w 1231900"/>
                  <a:gd name="connsiteY19" fmla="*/ 1028700 h 3143250"/>
                  <a:gd name="connsiteX20" fmla="*/ 457200 w 1231900"/>
                  <a:gd name="connsiteY20" fmla="*/ 1098550 h 3143250"/>
                  <a:gd name="connsiteX21" fmla="*/ 558800 w 1231900"/>
                  <a:gd name="connsiteY21" fmla="*/ 1143000 h 3143250"/>
                  <a:gd name="connsiteX22" fmla="*/ 603250 w 1231900"/>
                  <a:gd name="connsiteY22" fmla="*/ 1162050 h 3143250"/>
                  <a:gd name="connsiteX23" fmla="*/ 628650 w 1231900"/>
                  <a:gd name="connsiteY23" fmla="*/ 1212850 h 3143250"/>
                  <a:gd name="connsiteX24" fmla="*/ 704850 w 1231900"/>
                  <a:gd name="connsiteY24" fmla="*/ 1212850 h 3143250"/>
                  <a:gd name="connsiteX25" fmla="*/ 774700 w 1231900"/>
                  <a:gd name="connsiteY25" fmla="*/ 1295400 h 3143250"/>
                  <a:gd name="connsiteX26" fmla="*/ 819150 w 1231900"/>
                  <a:gd name="connsiteY26" fmla="*/ 1352550 h 3143250"/>
                  <a:gd name="connsiteX27" fmla="*/ 901700 w 1231900"/>
                  <a:gd name="connsiteY27" fmla="*/ 1416050 h 3143250"/>
                  <a:gd name="connsiteX28" fmla="*/ 946150 w 1231900"/>
                  <a:gd name="connsiteY28" fmla="*/ 1460500 h 3143250"/>
                  <a:gd name="connsiteX29" fmla="*/ 1022350 w 1231900"/>
                  <a:gd name="connsiteY29" fmla="*/ 1612900 h 3143250"/>
                  <a:gd name="connsiteX30" fmla="*/ 1016000 w 1231900"/>
                  <a:gd name="connsiteY30" fmla="*/ 1657350 h 3143250"/>
                  <a:gd name="connsiteX31" fmla="*/ 1060450 w 1231900"/>
                  <a:gd name="connsiteY31" fmla="*/ 1720850 h 3143250"/>
                  <a:gd name="connsiteX32" fmla="*/ 1079500 w 1231900"/>
                  <a:gd name="connsiteY32" fmla="*/ 1809750 h 3143250"/>
                  <a:gd name="connsiteX33" fmla="*/ 1136650 w 1231900"/>
                  <a:gd name="connsiteY33" fmla="*/ 1981200 h 3143250"/>
                  <a:gd name="connsiteX34" fmla="*/ 1168400 w 1231900"/>
                  <a:gd name="connsiteY34" fmla="*/ 2044700 h 3143250"/>
                  <a:gd name="connsiteX35" fmla="*/ 1231900 w 1231900"/>
                  <a:gd name="connsiteY35" fmla="*/ 2095500 h 3143250"/>
                  <a:gd name="connsiteX36" fmla="*/ 1193800 w 1231900"/>
                  <a:gd name="connsiteY36" fmla="*/ 2139950 h 3143250"/>
                  <a:gd name="connsiteX37" fmla="*/ 1187450 w 1231900"/>
                  <a:gd name="connsiteY37" fmla="*/ 2190750 h 3143250"/>
                  <a:gd name="connsiteX38" fmla="*/ 1187450 w 1231900"/>
                  <a:gd name="connsiteY38" fmla="*/ 2241550 h 3143250"/>
                  <a:gd name="connsiteX39" fmla="*/ 1206500 w 1231900"/>
                  <a:gd name="connsiteY39" fmla="*/ 2273300 h 3143250"/>
                  <a:gd name="connsiteX40" fmla="*/ 1187450 w 1231900"/>
                  <a:gd name="connsiteY40" fmla="*/ 2305050 h 3143250"/>
                  <a:gd name="connsiteX41" fmla="*/ 1206500 w 1231900"/>
                  <a:gd name="connsiteY41" fmla="*/ 2368550 h 3143250"/>
                  <a:gd name="connsiteX42" fmla="*/ 1149350 w 1231900"/>
                  <a:gd name="connsiteY42" fmla="*/ 2527300 h 3143250"/>
                  <a:gd name="connsiteX43" fmla="*/ 1104900 w 1231900"/>
                  <a:gd name="connsiteY43" fmla="*/ 2565400 h 3143250"/>
                  <a:gd name="connsiteX44" fmla="*/ 1073150 w 1231900"/>
                  <a:gd name="connsiteY44" fmla="*/ 2597150 h 3143250"/>
                  <a:gd name="connsiteX45" fmla="*/ 996950 w 1231900"/>
                  <a:gd name="connsiteY45" fmla="*/ 2616200 h 3143250"/>
                  <a:gd name="connsiteX46" fmla="*/ 958850 w 1231900"/>
                  <a:gd name="connsiteY46" fmla="*/ 2679700 h 3143250"/>
                  <a:gd name="connsiteX47" fmla="*/ 831850 w 1231900"/>
                  <a:gd name="connsiteY47" fmla="*/ 2762250 h 3143250"/>
                  <a:gd name="connsiteX48" fmla="*/ 723900 w 1231900"/>
                  <a:gd name="connsiteY48" fmla="*/ 2736850 h 3143250"/>
                  <a:gd name="connsiteX49" fmla="*/ 647700 w 1231900"/>
                  <a:gd name="connsiteY49" fmla="*/ 2730500 h 3143250"/>
                  <a:gd name="connsiteX50" fmla="*/ 565150 w 1231900"/>
                  <a:gd name="connsiteY50" fmla="*/ 2736850 h 3143250"/>
                  <a:gd name="connsiteX51" fmla="*/ 482600 w 1231900"/>
                  <a:gd name="connsiteY51" fmla="*/ 2844800 h 3143250"/>
                  <a:gd name="connsiteX52" fmla="*/ 431800 w 1231900"/>
                  <a:gd name="connsiteY52" fmla="*/ 2908300 h 3143250"/>
                  <a:gd name="connsiteX53" fmla="*/ 361950 w 1231900"/>
                  <a:gd name="connsiteY53" fmla="*/ 2946400 h 3143250"/>
                  <a:gd name="connsiteX54" fmla="*/ 342900 w 1231900"/>
                  <a:gd name="connsiteY54" fmla="*/ 3022600 h 3143250"/>
                  <a:gd name="connsiteX55" fmla="*/ 254000 w 1231900"/>
                  <a:gd name="connsiteY55" fmla="*/ 3143250 h 3143250"/>
                  <a:gd name="connsiteX0" fmla="*/ 6350 w 1231900"/>
                  <a:gd name="connsiteY0" fmla="*/ 0 h 3302000"/>
                  <a:gd name="connsiteX1" fmla="*/ 19050 w 1231900"/>
                  <a:gd name="connsiteY1" fmla="*/ 120650 h 3302000"/>
                  <a:gd name="connsiteX2" fmla="*/ 12700 w 1231900"/>
                  <a:gd name="connsiteY2" fmla="*/ 158750 h 3302000"/>
                  <a:gd name="connsiteX3" fmla="*/ 44450 w 1231900"/>
                  <a:gd name="connsiteY3" fmla="*/ 209550 h 3302000"/>
                  <a:gd name="connsiteX4" fmla="*/ 31750 w 1231900"/>
                  <a:gd name="connsiteY4" fmla="*/ 234950 h 3302000"/>
                  <a:gd name="connsiteX5" fmla="*/ 44450 w 1231900"/>
                  <a:gd name="connsiteY5" fmla="*/ 273050 h 3302000"/>
                  <a:gd name="connsiteX6" fmla="*/ 25400 w 1231900"/>
                  <a:gd name="connsiteY6" fmla="*/ 298450 h 3302000"/>
                  <a:gd name="connsiteX7" fmla="*/ 44450 w 1231900"/>
                  <a:gd name="connsiteY7" fmla="*/ 355600 h 3302000"/>
                  <a:gd name="connsiteX8" fmla="*/ 25400 w 1231900"/>
                  <a:gd name="connsiteY8" fmla="*/ 463550 h 3302000"/>
                  <a:gd name="connsiteX9" fmla="*/ 6350 w 1231900"/>
                  <a:gd name="connsiteY9" fmla="*/ 520700 h 3302000"/>
                  <a:gd name="connsiteX10" fmla="*/ 0 w 1231900"/>
                  <a:gd name="connsiteY10" fmla="*/ 603250 h 3302000"/>
                  <a:gd name="connsiteX11" fmla="*/ 44450 w 1231900"/>
                  <a:gd name="connsiteY11" fmla="*/ 647700 h 3302000"/>
                  <a:gd name="connsiteX12" fmla="*/ 57150 w 1231900"/>
                  <a:gd name="connsiteY12" fmla="*/ 704850 h 3302000"/>
                  <a:gd name="connsiteX13" fmla="*/ 114300 w 1231900"/>
                  <a:gd name="connsiteY13" fmla="*/ 749300 h 3302000"/>
                  <a:gd name="connsiteX14" fmla="*/ 171450 w 1231900"/>
                  <a:gd name="connsiteY14" fmla="*/ 768350 h 3302000"/>
                  <a:gd name="connsiteX15" fmla="*/ 234950 w 1231900"/>
                  <a:gd name="connsiteY15" fmla="*/ 806450 h 3302000"/>
                  <a:gd name="connsiteX16" fmla="*/ 222250 w 1231900"/>
                  <a:gd name="connsiteY16" fmla="*/ 857250 h 3302000"/>
                  <a:gd name="connsiteX17" fmla="*/ 266700 w 1231900"/>
                  <a:gd name="connsiteY17" fmla="*/ 901700 h 3302000"/>
                  <a:gd name="connsiteX18" fmla="*/ 374650 w 1231900"/>
                  <a:gd name="connsiteY18" fmla="*/ 1003300 h 3302000"/>
                  <a:gd name="connsiteX19" fmla="*/ 419100 w 1231900"/>
                  <a:gd name="connsiteY19" fmla="*/ 1028700 h 3302000"/>
                  <a:gd name="connsiteX20" fmla="*/ 457200 w 1231900"/>
                  <a:gd name="connsiteY20" fmla="*/ 1098550 h 3302000"/>
                  <a:gd name="connsiteX21" fmla="*/ 558800 w 1231900"/>
                  <a:gd name="connsiteY21" fmla="*/ 1143000 h 3302000"/>
                  <a:gd name="connsiteX22" fmla="*/ 603250 w 1231900"/>
                  <a:gd name="connsiteY22" fmla="*/ 1162050 h 3302000"/>
                  <a:gd name="connsiteX23" fmla="*/ 628650 w 1231900"/>
                  <a:gd name="connsiteY23" fmla="*/ 1212850 h 3302000"/>
                  <a:gd name="connsiteX24" fmla="*/ 704850 w 1231900"/>
                  <a:gd name="connsiteY24" fmla="*/ 1212850 h 3302000"/>
                  <a:gd name="connsiteX25" fmla="*/ 774700 w 1231900"/>
                  <a:gd name="connsiteY25" fmla="*/ 1295400 h 3302000"/>
                  <a:gd name="connsiteX26" fmla="*/ 819150 w 1231900"/>
                  <a:gd name="connsiteY26" fmla="*/ 1352550 h 3302000"/>
                  <a:gd name="connsiteX27" fmla="*/ 901700 w 1231900"/>
                  <a:gd name="connsiteY27" fmla="*/ 1416050 h 3302000"/>
                  <a:gd name="connsiteX28" fmla="*/ 946150 w 1231900"/>
                  <a:gd name="connsiteY28" fmla="*/ 1460500 h 3302000"/>
                  <a:gd name="connsiteX29" fmla="*/ 1022350 w 1231900"/>
                  <a:gd name="connsiteY29" fmla="*/ 1612900 h 3302000"/>
                  <a:gd name="connsiteX30" fmla="*/ 1016000 w 1231900"/>
                  <a:gd name="connsiteY30" fmla="*/ 1657350 h 3302000"/>
                  <a:gd name="connsiteX31" fmla="*/ 1060450 w 1231900"/>
                  <a:gd name="connsiteY31" fmla="*/ 1720850 h 3302000"/>
                  <a:gd name="connsiteX32" fmla="*/ 1079500 w 1231900"/>
                  <a:gd name="connsiteY32" fmla="*/ 1809750 h 3302000"/>
                  <a:gd name="connsiteX33" fmla="*/ 1136650 w 1231900"/>
                  <a:gd name="connsiteY33" fmla="*/ 1981200 h 3302000"/>
                  <a:gd name="connsiteX34" fmla="*/ 1168400 w 1231900"/>
                  <a:gd name="connsiteY34" fmla="*/ 2044700 h 3302000"/>
                  <a:gd name="connsiteX35" fmla="*/ 1231900 w 1231900"/>
                  <a:gd name="connsiteY35" fmla="*/ 2095500 h 3302000"/>
                  <a:gd name="connsiteX36" fmla="*/ 1193800 w 1231900"/>
                  <a:gd name="connsiteY36" fmla="*/ 2139950 h 3302000"/>
                  <a:gd name="connsiteX37" fmla="*/ 1187450 w 1231900"/>
                  <a:gd name="connsiteY37" fmla="*/ 2190750 h 3302000"/>
                  <a:gd name="connsiteX38" fmla="*/ 1187450 w 1231900"/>
                  <a:gd name="connsiteY38" fmla="*/ 2241550 h 3302000"/>
                  <a:gd name="connsiteX39" fmla="*/ 1206500 w 1231900"/>
                  <a:gd name="connsiteY39" fmla="*/ 2273300 h 3302000"/>
                  <a:gd name="connsiteX40" fmla="*/ 1187450 w 1231900"/>
                  <a:gd name="connsiteY40" fmla="*/ 2305050 h 3302000"/>
                  <a:gd name="connsiteX41" fmla="*/ 1206500 w 1231900"/>
                  <a:gd name="connsiteY41" fmla="*/ 2368550 h 3302000"/>
                  <a:gd name="connsiteX42" fmla="*/ 1149350 w 1231900"/>
                  <a:gd name="connsiteY42" fmla="*/ 2527300 h 3302000"/>
                  <a:gd name="connsiteX43" fmla="*/ 1104900 w 1231900"/>
                  <a:gd name="connsiteY43" fmla="*/ 2565400 h 3302000"/>
                  <a:gd name="connsiteX44" fmla="*/ 1073150 w 1231900"/>
                  <a:gd name="connsiteY44" fmla="*/ 2597150 h 3302000"/>
                  <a:gd name="connsiteX45" fmla="*/ 996950 w 1231900"/>
                  <a:gd name="connsiteY45" fmla="*/ 2616200 h 3302000"/>
                  <a:gd name="connsiteX46" fmla="*/ 958850 w 1231900"/>
                  <a:gd name="connsiteY46" fmla="*/ 2679700 h 3302000"/>
                  <a:gd name="connsiteX47" fmla="*/ 831850 w 1231900"/>
                  <a:gd name="connsiteY47" fmla="*/ 2762250 h 3302000"/>
                  <a:gd name="connsiteX48" fmla="*/ 723900 w 1231900"/>
                  <a:gd name="connsiteY48" fmla="*/ 2736850 h 3302000"/>
                  <a:gd name="connsiteX49" fmla="*/ 647700 w 1231900"/>
                  <a:gd name="connsiteY49" fmla="*/ 2730500 h 3302000"/>
                  <a:gd name="connsiteX50" fmla="*/ 565150 w 1231900"/>
                  <a:gd name="connsiteY50" fmla="*/ 2736850 h 3302000"/>
                  <a:gd name="connsiteX51" fmla="*/ 482600 w 1231900"/>
                  <a:gd name="connsiteY51" fmla="*/ 2844800 h 3302000"/>
                  <a:gd name="connsiteX52" fmla="*/ 431800 w 1231900"/>
                  <a:gd name="connsiteY52" fmla="*/ 2908300 h 3302000"/>
                  <a:gd name="connsiteX53" fmla="*/ 361950 w 1231900"/>
                  <a:gd name="connsiteY53" fmla="*/ 2946400 h 3302000"/>
                  <a:gd name="connsiteX54" fmla="*/ 342900 w 1231900"/>
                  <a:gd name="connsiteY54" fmla="*/ 3022600 h 3302000"/>
                  <a:gd name="connsiteX55" fmla="*/ 171450 w 1231900"/>
                  <a:gd name="connsiteY55" fmla="*/ 3302000 h 3302000"/>
                  <a:gd name="connsiteX0" fmla="*/ 6350 w 1231900"/>
                  <a:gd name="connsiteY0" fmla="*/ 0 h 3302000"/>
                  <a:gd name="connsiteX1" fmla="*/ 19050 w 1231900"/>
                  <a:gd name="connsiteY1" fmla="*/ 120650 h 3302000"/>
                  <a:gd name="connsiteX2" fmla="*/ 12700 w 1231900"/>
                  <a:gd name="connsiteY2" fmla="*/ 158750 h 3302000"/>
                  <a:gd name="connsiteX3" fmla="*/ 44450 w 1231900"/>
                  <a:gd name="connsiteY3" fmla="*/ 209550 h 3302000"/>
                  <a:gd name="connsiteX4" fmla="*/ 31750 w 1231900"/>
                  <a:gd name="connsiteY4" fmla="*/ 234950 h 3302000"/>
                  <a:gd name="connsiteX5" fmla="*/ 44450 w 1231900"/>
                  <a:gd name="connsiteY5" fmla="*/ 273050 h 3302000"/>
                  <a:gd name="connsiteX6" fmla="*/ 25400 w 1231900"/>
                  <a:gd name="connsiteY6" fmla="*/ 298450 h 3302000"/>
                  <a:gd name="connsiteX7" fmla="*/ 44450 w 1231900"/>
                  <a:gd name="connsiteY7" fmla="*/ 355600 h 3302000"/>
                  <a:gd name="connsiteX8" fmla="*/ 25400 w 1231900"/>
                  <a:gd name="connsiteY8" fmla="*/ 463550 h 3302000"/>
                  <a:gd name="connsiteX9" fmla="*/ 6350 w 1231900"/>
                  <a:gd name="connsiteY9" fmla="*/ 520700 h 3302000"/>
                  <a:gd name="connsiteX10" fmla="*/ 0 w 1231900"/>
                  <a:gd name="connsiteY10" fmla="*/ 603250 h 3302000"/>
                  <a:gd name="connsiteX11" fmla="*/ 44450 w 1231900"/>
                  <a:gd name="connsiteY11" fmla="*/ 647700 h 3302000"/>
                  <a:gd name="connsiteX12" fmla="*/ 57150 w 1231900"/>
                  <a:gd name="connsiteY12" fmla="*/ 704850 h 3302000"/>
                  <a:gd name="connsiteX13" fmla="*/ 114300 w 1231900"/>
                  <a:gd name="connsiteY13" fmla="*/ 749300 h 3302000"/>
                  <a:gd name="connsiteX14" fmla="*/ 171450 w 1231900"/>
                  <a:gd name="connsiteY14" fmla="*/ 768350 h 3302000"/>
                  <a:gd name="connsiteX15" fmla="*/ 234950 w 1231900"/>
                  <a:gd name="connsiteY15" fmla="*/ 806450 h 3302000"/>
                  <a:gd name="connsiteX16" fmla="*/ 222250 w 1231900"/>
                  <a:gd name="connsiteY16" fmla="*/ 857250 h 3302000"/>
                  <a:gd name="connsiteX17" fmla="*/ 266700 w 1231900"/>
                  <a:gd name="connsiteY17" fmla="*/ 901700 h 3302000"/>
                  <a:gd name="connsiteX18" fmla="*/ 374650 w 1231900"/>
                  <a:gd name="connsiteY18" fmla="*/ 1003300 h 3302000"/>
                  <a:gd name="connsiteX19" fmla="*/ 419100 w 1231900"/>
                  <a:gd name="connsiteY19" fmla="*/ 1028700 h 3302000"/>
                  <a:gd name="connsiteX20" fmla="*/ 457200 w 1231900"/>
                  <a:gd name="connsiteY20" fmla="*/ 1098550 h 3302000"/>
                  <a:gd name="connsiteX21" fmla="*/ 558800 w 1231900"/>
                  <a:gd name="connsiteY21" fmla="*/ 1143000 h 3302000"/>
                  <a:gd name="connsiteX22" fmla="*/ 603250 w 1231900"/>
                  <a:gd name="connsiteY22" fmla="*/ 1162050 h 3302000"/>
                  <a:gd name="connsiteX23" fmla="*/ 628650 w 1231900"/>
                  <a:gd name="connsiteY23" fmla="*/ 1212850 h 3302000"/>
                  <a:gd name="connsiteX24" fmla="*/ 704850 w 1231900"/>
                  <a:gd name="connsiteY24" fmla="*/ 1212850 h 3302000"/>
                  <a:gd name="connsiteX25" fmla="*/ 774700 w 1231900"/>
                  <a:gd name="connsiteY25" fmla="*/ 1295400 h 3302000"/>
                  <a:gd name="connsiteX26" fmla="*/ 819150 w 1231900"/>
                  <a:gd name="connsiteY26" fmla="*/ 1352550 h 3302000"/>
                  <a:gd name="connsiteX27" fmla="*/ 901700 w 1231900"/>
                  <a:gd name="connsiteY27" fmla="*/ 1416050 h 3302000"/>
                  <a:gd name="connsiteX28" fmla="*/ 946150 w 1231900"/>
                  <a:gd name="connsiteY28" fmla="*/ 1460500 h 3302000"/>
                  <a:gd name="connsiteX29" fmla="*/ 1022350 w 1231900"/>
                  <a:gd name="connsiteY29" fmla="*/ 1612900 h 3302000"/>
                  <a:gd name="connsiteX30" fmla="*/ 1016000 w 1231900"/>
                  <a:gd name="connsiteY30" fmla="*/ 1657350 h 3302000"/>
                  <a:gd name="connsiteX31" fmla="*/ 1060450 w 1231900"/>
                  <a:gd name="connsiteY31" fmla="*/ 1720850 h 3302000"/>
                  <a:gd name="connsiteX32" fmla="*/ 1079500 w 1231900"/>
                  <a:gd name="connsiteY32" fmla="*/ 1809750 h 3302000"/>
                  <a:gd name="connsiteX33" fmla="*/ 1136650 w 1231900"/>
                  <a:gd name="connsiteY33" fmla="*/ 1981200 h 3302000"/>
                  <a:gd name="connsiteX34" fmla="*/ 1168400 w 1231900"/>
                  <a:gd name="connsiteY34" fmla="*/ 2044700 h 3302000"/>
                  <a:gd name="connsiteX35" fmla="*/ 1231900 w 1231900"/>
                  <a:gd name="connsiteY35" fmla="*/ 2095500 h 3302000"/>
                  <a:gd name="connsiteX36" fmla="*/ 1193800 w 1231900"/>
                  <a:gd name="connsiteY36" fmla="*/ 2139950 h 3302000"/>
                  <a:gd name="connsiteX37" fmla="*/ 1187450 w 1231900"/>
                  <a:gd name="connsiteY37" fmla="*/ 2190750 h 3302000"/>
                  <a:gd name="connsiteX38" fmla="*/ 1187450 w 1231900"/>
                  <a:gd name="connsiteY38" fmla="*/ 2241550 h 3302000"/>
                  <a:gd name="connsiteX39" fmla="*/ 1206500 w 1231900"/>
                  <a:gd name="connsiteY39" fmla="*/ 2273300 h 3302000"/>
                  <a:gd name="connsiteX40" fmla="*/ 1187450 w 1231900"/>
                  <a:gd name="connsiteY40" fmla="*/ 2305050 h 3302000"/>
                  <a:gd name="connsiteX41" fmla="*/ 1206500 w 1231900"/>
                  <a:gd name="connsiteY41" fmla="*/ 2368550 h 3302000"/>
                  <a:gd name="connsiteX42" fmla="*/ 1149350 w 1231900"/>
                  <a:gd name="connsiteY42" fmla="*/ 2527300 h 3302000"/>
                  <a:gd name="connsiteX43" fmla="*/ 1104900 w 1231900"/>
                  <a:gd name="connsiteY43" fmla="*/ 2565400 h 3302000"/>
                  <a:gd name="connsiteX44" fmla="*/ 1073150 w 1231900"/>
                  <a:gd name="connsiteY44" fmla="*/ 2597150 h 3302000"/>
                  <a:gd name="connsiteX45" fmla="*/ 996950 w 1231900"/>
                  <a:gd name="connsiteY45" fmla="*/ 2616200 h 3302000"/>
                  <a:gd name="connsiteX46" fmla="*/ 958850 w 1231900"/>
                  <a:gd name="connsiteY46" fmla="*/ 2679700 h 3302000"/>
                  <a:gd name="connsiteX47" fmla="*/ 831850 w 1231900"/>
                  <a:gd name="connsiteY47" fmla="*/ 2762250 h 3302000"/>
                  <a:gd name="connsiteX48" fmla="*/ 723900 w 1231900"/>
                  <a:gd name="connsiteY48" fmla="*/ 2736850 h 3302000"/>
                  <a:gd name="connsiteX49" fmla="*/ 647700 w 1231900"/>
                  <a:gd name="connsiteY49" fmla="*/ 2730500 h 3302000"/>
                  <a:gd name="connsiteX50" fmla="*/ 565150 w 1231900"/>
                  <a:gd name="connsiteY50" fmla="*/ 2736850 h 3302000"/>
                  <a:gd name="connsiteX51" fmla="*/ 482600 w 1231900"/>
                  <a:gd name="connsiteY51" fmla="*/ 2844800 h 3302000"/>
                  <a:gd name="connsiteX52" fmla="*/ 431800 w 1231900"/>
                  <a:gd name="connsiteY52" fmla="*/ 2908300 h 3302000"/>
                  <a:gd name="connsiteX53" fmla="*/ 361950 w 1231900"/>
                  <a:gd name="connsiteY53" fmla="*/ 2946400 h 3302000"/>
                  <a:gd name="connsiteX54" fmla="*/ 342900 w 1231900"/>
                  <a:gd name="connsiteY54" fmla="*/ 3022600 h 3302000"/>
                  <a:gd name="connsiteX55" fmla="*/ 254000 w 1231900"/>
                  <a:gd name="connsiteY55" fmla="*/ 3143250 h 3302000"/>
                  <a:gd name="connsiteX56" fmla="*/ 171450 w 1231900"/>
                  <a:gd name="connsiteY56" fmla="*/ 3302000 h 3302000"/>
                  <a:gd name="connsiteX0" fmla="*/ 6350 w 1231900"/>
                  <a:gd name="connsiteY0" fmla="*/ 0 h 3302000"/>
                  <a:gd name="connsiteX1" fmla="*/ 19050 w 1231900"/>
                  <a:gd name="connsiteY1" fmla="*/ 120650 h 3302000"/>
                  <a:gd name="connsiteX2" fmla="*/ 12700 w 1231900"/>
                  <a:gd name="connsiteY2" fmla="*/ 158750 h 3302000"/>
                  <a:gd name="connsiteX3" fmla="*/ 44450 w 1231900"/>
                  <a:gd name="connsiteY3" fmla="*/ 209550 h 3302000"/>
                  <a:gd name="connsiteX4" fmla="*/ 31750 w 1231900"/>
                  <a:gd name="connsiteY4" fmla="*/ 234950 h 3302000"/>
                  <a:gd name="connsiteX5" fmla="*/ 44450 w 1231900"/>
                  <a:gd name="connsiteY5" fmla="*/ 273050 h 3302000"/>
                  <a:gd name="connsiteX6" fmla="*/ 25400 w 1231900"/>
                  <a:gd name="connsiteY6" fmla="*/ 298450 h 3302000"/>
                  <a:gd name="connsiteX7" fmla="*/ 44450 w 1231900"/>
                  <a:gd name="connsiteY7" fmla="*/ 355600 h 3302000"/>
                  <a:gd name="connsiteX8" fmla="*/ 25400 w 1231900"/>
                  <a:gd name="connsiteY8" fmla="*/ 463550 h 3302000"/>
                  <a:gd name="connsiteX9" fmla="*/ 6350 w 1231900"/>
                  <a:gd name="connsiteY9" fmla="*/ 520700 h 3302000"/>
                  <a:gd name="connsiteX10" fmla="*/ 0 w 1231900"/>
                  <a:gd name="connsiteY10" fmla="*/ 603250 h 3302000"/>
                  <a:gd name="connsiteX11" fmla="*/ 44450 w 1231900"/>
                  <a:gd name="connsiteY11" fmla="*/ 647700 h 3302000"/>
                  <a:gd name="connsiteX12" fmla="*/ 57150 w 1231900"/>
                  <a:gd name="connsiteY12" fmla="*/ 704850 h 3302000"/>
                  <a:gd name="connsiteX13" fmla="*/ 114300 w 1231900"/>
                  <a:gd name="connsiteY13" fmla="*/ 749300 h 3302000"/>
                  <a:gd name="connsiteX14" fmla="*/ 171450 w 1231900"/>
                  <a:gd name="connsiteY14" fmla="*/ 768350 h 3302000"/>
                  <a:gd name="connsiteX15" fmla="*/ 234950 w 1231900"/>
                  <a:gd name="connsiteY15" fmla="*/ 806450 h 3302000"/>
                  <a:gd name="connsiteX16" fmla="*/ 222250 w 1231900"/>
                  <a:gd name="connsiteY16" fmla="*/ 857250 h 3302000"/>
                  <a:gd name="connsiteX17" fmla="*/ 266700 w 1231900"/>
                  <a:gd name="connsiteY17" fmla="*/ 901700 h 3302000"/>
                  <a:gd name="connsiteX18" fmla="*/ 374650 w 1231900"/>
                  <a:gd name="connsiteY18" fmla="*/ 1003300 h 3302000"/>
                  <a:gd name="connsiteX19" fmla="*/ 419100 w 1231900"/>
                  <a:gd name="connsiteY19" fmla="*/ 1028700 h 3302000"/>
                  <a:gd name="connsiteX20" fmla="*/ 457200 w 1231900"/>
                  <a:gd name="connsiteY20" fmla="*/ 1098550 h 3302000"/>
                  <a:gd name="connsiteX21" fmla="*/ 558800 w 1231900"/>
                  <a:gd name="connsiteY21" fmla="*/ 1143000 h 3302000"/>
                  <a:gd name="connsiteX22" fmla="*/ 603250 w 1231900"/>
                  <a:gd name="connsiteY22" fmla="*/ 1162050 h 3302000"/>
                  <a:gd name="connsiteX23" fmla="*/ 628650 w 1231900"/>
                  <a:gd name="connsiteY23" fmla="*/ 1212850 h 3302000"/>
                  <a:gd name="connsiteX24" fmla="*/ 704850 w 1231900"/>
                  <a:gd name="connsiteY24" fmla="*/ 1212850 h 3302000"/>
                  <a:gd name="connsiteX25" fmla="*/ 774700 w 1231900"/>
                  <a:gd name="connsiteY25" fmla="*/ 1295400 h 3302000"/>
                  <a:gd name="connsiteX26" fmla="*/ 819150 w 1231900"/>
                  <a:gd name="connsiteY26" fmla="*/ 1352550 h 3302000"/>
                  <a:gd name="connsiteX27" fmla="*/ 901700 w 1231900"/>
                  <a:gd name="connsiteY27" fmla="*/ 1416050 h 3302000"/>
                  <a:gd name="connsiteX28" fmla="*/ 946150 w 1231900"/>
                  <a:gd name="connsiteY28" fmla="*/ 1460500 h 3302000"/>
                  <a:gd name="connsiteX29" fmla="*/ 1022350 w 1231900"/>
                  <a:gd name="connsiteY29" fmla="*/ 1612900 h 3302000"/>
                  <a:gd name="connsiteX30" fmla="*/ 1016000 w 1231900"/>
                  <a:gd name="connsiteY30" fmla="*/ 1657350 h 3302000"/>
                  <a:gd name="connsiteX31" fmla="*/ 1060450 w 1231900"/>
                  <a:gd name="connsiteY31" fmla="*/ 1720850 h 3302000"/>
                  <a:gd name="connsiteX32" fmla="*/ 1079500 w 1231900"/>
                  <a:gd name="connsiteY32" fmla="*/ 1809750 h 3302000"/>
                  <a:gd name="connsiteX33" fmla="*/ 1136650 w 1231900"/>
                  <a:gd name="connsiteY33" fmla="*/ 1981200 h 3302000"/>
                  <a:gd name="connsiteX34" fmla="*/ 1168400 w 1231900"/>
                  <a:gd name="connsiteY34" fmla="*/ 2044700 h 3302000"/>
                  <a:gd name="connsiteX35" fmla="*/ 1231900 w 1231900"/>
                  <a:gd name="connsiteY35" fmla="*/ 2095500 h 3302000"/>
                  <a:gd name="connsiteX36" fmla="*/ 1193800 w 1231900"/>
                  <a:gd name="connsiteY36" fmla="*/ 2139950 h 3302000"/>
                  <a:gd name="connsiteX37" fmla="*/ 1187450 w 1231900"/>
                  <a:gd name="connsiteY37" fmla="*/ 2190750 h 3302000"/>
                  <a:gd name="connsiteX38" fmla="*/ 1187450 w 1231900"/>
                  <a:gd name="connsiteY38" fmla="*/ 2241550 h 3302000"/>
                  <a:gd name="connsiteX39" fmla="*/ 1206500 w 1231900"/>
                  <a:gd name="connsiteY39" fmla="*/ 2273300 h 3302000"/>
                  <a:gd name="connsiteX40" fmla="*/ 1187450 w 1231900"/>
                  <a:gd name="connsiteY40" fmla="*/ 2305050 h 3302000"/>
                  <a:gd name="connsiteX41" fmla="*/ 1206500 w 1231900"/>
                  <a:gd name="connsiteY41" fmla="*/ 2368550 h 3302000"/>
                  <a:gd name="connsiteX42" fmla="*/ 1149350 w 1231900"/>
                  <a:gd name="connsiteY42" fmla="*/ 2527300 h 3302000"/>
                  <a:gd name="connsiteX43" fmla="*/ 1104900 w 1231900"/>
                  <a:gd name="connsiteY43" fmla="*/ 2565400 h 3302000"/>
                  <a:gd name="connsiteX44" fmla="*/ 1073150 w 1231900"/>
                  <a:gd name="connsiteY44" fmla="*/ 2597150 h 3302000"/>
                  <a:gd name="connsiteX45" fmla="*/ 996950 w 1231900"/>
                  <a:gd name="connsiteY45" fmla="*/ 2616200 h 3302000"/>
                  <a:gd name="connsiteX46" fmla="*/ 958850 w 1231900"/>
                  <a:gd name="connsiteY46" fmla="*/ 2679700 h 3302000"/>
                  <a:gd name="connsiteX47" fmla="*/ 831850 w 1231900"/>
                  <a:gd name="connsiteY47" fmla="*/ 2762250 h 3302000"/>
                  <a:gd name="connsiteX48" fmla="*/ 723900 w 1231900"/>
                  <a:gd name="connsiteY48" fmla="*/ 2736850 h 3302000"/>
                  <a:gd name="connsiteX49" fmla="*/ 647700 w 1231900"/>
                  <a:gd name="connsiteY49" fmla="*/ 2730500 h 3302000"/>
                  <a:gd name="connsiteX50" fmla="*/ 565150 w 1231900"/>
                  <a:gd name="connsiteY50" fmla="*/ 2736850 h 3302000"/>
                  <a:gd name="connsiteX51" fmla="*/ 482600 w 1231900"/>
                  <a:gd name="connsiteY51" fmla="*/ 2844800 h 3302000"/>
                  <a:gd name="connsiteX52" fmla="*/ 431800 w 1231900"/>
                  <a:gd name="connsiteY52" fmla="*/ 2908300 h 3302000"/>
                  <a:gd name="connsiteX53" fmla="*/ 361950 w 1231900"/>
                  <a:gd name="connsiteY53" fmla="*/ 2946400 h 3302000"/>
                  <a:gd name="connsiteX54" fmla="*/ 342900 w 1231900"/>
                  <a:gd name="connsiteY54" fmla="*/ 3022600 h 3302000"/>
                  <a:gd name="connsiteX55" fmla="*/ 254000 w 1231900"/>
                  <a:gd name="connsiteY55" fmla="*/ 3143250 h 3302000"/>
                  <a:gd name="connsiteX56" fmla="*/ 171450 w 1231900"/>
                  <a:gd name="connsiteY56" fmla="*/ 3302000 h 3302000"/>
                  <a:gd name="connsiteX0" fmla="*/ 6350 w 1231900"/>
                  <a:gd name="connsiteY0" fmla="*/ 0 h 3302000"/>
                  <a:gd name="connsiteX1" fmla="*/ 19050 w 1231900"/>
                  <a:gd name="connsiteY1" fmla="*/ 120650 h 3302000"/>
                  <a:gd name="connsiteX2" fmla="*/ 12700 w 1231900"/>
                  <a:gd name="connsiteY2" fmla="*/ 158750 h 3302000"/>
                  <a:gd name="connsiteX3" fmla="*/ 44450 w 1231900"/>
                  <a:gd name="connsiteY3" fmla="*/ 209550 h 3302000"/>
                  <a:gd name="connsiteX4" fmla="*/ 31750 w 1231900"/>
                  <a:gd name="connsiteY4" fmla="*/ 234950 h 3302000"/>
                  <a:gd name="connsiteX5" fmla="*/ 44450 w 1231900"/>
                  <a:gd name="connsiteY5" fmla="*/ 273050 h 3302000"/>
                  <a:gd name="connsiteX6" fmla="*/ 25400 w 1231900"/>
                  <a:gd name="connsiteY6" fmla="*/ 298450 h 3302000"/>
                  <a:gd name="connsiteX7" fmla="*/ 44450 w 1231900"/>
                  <a:gd name="connsiteY7" fmla="*/ 355600 h 3302000"/>
                  <a:gd name="connsiteX8" fmla="*/ 25400 w 1231900"/>
                  <a:gd name="connsiteY8" fmla="*/ 463550 h 3302000"/>
                  <a:gd name="connsiteX9" fmla="*/ 6350 w 1231900"/>
                  <a:gd name="connsiteY9" fmla="*/ 520700 h 3302000"/>
                  <a:gd name="connsiteX10" fmla="*/ 0 w 1231900"/>
                  <a:gd name="connsiteY10" fmla="*/ 603250 h 3302000"/>
                  <a:gd name="connsiteX11" fmla="*/ 44450 w 1231900"/>
                  <a:gd name="connsiteY11" fmla="*/ 647700 h 3302000"/>
                  <a:gd name="connsiteX12" fmla="*/ 57150 w 1231900"/>
                  <a:gd name="connsiteY12" fmla="*/ 704850 h 3302000"/>
                  <a:gd name="connsiteX13" fmla="*/ 114300 w 1231900"/>
                  <a:gd name="connsiteY13" fmla="*/ 749300 h 3302000"/>
                  <a:gd name="connsiteX14" fmla="*/ 171450 w 1231900"/>
                  <a:gd name="connsiteY14" fmla="*/ 768350 h 3302000"/>
                  <a:gd name="connsiteX15" fmla="*/ 234950 w 1231900"/>
                  <a:gd name="connsiteY15" fmla="*/ 806450 h 3302000"/>
                  <a:gd name="connsiteX16" fmla="*/ 222250 w 1231900"/>
                  <a:gd name="connsiteY16" fmla="*/ 857250 h 3302000"/>
                  <a:gd name="connsiteX17" fmla="*/ 266700 w 1231900"/>
                  <a:gd name="connsiteY17" fmla="*/ 901700 h 3302000"/>
                  <a:gd name="connsiteX18" fmla="*/ 374650 w 1231900"/>
                  <a:gd name="connsiteY18" fmla="*/ 1003300 h 3302000"/>
                  <a:gd name="connsiteX19" fmla="*/ 419100 w 1231900"/>
                  <a:gd name="connsiteY19" fmla="*/ 1028700 h 3302000"/>
                  <a:gd name="connsiteX20" fmla="*/ 457200 w 1231900"/>
                  <a:gd name="connsiteY20" fmla="*/ 1098550 h 3302000"/>
                  <a:gd name="connsiteX21" fmla="*/ 558800 w 1231900"/>
                  <a:gd name="connsiteY21" fmla="*/ 1143000 h 3302000"/>
                  <a:gd name="connsiteX22" fmla="*/ 603250 w 1231900"/>
                  <a:gd name="connsiteY22" fmla="*/ 1162050 h 3302000"/>
                  <a:gd name="connsiteX23" fmla="*/ 628650 w 1231900"/>
                  <a:gd name="connsiteY23" fmla="*/ 1212850 h 3302000"/>
                  <a:gd name="connsiteX24" fmla="*/ 704850 w 1231900"/>
                  <a:gd name="connsiteY24" fmla="*/ 1212850 h 3302000"/>
                  <a:gd name="connsiteX25" fmla="*/ 774700 w 1231900"/>
                  <a:gd name="connsiteY25" fmla="*/ 1295400 h 3302000"/>
                  <a:gd name="connsiteX26" fmla="*/ 819150 w 1231900"/>
                  <a:gd name="connsiteY26" fmla="*/ 1352550 h 3302000"/>
                  <a:gd name="connsiteX27" fmla="*/ 901700 w 1231900"/>
                  <a:gd name="connsiteY27" fmla="*/ 1416050 h 3302000"/>
                  <a:gd name="connsiteX28" fmla="*/ 946150 w 1231900"/>
                  <a:gd name="connsiteY28" fmla="*/ 1460500 h 3302000"/>
                  <a:gd name="connsiteX29" fmla="*/ 1022350 w 1231900"/>
                  <a:gd name="connsiteY29" fmla="*/ 1612900 h 3302000"/>
                  <a:gd name="connsiteX30" fmla="*/ 1016000 w 1231900"/>
                  <a:gd name="connsiteY30" fmla="*/ 1657350 h 3302000"/>
                  <a:gd name="connsiteX31" fmla="*/ 1060450 w 1231900"/>
                  <a:gd name="connsiteY31" fmla="*/ 1720850 h 3302000"/>
                  <a:gd name="connsiteX32" fmla="*/ 1079500 w 1231900"/>
                  <a:gd name="connsiteY32" fmla="*/ 1809750 h 3302000"/>
                  <a:gd name="connsiteX33" fmla="*/ 1136650 w 1231900"/>
                  <a:gd name="connsiteY33" fmla="*/ 1981200 h 3302000"/>
                  <a:gd name="connsiteX34" fmla="*/ 1168400 w 1231900"/>
                  <a:gd name="connsiteY34" fmla="*/ 2044700 h 3302000"/>
                  <a:gd name="connsiteX35" fmla="*/ 1231900 w 1231900"/>
                  <a:gd name="connsiteY35" fmla="*/ 2095500 h 3302000"/>
                  <a:gd name="connsiteX36" fmla="*/ 1193800 w 1231900"/>
                  <a:gd name="connsiteY36" fmla="*/ 2139950 h 3302000"/>
                  <a:gd name="connsiteX37" fmla="*/ 1187450 w 1231900"/>
                  <a:gd name="connsiteY37" fmla="*/ 2190750 h 3302000"/>
                  <a:gd name="connsiteX38" fmla="*/ 1187450 w 1231900"/>
                  <a:gd name="connsiteY38" fmla="*/ 2241550 h 3302000"/>
                  <a:gd name="connsiteX39" fmla="*/ 1206500 w 1231900"/>
                  <a:gd name="connsiteY39" fmla="*/ 2273300 h 3302000"/>
                  <a:gd name="connsiteX40" fmla="*/ 1187450 w 1231900"/>
                  <a:gd name="connsiteY40" fmla="*/ 2305050 h 3302000"/>
                  <a:gd name="connsiteX41" fmla="*/ 1206500 w 1231900"/>
                  <a:gd name="connsiteY41" fmla="*/ 2368550 h 3302000"/>
                  <a:gd name="connsiteX42" fmla="*/ 1149350 w 1231900"/>
                  <a:gd name="connsiteY42" fmla="*/ 2527300 h 3302000"/>
                  <a:gd name="connsiteX43" fmla="*/ 1104900 w 1231900"/>
                  <a:gd name="connsiteY43" fmla="*/ 2565400 h 3302000"/>
                  <a:gd name="connsiteX44" fmla="*/ 1073150 w 1231900"/>
                  <a:gd name="connsiteY44" fmla="*/ 2597150 h 3302000"/>
                  <a:gd name="connsiteX45" fmla="*/ 996950 w 1231900"/>
                  <a:gd name="connsiteY45" fmla="*/ 2616200 h 3302000"/>
                  <a:gd name="connsiteX46" fmla="*/ 958850 w 1231900"/>
                  <a:gd name="connsiteY46" fmla="*/ 2679700 h 3302000"/>
                  <a:gd name="connsiteX47" fmla="*/ 831850 w 1231900"/>
                  <a:gd name="connsiteY47" fmla="*/ 2762250 h 3302000"/>
                  <a:gd name="connsiteX48" fmla="*/ 723900 w 1231900"/>
                  <a:gd name="connsiteY48" fmla="*/ 2736850 h 3302000"/>
                  <a:gd name="connsiteX49" fmla="*/ 647700 w 1231900"/>
                  <a:gd name="connsiteY49" fmla="*/ 2730500 h 3302000"/>
                  <a:gd name="connsiteX50" fmla="*/ 565150 w 1231900"/>
                  <a:gd name="connsiteY50" fmla="*/ 2736850 h 3302000"/>
                  <a:gd name="connsiteX51" fmla="*/ 482600 w 1231900"/>
                  <a:gd name="connsiteY51" fmla="*/ 2844800 h 3302000"/>
                  <a:gd name="connsiteX52" fmla="*/ 431800 w 1231900"/>
                  <a:gd name="connsiteY52" fmla="*/ 2908300 h 3302000"/>
                  <a:gd name="connsiteX53" fmla="*/ 361950 w 1231900"/>
                  <a:gd name="connsiteY53" fmla="*/ 2946400 h 3302000"/>
                  <a:gd name="connsiteX54" fmla="*/ 342900 w 1231900"/>
                  <a:gd name="connsiteY54" fmla="*/ 3022600 h 3302000"/>
                  <a:gd name="connsiteX55" fmla="*/ 254000 w 1231900"/>
                  <a:gd name="connsiteY55" fmla="*/ 3143250 h 3302000"/>
                  <a:gd name="connsiteX56" fmla="*/ 171450 w 1231900"/>
                  <a:gd name="connsiteY56" fmla="*/ 3302000 h 3302000"/>
                  <a:gd name="connsiteX0" fmla="*/ 6350 w 1231900"/>
                  <a:gd name="connsiteY0" fmla="*/ 0 h 3302000"/>
                  <a:gd name="connsiteX1" fmla="*/ 19050 w 1231900"/>
                  <a:gd name="connsiteY1" fmla="*/ 120650 h 3302000"/>
                  <a:gd name="connsiteX2" fmla="*/ 12700 w 1231900"/>
                  <a:gd name="connsiteY2" fmla="*/ 158750 h 3302000"/>
                  <a:gd name="connsiteX3" fmla="*/ 44450 w 1231900"/>
                  <a:gd name="connsiteY3" fmla="*/ 209550 h 3302000"/>
                  <a:gd name="connsiteX4" fmla="*/ 31750 w 1231900"/>
                  <a:gd name="connsiteY4" fmla="*/ 234950 h 3302000"/>
                  <a:gd name="connsiteX5" fmla="*/ 44450 w 1231900"/>
                  <a:gd name="connsiteY5" fmla="*/ 273050 h 3302000"/>
                  <a:gd name="connsiteX6" fmla="*/ 25400 w 1231900"/>
                  <a:gd name="connsiteY6" fmla="*/ 298450 h 3302000"/>
                  <a:gd name="connsiteX7" fmla="*/ 44450 w 1231900"/>
                  <a:gd name="connsiteY7" fmla="*/ 355600 h 3302000"/>
                  <a:gd name="connsiteX8" fmla="*/ 25400 w 1231900"/>
                  <a:gd name="connsiteY8" fmla="*/ 463550 h 3302000"/>
                  <a:gd name="connsiteX9" fmla="*/ 6350 w 1231900"/>
                  <a:gd name="connsiteY9" fmla="*/ 520700 h 3302000"/>
                  <a:gd name="connsiteX10" fmla="*/ 0 w 1231900"/>
                  <a:gd name="connsiteY10" fmla="*/ 603250 h 3302000"/>
                  <a:gd name="connsiteX11" fmla="*/ 44450 w 1231900"/>
                  <a:gd name="connsiteY11" fmla="*/ 647700 h 3302000"/>
                  <a:gd name="connsiteX12" fmla="*/ 57150 w 1231900"/>
                  <a:gd name="connsiteY12" fmla="*/ 704850 h 3302000"/>
                  <a:gd name="connsiteX13" fmla="*/ 114300 w 1231900"/>
                  <a:gd name="connsiteY13" fmla="*/ 749300 h 3302000"/>
                  <a:gd name="connsiteX14" fmla="*/ 171450 w 1231900"/>
                  <a:gd name="connsiteY14" fmla="*/ 768350 h 3302000"/>
                  <a:gd name="connsiteX15" fmla="*/ 234950 w 1231900"/>
                  <a:gd name="connsiteY15" fmla="*/ 806450 h 3302000"/>
                  <a:gd name="connsiteX16" fmla="*/ 222250 w 1231900"/>
                  <a:gd name="connsiteY16" fmla="*/ 857250 h 3302000"/>
                  <a:gd name="connsiteX17" fmla="*/ 266700 w 1231900"/>
                  <a:gd name="connsiteY17" fmla="*/ 901700 h 3302000"/>
                  <a:gd name="connsiteX18" fmla="*/ 374650 w 1231900"/>
                  <a:gd name="connsiteY18" fmla="*/ 1003300 h 3302000"/>
                  <a:gd name="connsiteX19" fmla="*/ 419100 w 1231900"/>
                  <a:gd name="connsiteY19" fmla="*/ 1028700 h 3302000"/>
                  <a:gd name="connsiteX20" fmla="*/ 457200 w 1231900"/>
                  <a:gd name="connsiteY20" fmla="*/ 1098550 h 3302000"/>
                  <a:gd name="connsiteX21" fmla="*/ 558800 w 1231900"/>
                  <a:gd name="connsiteY21" fmla="*/ 1143000 h 3302000"/>
                  <a:gd name="connsiteX22" fmla="*/ 603250 w 1231900"/>
                  <a:gd name="connsiteY22" fmla="*/ 1162050 h 3302000"/>
                  <a:gd name="connsiteX23" fmla="*/ 628650 w 1231900"/>
                  <a:gd name="connsiteY23" fmla="*/ 1212850 h 3302000"/>
                  <a:gd name="connsiteX24" fmla="*/ 704850 w 1231900"/>
                  <a:gd name="connsiteY24" fmla="*/ 1212850 h 3302000"/>
                  <a:gd name="connsiteX25" fmla="*/ 774700 w 1231900"/>
                  <a:gd name="connsiteY25" fmla="*/ 1295400 h 3302000"/>
                  <a:gd name="connsiteX26" fmla="*/ 819150 w 1231900"/>
                  <a:gd name="connsiteY26" fmla="*/ 1352550 h 3302000"/>
                  <a:gd name="connsiteX27" fmla="*/ 901700 w 1231900"/>
                  <a:gd name="connsiteY27" fmla="*/ 1416050 h 3302000"/>
                  <a:gd name="connsiteX28" fmla="*/ 946150 w 1231900"/>
                  <a:gd name="connsiteY28" fmla="*/ 1460500 h 3302000"/>
                  <a:gd name="connsiteX29" fmla="*/ 1022350 w 1231900"/>
                  <a:gd name="connsiteY29" fmla="*/ 1612900 h 3302000"/>
                  <a:gd name="connsiteX30" fmla="*/ 1016000 w 1231900"/>
                  <a:gd name="connsiteY30" fmla="*/ 1657350 h 3302000"/>
                  <a:gd name="connsiteX31" fmla="*/ 1060450 w 1231900"/>
                  <a:gd name="connsiteY31" fmla="*/ 1720850 h 3302000"/>
                  <a:gd name="connsiteX32" fmla="*/ 1079500 w 1231900"/>
                  <a:gd name="connsiteY32" fmla="*/ 1809750 h 3302000"/>
                  <a:gd name="connsiteX33" fmla="*/ 1136650 w 1231900"/>
                  <a:gd name="connsiteY33" fmla="*/ 1981200 h 3302000"/>
                  <a:gd name="connsiteX34" fmla="*/ 1168400 w 1231900"/>
                  <a:gd name="connsiteY34" fmla="*/ 2044700 h 3302000"/>
                  <a:gd name="connsiteX35" fmla="*/ 1231900 w 1231900"/>
                  <a:gd name="connsiteY35" fmla="*/ 2095500 h 3302000"/>
                  <a:gd name="connsiteX36" fmla="*/ 1193800 w 1231900"/>
                  <a:gd name="connsiteY36" fmla="*/ 2139950 h 3302000"/>
                  <a:gd name="connsiteX37" fmla="*/ 1187450 w 1231900"/>
                  <a:gd name="connsiteY37" fmla="*/ 2190750 h 3302000"/>
                  <a:gd name="connsiteX38" fmla="*/ 1187450 w 1231900"/>
                  <a:gd name="connsiteY38" fmla="*/ 2241550 h 3302000"/>
                  <a:gd name="connsiteX39" fmla="*/ 1206500 w 1231900"/>
                  <a:gd name="connsiteY39" fmla="*/ 2273300 h 3302000"/>
                  <a:gd name="connsiteX40" fmla="*/ 1187450 w 1231900"/>
                  <a:gd name="connsiteY40" fmla="*/ 2305050 h 3302000"/>
                  <a:gd name="connsiteX41" fmla="*/ 1206500 w 1231900"/>
                  <a:gd name="connsiteY41" fmla="*/ 2368550 h 3302000"/>
                  <a:gd name="connsiteX42" fmla="*/ 1149350 w 1231900"/>
                  <a:gd name="connsiteY42" fmla="*/ 2527300 h 3302000"/>
                  <a:gd name="connsiteX43" fmla="*/ 1104900 w 1231900"/>
                  <a:gd name="connsiteY43" fmla="*/ 2565400 h 3302000"/>
                  <a:gd name="connsiteX44" fmla="*/ 1073150 w 1231900"/>
                  <a:gd name="connsiteY44" fmla="*/ 2597150 h 3302000"/>
                  <a:gd name="connsiteX45" fmla="*/ 996950 w 1231900"/>
                  <a:gd name="connsiteY45" fmla="*/ 2616200 h 3302000"/>
                  <a:gd name="connsiteX46" fmla="*/ 958850 w 1231900"/>
                  <a:gd name="connsiteY46" fmla="*/ 2679700 h 3302000"/>
                  <a:gd name="connsiteX47" fmla="*/ 831850 w 1231900"/>
                  <a:gd name="connsiteY47" fmla="*/ 2762250 h 3302000"/>
                  <a:gd name="connsiteX48" fmla="*/ 723900 w 1231900"/>
                  <a:gd name="connsiteY48" fmla="*/ 2736850 h 3302000"/>
                  <a:gd name="connsiteX49" fmla="*/ 647700 w 1231900"/>
                  <a:gd name="connsiteY49" fmla="*/ 2730500 h 3302000"/>
                  <a:gd name="connsiteX50" fmla="*/ 565150 w 1231900"/>
                  <a:gd name="connsiteY50" fmla="*/ 2736850 h 3302000"/>
                  <a:gd name="connsiteX51" fmla="*/ 482600 w 1231900"/>
                  <a:gd name="connsiteY51" fmla="*/ 2844800 h 3302000"/>
                  <a:gd name="connsiteX52" fmla="*/ 431800 w 1231900"/>
                  <a:gd name="connsiteY52" fmla="*/ 2908300 h 3302000"/>
                  <a:gd name="connsiteX53" fmla="*/ 361950 w 1231900"/>
                  <a:gd name="connsiteY53" fmla="*/ 2946400 h 3302000"/>
                  <a:gd name="connsiteX54" fmla="*/ 342900 w 1231900"/>
                  <a:gd name="connsiteY54" fmla="*/ 3022600 h 3302000"/>
                  <a:gd name="connsiteX55" fmla="*/ 254000 w 1231900"/>
                  <a:gd name="connsiteY55" fmla="*/ 3143250 h 3302000"/>
                  <a:gd name="connsiteX56" fmla="*/ 171450 w 1231900"/>
                  <a:gd name="connsiteY56" fmla="*/ 3302000 h 3302000"/>
                  <a:gd name="connsiteX0" fmla="*/ 6350 w 1231900"/>
                  <a:gd name="connsiteY0" fmla="*/ 0 h 3302000"/>
                  <a:gd name="connsiteX1" fmla="*/ 19050 w 1231900"/>
                  <a:gd name="connsiteY1" fmla="*/ 120650 h 3302000"/>
                  <a:gd name="connsiteX2" fmla="*/ 12700 w 1231900"/>
                  <a:gd name="connsiteY2" fmla="*/ 158750 h 3302000"/>
                  <a:gd name="connsiteX3" fmla="*/ 44450 w 1231900"/>
                  <a:gd name="connsiteY3" fmla="*/ 209550 h 3302000"/>
                  <a:gd name="connsiteX4" fmla="*/ 31750 w 1231900"/>
                  <a:gd name="connsiteY4" fmla="*/ 234950 h 3302000"/>
                  <a:gd name="connsiteX5" fmla="*/ 44450 w 1231900"/>
                  <a:gd name="connsiteY5" fmla="*/ 273050 h 3302000"/>
                  <a:gd name="connsiteX6" fmla="*/ 25400 w 1231900"/>
                  <a:gd name="connsiteY6" fmla="*/ 298450 h 3302000"/>
                  <a:gd name="connsiteX7" fmla="*/ 44450 w 1231900"/>
                  <a:gd name="connsiteY7" fmla="*/ 355600 h 3302000"/>
                  <a:gd name="connsiteX8" fmla="*/ 25400 w 1231900"/>
                  <a:gd name="connsiteY8" fmla="*/ 463550 h 3302000"/>
                  <a:gd name="connsiteX9" fmla="*/ 6350 w 1231900"/>
                  <a:gd name="connsiteY9" fmla="*/ 520700 h 3302000"/>
                  <a:gd name="connsiteX10" fmla="*/ 0 w 1231900"/>
                  <a:gd name="connsiteY10" fmla="*/ 603250 h 3302000"/>
                  <a:gd name="connsiteX11" fmla="*/ 44450 w 1231900"/>
                  <a:gd name="connsiteY11" fmla="*/ 647700 h 3302000"/>
                  <a:gd name="connsiteX12" fmla="*/ 57150 w 1231900"/>
                  <a:gd name="connsiteY12" fmla="*/ 704850 h 3302000"/>
                  <a:gd name="connsiteX13" fmla="*/ 114300 w 1231900"/>
                  <a:gd name="connsiteY13" fmla="*/ 749300 h 3302000"/>
                  <a:gd name="connsiteX14" fmla="*/ 171450 w 1231900"/>
                  <a:gd name="connsiteY14" fmla="*/ 768350 h 3302000"/>
                  <a:gd name="connsiteX15" fmla="*/ 234950 w 1231900"/>
                  <a:gd name="connsiteY15" fmla="*/ 806450 h 3302000"/>
                  <a:gd name="connsiteX16" fmla="*/ 222250 w 1231900"/>
                  <a:gd name="connsiteY16" fmla="*/ 857250 h 3302000"/>
                  <a:gd name="connsiteX17" fmla="*/ 266700 w 1231900"/>
                  <a:gd name="connsiteY17" fmla="*/ 901700 h 3302000"/>
                  <a:gd name="connsiteX18" fmla="*/ 374650 w 1231900"/>
                  <a:gd name="connsiteY18" fmla="*/ 1003300 h 3302000"/>
                  <a:gd name="connsiteX19" fmla="*/ 419100 w 1231900"/>
                  <a:gd name="connsiteY19" fmla="*/ 1028700 h 3302000"/>
                  <a:gd name="connsiteX20" fmla="*/ 457200 w 1231900"/>
                  <a:gd name="connsiteY20" fmla="*/ 1098550 h 3302000"/>
                  <a:gd name="connsiteX21" fmla="*/ 558800 w 1231900"/>
                  <a:gd name="connsiteY21" fmla="*/ 1143000 h 3302000"/>
                  <a:gd name="connsiteX22" fmla="*/ 603250 w 1231900"/>
                  <a:gd name="connsiteY22" fmla="*/ 1162050 h 3302000"/>
                  <a:gd name="connsiteX23" fmla="*/ 628650 w 1231900"/>
                  <a:gd name="connsiteY23" fmla="*/ 1212850 h 3302000"/>
                  <a:gd name="connsiteX24" fmla="*/ 704850 w 1231900"/>
                  <a:gd name="connsiteY24" fmla="*/ 1212850 h 3302000"/>
                  <a:gd name="connsiteX25" fmla="*/ 774700 w 1231900"/>
                  <a:gd name="connsiteY25" fmla="*/ 1295400 h 3302000"/>
                  <a:gd name="connsiteX26" fmla="*/ 819150 w 1231900"/>
                  <a:gd name="connsiteY26" fmla="*/ 1352550 h 3302000"/>
                  <a:gd name="connsiteX27" fmla="*/ 901700 w 1231900"/>
                  <a:gd name="connsiteY27" fmla="*/ 1416050 h 3302000"/>
                  <a:gd name="connsiteX28" fmla="*/ 946150 w 1231900"/>
                  <a:gd name="connsiteY28" fmla="*/ 1460500 h 3302000"/>
                  <a:gd name="connsiteX29" fmla="*/ 1022350 w 1231900"/>
                  <a:gd name="connsiteY29" fmla="*/ 1612900 h 3302000"/>
                  <a:gd name="connsiteX30" fmla="*/ 1016000 w 1231900"/>
                  <a:gd name="connsiteY30" fmla="*/ 1657350 h 3302000"/>
                  <a:gd name="connsiteX31" fmla="*/ 1060450 w 1231900"/>
                  <a:gd name="connsiteY31" fmla="*/ 1720850 h 3302000"/>
                  <a:gd name="connsiteX32" fmla="*/ 1079500 w 1231900"/>
                  <a:gd name="connsiteY32" fmla="*/ 1809750 h 3302000"/>
                  <a:gd name="connsiteX33" fmla="*/ 1136650 w 1231900"/>
                  <a:gd name="connsiteY33" fmla="*/ 1981200 h 3302000"/>
                  <a:gd name="connsiteX34" fmla="*/ 1168400 w 1231900"/>
                  <a:gd name="connsiteY34" fmla="*/ 2044700 h 3302000"/>
                  <a:gd name="connsiteX35" fmla="*/ 1231900 w 1231900"/>
                  <a:gd name="connsiteY35" fmla="*/ 2095500 h 3302000"/>
                  <a:gd name="connsiteX36" fmla="*/ 1193800 w 1231900"/>
                  <a:gd name="connsiteY36" fmla="*/ 2139950 h 3302000"/>
                  <a:gd name="connsiteX37" fmla="*/ 1187450 w 1231900"/>
                  <a:gd name="connsiteY37" fmla="*/ 2190750 h 3302000"/>
                  <a:gd name="connsiteX38" fmla="*/ 1187450 w 1231900"/>
                  <a:gd name="connsiteY38" fmla="*/ 2241550 h 3302000"/>
                  <a:gd name="connsiteX39" fmla="*/ 1206500 w 1231900"/>
                  <a:gd name="connsiteY39" fmla="*/ 2273300 h 3302000"/>
                  <a:gd name="connsiteX40" fmla="*/ 1187450 w 1231900"/>
                  <a:gd name="connsiteY40" fmla="*/ 2305050 h 3302000"/>
                  <a:gd name="connsiteX41" fmla="*/ 1206500 w 1231900"/>
                  <a:gd name="connsiteY41" fmla="*/ 2368550 h 3302000"/>
                  <a:gd name="connsiteX42" fmla="*/ 1149350 w 1231900"/>
                  <a:gd name="connsiteY42" fmla="*/ 2527300 h 3302000"/>
                  <a:gd name="connsiteX43" fmla="*/ 1104900 w 1231900"/>
                  <a:gd name="connsiteY43" fmla="*/ 2565400 h 3302000"/>
                  <a:gd name="connsiteX44" fmla="*/ 1073150 w 1231900"/>
                  <a:gd name="connsiteY44" fmla="*/ 2597150 h 3302000"/>
                  <a:gd name="connsiteX45" fmla="*/ 996950 w 1231900"/>
                  <a:gd name="connsiteY45" fmla="*/ 2616200 h 3302000"/>
                  <a:gd name="connsiteX46" fmla="*/ 958850 w 1231900"/>
                  <a:gd name="connsiteY46" fmla="*/ 2679700 h 3302000"/>
                  <a:gd name="connsiteX47" fmla="*/ 831850 w 1231900"/>
                  <a:gd name="connsiteY47" fmla="*/ 2762250 h 3302000"/>
                  <a:gd name="connsiteX48" fmla="*/ 723900 w 1231900"/>
                  <a:gd name="connsiteY48" fmla="*/ 2736850 h 3302000"/>
                  <a:gd name="connsiteX49" fmla="*/ 647700 w 1231900"/>
                  <a:gd name="connsiteY49" fmla="*/ 2730500 h 3302000"/>
                  <a:gd name="connsiteX50" fmla="*/ 565150 w 1231900"/>
                  <a:gd name="connsiteY50" fmla="*/ 2736850 h 3302000"/>
                  <a:gd name="connsiteX51" fmla="*/ 482600 w 1231900"/>
                  <a:gd name="connsiteY51" fmla="*/ 2844800 h 3302000"/>
                  <a:gd name="connsiteX52" fmla="*/ 431800 w 1231900"/>
                  <a:gd name="connsiteY52" fmla="*/ 2908300 h 3302000"/>
                  <a:gd name="connsiteX53" fmla="*/ 361950 w 1231900"/>
                  <a:gd name="connsiteY53" fmla="*/ 2946400 h 3302000"/>
                  <a:gd name="connsiteX54" fmla="*/ 342900 w 1231900"/>
                  <a:gd name="connsiteY54" fmla="*/ 3022600 h 3302000"/>
                  <a:gd name="connsiteX55" fmla="*/ 242094 w 1231900"/>
                  <a:gd name="connsiteY55" fmla="*/ 3152775 h 3302000"/>
                  <a:gd name="connsiteX56" fmla="*/ 171450 w 1231900"/>
                  <a:gd name="connsiteY56" fmla="*/ 3302000 h 3302000"/>
                  <a:gd name="connsiteX0" fmla="*/ 6350 w 1231900"/>
                  <a:gd name="connsiteY0" fmla="*/ 0 h 3280569"/>
                  <a:gd name="connsiteX1" fmla="*/ 19050 w 1231900"/>
                  <a:gd name="connsiteY1" fmla="*/ 120650 h 3280569"/>
                  <a:gd name="connsiteX2" fmla="*/ 12700 w 1231900"/>
                  <a:gd name="connsiteY2" fmla="*/ 158750 h 3280569"/>
                  <a:gd name="connsiteX3" fmla="*/ 44450 w 1231900"/>
                  <a:gd name="connsiteY3" fmla="*/ 209550 h 3280569"/>
                  <a:gd name="connsiteX4" fmla="*/ 31750 w 1231900"/>
                  <a:gd name="connsiteY4" fmla="*/ 234950 h 3280569"/>
                  <a:gd name="connsiteX5" fmla="*/ 44450 w 1231900"/>
                  <a:gd name="connsiteY5" fmla="*/ 273050 h 3280569"/>
                  <a:gd name="connsiteX6" fmla="*/ 25400 w 1231900"/>
                  <a:gd name="connsiteY6" fmla="*/ 298450 h 3280569"/>
                  <a:gd name="connsiteX7" fmla="*/ 44450 w 1231900"/>
                  <a:gd name="connsiteY7" fmla="*/ 355600 h 3280569"/>
                  <a:gd name="connsiteX8" fmla="*/ 25400 w 1231900"/>
                  <a:gd name="connsiteY8" fmla="*/ 463550 h 3280569"/>
                  <a:gd name="connsiteX9" fmla="*/ 6350 w 1231900"/>
                  <a:gd name="connsiteY9" fmla="*/ 520700 h 3280569"/>
                  <a:gd name="connsiteX10" fmla="*/ 0 w 1231900"/>
                  <a:gd name="connsiteY10" fmla="*/ 603250 h 3280569"/>
                  <a:gd name="connsiteX11" fmla="*/ 44450 w 1231900"/>
                  <a:gd name="connsiteY11" fmla="*/ 647700 h 3280569"/>
                  <a:gd name="connsiteX12" fmla="*/ 57150 w 1231900"/>
                  <a:gd name="connsiteY12" fmla="*/ 704850 h 3280569"/>
                  <a:gd name="connsiteX13" fmla="*/ 114300 w 1231900"/>
                  <a:gd name="connsiteY13" fmla="*/ 749300 h 3280569"/>
                  <a:gd name="connsiteX14" fmla="*/ 171450 w 1231900"/>
                  <a:gd name="connsiteY14" fmla="*/ 768350 h 3280569"/>
                  <a:gd name="connsiteX15" fmla="*/ 234950 w 1231900"/>
                  <a:gd name="connsiteY15" fmla="*/ 806450 h 3280569"/>
                  <a:gd name="connsiteX16" fmla="*/ 222250 w 1231900"/>
                  <a:gd name="connsiteY16" fmla="*/ 857250 h 3280569"/>
                  <a:gd name="connsiteX17" fmla="*/ 266700 w 1231900"/>
                  <a:gd name="connsiteY17" fmla="*/ 901700 h 3280569"/>
                  <a:gd name="connsiteX18" fmla="*/ 374650 w 1231900"/>
                  <a:gd name="connsiteY18" fmla="*/ 1003300 h 3280569"/>
                  <a:gd name="connsiteX19" fmla="*/ 419100 w 1231900"/>
                  <a:gd name="connsiteY19" fmla="*/ 1028700 h 3280569"/>
                  <a:gd name="connsiteX20" fmla="*/ 457200 w 1231900"/>
                  <a:gd name="connsiteY20" fmla="*/ 1098550 h 3280569"/>
                  <a:gd name="connsiteX21" fmla="*/ 558800 w 1231900"/>
                  <a:gd name="connsiteY21" fmla="*/ 1143000 h 3280569"/>
                  <a:gd name="connsiteX22" fmla="*/ 603250 w 1231900"/>
                  <a:gd name="connsiteY22" fmla="*/ 1162050 h 3280569"/>
                  <a:gd name="connsiteX23" fmla="*/ 628650 w 1231900"/>
                  <a:gd name="connsiteY23" fmla="*/ 1212850 h 3280569"/>
                  <a:gd name="connsiteX24" fmla="*/ 704850 w 1231900"/>
                  <a:gd name="connsiteY24" fmla="*/ 1212850 h 3280569"/>
                  <a:gd name="connsiteX25" fmla="*/ 774700 w 1231900"/>
                  <a:gd name="connsiteY25" fmla="*/ 1295400 h 3280569"/>
                  <a:gd name="connsiteX26" fmla="*/ 819150 w 1231900"/>
                  <a:gd name="connsiteY26" fmla="*/ 1352550 h 3280569"/>
                  <a:gd name="connsiteX27" fmla="*/ 901700 w 1231900"/>
                  <a:gd name="connsiteY27" fmla="*/ 1416050 h 3280569"/>
                  <a:gd name="connsiteX28" fmla="*/ 946150 w 1231900"/>
                  <a:gd name="connsiteY28" fmla="*/ 1460500 h 3280569"/>
                  <a:gd name="connsiteX29" fmla="*/ 1022350 w 1231900"/>
                  <a:gd name="connsiteY29" fmla="*/ 1612900 h 3280569"/>
                  <a:gd name="connsiteX30" fmla="*/ 1016000 w 1231900"/>
                  <a:gd name="connsiteY30" fmla="*/ 1657350 h 3280569"/>
                  <a:gd name="connsiteX31" fmla="*/ 1060450 w 1231900"/>
                  <a:gd name="connsiteY31" fmla="*/ 1720850 h 3280569"/>
                  <a:gd name="connsiteX32" fmla="*/ 1079500 w 1231900"/>
                  <a:gd name="connsiteY32" fmla="*/ 1809750 h 3280569"/>
                  <a:gd name="connsiteX33" fmla="*/ 1136650 w 1231900"/>
                  <a:gd name="connsiteY33" fmla="*/ 1981200 h 3280569"/>
                  <a:gd name="connsiteX34" fmla="*/ 1168400 w 1231900"/>
                  <a:gd name="connsiteY34" fmla="*/ 2044700 h 3280569"/>
                  <a:gd name="connsiteX35" fmla="*/ 1231900 w 1231900"/>
                  <a:gd name="connsiteY35" fmla="*/ 2095500 h 3280569"/>
                  <a:gd name="connsiteX36" fmla="*/ 1193800 w 1231900"/>
                  <a:gd name="connsiteY36" fmla="*/ 2139950 h 3280569"/>
                  <a:gd name="connsiteX37" fmla="*/ 1187450 w 1231900"/>
                  <a:gd name="connsiteY37" fmla="*/ 2190750 h 3280569"/>
                  <a:gd name="connsiteX38" fmla="*/ 1187450 w 1231900"/>
                  <a:gd name="connsiteY38" fmla="*/ 2241550 h 3280569"/>
                  <a:gd name="connsiteX39" fmla="*/ 1206500 w 1231900"/>
                  <a:gd name="connsiteY39" fmla="*/ 2273300 h 3280569"/>
                  <a:gd name="connsiteX40" fmla="*/ 1187450 w 1231900"/>
                  <a:gd name="connsiteY40" fmla="*/ 2305050 h 3280569"/>
                  <a:gd name="connsiteX41" fmla="*/ 1206500 w 1231900"/>
                  <a:gd name="connsiteY41" fmla="*/ 2368550 h 3280569"/>
                  <a:gd name="connsiteX42" fmla="*/ 1149350 w 1231900"/>
                  <a:gd name="connsiteY42" fmla="*/ 2527300 h 3280569"/>
                  <a:gd name="connsiteX43" fmla="*/ 1104900 w 1231900"/>
                  <a:gd name="connsiteY43" fmla="*/ 2565400 h 3280569"/>
                  <a:gd name="connsiteX44" fmla="*/ 1073150 w 1231900"/>
                  <a:gd name="connsiteY44" fmla="*/ 2597150 h 3280569"/>
                  <a:gd name="connsiteX45" fmla="*/ 996950 w 1231900"/>
                  <a:gd name="connsiteY45" fmla="*/ 2616200 h 3280569"/>
                  <a:gd name="connsiteX46" fmla="*/ 958850 w 1231900"/>
                  <a:gd name="connsiteY46" fmla="*/ 2679700 h 3280569"/>
                  <a:gd name="connsiteX47" fmla="*/ 831850 w 1231900"/>
                  <a:gd name="connsiteY47" fmla="*/ 2762250 h 3280569"/>
                  <a:gd name="connsiteX48" fmla="*/ 723900 w 1231900"/>
                  <a:gd name="connsiteY48" fmla="*/ 2736850 h 3280569"/>
                  <a:gd name="connsiteX49" fmla="*/ 647700 w 1231900"/>
                  <a:gd name="connsiteY49" fmla="*/ 2730500 h 3280569"/>
                  <a:gd name="connsiteX50" fmla="*/ 565150 w 1231900"/>
                  <a:gd name="connsiteY50" fmla="*/ 2736850 h 3280569"/>
                  <a:gd name="connsiteX51" fmla="*/ 482600 w 1231900"/>
                  <a:gd name="connsiteY51" fmla="*/ 2844800 h 3280569"/>
                  <a:gd name="connsiteX52" fmla="*/ 431800 w 1231900"/>
                  <a:gd name="connsiteY52" fmla="*/ 2908300 h 3280569"/>
                  <a:gd name="connsiteX53" fmla="*/ 361950 w 1231900"/>
                  <a:gd name="connsiteY53" fmla="*/ 2946400 h 3280569"/>
                  <a:gd name="connsiteX54" fmla="*/ 342900 w 1231900"/>
                  <a:gd name="connsiteY54" fmla="*/ 3022600 h 3280569"/>
                  <a:gd name="connsiteX55" fmla="*/ 242094 w 1231900"/>
                  <a:gd name="connsiteY55" fmla="*/ 3152775 h 3280569"/>
                  <a:gd name="connsiteX56" fmla="*/ 164306 w 1231900"/>
                  <a:gd name="connsiteY56" fmla="*/ 3280569 h 3280569"/>
                  <a:gd name="connsiteX0" fmla="*/ 6350 w 1231900"/>
                  <a:gd name="connsiteY0" fmla="*/ 0 h 3280569"/>
                  <a:gd name="connsiteX1" fmla="*/ 19050 w 1231900"/>
                  <a:gd name="connsiteY1" fmla="*/ 120650 h 3280569"/>
                  <a:gd name="connsiteX2" fmla="*/ 12700 w 1231900"/>
                  <a:gd name="connsiteY2" fmla="*/ 158750 h 3280569"/>
                  <a:gd name="connsiteX3" fmla="*/ 44450 w 1231900"/>
                  <a:gd name="connsiteY3" fmla="*/ 209550 h 3280569"/>
                  <a:gd name="connsiteX4" fmla="*/ 31750 w 1231900"/>
                  <a:gd name="connsiteY4" fmla="*/ 234950 h 3280569"/>
                  <a:gd name="connsiteX5" fmla="*/ 44450 w 1231900"/>
                  <a:gd name="connsiteY5" fmla="*/ 273050 h 3280569"/>
                  <a:gd name="connsiteX6" fmla="*/ 25400 w 1231900"/>
                  <a:gd name="connsiteY6" fmla="*/ 298450 h 3280569"/>
                  <a:gd name="connsiteX7" fmla="*/ 44450 w 1231900"/>
                  <a:gd name="connsiteY7" fmla="*/ 355600 h 3280569"/>
                  <a:gd name="connsiteX8" fmla="*/ 25400 w 1231900"/>
                  <a:gd name="connsiteY8" fmla="*/ 463550 h 3280569"/>
                  <a:gd name="connsiteX9" fmla="*/ 6350 w 1231900"/>
                  <a:gd name="connsiteY9" fmla="*/ 520700 h 3280569"/>
                  <a:gd name="connsiteX10" fmla="*/ 0 w 1231900"/>
                  <a:gd name="connsiteY10" fmla="*/ 603250 h 3280569"/>
                  <a:gd name="connsiteX11" fmla="*/ 44450 w 1231900"/>
                  <a:gd name="connsiteY11" fmla="*/ 647700 h 3280569"/>
                  <a:gd name="connsiteX12" fmla="*/ 57150 w 1231900"/>
                  <a:gd name="connsiteY12" fmla="*/ 704850 h 3280569"/>
                  <a:gd name="connsiteX13" fmla="*/ 114300 w 1231900"/>
                  <a:gd name="connsiteY13" fmla="*/ 749300 h 3280569"/>
                  <a:gd name="connsiteX14" fmla="*/ 171450 w 1231900"/>
                  <a:gd name="connsiteY14" fmla="*/ 768350 h 3280569"/>
                  <a:gd name="connsiteX15" fmla="*/ 234950 w 1231900"/>
                  <a:gd name="connsiteY15" fmla="*/ 806450 h 3280569"/>
                  <a:gd name="connsiteX16" fmla="*/ 222250 w 1231900"/>
                  <a:gd name="connsiteY16" fmla="*/ 857250 h 3280569"/>
                  <a:gd name="connsiteX17" fmla="*/ 266700 w 1231900"/>
                  <a:gd name="connsiteY17" fmla="*/ 901700 h 3280569"/>
                  <a:gd name="connsiteX18" fmla="*/ 374650 w 1231900"/>
                  <a:gd name="connsiteY18" fmla="*/ 1003300 h 3280569"/>
                  <a:gd name="connsiteX19" fmla="*/ 419100 w 1231900"/>
                  <a:gd name="connsiteY19" fmla="*/ 1028700 h 3280569"/>
                  <a:gd name="connsiteX20" fmla="*/ 457200 w 1231900"/>
                  <a:gd name="connsiteY20" fmla="*/ 1098550 h 3280569"/>
                  <a:gd name="connsiteX21" fmla="*/ 558800 w 1231900"/>
                  <a:gd name="connsiteY21" fmla="*/ 1143000 h 3280569"/>
                  <a:gd name="connsiteX22" fmla="*/ 603250 w 1231900"/>
                  <a:gd name="connsiteY22" fmla="*/ 1162050 h 3280569"/>
                  <a:gd name="connsiteX23" fmla="*/ 628650 w 1231900"/>
                  <a:gd name="connsiteY23" fmla="*/ 1212850 h 3280569"/>
                  <a:gd name="connsiteX24" fmla="*/ 704850 w 1231900"/>
                  <a:gd name="connsiteY24" fmla="*/ 1212850 h 3280569"/>
                  <a:gd name="connsiteX25" fmla="*/ 774700 w 1231900"/>
                  <a:gd name="connsiteY25" fmla="*/ 1295400 h 3280569"/>
                  <a:gd name="connsiteX26" fmla="*/ 819150 w 1231900"/>
                  <a:gd name="connsiteY26" fmla="*/ 1352550 h 3280569"/>
                  <a:gd name="connsiteX27" fmla="*/ 901700 w 1231900"/>
                  <a:gd name="connsiteY27" fmla="*/ 1416050 h 3280569"/>
                  <a:gd name="connsiteX28" fmla="*/ 946150 w 1231900"/>
                  <a:gd name="connsiteY28" fmla="*/ 1460500 h 3280569"/>
                  <a:gd name="connsiteX29" fmla="*/ 1022350 w 1231900"/>
                  <a:gd name="connsiteY29" fmla="*/ 1612900 h 3280569"/>
                  <a:gd name="connsiteX30" fmla="*/ 1016000 w 1231900"/>
                  <a:gd name="connsiteY30" fmla="*/ 1657350 h 3280569"/>
                  <a:gd name="connsiteX31" fmla="*/ 1060450 w 1231900"/>
                  <a:gd name="connsiteY31" fmla="*/ 1720850 h 3280569"/>
                  <a:gd name="connsiteX32" fmla="*/ 1079500 w 1231900"/>
                  <a:gd name="connsiteY32" fmla="*/ 1809750 h 3280569"/>
                  <a:gd name="connsiteX33" fmla="*/ 1136650 w 1231900"/>
                  <a:gd name="connsiteY33" fmla="*/ 1981200 h 3280569"/>
                  <a:gd name="connsiteX34" fmla="*/ 1168400 w 1231900"/>
                  <a:gd name="connsiteY34" fmla="*/ 2044700 h 3280569"/>
                  <a:gd name="connsiteX35" fmla="*/ 1231900 w 1231900"/>
                  <a:gd name="connsiteY35" fmla="*/ 2095500 h 3280569"/>
                  <a:gd name="connsiteX36" fmla="*/ 1193800 w 1231900"/>
                  <a:gd name="connsiteY36" fmla="*/ 2139950 h 3280569"/>
                  <a:gd name="connsiteX37" fmla="*/ 1187450 w 1231900"/>
                  <a:gd name="connsiteY37" fmla="*/ 2190750 h 3280569"/>
                  <a:gd name="connsiteX38" fmla="*/ 1187450 w 1231900"/>
                  <a:gd name="connsiteY38" fmla="*/ 2241550 h 3280569"/>
                  <a:gd name="connsiteX39" fmla="*/ 1206500 w 1231900"/>
                  <a:gd name="connsiteY39" fmla="*/ 2273300 h 3280569"/>
                  <a:gd name="connsiteX40" fmla="*/ 1187450 w 1231900"/>
                  <a:gd name="connsiteY40" fmla="*/ 2305050 h 3280569"/>
                  <a:gd name="connsiteX41" fmla="*/ 1206500 w 1231900"/>
                  <a:gd name="connsiteY41" fmla="*/ 2368550 h 3280569"/>
                  <a:gd name="connsiteX42" fmla="*/ 1149350 w 1231900"/>
                  <a:gd name="connsiteY42" fmla="*/ 2527300 h 3280569"/>
                  <a:gd name="connsiteX43" fmla="*/ 1104900 w 1231900"/>
                  <a:gd name="connsiteY43" fmla="*/ 2565400 h 3280569"/>
                  <a:gd name="connsiteX44" fmla="*/ 1073150 w 1231900"/>
                  <a:gd name="connsiteY44" fmla="*/ 2597150 h 3280569"/>
                  <a:gd name="connsiteX45" fmla="*/ 996950 w 1231900"/>
                  <a:gd name="connsiteY45" fmla="*/ 2616200 h 3280569"/>
                  <a:gd name="connsiteX46" fmla="*/ 958850 w 1231900"/>
                  <a:gd name="connsiteY46" fmla="*/ 2679700 h 3280569"/>
                  <a:gd name="connsiteX47" fmla="*/ 831850 w 1231900"/>
                  <a:gd name="connsiteY47" fmla="*/ 2762250 h 3280569"/>
                  <a:gd name="connsiteX48" fmla="*/ 723900 w 1231900"/>
                  <a:gd name="connsiteY48" fmla="*/ 2736850 h 3280569"/>
                  <a:gd name="connsiteX49" fmla="*/ 647700 w 1231900"/>
                  <a:gd name="connsiteY49" fmla="*/ 2730500 h 3280569"/>
                  <a:gd name="connsiteX50" fmla="*/ 565150 w 1231900"/>
                  <a:gd name="connsiteY50" fmla="*/ 2736850 h 3280569"/>
                  <a:gd name="connsiteX51" fmla="*/ 482600 w 1231900"/>
                  <a:gd name="connsiteY51" fmla="*/ 2844800 h 3280569"/>
                  <a:gd name="connsiteX52" fmla="*/ 431800 w 1231900"/>
                  <a:gd name="connsiteY52" fmla="*/ 2908300 h 3280569"/>
                  <a:gd name="connsiteX53" fmla="*/ 361950 w 1231900"/>
                  <a:gd name="connsiteY53" fmla="*/ 2946400 h 3280569"/>
                  <a:gd name="connsiteX54" fmla="*/ 342900 w 1231900"/>
                  <a:gd name="connsiteY54" fmla="*/ 3022600 h 3280569"/>
                  <a:gd name="connsiteX55" fmla="*/ 242094 w 1231900"/>
                  <a:gd name="connsiteY55" fmla="*/ 3152775 h 3280569"/>
                  <a:gd name="connsiteX56" fmla="*/ 164306 w 1231900"/>
                  <a:gd name="connsiteY56" fmla="*/ 3280569 h 3280569"/>
                  <a:gd name="connsiteX0" fmla="*/ 6350 w 1231900"/>
                  <a:gd name="connsiteY0" fmla="*/ 0 h 3273426"/>
                  <a:gd name="connsiteX1" fmla="*/ 19050 w 1231900"/>
                  <a:gd name="connsiteY1" fmla="*/ 120650 h 3273426"/>
                  <a:gd name="connsiteX2" fmla="*/ 12700 w 1231900"/>
                  <a:gd name="connsiteY2" fmla="*/ 158750 h 3273426"/>
                  <a:gd name="connsiteX3" fmla="*/ 44450 w 1231900"/>
                  <a:gd name="connsiteY3" fmla="*/ 209550 h 3273426"/>
                  <a:gd name="connsiteX4" fmla="*/ 31750 w 1231900"/>
                  <a:gd name="connsiteY4" fmla="*/ 234950 h 3273426"/>
                  <a:gd name="connsiteX5" fmla="*/ 44450 w 1231900"/>
                  <a:gd name="connsiteY5" fmla="*/ 273050 h 3273426"/>
                  <a:gd name="connsiteX6" fmla="*/ 25400 w 1231900"/>
                  <a:gd name="connsiteY6" fmla="*/ 298450 h 3273426"/>
                  <a:gd name="connsiteX7" fmla="*/ 44450 w 1231900"/>
                  <a:gd name="connsiteY7" fmla="*/ 355600 h 3273426"/>
                  <a:gd name="connsiteX8" fmla="*/ 25400 w 1231900"/>
                  <a:gd name="connsiteY8" fmla="*/ 463550 h 3273426"/>
                  <a:gd name="connsiteX9" fmla="*/ 6350 w 1231900"/>
                  <a:gd name="connsiteY9" fmla="*/ 520700 h 3273426"/>
                  <a:gd name="connsiteX10" fmla="*/ 0 w 1231900"/>
                  <a:gd name="connsiteY10" fmla="*/ 603250 h 3273426"/>
                  <a:gd name="connsiteX11" fmla="*/ 44450 w 1231900"/>
                  <a:gd name="connsiteY11" fmla="*/ 647700 h 3273426"/>
                  <a:gd name="connsiteX12" fmla="*/ 57150 w 1231900"/>
                  <a:gd name="connsiteY12" fmla="*/ 704850 h 3273426"/>
                  <a:gd name="connsiteX13" fmla="*/ 114300 w 1231900"/>
                  <a:gd name="connsiteY13" fmla="*/ 749300 h 3273426"/>
                  <a:gd name="connsiteX14" fmla="*/ 171450 w 1231900"/>
                  <a:gd name="connsiteY14" fmla="*/ 768350 h 3273426"/>
                  <a:gd name="connsiteX15" fmla="*/ 234950 w 1231900"/>
                  <a:gd name="connsiteY15" fmla="*/ 806450 h 3273426"/>
                  <a:gd name="connsiteX16" fmla="*/ 222250 w 1231900"/>
                  <a:gd name="connsiteY16" fmla="*/ 857250 h 3273426"/>
                  <a:gd name="connsiteX17" fmla="*/ 266700 w 1231900"/>
                  <a:gd name="connsiteY17" fmla="*/ 901700 h 3273426"/>
                  <a:gd name="connsiteX18" fmla="*/ 374650 w 1231900"/>
                  <a:gd name="connsiteY18" fmla="*/ 1003300 h 3273426"/>
                  <a:gd name="connsiteX19" fmla="*/ 419100 w 1231900"/>
                  <a:gd name="connsiteY19" fmla="*/ 1028700 h 3273426"/>
                  <a:gd name="connsiteX20" fmla="*/ 457200 w 1231900"/>
                  <a:gd name="connsiteY20" fmla="*/ 1098550 h 3273426"/>
                  <a:gd name="connsiteX21" fmla="*/ 558800 w 1231900"/>
                  <a:gd name="connsiteY21" fmla="*/ 1143000 h 3273426"/>
                  <a:gd name="connsiteX22" fmla="*/ 603250 w 1231900"/>
                  <a:gd name="connsiteY22" fmla="*/ 1162050 h 3273426"/>
                  <a:gd name="connsiteX23" fmla="*/ 628650 w 1231900"/>
                  <a:gd name="connsiteY23" fmla="*/ 1212850 h 3273426"/>
                  <a:gd name="connsiteX24" fmla="*/ 704850 w 1231900"/>
                  <a:gd name="connsiteY24" fmla="*/ 1212850 h 3273426"/>
                  <a:gd name="connsiteX25" fmla="*/ 774700 w 1231900"/>
                  <a:gd name="connsiteY25" fmla="*/ 1295400 h 3273426"/>
                  <a:gd name="connsiteX26" fmla="*/ 819150 w 1231900"/>
                  <a:gd name="connsiteY26" fmla="*/ 1352550 h 3273426"/>
                  <a:gd name="connsiteX27" fmla="*/ 901700 w 1231900"/>
                  <a:gd name="connsiteY27" fmla="*/ 1416050 h 3273426"/>
                  <a:gd name="connsiteX28" fmla="*/ 946150 w 1231900"/>
                  <a:gd name="connsiteY28" fmla="*/ 1460500 h 3273426"/>
                  <a:gd name="connsiteX29" fmla="*/ 1022350 w 1231900"/>
                  <a:gd name="connsiteY29" fmla="*/ 1612900 h 3273426"/>
                  <a:gd name="connsiteX30" fmla="*/ 1016000 w 1231900"/>
                  <a:gd name="connsiteY30" fmla="*/ 1657350 h 3273426"/>
                  <a:gd name="connsiteX31" fmla="*/ 1060450 w 1231900"/>
                  <a:gd name="connsiteY31" fmla="*/ 1720850 h 3273426"/>
                  <a:gd name="connsiteX32" fmla="*/ 1079500 w 1231900"/>
                  <a:gd name="connsiteY32" fmla="*/ 1809750 h 3273426"/>
                  <a:gd name="connsiteX33" fmla="*/ 1136650 w 1231900"/>
                  <a:gd name="connsiteY33" fmla="*/ 1981200 h 3273426"/>
                  <a:gd name="connsiteX34" fmla="*/ 1168400 w 1231900"/>
                  <a:gd name="connsiteY34" fmla="*/ 2044700 h 3273426"/>
                  <a:gd name="connsiteX35" fmla="*/ 1231900 w 1231900"/>
                  <a:gd name="connsiteY35" fmla="*/ 2095500 h 3273426"/>
                  <a:gd name="connsiteX36" fmla="*/ 1193800 w 1231900"/>
                  <a:gd name="connsiteY36" fmla="*/ 2139950 h 3273426"/>
                  <a:gd name="connsiteX37" fmla="*/ 1187450 w 1231900"/>
                  <a:gd name="connsiteY37" fmla="*/ 2190750 h 3273426"/>
                  <a:gd name="connsiteX38" fmla="*/ 1187450 w 1231900"/>
                  <a:gd name="connsiteY38" fmla="*/ 2241550 h 3273426"/>
                  <a:gd name="connsiteX39" fmla="*/ 1206500 w 1231900"/>
                  <a:gd name="connsiteY39" fmla="*/ 2273300 h 3273426"/>
                  <a:gd name="connsiteX40" fmla="*/ 1187450 w 1231900"/>
                  <a:gd name="connsiteY40" fmla="*/ 2305050 h 3273426"/>
                  <a:gd name="connsiteX41" fmla="*/ 1206500 w 1231900"/>
                  <a:gd name="connsiteY41" fmla="*/ 2368550 h 3273426"/>
                  <a:gd name="connsiteX42" fmla="*/ 1149350 w 1231900"/>
                  <a:gd name="connsiteY42" fmla="*/ 2527300 h 3273426"/>
                  <a:gd name="connsiteX43" fmla="*/ 1104900 w 1231900"/>
                  <a:gd name="connsiteY43" fmla="*/ 2565400 h 3273426"/>
                  <a:gd name="connsiteX44" fmla="*/ 1073150 w 1231900"/>
                  <a:gd name="connsiteY44" fmla="*/ 2597150 h 3273426"/>
                  <a:gd name="connsiteX45" fmla="*/ 996950 w 1231900"/>
                  <a:gd name="connsiteY45" fmla="*/ 2616200 h 3273426"/>
                  <a:gd name="connsiteX46" fmla="*/ 958850 w 1231900"/>
                  <a:gd name="connsiteY46" fmla="*/ 2679700 h 3273426"/>
                  <a:gd name="connsiteX47" fmla="*/ 831850 w 1231900"/>
                  <a:gd name="connsiteY47" fmla="*/ 2762250 h 3273426"/>
                  <a:gd name="connsiteX48" fmla="*/ 723900 w 1231900"/>
                  <a:gd name="connsiteY48" fmla="*/ 2736850 h 3273426"/>
                  <a:gd name="connsiteX49" fmla="*/ 647700 w 1231900"/>
                  <a:gd name="connsiteY49" fmla="*/ 2730500 h 3273426"/>
                  <a:gd name="connsiteX50" fmla="*/ 565150 w 1231900"/>
                  <a:gd name="connsiteY50" fmla="*/ 2736850 h 3273426"/>
                  <a:gd name="connsiteX51" fmla="*/ 482600 w 1231900"/>
                  <a:gd name="connsiteY51" fmla="*/ 2844800 h 3273426"/>
                  <a:gd name="connsiteX52" fmla="*/ 431800 w 1231900"/>
                  <a:gd name="connsiteY52" fmla="*/ 2908300 h 3273426"/>
                  <a:gd name="connsiteX53" fmla="*/ 361950 w 1231900"/>
                  <a:gd name="connsiteY53" fmla="*/ 2946400 h 3273426"/>
                  <a:gd name="connsiteX54" fmla="*/ 342900 w 1231900"/>
                  <a:gd name="connsiteY54" fmla="*/ 3022600 h 3273426"/>
                  <a:gd name="connsiteX55" fmla="*/ 242094 w 1231900"/>
                  <a:gd name="connsiteY55" fmla="*/ 3152775 h 3273426"/>
                  <a:gd name="connsiteX56" fmla="*/ 154781 w 1231900"/>
                  <a:gd name="connsiteY56" fmla="*/ 3273426 h 3273426"/>
                  <a:gd name="connsiteX0" fmla="*/ 6350 w 1231900"/>
                  <a:gd name="connsiteY0" fmla="*/ 0 h 3277163"/>
                  <a:gd name="connsiteX1" fmla="*/ 19050 w 1231900"/>
                  <a:gd name="connsiteY1" fmla="*/ 120650 h 3277163"/>
                  <a:gd name="connsiteX2" fmla="*/ 12700 w 1231900"/>
                  <a:gd name="connsiteY2" fmla="*/ 158750 h 3277163"/>
                  <a:gd name="connsiteX3" fmla="*/ 44450 w 1231900"/>
                  <a:gd name="connsiteY3" fmla="*/ 209550 h 3277163"/>
                  <a:gd name="connsiteX4" fmla="*/ 31750 w 1231900"/>
                  <a:gd name="connsiteY4" fmla="*/ 234950 h 3277163"/>
                  <a:gd name="connsiteX5" fmla="*/ 44450 w 1231900"/>
                  <a:gd name="connsiteY5" fmla="*/ 273050 h 3277163"/>
                  <a:gd name="connsiteX6" fmla="*/ 25400 w 1231900"/>
                  <a:gd name="connsiteY6" fmla="*/ 298450 h 3277163"/>
                  <a:gd name="connsiteX7" fmla="*/ 44450 w 1231900"/>
                  <a:gd name="connsiteY7" fmla="*/ 355600 h 3277163"/>
                  <a:gd name="connsiteX8" fmla="*/ 25400 w 1231900"/>
                  <a:gd name="connsiteY8" fmla="*/ 463550 h 3277163"/>
                  <a:gd name="connsiteX9" fmla="*/ 6350 w 1231900"/>
                  <a:gd name="connsiteY9" fmla="*/ 520700 h 3277163"/>
                  <a:gd name="connsiteX10" fmla="*/ 0 w 1231900"/>
                  <a:gd name="connsiteY10" fmla="*/ 603250 h 3277163"/>
                  <a:gd name="connsiteX11" fmla="*/ 44450 w 1231900"/>
                  <a:gd name="connsiteY11" fmla="*/ 647700 h 3277163"/>
                  <a:gd name="connsiteX12" fmla="*/ 57150 w 1231900"/>
                  <a:gd name="connsiteY12" fmla="*/ 704850 h 3277163"/>
                  <a:gd name="connsiteX13" fmla="*/ 114300 w 1231900"/>
                  <a:gd name="connsiteY13" fmla="*/ 749300 h 3277163"/>
                  <a:gd name="connsiteX14" fmla="*/ 171450 w 1231900"/>
                  <a:gd name="connsiteY14" fmla="*/ 768350 h 3277163"/>
                  <a:gd name="connsiteX15" fmla="*/ 234950 w 1231900"/>
                  <a:gd name="connsiteY15" fmla="*/ 806450 h 3277163"/>
                  <a:gd name="connsiteX16" fmla="*/ 222250 w 1231900"/>
                  <a:gd name="connsiteY16" fmla="*/ 857250 h 3277163"/>
                  <a:gd name="connsiteX17" fmla="*/ 266700 w 1231900"/>
                  <a:gd name="connsiteY17" fmla="*/ 901700 h 3277163"/>
                  <a:gd name="connsiteX18" fmla="*/ 374650 w 1231900"/>
                  <a:gd name="connsiteY18" fmla="*/ 1003300 h 3277163"/>
                  <a:gd name="connsiteX19" fmla="*/ 419100 w 1231900"/>
                  <a:gd name="connsiteY19" fmla="*/ 1028700 h 3277163"/>
                  <a:gd name="connsiteX20" fmla="*/ 457200 w 1231900"/>
                  <a:gd name="connsiteY20" fmla="*/ 1098550 h 3277163"/>
                  <a:gd name="connsiteX21" fmla="*/ 558800 w 1231900"/>
                  <a:gd name="connsiteY21" fmla="*/ 1143000 h 3277163"/>
                  <a:gd name="connsiteX22" fmla="*/ 603250 w 1231900"/>
                  <a:gd name="connsiteY22" fmla="*/ 1162050 h 3277163"/>
                  <a:gd name="connsiteX23" fmla="*/ 628650 w 1231900"/>
                  <a:gd name="connsiteY23" fmla="*/ 1212850 h 3277163"/>
                  <a:gd name="connsiteX24" fmla="*/ 704850 w 1231900"/>
                  <a:gd name="connsiteY24" fmla="*/ 1212850 h 3277163"/>
                  <a:gd name="connsiteX25" fmla="*/ 774700 w 1231900"/>
                  <a:gd name="connsiteY25" fmla="*/ 1295400 h 3277163"/>
                  <a:gd name="connsiteX26" fmla="*/ 819150 w 1231900"/>
                  <a:gd name="connsiteY26" fmla="*/ 1352550 h 3277163"/>
                  <a:gd name="connsiteX27" fmla="*/ 901700 w 1231900"/>
                  <a:gd name="connsiteY27" fmla="*/ 1416050 h 3277163"/>
                  <a:gd name="connsiteX28" fmla="*/ 946150 w 1231900"/>
                  <a:gd name="connsiteY28" fmla="*/ 1460500 h 3277163"/>
                  <a:gd name="connsiteX29" fmla="*/ 1022350 w 1231900"/>
                  <a:gd name="connsiteY29" fmla="*/ 1612900 h 3277163"/>
                  <a:gd name="connsiteX30" fmla="*/ 1016000 w 1231900"/>
                  <a:gd name="connsiteY30" fmla="*/ 1657350 h 3277163"/>
                  <a:gd name="connsiteX31" fmla="*/ 1060450 w 1231900"/>
                  <a:gd name="connsiteY31" fmla="*/ 1720850 h 3277163"/>
                  <a:gd name="connsiteX32" fmla="*/ 1079500 w 1231900"/>
                  <a:gd name="connsiteY32" fmla="*/ 1809750 h 3277163"/>
                  <a:gd name="connsiteX33" fmla="*/ 1136650 w 1231900"/>
                  <a:gd name="connsiteY33" fmla="*/ 1981200 h 3277163"/>
                  <a:gd name="connsiteX34" fmla="*/ 1168400 w 1231900"/>
                  <a:gd name="connsiteY34" fmla="*/ 2044700 h 3277163"/>
                  <a:gd name="connsiteX35" fmla="*/ 1231900 w 1231900"/>
                  <a:gd name="connsiteY35" fmla="*/ 2095500 h 3277163"/>
                  <a:gd name="connsiteX36" fmla="*/ 1193800 w 1231900"/>
                  <a:gd name="connsiteY36" fmla="*/ 2139950 h 3277163"/>
                  <a:gd name="connsiteX37" fmla="*/ 1187450 w 1231900"/>
                  <a:gd name="connsiteY37" fmla="*/ 2190750 h 3277163"/>
                  <a:gd name="connsiteX38" fmla="*/ 1187450 w 1231900"/>
                  <a:gd name="connsiteY38" fmla="*/ 2241550 h 3277163"/>
                  <a:gd name="connsiteX39" fmla="*/ 1206500 w 1231900"/>
                  <a:gd name="connsiteY39" fmla="*/ 2273300 h 3277163"/>
                  <a:gd name="connsiteX40" fmla="*/ 1187450 w 1231900"/>
                  <a:gd name="connsiteY40" fmla="*/ 2305050 h 3277163"/>
                  <a:gd name="connsiteX41" fmla="*/ 1206500 w 1231900"/>
                  <a:gd name="connsiteY41" fmla="*/ 2368550 h 3277163"/>
                  <a:gd name="connsiteX42" fmla="*/ 1149350 w 1231900"/>
                  <a:gd name="connsiteY42" fmla="*/ 2527300 h 3277163"/>
                  <a:gd name="connsiteX43" fmla="*/ 1104900 w 1231900"/>
                  <a:gd name="connsiteY43" fmla="*/ 2565400 h 3277163"/>
                  <a:gd name="connsiteX44" fmla="*/ 1073150 w 1231900"/>
                  <a:gd name="connsiteY44" fmla="*/ 2597150 h 3277163"/>
                  <a:gd name="connsiteX45" fmla="*/ 996950 w 1231900"/>
                  <a:gd name="connsiteY45" fmla="*/ 2616200 h 3277163"/>
                  <a:gd name="connsiteX46" fmla="*/ 958850 w 1231900"/>
                  <a:gd name="connsiteY46" fmla="*/ 2679700 h 3277163"/>
                  <a:gd name="connsiteX47" fmla="*/ 831850 w 1231900"/>
                  <a:gd name="connsiteY47" fmla="*/ 2762250 h 3277163"/>
                  <a:gd name="connsiteX48" fmla="*/ 723900 w 1231900"/>
                  <a:gd name="connsiteY48" fmla="*/ 2736850 h 3277163"/>
                  <a:gd name="connsiteX49" fmla="*/ 647700 w 1231900"/>
                  <a:gd name="connsiteY49" fmla="*/ 2730500 h 3277163"/>
                  <a:gd name="connsiteX50" fmla="*/ 565150 w 1231900"/>
                  <a:gd name="connsiteY50" fmla="*/ 2736850 h 3277163"/>
                  <a:gd name="connsiteX51" fmla="*/ 482600 w 1231900"/>
                  <a:gd name="connsiteY51" fmla="*/ 2844800 h 3277163"/>
                  <a:gd name="connsiteX52" fmla="*/ 431800 w 1231900"/>
                  <a:gd name="connsiteY52" fmla="*/ 2908300 h 3277163"/>
                  <a:gd name="connsiteX53" fmla="*/ 361950 w 1231900"/>
                  <a:gd name="connsiteY53" fmla="*/ 2946400 h 3277163"/>
                  <a:gd name="connsiteX54" fmla="*/ 342900 w 1231900"/>
                  <a:gd name="connsiteY54" fmla="*/ 3022600 h 3277163"/>
                  <a:gd name="connsiteX55" fmla="*/ 242094 w 1231900"/>
                  <a:gd name="connsiteY55" fmla="*/ 3152775 h 3277163"/>
                  <a:gd name="connsiteX56" fmla="*/ 154781 w 1231900"/>
                  <a:gd name="connsiteY56" fmla="*/ 3273426 h 3277163"/>
                  <a:gd name="connsiteX0" fmla="*/ 6350 w 1231900"/>
                  <a:gd name="connsiteY0" fmla="*/ 0 h 3277163"/>
                  <a:gd name="connsiteX1" fmla="*/ 19050 w 1231900"/>
                  <a:gd name="connsiteY1" fmla="*/ 120650 h 3277163"/>
                  <a:gd name="connsiteX2" fmla="*/ 12700 w 1231900"/>
                  <a:gd name="connsiteY2" fmla="*/ 158750 h 3277163"/>
                  <a:gd name="connsiteX3" fmla="*/ 44450 w 1231900"/>
                  <a:gd name="connsiteY3" fmla="*/ 209550 h 3277163"/>
                  <a:gd name="connsiteX4" fmla="*/ 31750 w 1231900"/>
                  <a:gd name="connsiteY4" fmla="*/ 234950 h 3277163"/>
                  <a:gd name="connsiteX5" fmla="*/ 44450 w 1231900"/>
                  <a:gd name="connsiteY5" fmla="*/ 273050 h 3277163"/>
                  <a:gd name="connsiteX6" fmla="*/ 25400 w 1231900"/>
                  <a:gd name="connsiteY6" fmla="*/ 298450 h 3277163"/>
                  <a:gd name="connsiteX7" fmla="*/ 44450 w 1231900"/>
                  <a:gd name="connsiteY7" fmla="*/ 355600 h 3277163"/>
                  <a:gd name="connsiteX8" fmla="*/ 25400 w 1231900"/>
                  <a:gd name="connsiteY8" fmla="*/ 463550 h 3277163"/>
                  <a:gd name="connsiteX9" fmla="*/ 6350 w 1231900"/>
                  <a:gd name="connsiteY9" fmla="*/ 520700 h 3277163"/>
                  <a:gd name="connsiteX10" fmla="*/ 0 w 1231900"/>
                  <a:gd name="connsiteY10" fmla="*/ 603250 h 3277163"/>
                  <a:gd name="connsiteX11" fmla="*/ 44450 w 1231900"/>
                  <a:gd name="connsiteY11" fmla="*/ 647700 h 3277163"/>
                  <a:gd name="connsiteX12" fmla="*/ 57150 w 1231900"/>
                  <a:gd name="connsiteY12" fmla="*/ 704850 h 3277163"/>
                  <a:gd name="connsiteX13" fmla="*/ 114300 w 1231900"/>
                  <a:gd name="connsiteY13" fmla="*/ 749300 h 3277163"/>
                  <a:gd name="connsiteX14" fmla="*/ 171450 w 1231900"/>
                  <a:gd name="connsiteY14" fmla="*/ 768350 h 3277163"/>
                  <a:gd name="connsiteX15" fmla="*/ 234950 w 1231900"/>
                  <a:gd name="connsiteY15" fmla="*/ 806450 h 3277163"/>
                  <a:gd name="connsiteX16" fmla="*/ 222250 w 1231900"/>
                  <a:gd name="connsiteY16" fmla="*/ 857250 h 3277163"/>
                  <a:gd name="connsiteX17" fmla="*/ 266700 w 1231900"/>
                  <a:gd name="connsiteY17" fmla="*/ 901700 h 3277163"/>
                  <a:gd name="connsiteX18" fmla="*/ 374650 w 1231900"/>
                  <a:gd name="connsiteY18" fmla="*/ 1003300 h 3277163"/>
                  <a:gd name="connsiteX19" fmla="*/ 419100 w 1231900"/>
                  <a:gd name="connsiteY19" fmla="*/ 1028700 h 3277163"/>
                  <a:gd name="connsiteX20" fmla="*/ 457200 w 1231900"/>
                  <a:gd name="connsiteY20" fmla="*/ 1098550 h 3277163"/>
                  <a:gd name="connsiteX21" fmla="*/ 558800 w 1231900"/>
                  <a:gd name="connsiteY21" fmla="*/ 1143000 h 3277163"/>
                  <a:gd name="connsiteX22" fmla="*/ 603250 w 1231900"/>
                  <a:gd name="connsiteY22" fmla="*/ 1162050 h 3277163"/>
                  <a:gd name="connsiteX23" fmla="*/ 628650 w 1231900"/>
                  <a:gd name="connsiteY23" fmla="*/ 1212850 h 3277163"/>
                  <a:gd name="connsiteX24" fmla="*/ 704850 w 1231900"/>
                  <a:gd name="connsiteY24" fmla="*/ 1212850 h 3277163"/>
                  <a:gd name="connsiteX25" fmla="*/ 774700 w 1231900"/>
                  <a:gd name="connsiteY25" fmla="*/ 1295400 h 3277163"/>
                  <a:gd name="connsiteX26" fmla="*/ 819150 w 1231900"/>
                  <a:gd name="connsiteY26" fmla="*/ 1352550 h 3277163"/>
                  <a:gd name="connsiteX27" fmla="*/ 901700 w 1231900"/>
                  <a:gd name="connsiteY27" fmla="*/ 1416050 h 3277163"/>
                  <a:gd name="connsiteX28" fmla="*/ 946150 w 1231900"/>
                  <a:gd name="connsiteY28" fmla="*/ 1460500 h 3277163"/>
                  <a:gd name="connsiteX29" fmla="*/ 1022350 w 1231900"/>
                  <a:gd name="connsiteY29" fmla="*/ 1612900 h 3277163"/>
                  <a:gd name="connsiteX30" fmla="*/ 1016000 w 1231900"/>
                  <a:gd name="connsiteY30" fmla="*/ 1657350 h 3277163"/>
                  <a:gd name="connsiteX31" fmla="*/ 1060450 w 1231900"/>
                  <a:gd name="connsiteY31" fmla="*/ 1720850 h 3277163"/>
                  <a:gd name="connsiteX32" fmla="*/ 1079500 w 1231900"/>
                  <a:gd name="connsiteY32" fmla="*/ 1809750 h 3277163"/>
                  <a:gd name="connsiteX33" fmla="*/ 1136650 w 1231900"/>
                  <a:gd name="connsiteY33" fmla="*/ 1981200 h 3277163"/>
                  <a:gd name="connsiteX34" fmla="*/ 1168400 w 1231900"/>
                  <a:gd name="connsiteY34" fmla="*/ 2044700 h 3277163"/>
                  <a:gd name="connsiteX35" fmla="*/ 1231900 w 1231900"/>
                  <a:gd name="connsiteY35" fmla="*/ 2095500 h 3277163"/>
                  <a:gd name="connsiteX36" fmla="*/ 1193800 w 1231900"/>
                  <a:gd name="connsiteY36" fmla="*/ 2139950 h 3277163"/>
                  <a:gd name="connsiteX37" fmla="*/ 1187450 w 1231900"/>
                  <a:gd name="connsiteY37" fmla="*/ 2190750 h 3277163"/>
                  <a:gd name="connsiteX38" fmla="*/ 1187450 w 1231900"/>
                  <a:gd name="connsiteY38" fmla="*/ 2241550 h 3277163"/>
                  <a:gd name="connsiteX39" fmla="*/ 1206500 w 1231900"/>
                  <a:gd name="connsiteY39" fmla="*/ 2273300 h 3277163"/>
                  <a:gd name="connsiteX40" fmla="*/ 1187450 w 1231900"/>
                  <a:gd name="connsiteY40" fmla="*/ 2305050 h 3277163"/>
                  <a:gd name="connsiteX41" fmla="*/ 1206500 w 1231900"/>
                  <a:gd name="connsiteY41" fmla="*/ 2368550 h 3277163"/>
                  <a:gd name="connsiteX42" fmla="*/ 1149350 w 1231900"/>
                  <a:gd name="connsiteY42" fmla="*/ 2527300 h 3277163"/>
                  <a:gd name="connsiteX43" fmla="*/ 1104900 w 1231900"/>
                  <a:gd name="connsiteY43" fmla="*/ 2565400 h 3277163"/>
                  <a:gd name="connsiteX44" fmla="*/ 1073150 w 1231900"/>
                  <a:gd name="connsiteY44" fmla="*/ 2597150 h 3277163"/>
                  <a:gd name="connsiteX45" fmla="*/ 996950 w 1231900"/>
                  <a:gd name="connsiteY45" fmla="*/ 2616200 h 3277163"/>
                  <a:gd name="connsiteX46" fmla="*/ 958850 w 1231900"/>
                  <a:gd name="connsiteY46" fmla="*/ 2679700 h 3277163"/>
                  <a:gd name="connsiteX47" fmla="*/ 831850 w 1231900"/>
                  <a:gd name="connsiteY47" fmla="*/ 2762250 h 3277163"/>
                  <a:gd name="connsiteX48" fmla="*/ 723900 w 1231900"/>
                  <a:gd name="connsiteY48" fmla="*/ 2736850 h 3277163"/>
                  <a:gd name="connsiteX49" fmla="*/ 647700 w 1231900"/>
                  <a:gd name="connsiteY49" fmla="*/ 2730500 h 3277163"/>
                  <a:gd name="connsiteX50" fmla="*/ 565150 w 1231900"/>
                  <a:gd name="connsiteY50" fmla="*/ 2736850 h 3277163"/>
                  <a:gd name="connsiteX51" fmla="*/ 482600 w 1231900"/>
                  <a:gd name="connsiteY51" fmla="*/ 2844800 h 3277163"/>
                  <a:gd name="connsiteX52" fmla="*/ 431800 w 1231900"/>
                  <a:gd name="connsiteY52" fmla="*/ 2908300 h 3277163"/>
                  <a:gd name="connsiteX53" fmla="*/ 361950 w 1231900"/>
                  <a:gd name="connsiteY53" fmla="*/ 2946400 h 3277163"/>
                  <a:gd name="connsiteX54" fmla="*/ 342900 w 1231900"/>
                  <a:gd name="connsiteY54" fmla="*/ 3022600 h 3277163"/>
                  <a:gd name="connsiteX55" fmla="*/ 242094 w 1231900"/>
                  <a:gd name="connsiteY55" fmla="*/ 3152775 h 3277163"/>
                  <a:gd name="connsiteX56" fmla="*/ 154781 w 1231900"/>
                  <a:gd name="connsiteY56" fmla="*/ 3273426 h 3277163"/>
                  <a:gd name="connsiteX0" fmla="*/ 6350 w 1231900"/>
                  <a:gd name="connsiteY0" fmla="*/ 0 h 3277163"/>
                  <a:gd name="connsiteX1" fmla="*/ 19050 w 1231900"/>
                  <a:gd name="connsiteY1" fmla="*/ 120650 h 3277163"/>
                  <a:gd name="connsiteX2" fmla="*/ 12700 w 1231900"/>
                  <a:gd name="connsiteY2" fmla="*/ 158750 h 3277163"/>
                  <a:gd name="connsiteX3" fmla="*/ 44450 w 1231900"/>
                  <a:gd name="connsiteY3" fmla="*/ 209550 h 3277163"/>
                  <a:gd name="connsiteX4" fmla="*/ 31750 w 1231900"/>
                  <a:gd name="connsiteY4" fmla="*/ 234950 h 3277163"/>
                  <a:gd name="connsiteX5" fmla="*/ 44450 w 1231900"/>
                  <a:gd name="connsiteY5" fmla="*/ 273050 h 3277163"/>
                  <a:gd name="connsiteX6" fmla="*/ 25400 w 1231900"/>
                  <a:gd name="connsiteY6" fmla="*/ 298450 h 3277163"/>
                  <a:gd name="connsiteX7" fmla="*/ 44450 w 1231900"/>
                  <a:gd name="connsiteY7" fmla="*/ 355600 h 3277163"/>
                  <a:gd name="connsiteX8" fmla="*/ 25400 w 1231900"/>
                  <a:gd name="connsiteY8" fmla="*/ 463550 h 3277163"/>
                  <a:gd name="connsiteX9" fmla="*/ 6350 w 1231900"/>
                  <a:gd name="connsiteY9" fmla="*/ 520700 h 3277163"/>
                  <a:gd name="connsiteX10" fmla="*/ 0 w 1231900"/>
                  <a:gd name="connsiteY10" fmla="*/ 603250 h 3277163"/>
                  <a:gd name="connsiteX11" fmla="*/ 44450 w 1231900"/>
                  <a:gd name="connsiteY11" fmla="*/ 647700 h 3277163"/>
                  <a:gd name="connsiteX12" fmla="*/ 57150 w 1231900"/>
                  <a:gd name="connsiteY12" fmla="*/ 704850 h 3277163"/>
                  <a:gd name="connsiteX13" fmla="*/ 114300 w 1231900"/>
                  <a:gd name="connsiteY13" fmla="*/ 749300 h 3277163"/>
                  <a:gd name="connsiteX14" fmla="*/ 171450 w 1231900"/>
                  <a:gd name="connsiteY14" fmla="*/ 768350 h 3277163"/>
                  <a:gd name="connsiteX15" fmla="*/ 234950 w 1231900"/>
                  <a:gd name="connsiteY15" fmla="*/ 806450 h 3277163"/>
                  <a:gd name="connsiteX16" fmla="*/ 222250 w 1231900"/>
                  <a:gd name="connsiteY16" fmla="*/ 857250 h 3277163"/>
                  <a:gd name="connsiteX17" fmla="*/ 266700 w 1231900"/>
                  <a:gd name="connsiteY17" fmla="*/ 901700 h 3277163"/>
                  <a:gd name="connsiteX18" fmla="*/ 374650 w 1231900"/>
                  <a:gd name="connsiteY18" fmla="*/ 1003300 h 3277163"/>
                  <a:gd name="connsiteX19" fmla="*/ 419100 w 1231900"/>
                  <a:gd name="connsiteY19" fmla="*/ 1028700 h 3277163"/>
                  <a:gd name="connsiteX20" fmla="*/ 457200 w 1231900"/>
                  <a:gd name="connsiteY20" fmla="*/ 1098550 h 3277163"/>
                  <a:gd name="connsiteX21" fmla="*/ 558800 w 1231900"/>
                  <a:gd name="connsiteY21" fmla="*/ 1143000 h 3277163"/>
                  <a:gd name="connsiteX22" fmla="*/ 603250 w 1231900"/>
                  <a:gd name="connsiteY22" fmla="*/ 1162050 h 3277163"/>
                  <a:gd name="connsiteX23" fmla="*/ 628650 w 1231900"/>
                  <a:gd name="connsiteY23" fmla="*/ 1212850 h 3277163"/>
                  <a:gd name="connsiteX24" fmla="*/ 704850 w 1231900"/>
                  <a:gd name="connsiteY24" fmla="*/ 1212850 h 3277163"/>
                  <a:gd name="connsiteX25" fmla="*/ 774700 w 1231900"/>
                  <a:gd name="connsiteY25" fmla="*/ 1295400 h 3277163"/>
                  <a:gd name="connsiteX26" fmla="*/ 819150 w 1231900"/>
                  <a:gd name="connsiteY26" fmla="*/ 1352550 h 3277163"/>
                  <a:gd name="connsiteX27" fmla="*/ 901700 w 1231900"/>
                  <a:gd name="connsiteY27" fmla="*/ 1416050 h 3277163"/>
                  <a:gd name="connsiteX28" fmla="*/ 946150 w 1231900"/>
                  <a:gd name="connsiteY28" fmla="*/ 1460500 h 3277163"/>
                  <a:gd name="connsiteX29" fmla="*/ 1022350 w 1231900"/>
                  <a:gd name="connsiteY29" fmla="*/ 1612900 h 3277163"/>
                  <a:gd name="connsiteX30" fmla="*/ 1016000 w 1231900"/>
                  <a:gd name="connsiteY30" fmla="*/ 1657350 h 3277163"/>
                  <a:gd name="connsiteX31" fmla="*/ 1060450 w 1231900"/>
                  <a:gd name="connsiteY31" fmla="*/ 1720850 h 3277163"/>
                  <a:gd name="connsiteX32" fmla="*/ 1079500 w 1231900"/>
                  <a:gd name="connsiteY32" fmla="*/ 1809750 h 3277163"/>
                  <a:gd name="connsiteX33" fmla="*/ 1136650 w 1231900"/>
                  <a:gd name="connsiteY33" fmla="*/ 1981200 h 3277163"/>
                  <a:gd name="connsiteX34" fmla="*/ 1168400 w 1231900"/>
                  <a:gd name="connsiteY34" fmla="*/ 2044700 h 3277163"/>
                  <a:gd name="connsiteX35" fmla="*/ 1231900 w 1231900"/>
                  <a:gd name="connsiteY35" fmla="*/ 2095500 h 3277163"/>
                  <a:gd name="connsiteX36" fmla="*/ 1193800 w 1231900"/>
                  <a:gd name="connsiteY36" fmla="*/ 2139950 h 3277163"/>
                  <a:gd name="connsiteX37" fmla="*/ 1187450 w 1231900"/>
                  <a:gd name="connsiteY37" fmla="*/ 2190750 h 3277163"/>
                  <a:gd name="connsiteX38" fmla="*/ 1187450 w 1231900"/>
                  <a:gd name="connsiteY38" fmla="*/ 2241550 h 3277163"/>
                  <a:gd name="connsiteX39" fmla="*/ 1206500 w 1231900"/>
                  <a:gd name="connsiteY39" fmla="*/ 2273300 h 3277163"/>
                  <a:gd name="connsiteX40" fmla="*/ 1187450 w 1231900"/>
                  <a:gd name="connsiteY40" fmla="*/ 2305050 h 3277163"/>
                  <a:gd name="connsiteX41" fmla="*/ 1206500 w 1231900"/>
                  <a:gd name="connsiteY41" fmla="*/ 2368550 h 3277163"/>
                  <a:gd name="connsiteX42" fmla="*/ 1149350 w 1231900"/>
                  <a:gd name="connsiteY42" fmla="*/ 2527300 h 3277163"/>
                  <a:gd name="connsiteX43" fmla="*/ 1104900 w 1231900"/>
                  <a:gd name="connsiteY43" fmla="*/ 2565400 h 3277163"/>
                  <a:gd name="connsiteX44" fmla="*/ 1073150 w 1231900"/>
                  <a:gd name="connsiteY44" fmla="*/ 2597150 h 3277163"/>
                  <a:gd name="connsiteX45" fmla="*/ 996950 w 1231900"/>
                  <a:gd name="connsiteY45" fmla="*/ 2616200 h 3277163"/>
                  <a:gd name="connsiteX46" fmla="*/ 958850 w 1231900"/>
                  <a:gd name="connsiteY46" fmla="*/ 2679700 h 3277163"/>
                  <a:gd name="connsiteX47" fmla="*/ 831850 w 1231900"/>
                  <a:gd name="connsiteY47" fmla="*/ 2762250 h 3277163"/>
                  <a:gd name="connsiteX48" fmla="*/ 723900 w 1231900"/>
                  <a:gd name="connsiteY48" fmla="*/ 2736850 h 3277163"/>
                  <a:gd name="connsiteX49" fmla="*/ 647700 w 1231900"/>
                  <a:gd name="connsiteY49" fmla="*/ 2730500 h 3277163"/>
                  <a:gd name="connsiteX50" fmla="*/ 565150 w 1231900"/>
                  <a:gd name="connsiteY50" fmla="*/ 2736850 h 3277163"/>
                  <a:gd name="connsiteX51" fmla="*/ 482600 w 1231900"/>
                  <a:gd name="connsiteY51" fmla="*/ 2844800 h 3277163"/>
                  <a:gd name="connsiteX52" fmla="*/ 431800 w 1231900"/>
                  <a:gd name="connsiteY52" fmla="*/ 2908300 h 3277163"/>
                  <a:gd name="connsiteX53" fmla="*/ 361950 w 1231900"/>
                  <a:gd name="connsiteY53" fmla="*/ 2946400 h 3277163"/>
                  <a:gd name="connsiteX54" fmla="*/ 342900 w 1231900"/>
                  <a:gd name="connsiteY54" fmla="*/ 3022600 h 3277163"/>
                  <a:gd name="connsiteX55" fmla="*/ 242094 w 1231900"/>
                  <a:gd name="connsiteY55" fmla="*/ 3152775 h 3277163"/>
                  <a:gd name="connsiteX56" fmla="*/ 154781 w 1231900"/>
                  <a:gd name="connsiteY56" fmla="*/ 3273426 h 3277163"/>
                  <a:gd name="connsiteX0" fmla="*/ 6350 w 1231900"/>
                  <a:gd name="connsiteY0" fmla="*/ 0 h 3277163"/>
                  <a:gd name="connsiteX1" fmla="*/ 19050 w 1231900"/>
                  <a:gd name="connsiteY1" fmla="*/ 120650 h 3277163"/>
                  <a:gd name="connsiteX2" fmla="*/ 12700 w 1231900"/>
                  <a:gd name="connsiteY2" fmla="*/ 158750 h 3277163"/>
                  <a:gd name="connsiteX3" fmla="*/ 44450 w 1231900"/>
                  <a:gd name="connsiteY3" fmla="*/ 209550 h 3277163"/>
                  <a:gd name="connsiteX4" fmla="*/ 31750 w 1231900"/>
                  <a:gd name="connsiteY4" fmla="*/ 234950 h 3277163"/>
                  <a:gd name="connsiteX5" fmla="*/ 44450 w 1231900"/>
                  <a:gd name="connsiteY5" fmla="*/ 273050 h 3277163"/>
                  <a:gd name="connsiteX6" fmla="*/ 25400 w 1231900"/>
                  <a:gd name="connsiteY6" fmla="*/ 298450 h 3277163"/>
                  <a:gd name="connsiteX7" fmla="*/ 44450 w 1231900"/>
                  <a:gd name="connsiteY7" fmla="*/ 355600 h 3277163"/>
                  <a:gd name="connsiteX8" fmla="*/ 25400 w 1231900"/>
                  <a:gd name="connsiteY8" fmla="*/ 463550 h 3277163"/>
                  <a:gd name="connsiteX9" fmla="*/ 6350 w 1231900"/>
                  <a:gd name="connsiteY9" fmla="*/ 520700 h 3277163"/>
                  <a:gd name="connsiteX10" fmla="*/ 0 w 1231900"/>
                  <a:gd name="connsiteY10" fmla="*/ 603250 h 3277163"/>
                  <a:gd name="connsiteX11" fmla="*/ 44450 w 1231900"/>
                  <a:gd name="connsiteY11" fmla="*/ 647700 h 3277163"/>
                  <a:gd name="connsiteX12" fmla="*/ 57150 w 1231900"/>
                  <a:gd name="connsiteY12" fmla="*/ 704850 h 3277163"/>
                  <a:gd name="connsiteX13" fmla="*/ 114300 w 1231900"/>
                  <a:gd name="connsiteY13" fmla="*/ 749300 h 3277163"/>
                  <a:gd name="connsiteX14" fmla="*/ 171450 w 1231900"/>
                  <a:gd name="connsiteY14" fmla="*/ 768350 h 3277163"/>
                  <a:gd name="connsiteX15" fmla="*/ 234950 w 1231900"/>
                  <a:gd name="connsiteY15" fmla="*/ 806450 h 3277163"/>
                  <a:gd name="connsiteX16" fmla="*/ 222250 w 1231900"/>
                  <a:gd name="connsiteY16" fmla="*/ 857250 h 3277163"/>
                  <a:gd name="connsiteX17" fmla="*/ 266700 w 1231900"/>
                  <a:gd name="connsiteY17" fmla="*/ 901700 h 3277163"/>
                  <a:gd name="connsiteX18" fmla="*/ 374650 w 1231900"/>
                  <a:gd name="connsiteY18" fmla="*/ 1003300 h 3277163"/>
                  <a:gd name="connsiteX19" fmla="*/ 419100 w 1231900"/>
                  <a:gd name="connsiteY19" fmla="*/ 1028700 h 3277163"/>
                  <a:gd name="connsiteX20" fmla="*/ 457200 w 1231900"/>
                  <a:gd name="connsiteY20" fmla="*/ 1098550 h 3277163"/>
                  <a:gd name="connsiteX21" fmla="*/ 558800 w 1231900"/>
                  <a:gd name="connsiteY21" fmla="*/ 1143000 h 3277163"/>
                  <a:gd name="connsiteX22" fmla="*/ 603250 w 1231900"/>
                  <a:gd name="connsiteY22" fmla="*/ 1162050 h 3277163"/>
                  <a:gd name="connsiteX23" fmla="*/ 628650 w 1231900"/>
                  <a:gd name="connsiteY23" fmla="*/ 1212850 h 3277163"/>
                  <a:gd name="connsiteX24" fmla="*/ 704850 w 1231900"/>
                  <a:gd name="connsiteY24" fmla="*/ 1212850 h 3277163"/>
                  <a:gd name="connsiteX25" fmla="*/ 774700 w 1231900"/>
                  <a:gd name="connsiteY25" fmla="*/ 1295400 h 3277163"/>
                  <a:gd name="connsiteX26" fmla="*/ 819150 w 1231900"/>
                  <a:gd name="connsiteY26" fmla="*/ 1352550 h 3277163"/>
                  <a:gd name="connsiteX27" fmla="*/ 901700 w 1231900"/>
                  <a:gd name="connsiteY27" fmla="*/ 1416050 h 3277163"/>
                  <a:gd name="connsiteX28" fmla="*/ 946150 w 1231900"/>
                  <a:gd name="connsiteY28" fmla="*/ 1460500 h 3277163"/>
                  <a:gd name="connsiteX29" fmla="*/ 1022350 w 1231900"/>
                  <a:gd name="connsiteY29" fmla="*/ 1612900 h 3277163"/>
                  <a:gd name="connsiteX30" fmla="*/ 1016000 w 1231900"/>
                  <a:gd name="connsiteY30" fmla="*/ 1657350 h 3277163"/>
                  <a:gd name="connsiteX31" fmla="*/ 1060450 w 1231900"/>
                  <a:gd name="connsiteY31" fmla="*/ 1720850 h 3277163"/>
                  <a:gd name="connsiteX32" fmla="*/ 1079500 w 1231900"/>
                  <a:gd name="connsiteY32" fmla="*/ 1809750 h 3277163"/>
                  <a:gd name="connsiteX33" fmla="*/ 1136650 w 1231900"/>
                  <a:gd name="connsiteY33" fmla="*/ 1981200 h 3277163"/>
                  <a:gd name="connsiteX34" fmla="*/ 1168400 w 1231900"/>
                  <a:gd name="connsiteY34" fmla="*/ 2044700 h 3277163"/>
                  <a:gd name="connsiteX35" fmla="*/ 1231900 w 1231900"/>
                  <a:gd name="connsiteY35" fmla="*/ 2095500 h 3277163"/>
                  <a:gd name="connsiteX36" fmla="*/ 1193800 w 1231900"/>
                  <a:gd name="connsiteY36" fmla="*/ 2139950 h 3277163"/>
                  <a:gd name="connsiteX37" fmla="*/ 1187450 w 1231900"/>
                  <a:gd name="connsiteY37" fmla="*/ 2190750 h 3277163"/>
                  <a:gd name="connsiteX38" fmla="*/ 1187450 w 1231900"/>
                  <a:gd name="connsiteY38" fmla="*/ 2241550 h 3277163"/>
                  <a:gd name="connsiteX39" fmla="*/ 1206500 w 1231900"/>
                  <a:gd name="connsiteY39" fmla="*/ 2273300 h 3277163"/>
                  <a:gd name="connsiteX40" fmla="*/ 1187450 w 1231900"/>
                  <a:gd name="connsiteY40" fmla="*/ 2305050 h 3277163"/>
                  <a:gd name="connsiteX41" fmla="*/ 1206500 w 1231900"/>
                  <a:gd name="connsiteY41" fmla="*/ 2368550 h 3277163"/>
                  <a:gd name="connsiteX42" fmla="*/ 1149350 w 1231900"/>
                  <a:gd name="connsiteY42" fmla="*/ 2527300 h 3277163"/>
                  <a:gd name="connsiteX43" fmla="*/ 1104900 w 1231900"/>
                  <a:gd name="connsiteY43" fmla="*/ 2565400 h 3277163"/>
                  <a:gd name="connsiteX44" fmla="*/ 1073150 w 1231900"/>
                  <a:gd name="connsiteY44" fmla="*/ 2597150 h 3277163"/>
                  <a:gd name="connsiteX45" fmla="*/ 996950 w 1231900"/>
                  <a:gd name="connsiteY45" fmla="*/ 2616200 h 3277163"/>
                  <a:gd name="connsiteX46" fmla="*/ 958850 w 1231900"/>
                  <a:gd name="connsiteY46" fmla="*/ 2679700 h 3277163"/>
                  <a:gd name="connsiteX47" fmla="*/ 831850 w 1231900"/>
                  <a:gd name="connsiteY47" fmla="*/ 2762250 h 3277163"/>
                  <a:gd name="connsiteX48" fmla="*/ 723900 w 1231900"/>
                  <a:gd name="connsiteY48" fmla="*/ 2736850 h 3277163"/>
                  <a:gd name="connsiteX49" fmla="*/ 647700 w 1231900"/>
                  <a:gd name="connsiteY49" fmla="*/ 2730500 h 3277163"/>
                  <a:gd name="connsiteX50" fmla="*/ 565150 w 1231900"/>
                  <a:gd name="connsiteY50" fmla="*/ 2736850 h 3277163"/>
                  <a:gd name="connsiteX51" fmla="*/ 482600 w 1231900"/>
                  <a:gd name="connsiteY51" fmla="*/ 2844800 h 3277163"/>
                  <a:gd name="connsiteX52" fmla="*/ 431800 w 1231900"/>
                  <a:gd name="connsiteY52" fmla="*/ 2908300 h 3277163"/>
                  <a:gd name="connsiteX53" fmla="*/ 361950 w 1231900"/>
                  <a:gd name="connsiteY53" fmla="*/ 2946400 h 3277163"/>
                  <a:gd name="connsiteX54" fmla="*/ 342900 w 1231900"/>
                  <a:gd name="connsiteY54" fmla="*/ 3022600 h 3277163"/>
                  <a:gd name="connsiteX55" fmla="*/ 242094 w 1231900"/>
                  <a:gd name="connsiteY55" fmla="*/ 3152775 h 3277163"/>
                  <a:gd name="connsiteX56" fmla="*/ 154781 w 1231900"/>
                  <a:gd name="connsiteY56" fmla="*/ 3273426 h 3277163"/>
                  <a:gd name="connsiteX0" fmla="*/ 6350 w 1231967"/>
                  <a:gd name="connsiteY0" fmla="*/ 0 h 3277163"/>
                  <a:gd name="connsiteX1" fmla="*/ 19050 w 1231967"/>
                  <a:gd name="connsiteY1" fmla="*/ 120650 h 3277163"/>
                  <a:gd name="connsiteX2" fmla="*/ 12700 w 1231967"/>
                  <a:gd name="connsiteY2" fmla="*/ 158750 h 3277163"/>
                  <a:gd name="connsiteX3" fmla="*/ 44450 w 1231967"/>
                  <a:gd name="connsiteY3" fmla="*/ 209550 h 3277163"/>
                  <a:gd name="connsiteX4" fmla="*/ 31750 w 1231967"/>
                  <a:gd name="connsiteY4" fmla="*/ 234950 h 3277163"/>
                  <a:gd name="connsiteX5" fmla="*/ 44450 w 1231967"/>
                  <a:gd name="connsiteY5" fmla="*/ 273050 h 3277163"/>
                  <a:gd name="connsiteX6" fmla="*/ 25400 w 1231967"/>
                  <a:gd name="connsiteY6" fmla="*/ 298450 h 3277163"/>
                  <a:gd name="connsiteX7" fmla="*/ 44450 w 1231967"/>
                  <a:gd name="connsiteY7" fmla="*/ 355600 h 3277163"/>
                  <a:gd name="connsiteX8" fmla="*/ 25400 w 1231967"/>
                  <a:gd name="connsiteY8" fmla="*/ 463550 h 3277163"/>
                  <a:gd name="connsiteX9" fmla="*/ 6350 w 1231967"/>
                  <a:gd name="connsiteY9" fmla="*/ 520700 h 3277163"/>
                  <a:gd name="connsiteX10" fmla="*/ 0 w 1231967"/>
                  <a:gd name="connsiteY10" fmla="*/ 603250 h 3277163"/>
                  <a:gd name="connsiteX11" fmla="*/ 44450 w 1231967"/>
                  <a:gd name="connsiteY11" fmla="*/ 647700 h 3277163"/>
                  <a:gd name="connsiteX12" fmla="*/ 57150 w 1231967"/>
                  <a:gd name="connsiteY12" fmla="*/ 704850 h 3277163"/>
                  <a:gd name="connsiteX13" fmla="*/ 114300 w 1231967"/>
                  <a:gd name="connsiteY13" fmla="*/ 749300 h 3277163"/>
                  <a:gd name="connsiteX14" fmla="*/ 171450 w 1231967"/>
                  <a:gd name="connsiteY14" fmla="*/ 768350 h 3277163"/>
                  <a:gd name="connsiteX15" fmla="*/ 234950 w 1231967"/>
                  <a:gd name="connsiteY15" fmla="*/ 806450 h 3277163"/>
                  <a:gd name="connsiteX16" fmla="*/ 222250 w 1231967"/>
                  <a:gd name="connsiteY16" fmla="*/ 857250 h 3277163"/>
                  <a:gd name="connsiteX17" fmla="*/ 266700 w 1231967"/>
                  <a:gd name="connsiteY17" fmla="*/ 901700 h 3277163"/>
                  <a:gd name="connsiteX18" fmla="*/ 374650 w 1231967"/>
                  <a:gd name="connsiteY18" fmla="*/ 1003300 h 3277163"/>
                  <a:gd name="connsiteX19" fmla="*/ 419100 w 1231967"/>
                  <a:gd name="connsiteY19" fmla="*/ 1028700 h 3277163"/>
                  <a:gd name="connsiteX20" fmla="*/ 457200 w 1231967"/>
                  <a:gd name="connsiteY20" fmla="*/ 1098550 h 3277163"/>
                  <a:gd name="connsiteX21" fmla="*/ 558800 w 1231967"/>
                  <a:gd name="connsiteY21" fmla="*/ 1143000 h 3277163"/>
                  <a:gd name="connsiteX22" fmla="*/ 603250 w 1231967"/>
                  <a:gd name="connsiteY22" fmla="*/ 1162050 h 3277163"/>
                  <a:gd name="connsiteX23" fmla="*/ 628650 w 1231967"/>
                  <a:gd name="connsiteY23" fmla="*/ 1212850 h 3277163"/>
                  <a:gd name="connsiteX24" fmla="*/ 704850 w 1231967"/>
                  <a:gd name="connsiteY24" fmla="*/ 1212850 h 3277163"/>
                  <a:gd name="connsiteX25" fmla="*/ 774700 w 1231967"/>
                  <a:gd name="connsiteY25" fmla="*/ 1295400 h 3277163"/>
                  <a:gd name="connsiteX26" fmla="*/ 819150 w 1231967"/>
                  <a:gd name="connsiteY26" fmla="*/ 1352550 h 3277163"/>
                  <a:gd name="connsiteX27" fmla="*/ 901700 w 1231967"/>
                  <a:gd name="connsiteY27" fmla="*/ 1416050 h 3277163"/>
                  <a:gd name="connsiteX28" fmla="*/ 946150 w 1231967"/>
                  <a:gd name="connsiteY28" fmla="*/ 1460500 h 3277163"/>
                  <a:gd name="connsiteX29" fmla="*/ 1022350 w 1231967"/>
                  <a:gd name="connsiteY29" fmla="*/ 1612900 h 3277163"/>
                  <a:gd name="connsiteX30" fmla="*/ 1016000 w 1231967"/>
                  <a:gd name="connsiteY30" fmla="*/ 1657350 h 3277163"/>
                  <a:gd name="connsiteX31" fmla="*/ 1060450 w 1231967"/>
                  <a:gd name="connsiteY31" fmla="*/ 1720850 h 3277163"/>
                  <a:gd name="connsiteX32" fmla="*/ 1079500 w 1231967"/>
                  <a:gd name="connsiteY32" fmla="*/ 1809750 h 3277163"/>
                  <a:gd name="connsiteX33" fmla="*/ 1136650 w 1231967"/>
                  <a:gd name="connsiteY33" fmla="*/ 1981200 h 3277163"/>
                  <a:gd name="connsiteX34" fmla="*/ 1168400 w 1231967"/>
                  <a:gd name="connsiteY34" fmla="*/ 2044700 h 3277163"/>
                  <a:gd name="connsiteX35" fmla="*/ 1231900 w 1231967"/>
                  <a:gd name="connsiteY35" fmla="*/ 2095500 h 3277163"/>
                  <a:gd name="connsiteX36" fmla="*/ 1193800 w 1231967"/>
                  <a:gd name="connsiteY36" fmla="*/ 2139950 h 3277163"/>
                  <a:gd name="connsiteX37" fmla="*/ 1187450 w 1231967"/>
                  <a:gd name="connsiteY37" fmla="*/ 2190750 h 3277163"/>
                  <a:gd name="connsiteX38" fmla="*/ 1187450 w 1231967"/>
                  <a:gd name="connsiteY38" fmla="*/ 2241550 h 3277163"/>
                  <a:gd name="connsiteX39" fmla="*/ 1206500 w 1231967"/>
                  <a:gd name="connsiteY39" fmla="*/ 2273300 h 3277163"/>
                  <a:gd name="connsiteX40" fmla="*/ 1187450 w 1231967"/>
                  <a:gd name="connsiteY40" fmla="*/ 2305050 h 3277163"/>
                  <a:gd name="connsiteX41" fmla="*/ 1206500 w 1231967"/>
                  <a:gd name="connsiteY41" fmla="*/ 2368550 h 3277163"/>
                  <a:gd name="connsiteX42" fmla="*/ 1149350 w 1231967"/>
                  <a:gd name="connsiteY42" fmla="*/ 2527300 h 3277163"/>
                  <a:gd name="connsiteX43" fmla="*/ 1104900 w 1231967"/>
                  <a:gd name="connsiteY43" fmla="*/ 2565400 h 3277163"/>
                  <a:gd name="connsiteX44" fmla="*/ 1073150 w 1231967"/>
                  <a:gd name="connsiteY44" fmla="*/ 2597150 h 3277163"/>
                  <a:gd name="connsiteX45" fmla="*/ 996950 w 1231967"/>
                  <a:gd name="connsiteY45" fmla="*/ 2616200 h 3277163"/>
                  <a:gd name="connsiteX46" fmla="*/ 958850 w 1231967"/>
                  <a:gd name="connsiteY46" fmla="*/ 2679700 h 3277163"/>
                  <a:gd name="connsiteX47" fmla="*/ 831850 w 1231967"/>
                  <a:gd name="connsiteY47" fmla="*/ 2762250 h 3277163"/>
                  <a:gd name="connsiteX48" fmla="*/ 723900 w 1231967"/>
                  <a:gd name="connsiteY48" fmla="*/ 2736850 h 3277163"/>
                  <a:gd name="connsiteX49" fmla="*/ 647700 w 1231967"/>
                  <a:gd name="connsiteY49" fmla="*/ 2730500 h 3277163"/>
                  <a:gd name="connsiteX50" fmla="*/ 565150 w 1231967"/>
                  <a:gd name="connsiteY50" fmla="*/ 2736850 h 3277163"/>
                  <a:gd name="connsiteX51" fmla="*/ 482600 w 1231967"/>
                  <a:gd name="connsiteY51" fmla="*/ 2844800 h 3277163"/>
                  <a:gd name="connsiteX52" fmla="*/ 431800 w 1231967"/>
                  <a:gd name="connsiteY52" fmla="*/ 2908300 h 3277163"/>
                  <a:gd name="connsiteX53" fmla="*/ 361950 w 1231967"/>
                  <a:gd name="connsiteY53" fmla="*/ 2946400 h 3277163"/>
                  <a:gd name="connsiteX54" fmla="*/ 342900 w 1231967"/>
                  <a:gd name="connsiteY54" fmla="*/ 3022600 h 3277163"/>
                  <a:gd name="connsiteX55" fmla="*/ 242094 w 1231967"/>
                  <a:gd name="connsiteY55" fmla="*/ 3152775 h 3277163"/>
                  <a:gd name="connsiteX56" fmla="*/ 154781 w 1231967"/>
                  <a:gd name="connsiteY56" fmla="*/ 3273426 h 3277163"/>
                  <a:gd name="connsiteX0" fmla="*/ 6350 w 1231967"/>
                  <a:gd name="connsiteY0" fmla="*/ 0 h 3277163"/>
                  <a:gd name="connsiteX1" fmla="*/ 19050 w 1231967"/>
                  <a:gd name="connsiteY1" fmla="*/ 120650 h 3277163"/>
                  <a:gd name="connsiteX2" fmla="*/ 12700 w 1231967"/>
                  <a:gd name="connsiteY2" fmla="*/ 158750 h 3277163"/>
                  <a:gd name="connsiteX3" fmla="*/ 44450 w 1231967"/>
                  <a:gd name="connsiteY3" fmla="*/ 209550 h 3277163"/>
                  <a:gd name="connsiteX4" fmla="*/ 31750 w 1231967"/>
                  <a:gd name="connsiteY4" fmla="*/ 234950 h 3277163"/>
                  <a:gd name="connsiteX5" fmla="*/ 44450 w 1231967"/>
                  <a:gd name="connsiteY5" fmla="*/ 273050 h 3277163"/>
                  <a:gd name="connsiteX6" fmla="*/ 25400 w 1231967"/>
                  <a:gd name="connsiteY6" fmla="*/ 298450 h 3277163"/>
                  <a:gd name="connsiteX7" fmla="*/ 44450 w 1231967"/>
                  <a:gd name="connsiteY7" fmla="*/ 355600 h 3277163"/>
                  <a:gd name="connsiteX8" fmla="*/ 25400 w 1231967"/>
                  <a:gd name="connsiteY8" fmla="*/ 463550 h 3277163"/>
                  <a:gd name="connsiteX9" fmla="*/ 6350 w 1231967"/>
                  <a:gd name="connsiteY9" fmla="*/ 520700 h 3277163"/>
                  <a:gd name="connsiteX10" fmla="*/ 0 w 1231967"/>
                  <a:gd name="connsiteY10" fmla="*/ 603250 h 3277163"/>
                  <a:gd name="connsiteX11" fmla="*/ 44450 w 1231967"/>
                  <a:gd name="connsiteY11" fmla="*/ 647700 h 3277163"/>
                  <a:gd name="connsiteX12" fmla="*/ 57150 w 1231967"/>
                  <a:gd name="connsiteY12" fmla="*/ 704850 h 3277163"/>
                  <a:gd name="connsiteX13" fmla="*/ 114300 w 1231967"/>
                  <a:gd name="connsiteY13" fmla="*/ 749300 h 3277163"/>
                  <a:gd name="connsiteX14" fmla="*/ 171450 w 1231967"/>
                  <a:gd name="connsiteY14" fmla="*/ 768350 h 3277163"/>
                  <a:gd name="connsiteX15" fmla="*/ 234950 w 1231967"/>
                  <a:gd name="connsiteY15" fmla="*/ 806450 h 3277163"/>
                  <a:gd name="connsiteX16" fmla="*/ 222250 w 1231967"/>
                  <a:gd name="connsiteY16" fmla="*/ 857250 h 3277163"/>
                  <a:gd name="connsiteX17" fmla="*/ 266700 w 1231967"/>
                  <a:gd name="connsiteY17" fmla="*/ 901700 h 3277163"/>
                  <a:gd name="connsiteX18" fmla="*/ 374650 w 1231967"/>
                  <a:gd name="connsiteY18" fmla="*/ 1003300 h 3277163"/>
                  <a:gd name="connsiteX19" fmla="*/ 419100 w 1231967"/>
                  <a:gd name="connsiteY19" fmla="*/ 1028700 h 3277163"/>
                  <a:gd name="connsiteX20" fmla="*/ 457200 w 1231967"/>
                  <a:gd name="connsiteY20" fmla="*/ 1098550 h 3277163"/>
                  <a:gd name="connsiteX21" fmla="*/ 558800 w 1231967"/>
                  <a:gd name="connsiteY21" fmla="*/ 1143000 h 3277163"/>
                  <a:gd name="connsiteX22" fmla="*/ 603250 w 1231967"/>
                  <a:gd name="connsiteY22" fmla="*/ 1162050 h 3277163"/>
                  <a:gd name="connsiteX23" fmla="*/ 628650 w 1231967"/>
                  <a:gd name="connsiteY23" fmla="*/ 1212850 h 3277163"/>
                  <a:gd name="connsiteX24" fmla="*/ 704850 w 1231967"/>
                  <a:gd name="connsiteY24" fmla="*/ 1212850 h 3277163"/>
                  <a:gd name="connsiteX25" fmla="*/ 774700 w 1231967"/>
                  <a:gd name="connsiteY25" fmla="*/ 1295400 h 3277163"/>
                  <a:gd name="connsiteX26" fmla="*/ 819150 w 1231967"/>
                  <a:gd name="connsiteY26" fmla="*/ 1352550 h 3277163"/>
                  <a:gd name="connsiteX27" fmla="*/ 901700 w 1231967"/>
                  <a:gd name="connsiteY27" fmla="*/ 1416050 h 3277163"/>
                  <a:gd name="connsiteX28" fmla="*/ 946150 w 1231967"/>
                  <a:gd name="connsiteY28" fmla="*/ 1460500 h 3277163"/>
                  <a:gd name="connsiteX29" fmla="*/ 1022350 w 1231967"/>
                  <a:gd name="connsiteY29" fmla="*/ 1612900 h 3277163"/>
                  <a:gd name="connsiteX30" fmla="*/ 1016000 w 1231967"/>
                  <a:gd name="connsiteY30" fmla="*/ 1657350 h 3277163"/>
                  <a:gd name="connsiteX31" fmla="*/ 1060450 w 1231967"/>
                  <a:gd name="connsiteY31" fmla="*/ 1720850 h 3277163"/>
                  <a:gd name="connsiteX32" fmla="*/ 1079500 w 1231967"/>
                  <a:gd name="connsiteY32" fmla="*/ 1809750 h 3277163"/>
                  <a:gd name="connsiteX33" fmla="*/ 1122363 w 1231967"/>
                  <a:gd name="connsiteY33" fmla="*/ 1910557 h 3277163"/>
                  <a:gd name="connsiteX34" fmla="*/ 1136650 w 1231967"/>
                  <a:gd name="connsiteY34" fmla="*/ 1981200 h 3277163"/>
                  <a:gd name="connsiteX35" fmla="*/ 1168400 w 1231967"/>
                  <a:gd name="connsiteY35" fmla="*/ 2044700 h 3277163"/>
                  <a:gd name="connsiteX36" fmla="*/ 1231900 w 1231967"/>
                  <a:gd name="connsiteY36" fmla="*/ 2095500 h 3277163"/>
                  <a:gd name="connsiteX37" fmla="*/ 1193800 w 1231967"/>
                  <a:gd name="connsiteY37" fmla="*/ 2139950 h 3277163"/>
                  <a:gd name="connsiteX38" fmla="*/ 1187450 w 1231967"/>
                  <a:gd name="connsiteY38" fmla="*/ 2190750 h 3277163"/>
                  <a:gd name="connsiteX39" fmla="*/ 1187450 w 1231967"/>
                  <a:gd name="connsiteY39" fmla="*/ 2241550 h 3277163"/>
                  <a:gd name="connsiteX40" fmla="*/ 1206500 w 1231967"/>
                  <a:gd name="connsiteY40" fmla="*/ 2273300 h 3277163"/>
                  <a:gd name="connsiteX41" fmla="*/ 1187450 w 1231967"/>
                  <a:gd name="connsiteY41" fmla="*/ 2305050 h 3277163"/>
                  <a:gd name="connsiteX42" fmla="*/ 1206500 w 1231967"/>
                  <a:gd name="connsiteY42" fmla="*/ 2368550 h 3277163"/>
                  <a:gd name="connsiteX43" fmla="*/ 1149350 w 1231967"/>
                  <a:gd name="connsiteY43" fmla="*/ 2527300 h 3277163"/>
                  <a:gd name="connsiteX44" fmla="*/ 1104900 w 1231967"/>
                  <a:gd name="connsiteY44" fmla="*/ 2565400 h 3277163"/>
                  <a:gd name="connsiteX45" fmla="*/ 1073150 w 1231967"/>
                  <a:gd name="connsiteY45" fmla="*/ 2597150 h 3277163"/>
                  <a:gd name="connsiteX46" fmla="*/ 996950 w 1231967"/>
                  <a:gd name="connsiteY46" fmla="*/ 2616200 h 3277163"/>
                  <a:gd name="connsiteX47" fmla="*/ 958850 w 1231967"/>
                  <a:gd name="connsiteY47" fmla="*/ 2679700 h 3277163"/>
                  <a:gd name="connsiteX48" fmla="*/ 831850 w 1231967"/>
                  <a:gd name="connsiteY48" fmla="*/ 2762250 h 3277163"/>
                  <a:gd name="connsiteX49" fmla="*/ 723900 w 1231967"/>
                  <a:gd name="connsiteY49" fmla="*/ 2736850 h 3277163"/>
                  <a:gd name="connsiteX50" fmla="*/ 647700 w 1231967"/>
                  <a:gd name="connsiteY50" fmla="*/ 2730500 h 3277163"/>
                  <a:gd name="connsiteX51" fmla="*/ 565150 w 1231967"/>
                  <a:gd name="connsiteY51" fmla="*/ 2736850 h 3277163"/>
                  <a:gd name="connsiteX52" fmla="*/ 482600 w 1231967"/>
                  <a:gd name="connsiteY52" fmla="*/ 2844800 h 3277163"/>
                  <a:gd name="connsiteX53" fmla="*/ 431800 w 1231967"/>
                  <a:gd name="connsiteY53" fmla="*/ 2908300 h 3277163"/>
                  <a:gd name="connsiteX54" fmla="*/ 361950 w 1231967"/>
                  <a:gd name="connsiteY54" fmla="*/ 2946400 h 3277163"/>
                  <a:gd name="connsiteX55" fmla="*/ 342900 w 1231967"/>
                  <a:gd name="connsiteY55" fmla="*/ 3022600 h 3277163"/>
                  <a:gd name="connsiteX56" fmla="*/ 242094 w 1231967"/>
                  <a:gd name="connsiteY56" fmla="*/ 3152775 h 3277163"/>
                  <a:gd name="connsiteX57" fmla="*/ 154781 w 1231967"/>
                  <a:gd name="connsiteY57" fmla="*/ 3273426 h 3277163"/>
                  <a:gd name="connsiteX0" fmla="*/ 6350 w 1231967"/>
                  <a:gd name="connsiteY0" fmla="*/ 0 h 3277163"/>
                  <a:gd name="connsiteX1" fmla="*/ 19050 w 1231967"/>
                  <a:gd name="connsiteY1" fmla="*/ 120650 h 3277163"/>
                  <a:gd name="connsiteX2" fmla="*/ 12700 w 1231967"/>
                  <a:gd name="connsiteY2" fmla="*/ 158750 h 3277163"/>
                  <a:gd name="connsiteX3" fmla="*/ 44450 w 1231967"/>
                  <a:gd name="connsiteY3" fmla="*/ 209550 h 3277163"/>
                  <a:gd name="connsiteX4" fmla="*/ 31750 w 1231967"/>
                  <a:gd name="connsiteY4" fmla="*/ 234950 h 3277163"/>
                  <a:gd name="connsiteX5" fmla="*/ 44450 w 1231967"/>
                  <a:gd name="connsiteY5" fmla="*/ 273050 h 3277163"/>
                  <a:gd name="connsiteX6" fmla="*/ 25400 w 1231967"/>
                  <a:gd name="connsiteY6" fmla="*/ 298450 h 3277163"/>
                  <a:gd name="connsiteX7" fmla="*/ 44450 w 1231967"/>
                  <a:gd name="connsiteY7" fmla="*/ 355600 h 3277163"/>
                  <a:gd name="connsiteX8" fmla="*/ 25400 w 1231967"/>
                  <a:gd name="connsiteY8" fmla="*/ 463550 h 3277163"/>
                  <a:gd name="connsiteX9" fmla="*/ 6350 w 1231967"/>
                  <a:gd name="connsiteY9" fmla="*/ 520700 h 3277163"/>
                  <a:gd name="connsiteX10" fmla="*/ 0 w 1231967"/>
                  <a:gd name="connsiteY10" fmla="*/ 603250 h 3277163"/>
                  <a:gd name="connsiteX11" fmla="*/ 44450 w 1231967"/>
                  <a:gd name="connsiteY11" fmla="*/ 647700 h 3277163"/>
                  <a:gd name="connsiteX12" fmla="*/ 57150 w 1231967"/>
                  <a:gd name="connsiteY12" fmla="*/ 704850 h 3277163"/>
                  <a:gd name="connsiteX13" fmla="*/ 114300 w 1231967"/>
                  <a:gd name="connsiteY13" fmla="*/ 749300 h 3277163"/>
                  <a:gd name="connsiteX14" fmla="*/ 171450 w 1231967"/>
                  <a:gd name="connsiteY14" fmla="*/ 768350 h 3277163"/>
                  <a:gd name="connsiteX15" fmla="*/ 234950 w 1231967"/>
                  <a:gd name="connsiteY15" fmla="*/ 806450 h 3277163"/>
                  <a:gd name="connsiteX16" fmla="*/ 222250 w 1231967"/>
                  <a:gd name="connsiteY16" fmla="*/ 857250 h 3277163"/>
                  <a:gd name="connsiteX17" fmla="*/ 266700 w 1231967"/>
                  <a:gd name="connsiteY17" fmla="*/ 901700 h 3277163"/>
                  <a:gd name="connsiteX18" fmla="*/ 374650 w 1231967"/>
                  <a:gd name="connsiteY18" fmla="*/ 1003300 h 3277163"/>
                  <a:gd name="connsiteX19" fmla="*/ 419100 w 1231967"/>
                  <a:gd name="connsiteY19" fmla="*/ 1028700 h 3277163"/>
                  <a:gd name="connsiteX20" fmla="*/ 457200 w 1231967"/>
                  <a:gd name="connsiteY20" fmla="*/ 1098550 h 3277163"/>
                  <a:gd name="connsiteX21" fmla="*/ 558800 w 1231967"/>
                  <a:gd name="connsiteY21" fmla="*/ 1143000 h 3277163"/>
                  <a:gd name="connsiteX22" fmla="*/ 603250 w 1231967"/>
                  <a:gd name="connsiteY22" fmla="*/ 1162050 h 3277163"/>
                  <a:gd name="connsiteX23" fmla="*/ 628650 w 1231967"/>
                  <a:gd name="connsiteY23" fmla="*/ 1212850 h 3277163"/>
                  <a:gd name="connsiteX24" fmla="*/ 704850 w 1231967"/>
                  <a:gd name="connsiteY24" fmla="*/ 1212850 h 3277163"/>
                  <a:gd name="connsiteX25" fmla="*/ 774700 w 1231967"/>
                  <a:gd name="connsiteY25" fmla="*/ 1295400 h 3277163"/>
                  <a:gd name="connsiteX26" fmla="*/ 819150 w 1231967"/>
                  <a:gd name="connsiteY26" fmla="*/ 1352550 h 3277163"/>
                  <a:gd name="connsiteX27" fmla="*/ 901700 w 1231967"/>
                  <a:gd name="connsiteY27" fmla="*/ 1416050 h 3277163"/>
                  <a:gd name="connsiteX28" fmla="*/ 946150 w 1231967"/>
                  <a:gd name="connsiteY28" fmla="*/ 1460500 h 3277163"/>
                  <a:gd name="connsiteX29" fmla="*/ 1022350 w 1231967"/>
                  <a:gd name="connsiteY29" fmla="*/ 1612900 h 3277163"/>
                  <a:gd name="connsiteX30" fmla="*/ 1016000 w 1231967"/>
                  <a:gd name="connsiteY30" fmla="*/ 1657350 h 3277163"/>
                  <a:gd name="connsiteX31" fmla="*/ 1060450 w 1231967"/>
                  <a:gd name="connsiteY31" fmla="*/ 1720850 h 3277163"/>
                  <a:gd name="connsiteX32" fmla="*/ 1079500 w 1231967"/>
                  <a:gd name="connsiteY32" fmla="*/ 1809750 h 3277163"/>
                  <a:gd name="connsiteX33" fmla="*/ 1122363 w 1231967"/>
                  <a:gd name="connsiteY33" fmla="*/ 1910557 h 3277163"/>
                  <a:gd name="connsiteX34" fmla="*/ 1136650 w 1231967"/>
                  <a:gd name="connsiteY34" fmla="*/ 1981200 h 3277163"/>
                  <a:gd name="connsiteX35" fmla="*/ 1168400 w 1231967"/>
                  <a:gd name="connsiteY35" fmla="*/ 2044700 h 3277163"/>
                  <a:gd name="connsiteX36" fmla="*/ 1231900 w 1231967"/>
                  <a:gd name="connsiteY36" fmla="*/ 2095500 h 3277163"/>
                  <a:gd name="connsiteX37" fmla="*/ 1193800 w 1231967"/>
                  <a:gd name="connsiteY37" fmla="*/ 2139950 h 3277163"/>
                  <a:gd name="connsiteX38" fmla="*/ 1187450 w 1231967"/>
                  <a:gd name="connsiteY38" fmla="*/ 2190750 h 3277163"/>
                  <a:gd name="connsiteX39" fmla="*/ 1187450 w 1231967"/>
                  <a:gd name="connsiteY39" fmla="*/ 2241550 h 3277163"/>
                  <a:gd name="connsiteX40" fmla="*/ 1206500 w 1231967"/>
                  <a:gd name="connsiteY40" fmla="*/ 2273300 h 3277163"/>
                  <a:gd name="connsiteX41" fmla="*/ 1187450 w 1231967"/>
                  <a:gd name="connsiteY41" fmla="*/ 2305050 h 3277163"/>
                  <a:gd name="connsiteX42" fmla="*/ 1206500 w 1231967"/>
                  <a:gd name="connsiteY42" fmla="*/ 2368550 h 3277163"/>
                  <a:gd name="connsiteX43" fmla="*/ 1149350 w 1231967"/>
                  <a:gd name="connsiteY43" fmla="*/ 2527300 h 3277163"/>
                  <a:gd name="connsiteX44" fmla="*/ 1104900 w 1231967"/>
                  <a:gd name="connsiteY44" fmla="*/ 2565400 h 3277163"/>
                  <a:gd name="connsiteX45" fmla="*/ 1073150 w 1231967"/>
                  <a:gd name="connsiteY45" fmla="*/ 2597150 h 3277163"/>
                  <a:gd name="connsiteX46" fmla="*/ 996950 w 1231967"/>
                  <a:gd name="connsiteY46" fmla="*/ 2616200 h 3277163"/>
                  <a:gd name="connsiteX47" fmla="*/ 958850 w 1231967"/>
                  <a:gd name="connsiteY47" fmla="*/ 2679700 h 3277163"/>
                  <a:gd name="connsiteX48" fmla="*/ 831850 w 1231967"/>
                  <a:gd name="connsiteY48" fmla="*/ 2762250 h 3277163"/>
                  <a:gd name="connsiteX49" fmla="*/ 723900 w 1231967"/>
                  <a:gd name="connsiteY49" fmla="*/ 2736850 h 3277163"/>
                  <a:gd name="connsiteX50" fmla="*/ 647700 w 1231967"/>
                  <a:gd name="connsiteY50" fmla="*/ 2730500 h 3277163"/>
                  <a:gd name="connsiteX51" fmla="*/ 565150 w 1231967"/>
                  <a:gd name="connsiteY51" fmla="*/ 2736850 h 3277163"/>
                  <a:gd name="connsiteX52" fmla="*/ 482600 w 1231967"/>
                  <a:gd name="connsiteY52" fmla="*/ 2844800 h 3277163"/>
                  <a:gd name="connsiteX53" fmla="*/ 431800 w 1231967"/>
                  <a:gd name="connsiteY53" fmla="*/ 2908300 h 3277163"/>
                  <a:gd name="connsiteX54" fmla="*/ 361950 w 1231967"/>
                  <a:gd name="connsiteY54" fmla="*/ 2946400 h 3277163"/>
                  <a:gd name="connsiteX55" fmla="*/ 342900 w 1231967"/>
                  <a:gd name="connsiteY55" fmla="*/ 3022600 h 3277163"/>
                  <a:gd name="connsiteX56" fmla="*/ 242094 w 1231967"/>
                  <a:gd name="connsiteY56" fmla="*/ 3152775 h 3277163"/>
                  <a:gd name="connsiteX57" fmla="*/ 154781 w 1231967"/>
                  <a:gd name="connsiteY57" fmla="*/ 3273426 h 3277163"/>
                  <a:gd name="connsiteX0" fmla="*/ 6350 w 1231967"/>
                  <a:gd name="connsiteY0" fmla="*/ 0 h 3277163"/>
                  <a:gd name="connsiteX1" fmla="*/ 19050 w 1231967"/>
                  <a:gd name="connsiteY1" fmla="*/ 120650 h 3277163"/>
                  <a:gd name="connsiteX2" fmla="*/ 12700 w 1231967"/>
                  <a:gd name="connsiteY2" fmla="*/ 158750 h 3277163"/>
                  <a:gd name="connsiteX3" fmla="*/ 44450 w 1231967"/>
                  <a:gd name="connsiteY3" fmla="*/ 209550 h 3277163"/>
                  <a:gd name="connsiteX4" fmla="*/ 31750 w 1231967"/>
                  <a:gd name="connsiteY4" fmla="*/ 234950 h 3277163"/>
                  <a:gd name="connsiteX5" fmla="*/ 44450 w 1231967"/>
                  <a:gd name="connsiteY5" fmla="*/ 273050 h 3277163"/>
                  <a:gd name="connsiteX6" fmla="*/ 25400 w 1231967"/>
                  <a:gd name="connsiteY6" fmla="*/ 298450 h 3277163"/>
                  <a:gd name="connsiteX7" fmla="*/ 44450 w 1231967"/>
                  <a:gd name="connsiteY7" fmla="*/ 355600 h 3277163"/>
                  <a:gd name="connsiteX8" fmla="*/ 25400 w 1231967"/>
                  <a:gd name="connsiteY8" fmla="*/ 463550 h 3277163"/>
                  <a:gd name="connsiteX9" fmla="*/ 6350 w 1231967"/>
                  <a:gd name="connsiteY9" fmla="*/ 520700 h 3277163"/>
                  <a:gd name="connsiteX10" fmla="*/ 0 w 1231967"/>
                  <a:gd name="connsiteY10" fmla="*/ 603250 h 3277163"/>
                  <a:gd name="connsiteX11" fmla="*/ 44450 w 1231967"/>
                  <a:gd name="connsiteY11" fmla="*/ 647700 h 3277163"/>
                  <a:gd name="connsiteX12" fmla="*/ 57150 w 1231967"/>
                  <a:gd name="connsiteY12" fmla="*/ 704850 h 3277163"/>
                  <a:gd name="connsiteX13" fmla="*/ 114300 w 1231967"/>
                  <a:gd name="connsiteY13" fmla="*/ 749300 h 3277163"/>
                  <a:gd name="connsiteX14" fmla="*/ 171450 w 1231967"/>
                  <a:gd name="connsiteY14" fmla="*/ 768350 h 3277163"/>
                  <a:gd name="connsiteX15" fmla="*/ 234950 w 1231967"/>
                  <a:gd name="connsiteY15" fmla="*/ 806450 h 3277163"/>
                  <a:gd name="connsiteX16" fmla="*/ 222250 w 1231967"/>
                  <a:gd name="connsiteY16" fmla="*/ 857250 h 3277163"/>
                  <a:gd name="connsiteX17" fmla="*/ 266700 w 1231967"/>
                  <a:gd name="connsiteY17" fmla="*/ 901700 h 3277163"/>
                  <a:gd name="connsiteX18" fmla="*/ 374650 w 1231967"/>
                  <a:gd name="connsiteY18" fmla="*/ 1003300 h 3277163"/>
                  <a:gd name="connsiteX19" fmla="*/ 419100 w 1231967"/>
                  <a:gd name="connsiteY19" fmla="*/ 1028700 h 3277163"/>
                  <a:gd name="connsiteX20" fmla="*/ 457200 w 1231967"/>
                  <a:gd name="connsiteY20" fmla="*/ 1098550 h 3277163"/>
                  <a:gd name="connsiteX21" fmla="*/ 558800 w 1231967"/>
                  <a:gd name="connsiteY21" fmla="*/ 1143000 h 3277163"/>
                  <a:gd name="connsiteX22" fmla="*/ 603250 w 1231967"/>
                  <a:gd name="connsiteY22" fmla="*/ 1162050 h 3277163"/>
                  <a:gd name="connsiteX23" fmla="*/ 628650 w 1231967"/>
                  <a:gd name="connsiteY23" fmla="*/ 1212850 h 3277163"/>
                  <a:gd name="connsiteX24" fmla="*/ 704850 w 1231967"/>
                  <a:gd name="connsiteY24" fmla="*/ 1212850 h 3277163"/>
                  <a:gd name="connsiteX25" fmla="*/ 758031 w 1231967"/>
                  <a:gd name="connsiteY25" fmla="*/ 1255714 h 3277163"/>
                  <a:gd name="connsiteX26" fmla="*/ 774700 w 1231967"/>
                  <a:gd name="connsiteY26" fmla="*/ 1295400 h 3277163"/>
                  <a:gd name="connsiteX27" fmla="*/ 819150 w 1231967"/>
                  <a:gd name="connsiteY27" fmla="*/ 1352550 h 3277163"/>
                  <a:gd name="connsiteX28" fmla="*/ 901700 w 1231967"/>
                  <a:gd name="connsiteY28" fmla="*/ 1416050 h 3277163"/>
                  <a:gd name="connsiteX29" fmla="*/ 946150 w 1231967"/>
                  <a:gd name="connsiteY29" fmla="*/ 1460500 h 3277163"/>
                  <a:gd name="connsiteX30" fmla="*/ 1022350 w 1231967"/>
                  <a:gd name="connsiteY30" fmla="*/ 1612900 h 3277163"/>
                  <a:gd name="connsiteX31" fmla="*/ 1016000 w 1231967"/>
                  <a:gd name="connsiteY31" fmla="*/ 1657350 h 3277163"/>
                  <a:gd name="connsiteX32" fmla="*/ 1060450 w 1231967"/>
                  <a:gd name="connsiteY32" fmla="*/ 1720850 h 3277163"/>
                  <a:gd name="connsiteX33" fmla="*/ 1079500 w 1231967"/>
                  <a:gd name="connsiteY33" fmla="*/ 1809750 h 3277163"/>
                  <a:gd name="connsiteX34" fmla="*/ 1122363 w 1231967"/>
                  <a:gd name="connsiteY34" fmla="*/ 1910557 h 3277163"/>
                  <a:gd name="connsiteX35" fmla="*/ 1136650 w 1231967"/>
                  <a:gd name="connsiteY35" fmla="*/ 1981200 h 3277163"/>
                  <a:gd name="connsiteX36" fmla="*/ 1168400 w 1231967"/>
                  <a:gd name="connsiteY36" fmla="*/ 2044700 h 3277163"/>
                  <a:gd name="connsiteX37" fmla="*/ 1231900 w 1231967"/>
                  <a:gd name="connsiteY37" fmla="*/ 2095500 h 3277163"/>
                  <a:gd name="connsiteX38" fmla="*/ 1193800 w 1231967"/>
                  <a:gd name="connsiteY38" fmla="*/ 2139950 h 3277163"/>
                  <a:gd name="connsiteX39" fmla="*/ 1187450 w 1231967"/>
                  <a:gd name="connsiteY39" fmla="*/ 2190750 h 3277163"/>
                  <a:gd name="connsiteX40" fmla="*/ 1187450 w 1231967"/>
                  <a:gd name="connsiteY40" fmla="*/ 2241550 h 3277163"/>
                  <a:gd name="connsiteX41" fmla="*/ 1206500 w 1231967"/>
                  <a:gd name="connsiteY41" fmla="*/ 2273300 h 3277163"/>
                  <a:gd name="connsiteX42" fmla="*/ 1187450 w 1231967"/>
                  <a:gd name="connsiteY42" fmla="*/ 2305050 h 3277163"/>
                  <a:gd name="connsiteX43" fmla="*/ 1206500 w 1231967"/>
                  <a:gd name="connsiteY43" fmla="*/ 2368550 h 3277163"/>
                  <a:gd name="connsiteX44" fmla="*/ 1149350 w 1231967"/>
                  <a:gd name="connsiteY44" fmla="*/ 2527300 h 3277163"/>
                  <a:gd name="connsiteX45" fmla="*/ 1104900 w 1231967"/>
                  <a:gd name="connsiteY45" fmla="*/ 2565400 h 3277163"/>
                  <a:gd name="connsiteX46" fmla="*/ 1073150 w 1231967"/>
                  <a:gd name="connsiteY46" fmla="*/ 2597150 h 3277163"/>
                  <a:gd name="connsiteX47" fmla="*/ 996950 w 1231967"/>
                  <a:gd name="connsiteY47" fmla="*/ 2616200 h 3277163"/>
                  <a:gd name="connsiteX48" fmla="*/ 958850 w 1231967"/>
                  <a:gd name="connsiteY48" fmla="*/ 2679700 h 3277163"/>
                  <a:gd name="connsiteX49" fmla="*/ 831850 w 1231967"/>
                  <a:gd name="connsiteY49" fmla="*/ 2762250 h 3277163"/>
                  <a:gd name="connsiteX50" fmla="*/ 723900 w 1231967"/>
                  <a:gd name="connsiteY50" fmla="*/ 2736850 h 3277163"/>
                  <a:gd name="connsiteX51" fmla="*/ 647700 w 1231967"/>
                  <a:gd name="connsiteY51" fmla="*/ 2730500 h 3277163"/>
                  <a:gd name="connsiteX52" fmla="*/ 565150 w 1231967"/>
                  <a:gd name="connsiteY52" fmla="*/ 2736850 h 3277163"/>
                  <a:gd name="connsiteX53" fmla="*/ 482600 w 1231967"/>
                  <a:gd name="connsiteY53" fmla="*/ 2844800 h 3277163"/>
                  <a:gd name="connsiteX54" fmla="*/ 431800 w 1231967"/>
                  <a:gd name="connsiteY54" fmla="*/ 2908300 h 3277163"/>
                  <a:gd name="connsiteX55" fmla="*/ 361950 w 1231967"/>
                  <a:gd name="connsiteY55" fmla="*/ 2946400 h 3277163"/>
                  <a:gd name="connsiteX56" fmla="*/ 342900 w 1231967"/>
                  <a:gd name="connsiteY56" fmla="*/ 3022600 h 3277163"/>
                  <a:gd name="connsiteX57" fmla="*/ 242094 w 1231967"/>
                  <a:gd name="connsiteY57" fmla="*/ 3152775 h 3277163"/>
                  <a:gd name="connsiteX58" fmla="*/ 154781 w 1231967"/>
                  <a:gd name="connsiteY58" fmla="*/ 3273426 h 3277163"/>
                  <a:gd name="connsiteX0" fmla="*/ 6350 w 1231967"/>
                  <a:gd name="connsiteY0" fmla="*/ 0 h 3277163"/>
                  <a:gd name="connsiteX1" fmla="*/ 19050 w 1231967"/>
                  <a:gd name="connsiteY1" fmla="*/ 120650 h 3277163"/>
                  <a:gd name="connsiteX2" fmla="*/ 12700 w 1231967"/>
                  <a:gd name="connsiteY2" fmla="*/ 158750 h 3277163"/>
                  <a:gd name="connsiteX3" fmla="*/ 44450 w 1231967"/>
                  <a:gd name="connsiteY3" fmla="*/ 209550 h 3277163"/>
                  <a:gd name="connsiteX4" fmla="*/ 31750 w 1231967"/>
                  <a:gd name="connsiteY4" fmla="*/ 234950 h 3277163"/>
                  <a:gd name="connsiteX5" fmla="*/ 44450 w 1231967"/>
                  <a:gd name="connsiteY5" fmla="*/ 273050 h 3277163"/>
                  <a:gd name="connsiteX6" fmla="*/ 25400 w 1231967"/>
                  <a:gd name="connsiteY6" fmla="*/ 298450 h 3277163"/>
                  <a:gd name="connsiteX7" fmla="*/ 44450 w 1231967"/>
                  <a:gd name="connsiteY7" fmla="*/ 355600 h 3277163"/>
                  <a:gd name="connsiteX8" fmla="*/ 25400 w 1231967"/>
                  <a:gd name="connsiteY8" fmla="*/ 463550 h 3277163"/>
                  <a:gd name="connsiteX9" fmla="*/ 6350 w 1231967"/>
                  <a:gd name="connsiteY9" fmla="*/ 520700 h 3277163"/>
                  <a:gd name="connsiteX10" fmla="*/ 0 w 1231967"/>
                  <a:gd name="connsiteY10" fmla="*/ 603250 h 3277163"/>
                  <a:gd name="connsiteX11" fmla="*/ 44450 w 1231967"/>
                  <a:gd name="connsiteY11" fmla="*/ 647700 h 3277163"/>
                  <a:gd name="connsiteX12" fmla="*/ 57150 w 1231967"/>
                  <a:gd name="connsiteY12" fmla="*/ 704850 h 3277163"/>
                  <a:gd name="connsiteX13" fmla="*/ 114300 w 1231967"/>
                  <a:gd name="connsiteY13" fmla="*/ 749300 h 3277163"/>
                  <a:gd name="connsiteX14" fmla="*/ 171450 w 1231967"/>
                  <a:gd name="connsiteY14" fmla="*/ 768350 h 3277163"/>
                  <a:gd name="connsiteX15" fmla="*/ 234950 w 1231967"/>
                  <a:gd name="connsiteY15" fmla="*/ 806450 h 3277163"/>
                  <a:gd name="connsiteX16" fmla="*/ 222250 w 1231967"/>
                  <a:gd name="connsiteY16" fmla="*/ 857250 h 3277163"/>
                  <a:gd name="connsiteX17" fmla="*/ 266700 w 1231967"/>
                  <a:gd name="connsiteY17" fmla="*/ 901700 h 3277163"/>
                  <a:gd name="connsiteX18" fmla="*/ 374650 w 1231967"/>
                  <a:gd name="connsiteY18" fmla="*/ 1003300 h 3277163"/>
                  <a:gd name="connsiteX19" fmla="*/ 419100 w 1231967"/>
                  <a:gd name="connsiteY19" fmla="*/ 1028700 h 3277163"/>
                  <a:gd name="connsiteX20" fmla="*/ 457200 w 1231967"/>
                  <a:gd name="connsiteY20" fmla="*/ 1098550 h 3277163"/>
                  <a:gd name="connsiteX21" fmla="*/ 558800 w 1231967"/>
                  <a:gd name="connsiteY21" fmla="*/ 1143000 h 3277163"/>
                  <a:gd name="connsiteX22" fmla="*/ 603250 w 1231967"/>
                  <a:gd name="connsiteY22" fmla="*/ 1162050 h 3277163"/>
                  <a:gd name="connsiteX23" fmla="*/ 628650 w 1231967"/>
                  <a:gd name="connsiteY23" fmla="*/ 1212850 h 3277163"/>
                  <a:gd name="connsiteX24" fmla="*/ 704850 w 1231967"/>
                  <a:gd name="connsiteY24" fmla="*/ 1212850 h 3277163"/>
                  <a:gd name="connsiteX25" fmla="*/ 722313 w 1231967"/>
                  <a:gd name="connsiteY25" fmla="*/ 1239045 h 3277163"/>
                  <a:gd name="connsiteX26" fmla="*/ 758031 w 1231967"/>
                  <a:gd name="connsiteY26" fmla="*/ 1255714 h 3277163"/>
                  <a:gd name="connsiteX27" fmla="*/ 774700 w 1231967"/>
                  <a:gd name="connsiteY27" fmla="*/ 1295400 h 3277163"/>
                  <a:gd name="connsiteX28" fmla="*/ 819150 w 1231967"/>
                  <a:gd name="connsiteY28" fmla="*/ 1352550 h 3277163"/>
                  <a:gd name="connsiteX29" fmla="*/ 901700 w 1231967"/>
                  <a:gd name="connsiteY29" fmla="*/ 1416050 h 3277163"/>
                  <a:gd name="connsiteX30" fmla="*/ 946150 w 1231967"/>
                  <a:gd name="connsiteY30" fmla="*/ 1460500 h 3277163"/>
                  <a:gd name="connsiteX31" fmla="*/ 1022350 w 1231967"/>
                  <a:gd name="connsiteY31" fmla="*/ 1612900 h 3277163"/>
                  <a:gd name="connsiteX32" fmla="*/ 1016000 w 1231967"/>
                  <a:gd name="connsiteY32" fmla="*/ 1657350 h 3277163"/>
                  <a:gd name="connsiteX33" fmla="*/ 1060450 w 1231967"/>
                  <a:gd name="connsiteY33" fmla="*/ 1720850 h 3277163"/>
                  <a:gd name="connsiteX34" fmla="*/ 1079500 w 1231967"/>
                  <a:gd name="connsiteY34" fmla="*/ 1809750 h 3277163"/>
                  <a:gd name="connsiteX35" fmla="*/ 1122363 w 1231967"/>
                  <a:gd name="connsiteY35" fmla="*/ 1910557 h 3277163"/>
                  <a:gd name="connsiteX36" fmla="*/ 1136650 w 1231967"/>
                  <a:gd name="connsiteY36" fmla="*/ 1981200 h 3277163"/>
                  <a:gd name="connsiteX37" fmla="*/ 1168400 w 1231967"/>
                  <a:gd name="connsiteY37" fmla="*/ 2044700 h 3277163"/>
                  <a:gd name="connsiteX38" fmla="*/ 1231900 w 1231967"/>
                  <a:gd name="connsiteY38" fmla="*/ 2095500 h 3277163"/>
                  <a:gd name="connsiteX39" fmla="*/ 1193800 w 1231967"/>
                  <a:gd name="connsiteY39" fmla="*/ 2139950 h 3277163"/>
                  <a:gd name="connsiteX40" fmla="*/ 1187450 w 1231967"/>
                  <a:gd name="connsiteY40" fmla="*/ 2190750 h 3277163"/>
                  <a:gd name="connsiteX41" fmla="*/ 1187450 w 1231967"/>
                  <a:gd name="connsiteY41" fmla="*/ 2241550 h 3277163"/>
                  <a:gd name="connsiteX42" fmla="*/ 1206500 w 1231967"/>
                  <a:gd name="connsiteY42" fmla="*/ 2273300 h 3277163"/>
                  <a:gd name="connsiteX43" fmla="*/ 1187450 w 1231967"/>
                  <a:gd name="connsiteY43" fmla="*/ 2305050 h 3277163"/>
                  <a:gd name="connsiteX44" fmla="*/ 1206500 w 1231967"/>
                  <a:gd name="connsiteY44" fmla="*/ 2368550 h 3277163"/>
                  <a:gd name="connsiteX45" fmla="*/ 1149350 w 1231967"/>
                  <a:gd name="connsiteY45" fmla="*/ 2527300 h 3277163"/>
                  <a:gd name="connsiteX46" fmla="*/ 1104900 w 1231967"/>
                  <a:gd name="connsiteY46" fmla="*/ 2565400 h 3277163"/>
                  <a:gd name="connsiteX47" fmla="*/ 1073150 w 1231967"/>
                  <a:gd name="connsiteY47" fmla="*/ 2597150 h 3277163"/>
                  <a:gd name="connsiteX48" fmla="*/ 996950 w 1231967"/>
                  <a:gd name="connsiteY48" fmla="*/ 2616200 h 3277163"/>
                  <a:gd name="connsiteX49" fmla="*/ 958850 w 1231967"/>
                  <a:gd name="connsiteY49" fmla="*/ 2679700 h 3277163"/>
                  <a:gd name="connsiteX50" fmla="*/ 831850 w 1231967"/>
                  <a:gd name="connsiteY50" fmla="*/ 2762250 h 3277163"/>
                  <a:gd name="connsiteX51" fmla="*/ 723900 w 1231967"/>
                  <a:gd name="connsiteY51" fmla="*/ 2736850 h 3277163"/>
                  <a:gd name="connsiteX52" fmla="*/ 647700 w 1231967"/>
                  <a:gd name="connsiteY52" fmla="*/ 2730500 h 3277163"/>
                  <a:gd name="connsiteX53" fmla="*/ 565150 w 1231967"/>
                  <a:gd name="connsiteY53" fmla="*/ 2736850 h 3277163"/>
                  <a:gd name="connsiteX54" fmla="*/ 482600 w 1231967"/>
                  <a:gd name="connsiteY54" fmla="*/ 2844800 h 3277163"/>
                  <a:gd name="connsiteX55" fmla="*/ 431800 w 1231967"/>
                  <a:gd name="connsiteY55" fmla="*/ 2908300 h 3277163"/>
                  <a:gd name="connsiteX56" fmla="*/ 361950 w 1231967"/>
                  <a:gd name="connsiteY56" fmla="*/ 2946400 h 3277163"/>
                  <a:gd name="connsiteX57" fmla="*/ 342900 w 1231967"/>
                  <a:gd name="connsiteY57" fmla="*/ 3022600 h 3277163"/>
                  <a:gd name="connsiteX58" fmla="*/ 242094 w 1231967"/>
                  <a:gd name="connsiteY58" fmla="*/ 3152775 h 3277163"/>
                  <a:gd name="connsiteX59" fmla="*/ 154781 w 1231967"/>
                  <a:gd name="connsiteY59" fmla="*/ 3273426 h 3277163"/>
                  <a:gd name="connsiteX0" fmla="*/ 6350 w 1231967"/>
                  <a:gd name="connsiteY0" fmla="*/ 0 h 3277163"/>
                  <a:gd name="connsiteX1" fmla="*/ 19050 w 1231967"/>
                  <a:gd name="connsiteY1" fmla="*/ 120650 h 3277163"/>
                  <a:gd name="connsiteX2" fmla="*/ 12700 w 1231967"/>
                  <a:gd name="connsiteY2" fmla="*/ 158750 h 3277163"/>
                  <a:gd name="connsiteX3" fmla="*/ 44450 w 1231967"/>
                  <a:gd name="connsiteY3" fmla="*/ 209550 h 3277163"/>
                  <a:gd name="connsiteX4" fmla="*/ 31750 w 1231967"/>
                  <a:gd name="connsiteY4" fmla="*/ 234950 h 3277163"/>
                  <a:gd name="connsiteX5" fmla="*/ 44450 w 1231967"/>
                  <a:gd name="connsiteY5" fmla="*/ 273050 h 3277163"/>
                  <a:gd name="connsiteX6" fmla="*/ 25400 w 1231967"/>
                  <a:gd name="connsiteY6" fmla="*/ 298450 h 3277163"/>
                  <a:gd name="connsiteX7" fmla="*/ 44450 w 1231967"/>
                  <a:gd name="connsiteY7" fmla="*/ 355600 h 3277163"/>
                  <a:gd name="connsiteX8" fmla="*/ 25400 w 1231967"/>
                  <a:gd name="connsiteY8" fmla="*/ 463550 h 3277163"/>
                  <a:gd name="connsiteX9" fmla="*/ 6350 w 1231967"/>
                  <a:gd name="connsiteY9" fmla="*/ 520700 h 3277163"/>
                  <a:gd name="connsiteX10" fmla="*/ 0 w 1231967"/>
                  <a:gd name="connsiteY10" fmla="*/ 603250 h 3277163"/>
                  <a:gd name="connsiteX11" fmla="*/ 44450 w 1231967"/>
                  <a:gd name="connsiteY11" fmla="*/ 647700 h 3277163"/>
                  <a:gd name="connsiteX12" fmla="*/ 57150 w 1231967"/>
                  <a:gd name="connsiteY12" fmla="*/ 704850 h 3277163"/>
                  <a:gd name="connsiteX13" fmla="*/ 114300 w 1231967"/>
                  <a:gd name="connsiteY13" fmla="*/ 749300 h 3277163"/>
                  <a:gd name="connsiteX14" fmla="*/ 171450 w 1231967"/>
                  <a:gd name="connsiteY14" fmla="*/ 768350 h 3277163"/>
                  <a:gd name="connsiteX15" fmla="*/ 234950 w 1231967"/>
                  <a:gd name="connsiteY15" fmla="*/ 806450 h 3277163"/>
                  <a:gd name="connsiteX16" fmla="*/ 222250 w 1231967"/>
                  <a:gd name="connsiteY16" fmla="*/ 857250 h 3277163"/>
                  <a:gd name="connsiteX17" fmla="*/ 266700 w 1231967"/>
                  <a:gd name="connsiteY17" fmla="*/ 901700 h 3277163"/>
                  <a:gd name="connsiteX18" fmla="*/ 374650 w 1231967"/>
                  <a:gd name="connsiteY18" fmla="*/ 1003300 h 3277163"/>
                  <a:gd name="connsiteX19" fmla="*/ 419100 w 1231967"/>
                  <a:gd name="connsiteY19" fmla="*/ 1028700 h 3277163"/>
                  <a:gd name="connsiteX20" fmla="*/ 457200 w 1231967"/>
                  <a:gd name="connsiteY20" fmla="*/ 1098550 h 3277163"/>
                  <a:gd name="connsiteX21" fmla="*/ 558800 w 1231967"/>
                  <a:gd name="connsiteY21" fmla="*/ 1143000 h 3277163"/>
                  <a:gd name="connsiteX22" fmla="*/ 603250 w 1231967"/>
                  <a:gd name="connsiteY22" fmla="*/ 1162050 h 3277163"/>
                  <a:gd name="connsiteX23" fmla="*/ 628650 w 1231967"/>
                  <a:gd name="connsiteY23" fmla="*/ 1212850 h 3277163"/>
                  <a:gd name="connsiteX24" fmla="*/ 704850 w 1231967"/>
                  <a:gd name="connsiteY24" fmla="*/ 1212850 h 3277163"/>
                  <a:gd name="connsiteX25" fmla="*/ 722313 w 1231967"/>
                  <a:gd name="connsiteY25" fmla="*/ 1239045 h 3277163"/>
                  <a:gd name="connsiteX26" fmla="*/ 758031 w 1231967"/>
                  <a:gd name="connsiteY26" fmla="*/ 1255714 h 3277163"/>
                  <a:gd name="connsiteX27" fmla="*/ 781843 w 1231967"/>
                  <a:gd name="connsiteY27" fmla="*/ 1304925 h 3277163"/>
                  <a:gd name="connsiteX28" fmla="*/ 819150 w 1231967"/>
                  <a:gd name="connsiteY28" fmla="*/ 1352550 h 3277163"/>
                  <a:gd name="connsiteX29" fmla="*/ 901700 w 1231967"/>
                  <a:gd name="connsiteY29" fmla="*/ 1416050 h 3277163"/>
                  <a:gd name="connsiteX30" fmla="*/ 946150 w 1231967"/>
                  <a:gd name="connsiteY30" fmla="*/ 1460500 h 3277163"/>
                  <a:gd name="connsiteX31" fmla="*/ 1022350 w 1231967"/>
                  <a:gd name="connsiteY31" fmla="*/ 1612900 h 3277163"/>
                  <a:gd name="connsiteX32" fmla="*/ 1016000 w 1231967"/>
                  <a:gd name="connsiteY32" fmla="*/ 1657350 h 3277163"/>
                  <a:gd name="connsiteX33" fmla="*/ 1060450 w 1231967"/>
                  <a:gd name="connsiteY33" fmla="*/ 1720850 h 3277163"/>
                  <a:gd name="connsiteX34" fmla="*/ 1079500 w 1231967"/>
                  <a:gd name="connsiteY34" fmla="*/ 1809750 h 3277163"/>
                  <a:gd name="connsiteX35" fmla="*/ 1122363 w 1231967"/>
                  <a:gd name="connsiteY35" fmla="*/ 1910557 h 3277163"/>
                  <a:gd name="connsiteX36" fmla="*/ 1136650 w 1231967"/>
                  <a:gd name="connsiteY36" fmla="*/ 1981200 h 3277163"/>
                  <a:gd name="connsiteX37" fmla="*/ 1168400 w 1231967"/>
                  <a:gd name="connsiteY37" fmla="*/ 2044700 h 3277163"/>
                  <a:gd name="connsiteX38" fmla="*/ 1231900 w 1231967"/>
                  <a:gd name="connsiteY38" fmla="*/ 2095500 h 3277163"/>
                  <a:gd name="connsiteX39" fmla="*/ 1193800 w 1231967"/>
                  <a:gd name="connsiteY39" fmla="*/ 2139950 h 3277163"/>
                  <a:gd name="connsiteX40" fmla="*/ 1187450 w 1231967"/>
                  <a:gd name="connsiteY40" fmla="*/ 2190750 h 3277163"/>
                  <a:gd name="connsiteX41" fmla="*/ 1187450 w 1231967"/>
                  <a:gd name="connsiteY41" fmla="*/ 2241550 h 3277163"/>
                  <a:gd name="connsiteX42" fmla="*/ 1206500 w 1231967"/>
                  <a:gd name="connsiteY42" fmla="*/ 2273300 h 3277163"/>
                  <a:gd name="connsiteX43" fmla="*/ 1187450 w 1231967"/>
                  <a:gd name="connsiteY43" fmla="*/ 2305050 h 3277163"/>
                  <a:gd name="connsiteX44" fmla="*/ 1206500 w 1231967"/>
                  <a:gd name="connsiteY44" fmla="*/ 2368550 h 3277163"/>
                  <a:gd name="connsiteX45" fmla="*/ 1149350 w 1231967"/>
                  <a:gd name="connsiteY45" fmla="*/ 2527300 h 3277163"/>
                  <a:gd name="connsiteX46" fmla="*/ 1104900 w 1231967"/>
                  <a:gd name="connsiteY46" fmla="*/ 2565400 h 3277163"/>
                  <a:gd name="connsiteX47" fmla="*/ 1073150 w 1231967"/>
                  <a:gd name="connsiteY47" fmla="*/ 2597150 h 3277163"/>
                  <a:gd name="connsiteX48" fmla="*/ 996950 w 1231967"/>
                  <a:gd name="connsiteY48" fmla="*/ 2616200 h 3277163"/>
                  <a:gd name="connsiteX49" fmla="*/ 958850 w 1231967"/>
                  <a:gd name="connsiteY49" fmla="*/ 2679700 h 3277163"/>
                  <a:gd name="connsiteX50" fmla="*/ 831850 w 1231967"/>
                  <a:gd name="connsiteY50" fmla="*/ 2762250 h 3277163"/>
                  <a:gd name="connsiteX51" fmla="*/ 723900 w 1231967"/>
                  <a:gd name="connsiteY51" fmla="*/ 2736850 h 3277163"/>
                  <a:gd name="connsiteX52" fmla="*/ 647700 w 1231967"/>
                  <a:gd name="connsiteY52" fmla="*/ 2730500 h 3277163"/>
                  <a:gd name="connsiteX53" fmla="*/ 565150 w 1231967"/>
                  <a:gd name="connsiteY53" fmla="*/ 2736850 h 3277163"/>
                  <a:gd name="connsiteX54" fmla="*/ 482600 w 1231967"/>
                  <a:gd name="connsiteY54" fmla="*/ 2844800 h 3277163"/>
                  <a:gd name="connsiteX55" fmla="*/ 431800 w 1231967"/>
                  <a:gd name="connsiteY55" fmla="*/ 2908300 h 3277163"/>
                  <a:gd name="connsiteX56" fmla="*/ 361950 w 1231967"/>
                  <a:gd name="connsiteY56" fmla="*/ 2946400 h 3277163"/>
                  <a:gd name="connsiteX57" fmla="*/ 342900 w 1231967"/>
                  <a:gd name="connsiteY57" fmla="*/ 3022600 h 3277163"/>
                  <a:gd name="connsiteX58" fmla="*/ 242094 w 1231967"/>
                  <a:gd name="connsiteY58" fmla="*/ 3152775 h 3277163"/>
                  <a:gd name="connsiteX59" fmla="*/ 154781 w 1231967"/>
                  <a:gd name="connsiteY59" fmla="*/ 3273426 h 3277163"/>
                  <a:gd name="connsiteX0" fmla="*/ 6350 w 1231967"/>
                  <a:gd name="connsiteY0" fmla="*/ 0 h 3277163"/>
                  <a:gd name="connsiteX1" fmla="*/ 19050 w 1231967"/>
                  <a:gd name="connsiteY1" fmla="*/ 120650 h 3277163"/>
                  <a:gd name="connsiteX2" fmla="*/ 12700 w 1231967"/>
                  <a:gd name="connsiteY2" fmla="*/ 158750 h 3277163"/>
                  <a:gd name="connsiteX3" fmla="*/ 44450 w 1231967"/>
                  <a:gd name="connsiteY3" fmla="*/ 209550 h 3277163"/>
                  <a:gd name="connsiteX4" fmla="*/ 31750 w 1231967"/>
                  <a:gd name="connsiteY4" fmla="*/ 234950 h 3277163"/>
                  <a:gd name="connsiteX5" fmla="*/ 44450 w 1231967"/>
                  <a:gd name="connsiteY5" fmla="*/ 273050 h 3277163"/>
                  <a:gd name="connsiteX6" fmla="*/ 25400 w 1231967"/>
                  <a:gd name="connsiteY6" fmla="*/ 298450 h 3277163"/>
                  <a:gd name="connsiteX7" fmla="*/ 44450 w 1231967"/>
                  <a:gd name="connsiteY7" fmla="*/ 355600 h 3277163"/>
                  <a:gd name="connsiteX8" fmla="*/ 25400 w 1231967"/>
                  <a:gd name="connsiteY8" fmla="*/ 463550 h 3277163"/>
                  <a:gd name="connsiteX9" fmla="*/ 6350 w 1231967"/>
                  <a:gd name="connsiteY9" fmla="*/ 520700 h 3277163"/>
                  <a:gd name="connsiteX10" fmla="*/ 0 w 1231967"/>
                  <a:gd name="connsiteY10" fmla="*/ 603250 h 3277163"/>
                  <a:gd name="connsiteX11" fmla="*/ 44450 w 1231967"/>
                  <a:gd name="connsiteY11" fmla="*/ 647700 h 3277163"/>
                  <a:gd name="connsiteX12" fmla="*/ 57150 w 1231967"/>
                  <a:gd name="connsiteY12" fmla="*/ 704850 h 3277163"/>
                  <a:gd name="connsiteX13" fmla="*/ 114300 w 1231967"/>
                  <a:gd name="connsiteY13" fmla="*/ 749300 h 3277163"/>
                  <a:gd name="connsiteX14" fmla="*/ 171450 w 1231967"/>
                  <a:gd name="connsiteY14" fmla="*/ 768350 h 3277163"/>
                  <a:gd name="connsiteX15" fmla="*/ 234950 w 1231967"/>
                  <a:gd name="connsiteY15" fmla="*/ 806450 h 3277163"/>
                  <a:gd name="connsiteX16" fmla="*/ 222250 w 1231967"/>
                  <a:gd name="connsiteY16" fmla="*/ 857250 h 3277163"/>
                  <a:gd name="connsiteX17" fmla="*/ 266700 w 1231967"/>
                  <a:gd name="connsiteY17" fmla="*/ 901700 h 3277163"/>
                  <a:gd name="connsiteX18" fmla="*/ 374650 w 1231967"/>
                  <a:gd name="connsiteY18" fmla="*/ 1003300 h 3277163"/>
                  <a:gd name="connsiteX19" fmla="*/ 419100 w 1231967"/>
                  <a:gd name="connsiteY19" fmla="*/ 1028700 h 3277163"/>
                  <a:gd name="connsiteX20" fmla="*/ 457200 w 1231967"/>
                  <a:gd name="connsiteY20" fmla="*/ 1098550 h 3277163"/>
                  <a:gd name="connsiteX21" fmla="*/ 558800 w 1231967"/>
                  <a:gd name="connsiteY21" fmla="*/ 1143000 h 3277163"/>
                  <a:gd name="connsiteX22" fmla="*/ 603250 w 1231967"/>
                  <a:gd name="connsiteY22" fmla="*/ 1162050 h 3277163"/>
                  <a:gd name="connsiteX23" fmla="*/ 628650 w 1231967"/>
                  <a:gd name="connsiteY23" fmla="*/ 1212850 h 3277163"/>
                  <a:gd name="connsiteX24" fmla="*/ 704850 w 1231967"/>
                  <a:gd name="connsiteY24" fmla="*/ 1212850 h 3277163"/>
                  <a:gd name="connsiteX25" fmla="*/ 722313 w 1231967"/>
                  <a:gd name="connsiteY25" fmla="*/ 1239045 h 3277163"/>
                  <a:gd name="connsiteX26" fmla="*/ 758031 w 1231967"/>
                  <a:gd name="connsiteY26" fmla="*/ 1255714 h 3277163"/>
                  <a:gd name="connsiteX27" fmla="*/ 781843 w 1231967"/>
                  <a:gd name="connsiteY27" fmla="*/ 1304925 h 3277163"/>
                  <a:gd name="connsiteX28" fmla="*/ 819150 w 1231967"/>
                  <a:gd name="connsiteY28" fmla="*/ 1352550 h 3277163"/>
                  <a:gd name="connsiteX29" fmla="*/ 908844 w 1231967"/>
                  <a:gd name="connsiteY29" fmla="*/ 1406525 h 3277163"/>
                  <a:gd name="connsiteX30" fmla="*/ 946150 w 1231967"/>
                  <a:gd name="connsiteY30" fmla="*/ 1460500 h 3277163"/>
                  <a:gd name="connsiteX31" fmla="*/ 1022350 w 1231967"/>
                  <a:gd name="connsiteY31" fmla="*/ 1612900 h 3277163"/>
                  <a:gd name="connsiteX32" fmla="*/ 1016000 w 1231967"/>
                  <a:gd name="connsiteY32" fmla="*/ 1657350 h 3277163"/>
                  <a:gd name="connsiteX33" fmla="*/ 1060450 w 1231967"/>
                  <a:gd name="connsiteY33" fmla="*/ 1720850 h 3277163"/>
                  <a:gd name="connsiteX34" fmla="*/ 1079500 w 1231967"/>
                  <a:gd name="connsiteY34" fmla="*/ 1809750 h 3277163"/>
                  <a:gd name="connsiteX35" fmla="*/ 1122363 w 1231967"/>
                  <a:gd name="connsiteY35" fmla="*/ 1910557 h 3277163"/>
                  <a:gd name="connsiteX36" fmla="*/ 1136650 w 1231967"/>
                  <a:gd name="connsiteY36" fmla="*/ 1981200 h 3277163"/>
                  <a:gd name="connsiteX37" fmla="*/ 1168400 w 1231967"/>
                  <a:gd name="connsiteY37" fmla="*/ 2044700 h 3277163"/>
                  <a:gd name="connsiteX38" fmla="*/ 1231900 w 1231967"/>
                  <a:gd name="connsiteY38" fmla="*/ 2095500 h 3277163"/>
                  <a:gd name="connsiteX39" fmla="*/ 1193800 w 1231967"/>
                  <a:gd name="connsiteY39" fmla="*/ 2139950 h 3277163"/>
                  <a:gd name="connsiteX40" fmla="*/ 1187450 w 1231967"/>
                  <a:gd name="connsiteY40" fmla="*/ 2190750 h 3277163"/>
                  <a:gd name="connsiteX41" fmla="*/ 1187450 w 1231967"/>
                  <a:gd name="connsiteY41" fmla="*/ 2241550 h 3277163"/>
                  <a:gd name="connsiteX42" fmla="*/ 1206500 w 1231967"/>
                  <a:gd name="connsiteY42" fmla="*/ 2273300 h 3277163"/>
                  <a:gd name="connsiteX43" fmla="*/ 1187450 w 1231967"/>
                  <a:gd name="connsiteY43" fmla="*/ 2305050 h 3277163"/>
                  <a:gd name="connsiteX44" fmla="*/ 1206500 w 1231967"/>
                  <a:gd name="connsiteY44" fmla="*/ 2368550 h 3277163"/>
                  <a:gd name="connsiteX45" fmla="*/ 1149350 w 1231967"/>
                  <a:gd name="connsiteY45" fmla="*/ 2527300 h 3277163"/>
                  <a:gd name="connsiteX46" fmla="*/ 1104900 w 1231967"/>
                  <a:gd name="connsiteY46" fmla="*/ 2565400 h 3277163"/>
                  <a:gd name="connsiteX47" fmla="*/ 1073150 w 1231967"/>
                  <a:gd name="connsiteY47" fmla="*/ 2597150 h 3277163"/>
                  <a:gd name="connsiteX48" fmla="*/ 996950 w 1231967"/>
                  <a:gd name="connsiteY48" fmla="*/ 2616200 h 3277163"/>
                  <a:gd name="connsiteX49" fmla="*/ 958850 w 1231967"/>
                  <a:gd name="connsiteY49" fmla="*/ 2679700 h 3277163"/>
                  <a:gd name="connsiteX50" fmla="*/ 831850 w 1231967"/>
                  <a:gd name="connsiteY50" fmla="*/ 2762250 h 3277163"/>
                  <a:gd name="connsiteX51" fmla="*/ 723900 w 1231967"/>
                  <a:gd name="connsiteY51" fmla="*/ 2736850 h 3277163"/>
                  <a:gd name="connsiteX52" fmla="*/ 647700 w 1231967"/>
                  <a:gd name="connsiteY52" fmla="*/ 2730500 h 3277163"/>
                  <a:gd name="connsiteX53" fmla="*/ 565150 w 1231967"/>
                  <a:gd name="connsiteY53" fmla="*/ 2736850 h 3277163"/>
                  <a:gd name="connsiteX54" fmla="*/ 482600 w 1231967"/>
                  <a:gd name="connsiteY54" fmla="*/ 2844800 h 3277163"/>
                  <a:gd name="connsiteX55" fmla="*/ 431800 w 1231967"/>
                  <a:gd name="connsiteY55" fmla="*/ 2908300 h 3277163"/>
                  <a:gd name="connsiteX56" fmla="*/ 361950 w 1231967"/>
                  <a:gd name="connsiteY56" fmla="*/ 2946400 h 3277163"/>
                  <a:gd name="connsiteX57" fmla="*/ 342900 w 1231967"/>
                  <a:gd name="connsiteY57" fmla="*/ 3022600 h 3277163"/>
                  <a:gd name="connsiteX58" fmla="*/ 242094 w 1231967"/>
                  <a:gd name="connsiteY58" fmla="*/ 3152775 h 3277163"/>
                  <a:gd name="connsiteX59" fmla="*/ 154781 w 1231967"/>
                  <a:gd name="connsiteY59" fmla="*/ 3273426 h 3277163"/>
                  <a:gd name="connsiteX0" fmla="*/ 6350 w 1231967"/>
                  <a:gd name="connsiteY0" fmla="*/ 0 h 3277163"/>
                  <a:gd name="connsiteX1" fmla="*/ 19050 w 1231967"/>
                  <a:gd name="connsiteY1" fmla="*/ 120650 h 3277163"/>
                  <a:gd name="connsiteX2" fmla="*/ 12700 w 1231967"/>
                  <a:gd name="connsiteY2" fmla="*/ 158750 h 3277163"/>
                  <a:gd name="connsiteX3" fmla="*/ 44450 w 1231967"/>
                  <a:gd name="connsiteY3" fmla="*/ 209550 h 3277163"/>
                  <a:gd name="connsiteX4" fmla="*/ 31750 w 1231967"/>
                  <a:gd name="connsiteY4" fmla="*/ 234950 h 3277163"/>
                  <a:gd name="connsiteX5" fmla="*/ 44450 w 1231967"/>
                  <a:gd name="connsiteY5" fmla="*/ 273050 h 3277163"/>
                  <a:gd name="connsiteX6" fmla="*/ 25400 w 1231967"/>
                  <a:gd name="connsiteY6" fmla="*/ 298450 h 3277163"/>
                  <a:gd name="connsiteX7" fmla="*/ 44450 w 1231967"/>
                  <a:gd name="connsiteY7" fmla="*/ 355600 h 3277163"/>
                  <a:gd name="connsiteX8" fmla="*/ 25400 w 1231967"/>
                  <a:gd name="connsiteY8" fmla="*/ 463550 h 3277163"/>
                  <a:gd name="connsiteX9" fmla="*/ 6350 w 1231967"/>
                  <a:gd name="connsiteY9" fmla="*/ 520700 h 3277163"/>
                  <a:gd name="connsiteX10" fmla="*/ 0 w 1231967"/>
                  <a:gd name="connsiteY10" fmla="*/ 603250 h 3277163"/>
                  <a:gd name="connsiteX11" fmla="*/ 44450 w 1231967"/>
                  <a:gd name="connsiteY11" fmla="*/ 647700 h 3277163"/>
                  <a:gd name="connsiteX12" fmla="*/ 57150 w 1231967"/>
                  <a:gd name="connsiteY12" fmla="*/ 704850 h 3277163"/>
                  <a:gd name="connsiteX13" fmla="*/ 114300 w 1231967"/>
                  <a:gd name="connsiteY13" fmla="*/ 749300 h 3277163"/>
                  <a:gd name="connsiteX14" fmla="*/ 171450 w 1231967"/>
                  <a:gd name="connsiteY14" fmla="*/ 768350 h 3277163"/>
                  <a:gd name="connsiteX15" fmla="*/ 234950 w 1231967"/>
                  <a:gd name="connsiteY15" fmla="*/ 806450 h 3277163"/>
                  <a:gd name="connsiteX16" fmla="*/ 222250 w 1231967"/>
                  <a:gd name="connsiteY16" fmla="*/ 857250 h 3277163"/>
                  <a:gd name="connsiteX17" fmla="*/ 266700 w 1231967"/>
                  <a:gd name="connsiteY17" fmla="*/ 901700 h 3277163"/>
                  <a:gd name="connsiteX18" fmla="*/ 374650 w 1231967"/>
                  <a:gd name="connsiteY18" fmla="*/ 1003300 h 3277163"/>
                  <a:gd name="connsiteX19" fmla="*/ 419100 w 1231967"/>
                  <a:gd name="connsiteY19" fmla="*/ 1028700 h 3277163"/>
                  <a:gd name="connsiteX20" fmla="*/ 457200 w 1231967"/>
                  <a:gd name="connsiteY20" fmla="*/ 1098550 h 3277163"/>
                  <a:gd name="connsiteX21" fmla="*/ 558800 w 1231967"/>
                  <a:gd name="connsiteY21" fmla="*/ 1143000 h 3277163"/>
                  <a:gd name="connsiteX22" fmla="*/ 603250 w 1231967"/>
                  <a:gd name="connsiteY22" fmla="*/ 1162050 h 3277163"/>
                  <a:gd name="connsiteX23" fmla="*/ 628650 w 1231967"/>
                  <a:gd name="connsiteY23" fmla="*/ 1212850 h 3277163"/>
                  <a:gd name="connsiteX24" fmla="*/ 704850 w 1231967"/>
                  <a:gd name="connsiteY24" fmla="*/ 1212850 h 3277163"/>
                  <a:gd name="connsiteX25" fmla="*/ 722313 w 1231967"/>
                  <a:gd name="connsiteY25" fmla="*/ 1239045 h 3277163"/>
                  <a:gd name="connsiteX26" fmla="*/ 758031 w 1231967"/>
                  <a:gd name="connsiteY26" fmla="*/ 1255714 h 3277163"/>
                  <a:gd name="connsiteX27" fmla="*/ 781843 w 1231967"/>
                  <a:gd name="connsiteY27" fmla="*/ 1304925 h 3277163"/>
                  <a:gd name="connsiteX28" fmla="*/ 819150 w 1231967"/>
                  <a:gd name="connsiteY28" fmla="*/ 1352550 h 3277163"/>
                  <a:gd name="connsiteX29" fmla="*/ 860425 w 1231967"/>
                  <a:gd name="connsiteY29" fmla="*/ 1386682 h 3277163"/>
                  <a:gd name="connsiteX30" fmla="*/ 908844 w 1231967"/>
                  <a:gd name="connsiteY30" fmla="*/ 1406525 h 3277163"/>
                  <a:gd name="connsiteX31" fmla="*/ 946150 w 1231967"/>
                  <a:gd name="connsiteY31" fmla="*/ 1460500 h 3277163"/>
                  <a:gd name="connsiteX32" fmla="*/ 1022350 w 1231967"/>
                  <a:gd name="connsiteY32" fmla="*/ 1612900 h 3277163"/>
                  <a:gd name="connsiteX33" fmla="*/ 1016000 w 1231967"/>
                  <a:gd name="connsiteY33" fmla="*/ 1657350 h 3277163"/>
                  <a:gd name="connsiteX34" fmla="*/ 1060450 w 1231967"/>
                  <a:gd name="connsiteY34" fmla="*/ 1720850 h 3277163"/>
                  <a:gd name="connsiteX35" fmla="*/ 1079500 w 1231967"/>
                  <a:gd name="connsiteY35" fmla="*/ 1809750 h 3277163"/>
                  <a:gd name="connsiteX36" fmla="*/ 1122363 w 1231967"/>
                  <a:gd name="connsiteY36" fmla="*/ 1910557 h 3277163"/>
                  <a:gd name="connsiteX37" fmla="*/ 1136650 w 1231967"/>
                  <a:gd name="connsiteY37" fmla="*/ 1981200 h 3277163"/>
                  <a:gd name="connsiteX38" fmla="*/ 1168400 w 1231967"/>
                  <a:gd name="connsiteY38" fmla="*/ 2044700 h 3277163"/>
                  <a:gd name="connsiteX39" fmla="*/ 1231900 w 1231967"/>
                  <a:gd name="connsiteY39" fmla="*/ 2095500 h 3277163"/>
                  <a:gd name="connsiteX40" fmla="*/ 1193800 w 1231967"/>
                  <a:gd name="connsiteY40" fmla="*/ 2139950 h 3277163"/>
                  <a:gd name="connsiteX41" fmla="*/ 1187450 w 1231967"/>
                  <a:gd name="connsiteY41" fmla="*/ 2190750 h 3277163"/>
                  <a:gd name="connsiteX42" fmla="*/ 1187450 w 1231967"/>
                  <a:gd name="connsiteY42" fmla="*/ 2241550 h 3277163"/>
                  <a:gd name="connsiteX43" fmla="*/ 1206500 w 1231967"/>
                  <a:gd name="connsiteY43" fmla="*/ 2273300 h 3277163"/>
                  <a:gd name="connsiteX44" fmla="*/ 1187450 w 1231967"/>
                  <a:gd name="connsiteY44" fmla="*/ 2305050 h 3277163"/>
                  <a:gd name="connsiteX45" fmla="*/ 1206500 w 1231967"/>
                  <a:gd name="connsiteY45" fmla="*/ 2368550 h 3277163"/>
                  <a:gd name="connsiteX46" fmla="*/ 1149350 w 1231967"/>
                  <a:gd name="connsiteY46" fmla="*/ 2527300 h 3277163"/>
                  <a:gd name="connsiteX47" fmla="*/ 1104900 w 1231967"/>
                  <a:gd name="connsiteY47" fmla="*/ 2565400 h 3277163"/>
                  <a:gd name="connsiteX48" fmla="*/ 1073150 w 1231967"/>
                  <a:gd name="connsiteY48" fmla="*/ 2597150 h 3277163"/>
                  <a:gd name="connsiteX49" fmla="*/ 996950 w 1231967"/>
                  <a:gd name="connsiteY49" fmla="*/ 2616200 h 3277163"/>
                  <a:gd name="connsiteX50" fmla="*/ 958850 w 1231967"/>
                  <a:gd name="connsiteY50" fmla="*/ 2679700 h 3277163"/>
                  <a:gd name="connsiteX51" fmla="*/ 831850 w 1231967"/>
                  <a:gd name="connsiteY51" fmla="*/ 2762250 h 3277163"/>
                  <a:gd name="connsiteX52" fmla="*/ 723900 w 1231967"/>
                  <a:gd name="connsiteY52" fmla="*/ 2736850 h 3277163"/>
                  <a:gd name="connsiteX53" fmla="*/ 647700 w 1231967"/>
                  <a:gd name="connsiteY53" fmla="*/ 2730500 h 3277163"/>
                  <a:gd name="connsiteX54" fmla="*/ 565150 w 1231967"/>
                  <a:gd name="connsiteY54" fmla="*/ 2736850 h 3277163"/>
                  <a:gd name="connsiteX55" fmla="*/ 482600 w 1231967"/>
                  <a:gd name="connsiteY55" fmla="*/ 2844800 h 3277163"/>
                  <a:gd name="connsiteX56" fmla="*/ 431800 w 1231967"/>
                  <a:gd name="connsiteY56" fmla="*/ 2908300 h 3277163"/>
                  <a:gd name="connsiteX57" fmla="*/ 361950 w 1231967"/>
                  <a:gd name="connsiteY57" fmla="*/ 2946400 h 3277163"/>
                  <a:gd name="connsiteX58" fmla="*/ 342900 w 1231967"/>
                  <a:gd name="connsiteY58" fmla="*/ 3022600 h 3277163"/>
                  <a:gd name="connsiteX59" fmla="*/ 242094 w 1231967"/>
                  <a:gd name="connsiteY59" fmla="*/ 3152775 h 3277163"/>
                  <a:gd name="connsiteX60" fmla="*/ 154781 w 1231967"/>
                  <a:gd name="connsiteY60" fmla="*/ 3273426 h 3277163"/>
                  <a:gd name="connsiteX0" fmla="*/ 6350 w 1231967"/>
                  <a:gd name="connsiteY0" fmla="*/ 0 h 3277163"/>
                  <a:gd name="connsiteX1" fmla="*/ 19050 w 1231967"/>
                  <a:gd name="connsiteY1" fmla="*/ 120650 h 3277163"/>
                  <a:gd name="connsiteX2" fmla="*/ 12700 w 1231967"/>
                  <a:gd name="connsiteY2" fmla="*/ 158750 h 3277163"/>
                  <a:gd name="connsiteX3" fmla="*/ 44450 w 1231967"/>
                  <a:gd name="connsiteY3" fmla="*/ 209550 h 3277163"/>
                  <a:gd name="connsiteX4" fmla="*/ 31750 w 1231967"/>
                  <a:gd name="connsiteY4" fmla="*/ 234950 h 3277163"/>
                  <a:gd name="connsiteX5" fmla="*/ 44450 w 1231967"/>
                  <a:gd name="connsiteY5" fmla="*/ 273050 h 3277163"/>
                  <a:gd name="connsiteX6" fmla="*/ 25400 w 1231967"/>
                  <a:gd name="connsiteY6" fmla="*/ 298450 h 3277163"/>
                  <a:gd name="connsiteX7" fmla="*/ 44450 w 1231967"/>
                  <a:gd name="connsiteY7" fmla="*/ 355600 h 3277163"/>
                  <a:gd name="connsiteX8" fmla="*/ 25400 w 1231967"/>
                  <a:gd name="connsiteY8" fmla="*/ 463550 h 3277163"/>
                  <a:gd name="connsiteX9" fmla="*/ 6350 w 1231967"/>
                  <a:gd name="connsiteY9" fmla="*/ 520700 h 3277163"/>
                  <a:gd name="connsiteX10" fmla="*/ 0 w 1231967"/>
                  <a:gd name="connsiteY10" fmla="*/ 603250 h 3277163"/>
                  <a:gd name="connsiteX11" fmla="*/ 44450 w 1231967"/>
                  <a:gd name="connsiteY11" fmla="*/ 647700 h 3277163"/>
                  <a:gd name="connsiteX12" fmla="*/ 57150 w 1231967"/>
                  <a:gd name="connsiteY12" fmla="*/ 704850 h 3277163"/>
                  <a:gd name="connsiteX13" fmla="*/ 114300 w 1231967"/>
                  <a:gd name="connsiteY13" fmla="*/ 749300 h 3277163"/>
                  <a:gd name="connsiteX14" fmla="*/ 171450 w 1231967"/>
                  <a:gd name="connsiteY14" fmla="*/ 768350 h 3277163"/>
                  <a:gd name="connsiteX15" fmla="*/ 234950 w 1231967"/>
                  <a:gd name="connsiteY15" fmla="*/ 806450 h 3277163"/>
                  <a:gd name="connsiteX16" fmla="*/ 222250 w 1231967"/>
                  <a:gd name="connsiteY16" fmla="*/ 857250 h 3277163"/>
                  <a:gd name="connsiteX17" fmla="*/ 266700 w 1231967"/>
                  <a:gd name="connsiteY17" fmla="*/ 901700 h 3277163"/>
                  <a:gd name="connsiteX18" fmla="*/ 374650 w 1231967"/>
                  <a:gd name="connsiteY18" fmla="*/ 1003300 h 3277163"/>
                  <a:gd name="connsiteX19" fmla="*/ 419100 w 1231967"/>
                  <a:gd name="connsiteY19" fmla="*/ 1028700 h 3277163"/>
                  <a:gd name="connsiteX20" fmla="*/ 457200 w 1231967"/>
                  <a:gd name="connsiteY20" fmla="*/ 1098550 h 3277163"/>
                  <a:gd name="connsiteX21" fmla="*/ 558800 w 1231967"/>
                  <a:gd name="connsiteY21" fmla="*/ 1143000 h 3277163"/>
                  <a:gd name="connsiteX22" fmla="*/ 603250 w 1231967"/>
                  <a:gd name="connsiteY22" fmla="*/ 1162050 h 3277163"/>
                  <a:gd name="connsiteX23" fmla="*/ 628650 w 1231967"/>
                  <a:gd name="connsiteY23" fmla="*/ 1212850 h 3277163"/>
                  <a:gd name="connsiteX24" fmla="*/ 704850 w 1231967"/>
                  <a:gd name="connsiteY24" fmla="*/ 1212850 h 3277163"/>
                  <a:gd name="connsiteX25" fmla="*/ 722313 w 1231967"/>
                  <a:gd name="connsiteY25" fmla="*/ 1239045 h 3277163"/>
                  <a:gd name="connsiteX26" fmla="*/ 758031 w 1231967"/>
                  <a:gd name="connsiteY26" fmla="*/ 1255714 h 3277163"/>
                  <a:gd name="connsiteX27" fmla="*/ 781843 w 1231967"/>
                  <a:gd name="connsiteY27" fmla="*/ 1304925 h 3277163"/>
                  <a:gd name="connsiteX28" fmla="*/ 819150 w 1231967"/>
                  <a:gd name="connsiteY28" fmla="*/ 1352550 h 3277163"/>
                  <a:gd name="connsiteX29" fmla="*/ 860425 w 1231967"/>
                  <a:gd name="connsiteY29" fmla="*/ 1386682 h 3277163"/>
                  <a:gd name="connsiteX30" fmla="*/ 908844 w 1231967"/>
                  <a:gd name="connsiteY30" fmla="*/ 1406525 h 3277163"/>
                  <a:gd name="connsiteX31" fmla="*/ 946150 w 1231967"/>
                  <a:gd name="connsiteY31" fmla="*/ 1460500 h 3277163"/>
                  <a:gd name="connsiteX32" fmla="*/ 1022350 w 1231967"/>
                  <a:gd name="connsiteY32" fmla="*/ 1612900 h 3277163"/>
                  <a:gd name="connsiteX33" fmla="*/ 1016000 w 1231967"/>
                  <a:gd name="connsiteY33" fmla="*/ 1657350 h 3277163"/>
                  <a:gd name="connsiteX34" fmla="*/ 1060450 w 1231967"/>
                  <a:gd name="connsiteY34" fmla="*/ 1720850 h 3277163"/>
                  <a:gd name="connsiteX35" fmla="*/ 1079500 w 1231967"/>
                  <a:gd name="connsiteY35" fmla="*/ 1809750 h 3277163"/>
                  <a:gd name="connsiteX36" fmla="*/ 1122363 w 1231967"/>
                  <a:gd name="connsiteY36" fmla="*/ 1910557 h 3277163"/>
                  <a:gd name="connsiteX37" fmla="*/ 1136650 w 1231967"/>
                  <a:gd name="connsiteY37" fmla="*/ 1981200 h 3277163"/>
                  <a:gd name="connsiteX38" fmla="*/ 1168400 w 1231967"/>
                  <a:gd name="connsiteY38" fmla="*/ 2044700 h 3277163"/>
                  <a:gd name="connsiteX39" fmla="*/ 1231900 w 1231967"/>
                  <a:gd name="connsiteY39" fmla="*/ 2095500 h 3277163"/>
                  <a:gd name="connsiteX40" fmla="*/ 1193800 w 1231967"/>
                  <a:gd name="connsiteY40" fmla="*/ 2139950 h 3277163"/>
                  <a:gd name="connsiteX41" fmla="*/ 1187450 w 1231967"/>
                  <a:gd name="connsiteY41" fmla="*/ 2190750 h 3277163"/>
                  <a:gd name="connsiteX42" fmla="*/ 1187450 w 1231967"/>
                  <a:gd name="connsiteY42" fmla="*/ 2241550 h 3277163"/>
                  <a:gd name="connsiteX43" fmla="*/ 1206500 w 1231967"/>
                  <a:gd name="connsiteY43" fmla="*/ 2273300 h 3277163"/>
                  <a:gd name="connsiteX44" fmla="*/ 1187450 w 1231967"/>
                  <a:gd name="connsiteY44" fmla="*/ 2305050 h 3277163"/>
                  <a:gd name="connsiteX45" fmla="*/ 1206500 w 1231967"/>
                  <a:gd name="connsiteY45" fmla="*/ 2368550 h 3277163"/>
                  <a:gd name="connsiteX46" fmla="*/ 1149350 w 1231967"/>
                  <a:gd name="connsiteY46" fmla="*/ 2527300 h 3277163"/>
                  <a:gd name="connsiteX47" fmla="*/ 1104900 w 1231967"/>
                  <a:gd name="connsiteY47" fmla="*/ 2565400 h 3277163"/>
                  <a:gd name="connsiteX48" fmla="*/ 1073150 w 1231967"/>
                  <a:gd name="connsiteY48" fmla="*/ 2597150 h 3277163"/>
                  <a:gd name="connsiteX49" fmla="*/ 996950 w 1231967"/>
                  <a:gd name="connsiteY49" fmla="*/ 2616200 h 3277163"/>
                  <a:gd name="connsiteX50" fmla="*/ 958850 w 1231967"/>
                  <a:gd name="connsiteY50" fmla="*/ 2679700 h 3277163"/>
                  <a:gd name="connsiteX51" fmla="*/ 831850 w 1231967"/>
                  <a:gd name="connsiteY51" fmla="*/ 2762250 h 3277163"/>
                  <a:gd name="connsiteX52" fmla="*/ 723900 w 1231967"/>
                  <a:gd name="connsiteY52" fmla="*/ 2736850 h 3277163"/>
                  <a:gd name="connsiteX53" fmla="*/ 647700 w 1231967"/>
                  <a:gd name="connsiteY53" fmla="*/ 2730500 h 3277163"/>
                  <a:gd name="connsiteX54" fmla="*/ 565150 w 1231967"/>
                  <a:gd name="connsiteY54" fmla="*/ 2736850 h 3277163"/>
                  <a:gd name="connsiteX55" fmla="*/ 482600 w 1231967"/>
                  <a:gd name="connsiteY55" fmla="*/ 2844800 h 3277163"/>
                  <a:gd name="connsiteX56" fmla="*/ 431800 w 1231967"/>
                  <a:gd name="connsiteY56" fmla="*/ 2908300 h 3277163"/>
                  <a:gd name="connsiteX57" fmla="*/ 361950 w 1231967"/>
                  <a:gd name="connsiteY57" fmla="*/ 2946400 h 3277163"/>
                  <a:gd name="connsiteX58" fmla="*/ 342900 w 1231967"/>
                  <a:gd name="connsiteY58" fmla="*/ 3022600 h 3277163"/>
                  <a:gd name="connsiteX59" fmla="*/ 242094 w 1231967"/>
                  <a:gd name="connsiteY59" fmla="*/ 3152775 h 3277163"/>
                  <a:gd name="connsiteX60" fmla="*/ 154781 w 1231967"/>
                  <a:gd name="connsiteY60" fmla="*/ 3273426 h 3277163"/>
                  <a:gd name="connsiteX0" fmla="*/ 6350 w 1231967"/>
                  <a:gd name="connsiteY0" fmla="*/ 0 h 3277163"/>
                  <a:gd name="connsiteX1" fmla="*/ 19050 w 1231967"/>
                  <a:gd name="connsiteY1" fmla="*/ 120650 h 3277163"/>
                  <a:gd name="connsiteX2" fmla="*/ 12700 w 1231967"/>
                  <a:gd name="connsiteY2" fmla="*/ 158750 h 3277163"/>
                  <a:gd name="connsiteX3" fmla="*/ 44450 w 1231967"/>
                  <a:gd name="connsiteY3" fmla="*/ 209550 h 3277163"/>
                  <a:gd name="connsiteX4" fmla="*/ 31750 w 1231967"/>
                  <a:gd name="connsiteY4" fmla="*/ 234950 h 3277163"/>
                  <a:gd name="connsiteX5" fmla="*/ 44450 w 1231967"/>
                  <a:gd name="connsiteY5" fmla="*/ 273050 h 3277163"/>
                  <a:gd name="connsiteX6" fmla="*/ 25400 w 1231967"/>
                  <a:gd name="connsiteY6" fmla="*/ 298450 h 3277163"/>
                  <a:gd name="connsiteX7" fmla="*/ 44450 w 1231967"/>
                  <a:gd name="connsiteY7" fmla="*/ 355600 h 3277163"/>
                  <a:gd name="connsiteX8" fmla="*/ 25400 w 1231967"/>
                  <a:gd name="connsiteY8" fmla="*/ 463550 h 3277163"/>
                  <a:gd name="connsiteX9" fmla="*/ 6350 w 1231967"/>
                  <a:gd name="connsiteY9" fmla="*/ 520700 h 3277163"/>
                  <a:gd name="connsiteX10" fmla="*/ 0 w 1231967"/>
                  <a:gd name="connsiteY10" fmla="*/ 603250 h 3277163"/>
                  <a:gd name="connsiteX11" fmla="*/ 44450 w 1231967"/>
                  <a:gd name="connsiteY11" fmla="*/ 647700 h 3277163"/>
                  <a:gd name="connsiteX12" fmla="*/ 57150 w 1231967"/>
                  <a:gd name="connsiteY12" fmla="*/ 704850 h 3277163"/>
                  <a:gd name="connsiteX13" fmla="*/ 114300 w 1231967"/>
                  <a:gd name="connsiteY13" fmla="*/ 749300 h 3277163"/>
                  <a:gd name="connsiteX14" fmla="*/ 171450 w 1231967"/>
                  <a:gd name="connsiteY14" fmla="*/ 768350 h 3277163"/>
                  <a:gd name="connsiteX15" fmla="*/ 234950 w 1231967"/>
                  <a:gd name="connsiteY15" fmla="*/ 806450 h 3277163"/>
                  <a:gd name="connsiteX16" fmla="*/ 222250 w 1231967"/>
                  <a:gd name="connsiteY16" fmla="*/ 857250 h 3277163"/>
                  <a:gd name="connsiteX17" fmla="*/ 266700 w 1231967"/>
                  <a:gd name="connsiteY17" fmla="*/ 901700 h 3277163"/>
                  <a:gd name="connsiteX18" fmla="*/ 374650 w 1231967"/>
                  <a:gd name="connsiteY18" fmla="*/ 1003300 h 3277163"/>
                  <a:gd name="connsiteX19" fmla="*/ 419100 w 1231967"/>
                  <a:gd name="connsiteY19" fmla="*/ 1028700 h 3277163"/>
                  <a:gd name="connsiteX20" fmla="*/ 457200 w 1231967"/>
                  <a:gd name="connsiteY20" fmla="*/ 1098550 h 3277163"/>
                  <a:gd name="connsiteX21" fmla="*/ 558800 w 1231967"/>
                  <a:gd name="connsiteY21" fmla="*/ 1143000 h 3277163"/>
                  <a:gd name="connsiteX22" fmla="*/ 603250 w 1231967"/>
                  <a:gd name="connsiteY22" fmla="*/ 1162050 h 3277163"/>
                  <a:gd name="connsiteX23" fmla="*/ 628650 w 1231967"/>
                  <a:gd name="connsiteY23" fmla="*/ 1212850 h 3277163"/>
                  <a:gd name="connsiteX24" fmla="*/ 704850 w 1231967"/>
                  <a:gd name="connsiteY24" fmla="*/ 1212850 h 3277163"/>
                  <a:gd name="connsiteX25" fmla="*/ 722313 w 1231967"/>
                  <a:gd name="connsiteY25" fmla="*/ 1239045 h 3277163"/>
                  <a:gd name="connsiteX26" fmla="*/ 758031 w 1231967"/>
                  <a:gd name="connsiteY26" fmla="*/ 1255714 h 3277163"/>
                  <a:gd name="connsiteX27" fmla="*/ 781843 w 1231967"/>
                  <a:gd name="connsiteY27" fmla="*/ 1304925 h 3277163"/>
                  <a:gd name="connsiteX28" fmla="*/ 819150 w 1231967"/>
                  <a:gd name="connsiteY28" fmla="*/ 1352550 h 3277163"/>
                  <a:gd name="connsiteX29" fmla="*/ 860425 w 1231967"/>
                  <a:gd name="connsiteY29" fmla="*/ 1386682 h 3277163"/>
                  <a:gd name="connsiteX30" fmla="*/ 908844 w 1231967"/>
                  <a:gd name="connsiteY30" fmla="*/ 1406525 h 3277163"/>
                  <a:gd name="connsiteX31" fmla="*/ 946150 w 1231967"/>
                  <a:gd name="connsiteY31" fmla="*/ 1460500 h 3277163"/>
                  <a:gd name="connsiteX32" fmla="*/ 1022350 w 1231967"/>
                  <a:gd name="connsiteY32" fmla="*/ 1612900 h 3277163"/>
                  <a:gd name="connsiteX33" fmla="*/ 1016000 w 1231967"/>
                  <a:gd name="connsiteY33" fmla="*/ 1657350 h 3277163"/>
                  <a:gd name="connsiteX34" fmla="*/ 1060450 w 1231967"/>
                  <a:gd name="connsiteY34" fmla="*/ 1720850 h 3277163"/>
                  <a:gd name="connsiteX35" fmla="*/ 1079500 w 1231967"/>
                  <a:gd name="connsiteY35" fmla="*/ 1809750 h 3277163"/>
                  <a:gd name="connsiteX36" fmla="*/ 1122363 w 1231967"/>
                  <a:gd name="connsiteY36" fmla="*/ 1910557 h 3277163"/>
                  <a:gd name="connsiteX37" fmla="*/ 1136650 w 1231967"/>
                  <a:gd name="connsiteY37" fmla="*/ 1981200 h 3277163"/>
                  <a:gd name="connsiteX38" fmla="*/ 1168400 w 1231967"/>
                  <a:gd name="connsiteY38" fmla="*/ 2044700 h 3277163"/>
                  <a:gd name="connsiteX39" fmla="*/ 1231900 w 1231967"/>
                  <a:gd name="connsiteY39" fmla="*/ 2095500 h 3277163"/>
                  <a:gd name="connsiteX40" fmla="*/ 1193800 w 1231967"/>
                  <a:gd name="connsiteY40" fmla="*/ 2139950 h 3277163"/>
                  <a:gd name="connsiteX41" fmla="*/ 1187450 w 1231967"/>
                  <a:gd name="connsiteY41" fmla="*/ 2190750 h 3277163"/>
                  <a:gd name="connsiteX42" fmla="*/ 1187450 w 1231967"/>
                  <a:gd name="connsiteY42" fmla="*/ 2241550 h 3277163"/>
                  <a:gd name="connsiteX43" fmla="*/ 1206500 w 1231967"/>
                  <a:gd name="connsiteY43" fmla="*/ 2273300 h 3277163"/>
                  <a:gd name="connsiteX44" fmla="*/ 1187450 w 1231967"/>
                  <a:gd name="connsiteY44" fmla="*/ 2305050 h 3277163"/>
                  <a:gd name="connsiteX45" fmla="*/ 1206500 w 1231967"/>
                  <a:gd name="connsiteY45" fmla="*/ 2368550 h 3277163"/>
                  <a:gd name="connsiteX46" fmla="*/ 1149350 w 1231967"/>
                  <a:gd name="connsiteY46" fmla="*/ 2527300 h 3277163"/>
                  <a:gd name="connsiteX47" fmla="*/ 1104900 w 1231967"/>
                  <a:gd name="connsiteY47" fmla="*/ 2565400 h 3277163"/>
                  <a:gd name="connsiteX48" fmla="*/ 1073150 w 1231967"/>
                  <a:gd name="connsiteY48" fmla="*/ 2597150 h 3277163"/>
                  <a:gd name="connsiteX49" fmla="*/ 996950 w 1231967"/>
                  <a:gd name="connsiteY49" fmla="*/ 2616200 h 3277163"/>
                  <a:gd name="connsiteX50" fmla="*/ 958850 w 1231967"/>
                  <a:gd name="connsiteY50" fmla="*/ 2679700 h 3277163"/>
                  <a:gd name="connsiteX51" fmla="*/ 831850 w 1231967"/>
                  <a:gd name="connsiteY51" fmla="*/ 2762250 h 3277163"/>
                  <a:gd name="connsiteX52" fmla="*/ 723900 w 1231967"/>
                  <a:gd name="connsiteY52" fmla="*/ 2736850 h 3277163"/>
                  <a:gd name="connsiteX53" fmla="*/ 647700 w 1231967"/>
                  <a:gd name="connsiteY53" fmla="*/ 2730500 h 3277163"/>
                  <a:gd name="connsiteX54" fmla="*/ 565150 w 1231967"/>
                  <a:gd name="connsiteY54" fmla="*/ 2736850 h 3277163"/>
                  <a:gd name="connsiteX55" fmla="*/ 482600 w 1231967"/>
                  <a:gd name="connsiteY55" fmla="*/ 2844800 h 3277163"/>
                  <a:gd name="connsiteX56" fmla="*/ 431800 w 1231967"/>
                  <a:gd name="connsiteY56" fmla="*/ 2908300 h 3277163"/>
                  <a:gd name="connsiteX57" fmla="*/ 361950 w 1231967"/>
                  <a:gd name="connsiteY57" fmla="*/ 2946400 h 3277163"/>
                  <a:gd name="connsiteX58" fmla="*/ 342900 w 1231967"/>
                  <a:gd name="connsiteY58" fmla="*/ 3022600 h 3277163"/>
                  <a:gd name="connsiteX59" fmla="*/ 242094 w 1231967"/>
                  <a:gd name="connsiteY59" fmla="*/ 3152775 h 3277163"/>
                  <a:gd name="connsiteX60" fmla="*/ 154781 w 1231967"/>
                  <a:gd name="connsiteY60" fmla="*/ 3273426 h 3277163"/>
                  <a:gd name="connsiteX0" fmla="*/ 6350 w 1231967"/>
                  <a:gd name="connsiteY0" fmla="*/ 0 h 3277163"/>
                  <a:gd name="connsiteX1" fmla="*/ 19050 w 1231967"/>
                  <a:gd name="connsiteY1" fmla="*/ 120650 h 3277163"/>
                  <a:gd name="connsiteX2" fmla="*/ 12700 w 1231967"/>
                  <a:gd name="connsiteY2" fmla="*/ 158750 h 3277163"/>
                  <a:gd name="connsiteX3" fmla="*/ 44450 w 1231967"/>
                  <a:gd name="connsiteY3" fmla="*/ 209550 h 3277163"/>
                  <a:gd name="connsiteX4" fmla="*/ 31750 w 1231967"/>
                  <a:gd name="connsiteY4" fmla="*/ 234950 h 3277163"/>
                  <a:gd name="connsiteX5" fmla="*/ 44450 w 1231967"/>
                  <a:gd name="connsiteY5" fmla="*/ 273050 h 3277163"/>
                  <a:gd name="connsiteX6" fmla="*/ 25400 w 1231967"/>
                  <a:gd name="connsiteY6" fmla="*/ 298450 h 3277163"/>
                  <a:gd name="connsiteX7" fmla="*/ 44450 w 1231967"/>
                  <a:gd name="connsiteY7" fmla="*/ 355600 h 3277163"/>
                  <a:gd name="connsiteX8" fmla="*/ 25400 w 1231967"/>
                  <a:gd name="connsiteY8" fmla="*/ 463550 h 3277163"/>
                  <a:gd name="connsiteX9" fmla="*/ 6350 w 1231967"/>
                  <a:gd name="connsiteY9" fmla="*/ 520700 h 3277163"/>
                  <a:gd name="connsiteX10" fmla="*/ 0 w 1231967"/>
                  <a:gd name="connsiteY10" fmla="*/ 603250 h 3277163"/>
                  <a:gd name="connsiteX11" fmla="*/ 44450 w 1231967"/>
                  <a:gd name="connsiteY11" fmla="*/ 647700 h 3277163"/>
                  <a:gd name="connsiteX12" fmla="*/ 57150 w 1231967"/>
                  <a:gd name="connsiteY12" fmla="*/ 704850 h 3277163"/>
                  <a:gd name="connsiteX13" fmla="*/ 114300 w 1231967"/>
                  <a:gd name="connsiteY13" fmla="*/ 749300 h 3277163"/>
                  <a:gd name="connsiteX14" fmla="*/ 171450 w 1231967"/>
                  <a:gd name="connsiteY14" fmla="*/ 768350 h 3277163"/>
                  <a:gd name="connsiteX15" fmla="*/ 234950 w 1231967"/>
                  <a:gd name="connsiteY15" fmla="*/ 806450 h 3277163"/>
                  <a:gd name="connsiteX16" fmla="*/ 222250 w 1231967"/>
                  <a:gd name="connsiteY16" fmla="*/ 857250 h 3277163"/>
                  <a:gd name="connsiteX17" fmla="*/ 266700 w 1231967"/>
                  <a:gd name="connsiteY17" fmla="*/ 901700 h 3277163"/>
                  <a:gd name="connsiteX18" fmla="*/ 369888 w 1231967"/>
                  <a:gd name="connsiteY18" fmla="*/ 981869 h 3277163"/>
                  <a:gd name="connsiteX19" fmla="*/ 419100 w 1231967"/>
                  <a:gd name="connsiteY19" fmla="*/ 1028700 h 3277163"/>
                  <a:gd name="connsiteX20" fmla="*/ 457200 w 1231967"/>
                  <a:gd name="connsiteY20" fmla="*/ 1098550 h 3277163"/>
                  <a:gd name="connsiteX21" fmla="*/ 558800 w 1231967"/>
                  <a:gd name="connsiteY21" fmla="*/ 1143000 h 3277163"/>
                  <a:gd name="connsiteX22" fmla="*/ 603250 w 1231967"/>
                  <a:gd name="connsiteY22" fmla="*/ 1162050 h 3277163"/>
                  <a:gd name="connsiteX23" fmla="*/ 628650 w 1231967"/>
                  <a:gd name="connsiteY23" fmla="*/ 1212850 h 3277163"/>
                  <a:gd name="connsiteX24" fmla="*/ 704850 w 1231967"/>
                  <a:gd name="connsiteY24" fmla="*/ 1212850 h 3277163"/>
                  <a:gd name="connsiteX25" fmla="*/ 722313 w 1231967"/>
                  <a:gd name="connsiteY25" fmla="*/ 1239045 h 3277163"/>
                  <a:gd name="connsiteX26" fmla="*/ 758031 w 1231967"/>
                  <a:gd name="connsiteY26" fmla="*/ 1255714 h 3277163"/>
                  <a:gd name="connsiteX27" fmla="*/ 781843 w 1231967"/>
                  <a:gd name="connsiteY27" fmla="*/ 1304925 h 3277163"/>
                  <a:gd name="connsiteX28" fmla="*/ 819150 w 1231967"/>
                  <a:gd name="connsiteY28" fmla="*/ 1352550 h 3277163"/>
                  <a:gd name="connsiteX29" fmla="*/ 860425 w 1231967"/>
                  <a:gd name="connsiteY29" fmla="*/ 1386682 h 3277163"/>
                  <a:gd name="connsiteX30" fmla="*/ 908844 w 1231967"/>
                  <a:gd name="connsiteY30" fmla="*/ 1406525 h 3277163"/>
                  <a:gd name="connsiteX31" fmla="*/ 946150 w 1231967"/>
                  <a:gd name="connsiteY31" fmla="*/ 1460500 h 3277163"/>
                  <a:gd name="connsiteX32" fmla="*/ 1022350 w 1231967"/>
                  <a:gd name="connsiteY32" fmla="*/ 1612900 h 3277163"/>
                  <a:gd name="connsiteX33" fmla="*/ 1016000 w 1231967"/>
                  <a:gd name="connsiteY33" fmla="*/ 1657350 h 3277163"/>
                  <a:gd name="connsiteX34" fmla="*/ 1060450 w 1231967"/>
                  <a:gd name="connsiteY34" fmla="*/ 1720850 h 3277163"/>
                  <a:gd name="connsiteX35" fmla="*/ 1079500 w 1231967"/>
                  <a:gd name="connsiteY35" fmla="*/ 1809750 h 3277163"/>
                  <a:gd name="connsiteX36" fmla="*/ 1122363 w 1231967"/>
                  <a:gd name="connsiteY36" fmla="*/ 1910557 h 3277163"/>
                  <a:gd name="connsiteX37" fmla="*/ 1136650 w 1231967"/>
                  <a:gd name="connsiteY37" fmla="*/ 1981200 h 3277163"/>
                  <a:gd name="connsiteX38" fmla="*/ 1168400 w 1231967"/>
                  <a:gd name="connsiteY38" fmla="*/ 2044700 h 3277163"/>
                  <a:gd name="connsiteX39" fmla="*/ 1231900 w 1231967"/>
                  <a:gd name="connsiteY39" fmla="*/ 2095500 h 3277163"/>
                  <a:gd name="connsiteX40" fmla="*/ 1193800 w 1231967"/>
                  <a:gd name="connsiteY40" fmla="*/ 2139950 h 3277163"/>
                  <a:gd name="connsiteX41" fmla="*/ 1187450 w 1231967"/>
                  <a:gd name="connsiteY41" fmla="*/ 2190750 h 3277163"/>
                  <a:gd name="connsiteX42" fmla="*/ 1187450 w 1231967"/>
                  <a:gd name="connsiteY42" fmla="*/ 2241550 h 3277163"/>
                  <a:gd name="connsiteX43" fmla="*/ 1206500 w 1231967"/>
                  <a:gd name="connsiteY43" fmla="*/ 2273300 h 3277163"/>
                  <a:gd name="connsiteX44" fmla="*/ 1187450 w 1231967"/>
                  <a:gd name="connsiteY44" fmla="*/ 2305050 h 3277163"/>
                  <a:gd name="connsiteX45" fmla="*/ 1206500 w 1231967"/>
                  <a:gd name="connsiteY45" fmla="*/ 2368550 h 3277163"/>
                  <a:gd name="connsiteX46" fmla="*/ 1149350 w 1231967"/>
                  <a:gd name="connsiteY46" fmla="*/ 2527300 h 3277163"/>
                  <a:gd name="connsiteX47" fmla="*/ 1104900 w 1231967"/>
                  <a:gd name="connsiteY47" fmla="*/ 2565400 h 3277163"/>
                  <a:gd name="connsiteX48" fmla="*/ 1073150 w 1231967"/>
                  <a:gd name="connsiteY48" fmla="*/ 2597150 h 3277163"/>
                  <a:gd name="connsiteX49" fmla="*/ 996950 w 1231967"/>
                  <a:gd name="connsiteY49" fmla="*/ 2616200 h 3277163"/>
                  <a:gd name="connsiteX50" fmla="*/ 958850 w 1231967"/>
                  <a:gd name="connsiteY50" fmla="*/ 2679700 h 3277163"/>
                  <a:gd name="connsiteX51" fmla="*/ 831850 w 1231967"/>
                  <a:gd name="connsiteY51" fmla="*/ 2762250 h 3277163"/>
                  <a:gd name="connsiteX52" fmla="*/ 723900 w 1231967"/>
                  <a:gd name="connsiteY52" fmla="*/ 2736850 h 3277163"/>
                  <a:gd name="connsiteX53" fmla="*/ 647700 w 1231967"/>
                  <a:gd name="connsiteY53" fmla="*/ 2730500 h 3277163"/>
                  <a:gd name="connsiteX54" fmla="*/ 565150 w 1231967"/>
                  <a:gd name="connsiteY54" fmla="*/ 2736850 h 3277163"/>
                  <a:gd name="connsiteX55" fmla="*/ 482600 w 1231967"/>
                  <a:gd name="connsiteY55" fmla="*/ 2844800 h 3277163"/>
                  <a:gd name="connsiteX56" fmla="*/ 431800 w 1231967"/>
                  <a:gd name="connsiteY56" fmla="*/ 2908300 h 3277163"/>
                  <a:gd name="connsiteX57" fmla="*/ 361950 w 1231967"/>
                  <a:gd name="connsiteY57" fmla="*/ 2946400 h 3277163"/>
                  <a:gd name="connsiteX58" fmla="*/ 342900 w 1231967"/>
                  <a:gd name="connsiteY58" fmla="*/ 3022600 h 3277163"/>
                  <a:gd name="connsiteX59" fmla="*/ 242094 w 1231967"/>
                  <a:gd name="connsiteY59" fmla="*/ 3152775 h 3277163"/>
                  <a:gd name="connsiteX60" fmla="*/ 154781 w 1231967"/>
                  <a:gd name="connsiteY60" fmla="*/ 3273426 h 3277163"/>
                  <a:gd name="connsiteX0" fmla="*/ 6350 w 1231967"/>
                  <a:gd name="connsiteY0" fmla="*/ 0 h 3277163"/>
                  <a:gd name="connsiteX1" fmla="*/ 19050 w 1231967"/>
                  <a:gd name="connsiteY1" fmla="*/ 120650 h 3277163"/>
                  <a:gd name="connsiteX2" fmla="*/ 12700 w 1231967"/>
                  <a:gd name="connsiteY2" fmla="*/ 158750 h 3277163"/>
                  <a:gd name="connsiteX3" fmla="*/ 44450 w 1231967"/>
                  <a:gd name="connsiteY3" fmla="*/ 209550 h 3277163"/>
                  <a:gd name="connsiteX4" fmla="*/ 31750 w 1231967"/>
                  <a:gd name="connsiteY4" fmla="*/ 234950 h 3277163"/>
                  <a:gd name="connsiteX5" fmla="*/ 44450 w 1231967"/>
                  <a:gd name="connsiteY5" fmla="*/ 273050 h 3277163"/>
                  <a:gd name="connsiteX6" fmla="*/ 25400 w 1231967"/>
                  <a:gd name="connsiteY6" fmla="*/ 298450 h 3277163"/>
                  <a:gd name="connsiteX7" fmla="*/ 44450 w 1231967"/>
                  <a:gd name="connsiteY7" fmla="*/ 355600 h 3277163"/>
                  <a:gd name="connsiteX8" fmla="*/ 25400 w 1231967"/>
                  <a:gd name="connsiteY8" fmla="*/ 463550 h 3277163"/>
                  <a:gd name="connsiteX9" fmla="*/ 6350 w 1231967"/>
                  <a:gd name="connsiteY9" fmla="*/ 520700 h 3277163"/>
                  <a:gd name="connsiteX10" fmla="*/ 0 w 1231967"/>
                  <a:gd name="connsiteY10" fmla="*/ 603250 h 3277163"/>
                  <a:gd name="connsiteX11" fmla="*/ 44450 w 1231967"/>
                  <a:gd name="connsiteY11" fmla="*/ 647700 h 3277163"/>
                  <a:gd name="connsiteX12" fmla="*/ 57150 w 1231967"/>
                  <a:gd name="connsiteY12" fmla="*/ 704850 h 3277163"/>
                  <a:gd name="connsiteX13" fmla="*/ 114300 w 1231967"/>
                  <a:gd name="connsiteY13" fmla="*/ 749300 h 3277163"/>
                  <a:gd name="connsiteX14" fmla="*/ 171450 w 1231967"/>
                  <a:gd name="connsiteY14" fmla="*/ 768350 h 3277163"/>
                  <a:gd name="connsiteX15" fmla="*/ 234950 w 1231967"/>
                  <a:gd name="connsiteY15" fmla="*/ 806450 h 3277163"/>
                  <a:gd name="connsiteX16" fmla="*/ 222250 w 1231967"/>
                  <a:gd name="connsiteY16" fmla="*/ 857250 h 3277163"/>
                  <a:gd name="connsiteX17" fmla="*/ 266700 w 1231967"/>
                  <a:gd name="connsiteY17" fmla="*/ 901700 h 3277163"/>
                  <a:gd name="connsiteX18" fmla="*/ 369888 w 1231967"/>
                  <a:gd name="connsiteY18" fmla="*/ 981869 h 3277163"/>
                  <a:gd name="connsiteX19" fmla="*/ 419100 w 1231967"/>
                  <a:gd name="connsiteY19" fmla="*/ 1028700 h 3277163"/>
                  <a:gd name="connsiteX20" fmla="*/ 457200 w 1231967"/>
                  <a:gd name="connsiteY20" fmla="*/ 1098550 h 3277163"/>
                  <a:gd name="connsiteX21" fmla="*/ 558800 w 1231967"/>
                  <a:gd name="connsiteY21" fmla="*/ 1143000 h 3277163"/>
                  <a:gd name="connsiteX22" fmla="*/ 603250 w 1231967"/>
                  <a:gd name="connsiteY22" fmla="*/ 1162050 h 3277163"/>
                  <a:gd name="connsiteX23" fmla="*/ 628650 w 1231967"/>
                  <a:gd name="connsiteY23" fmla="*/ 1212850 h 3277163"/>
                  <a:gd name="connsiteX24" fmla="*/ 704850 w 1231967"/>
                  <a:gd name="connsiteY24" fmla="*/ 1212850 h 3277163"/>
                  <a:gd name="connsiteX25" fmla="*/ 722313 w 1231967"/>
                  <a:gd name="connsiteY25" fmla="*/ 1239045 h 3277163"/>
                  <a:gd name="connsiteX26" fmla="*/ 758031 w 1231967"/>
                  <a:gd name="connsiteY26" fmla="*/ 1255714 h 3277163"/>
                  <a:gd name="connsiteX27" fmla="*/ 781843 w 1231967"/>
                  <a:gd name="connsiteY27" fmla="*/ 1304925 h 3277163"/>
                  <a:gd name="connsiteX28" fmla="*/ 819150 w 1231967"/>
                  <a:gd name="connsiteY28" fmla="*/ 1352550 h 3277163"/>
                  <a:gd name="connsiteX29" fmla="*/ 860425 w 1231967"/>
                  <a:gd name="connsiteY29" fmla="*/ 1386682 h 3277163"/>
                  <a:gd name="connsiteX30" fmla="*/ 908844 w 1231967"/>
                  <a:gd name="connsiteY30" fmla="*/ 1406525 h 3277163"/>
                  <a:gd name="connsiteX31" fmla="*/ 946150 w 1231967"/>
                  <a:gd name="connsiteY31" fmla="*/ 1460500 h 3277163"/>
                  <a:gd name="connsiteX32" fmla="*/ 1022350 w 1231967"/>
                  <a:gd name="connsiteY32" fmla="*/ 1612900 h 3277163"/>
                  <a:gd name="connsiteX33" fmla="*/ 1016000 w 1231967"/>
                  <a:gd name="connsiteY33" fmla="*/ 1657350 h 3277163"/>
                  <a:gd name="connsiteX34" fmla="*/ 1060450 w 1231967"/>
                  <a:gd name="connsiteY34" fmla="*/ 1720850 h 3277163"/>
                  <a:gd name="connsiteX35" fmla="*/ 1079500 w 1231967"/>
                  <a:gd name="connsiteY35" fmla="*/ 1809750 h 3277163"/>
                  <a:gd name="connsiteX36" fmla="*/ 1122363 w 1231967"/>
                  <a:gd name="connsiteY36" fmla="*/ 1910557 h 3277163"/>
                  <a:gd name="connsiteX37" fmla="*/ 1136650 w 1231967"/>
                  <a:gd name="connsiteY37" fmla="*/ 1981200 h 3277163"/>
                  <a:gd name="connsiteX38" fmla="*/ 1168400 w 1231967"/>
                  <a:gd name="connsiteY38" fmla="*/ 2044700 h 3277163"/>
                  <a:gd name="connsiteX39" fmla="*/ 1231900 w 1231967"/>
                  <a:gd name="connsiteY39" fmla="*/ 2095500 h 3277163"/>
                  <a:gd name="connsiteX40" fmla="*/ 1193800 w 1231967"/>
                  <a:gd name="connsiteY40" fmla="*/ 2139950 h 3277163"/>
                  <a:gd name="connsiteX41" fmla="*/ 1187450 w 1231967"/>
                  <a:gd name="connsiteY41" fmla="*/ 2190750 h 3277163"/>
                  <a:gd name="connsiteX42" fmla="*/ 1187450 w 1231967"/>
                  <a:gd name="connsiteY42" fmla="*/ 2241550 h 3277163"/>
                  <a:gd name="connsiteX43" fmla="*/ 1206500 w 1231967"/>
                  <a:gd name="connsiteY43" fmla="*/ 2273300 h 3277163"/>
                  <a:gd name="connsiteX44" fmla="*/ 1187450 w 1231967"/>
                  <a:gd name="connsiteY44" fmla="*/ 2305050 h 3277163"/>
                  <a:gd name="connsiteX45" fmla="*/ 1206500 w 1231967"/>
                  <a:gd name="connsiteY45" fmla="*/ 2368550 h 3277163"/>
                  <a:gd name="connsiteX46" fmla="*/ 1149350 w 1231967"/>
                  <a:gd name="connsiteY46" fmla="*/ 2527300 h 3277163"/>
                  <a:gd name="connsiteX47" fmla="*/ 1104900 w 1231967"/>
                  <a:gd name="connsiteY47" fmla="*/ 2565400 h 3277163"/>
                  <a:gd name="connsiteX48" fmla="*/ 1073150 w 1231967"/>
                  <a:gd name="connsiteY48" fmla="*/ 2597150 h 3277163"/>
                  <a:gd name="connsiteX49" fmla="*/ 996950 w 1231967"/>
                  <a:gd name="connsiteY49" fmla="*/ 2616200 h 3277163"/>
                  <a:gd name="connsiteX50" fmla="*/ 958850 w 1231967"/>
                  <a:gd name="connsiteY50" fmla="*/ 2679700 h 3277163"/>
                  <a:gd name="connsiteX51" fmla="*/ 831850 w 1231967"/>
                  <a:gd name="connsiteY51" fmla="*/ 2762250 h 3277163"/>
                  <a:gd name="connsiteX52" fmla="*/ 723900 w 1231967"/>
                  <a:gd name="connsiteY52" fmla="*/ 2736850 h 3277163"/>
                  <a:gd name="connsiteX53" fmla="*/ 647700 w 1231967"/>
                  <a:gd name="connsiteY53" fmla="*/ 2730500 h 3277163"/>
                  <a:gd name="connsiteX54" fmla="*/ 565150 w 1231967"/>
                  <a:gd name="connsiteY54" fmla="*/ 2736850 h 3277163"/>
                  <a:gd name="connsiteX55" fmla="*/ 482600 w 1231967"/>
                  <a:gd name="connsiteY55" fmla="*/ 2844800 h 3277163"/>
                  <a:gd name="connsiteX56" fmla="*/ 431800 w 1231967"/>
                  <a:gd name="connsiteY56" fmla="*/ 2908300 h 3277163"/>
                  <a:gd name="connsiteX57" fmla="*/ 361950 w 1231967"/>
                  <a:gd name="connsiteY57" fmla="*/ 2946400 h 3277163"/>
                  <a:gd name="connsiteX58" fmla="*/ 342900 w 1231967"/>
                  <a:gd name="connsiteY58" fmla="*/ 3022600 h 3277163"/>
                  <a:gd name="connsiteX59" fmla="*/ 242094 w 1231967"/>
                  <a:gd name="connsiteY59" fmla="*/ 3152775 h 3277163"/>
                  <a:gd name="connsiteX60" fmla="*/ 154781 w 1231967"/>
                  <a:gd name="connsiteY60" fmla="*/ 3273426 h 3277163"/>
                  <a:gd name="connsiteX0" fmla="*/ 6350 w 1231967"/>
                  <a:gd name="connsiteY0" fmla="*/ 0 h 3277163"/>
                  <a:gd name="connsiteX1" fmla="*/ 19050 w 1231967"/>
                  <a:gd name="connsiteY1" fmla="*/ 120650 h 3277163"/>
                  <a:gd name="connsiteX2" fmla="*/ 12700 w 1231967"/>
                  <a:gd name="connsiteY2" fmla="*/ 158750 h 3277163"/>
                  <a:gd name="connsiteX3" fmla="*/ 44450 w 1231967"/>
                  <a:gd name="connsiteY3" fmla="*/ 209550 h 3277163"/>
                  <a:gd name="connsiteX4" fmla="*/ 31750 w 1231967"/>
                  <a:gd name="connsiteY4" fmla="*/ 234950 h 3277163"/>
                  <a:gd name="connsiteX5" fmla="*/ 44450 w 1231967"/>
                  <a:gd name="connsiteY5" fmla="*/ 273050 h 3277163"/>
                  <a:gd name="connsiteX6" fmla="*/ 25400 w 1231967"/>
                  <a:gd name="connsiteY6" fmla="*/ 298450 h 3277163"/>
                  <a:gd name="connsiteX7" fmla="*/ 44450 w 1231967"/>
                  <a:gd name="connsiteY7" fmla="*/ 355600 h 3277163"/>
                  <a:gd name="connsiteX8" fmla="*/ 25400 w 1231967"/>
                  <a:gd name="connsiteY8" fmla="*/ 463550 h 3277163"/>
                  <a:gd name="connsiteX9" fmla="*/ 6350 w 1231967"/>
                  <a:gd name="connsiteY9" fmla="*/ 520700 h 3277163"/>
                  <a:gd name="connsiteX10" fmla="*/ 0 w 1231967"/>
                  <a:gd name="connsiteY10" fmla="*/ 603250 h 3277163"/>
                  <a:gd name="connsiteX11" fmla="*/ 44450 w 1231967"/>
                  <a:gd name="connsiteY11" fmla="*/ 647700 h 3277163"/>
                  <a:gd name="connsiteX12" fmla="*/ 57150 w 1231967"/>
                  <a:gd name="connsiteY12" fmla="*/ 704850 h 3277163"/>
                  <a:gd name="connsiteX13" fmla="*/ 114300 w 1231967"/>
                  <a:gd name="connsiteY13" fmla="*/ 749300 h 3277163"/>
                  <a:gd name="connsiteX14" fmla="*/ 161925 w 1231967"/>
                  <a:gd name="connsiteY14" fmla="*/ 751681 h 3277163"/>
                  <a:gd name="connsiteX15" fmla="*/ 234950 w 1231967"/>
                  <a:gd name="connsiteY15" fmla="*/ 806450 h 3277163"/>
                  <a:gd name="connsiteX16" fmla="*/ 222250 w 1231967"/>
                  <a:gd name="connsiteY16" fmla="*/ 857250 h 3277163"/>
                  <a:gd name="connsiteX17" fmla="*/ 266700 w 1231967"/>
                  <a:gd name="connsiteY17" fmla="*/ 901700 h 3277163"/>
                  <a:gd name="connsiteX18" fmla="*/ 369888 w 1231967"/>
                  <a:gd name="connsiteY18" fmla="*/ 981869 h 3277163"/>
                  <a:gd name="connsiteX19" fmla="*/ 419100 w 1231967"/>
                  <a:gd name="connsiteY19" fmla="*/ 1028700 h 3277163"/>
                  <a:gd name="connsiteX20" fmla="*/ 457200 w 1231967"/>
                  <a:gd name="connsiteY20" fmla="*/ 1098550 h 3277163"/>
                  <a:gd name="connsiteX21" fmla="*/ 558800 w 1231967"/>
                  <a:gd name="connsiteY21" fmla="*/ 1143000 h 3277163"/>
                  <a:gd name="connsiteX22" fmla="*/ 603250 w 1231967"/>
                  <a:gd name="connsiteY22" fmla="*/ 1162050 h 3277163"/>
                  <a:gd name="connsiteX23" fmla="*/ 628650 w 1231967"/>
                  <a:gd name="connsiteY23" fmla="*/ 1212850 h 3277163"/>
                  <a:gd name="connsiteX24" fmla="*/ 704850 w 1231967"/>
                  <a:gd name="connsiteY24" fmla="*/ 1212850 h 3277163"/>
                  <a:gd name="connsiteX25" fmla="*/ 722313 w 1231967"/>
                  <a:gd name="connsiteY25" fmla="*/ 1239045 h 3277163"/>
                  <a:gd name="connsiteX26" fmla="*/ 758031 w 1231967"/>
                  <a:gd name="connsiteY26" fmla="*/ 1255714 h 3277163"/>
                  <a:gd name="connsiteX27" fmla="*/ 781843 w 1231967"/>
                  <a:gd name="connsiteY27" fmla="*/ 1304925 h 3277163"/>
                  <a:gd name="connsiteX28" fmla="*/ 819150 w 1231967"/>
                  <a:gd name="connsiteY28" fmla="*/ 1352550 h 3277163"/>
                  <a:gd name="connsiteX29" fmla="*/ 860425 w 1231967"/>
                  <a:gd name="connsiteY29" fmla="*/ 1386682 h 3277163"/>
                  <a:gd name="connsiteX30" fmla="*/ 908844 w 1231967"/>
                  <a:gd name="connsiteY30" fmla="*/ 1406525 h 3277163"/>
                  <a:gd name="connsiteX31" fmla="*/ 946150 w 1231967"/>
                  <a:gd name="connsiteY31" fmla="*/ 1460500 h 3277163"/>
                  <a:gd name="connsiteX32" fmla="*/ 1022350 w 1231967"/>
                  <a:gd name="connsiteY32" fmla="*/ 1612900 h 3277163"/>
                  <a:gd name="connsiteX33" fmla="*/ 1016000 w 1231967"/>
                  <a:gd name="connsiteY33" fmla="*/ 1657350 h 3277163"/>
                  <a:gd name="connsiteX34" fmla="*/ 1060450 w 1231967"/>
                  <a:gd name="connsiteY34" fmla="*/ 1720850 h 3277163"/>
                  <a:gd name="connsiteX35" fmla="*/ 1079500 w 1231967"/>
                  <a:gd name="connsiteY35" fmla="*/ 1809750 h 3277163"/>
                  <a:gd name="connsiteX36" fmla="*/ 1122363 w 1231967"/>
                  <a:gd name="connsiteY36" fmla="*/ 1910557 h 3277163"/>
                  <a:gd name="connsiteX37" fmla="*/ 1136650 w 1231967"/>
                  <a:gd name="connsiteY37" fmla="*/ 1981200 h 3277163"/>
                  <a:gd name="connsiteX38" fmla="*/ 1168400 w 1231967"/>
                  <a:gd name="connsiteY38" fmla="*/ 2044700 h 3277163"/>
                  <a:gd name="connsiteX39" fmla="*/ 1231900 w 1231967"/>
                  <a:gd name="connsiteY39" fmla="*/ 2095500 h 3277163"/>
                  <a:gd name="connsiteX40" fmla="*/ 1193800 w 1231967"/>
                  <a:gd name="connsiteY40" fmla="*/ 2139950 h 3277163"/>
                  <a:gd name="connsiteX41" fmla="*/ 1187450 w 1231967"/>
                  <a:gd name="connsiteY41" fmla="*/ 2190750 h 3277163"/>
                  <a:gd name="connsiteX42" fmla="*/ 1187450 w 1231967"/>
                  <a:gd name="connsiteY42" fmla="*/ 2241550 h 3277163"/>
                  <a:gd name="connsiteX43" fmla="*/ 1206500 w 1231967"/>
                  <a:gd name="connsiteY43" fmla="*/ 2273300 h 3277163"/>
                  <a:gd name="connsiteX44" fmla="*/ 1187450 w 1231967"/>
                  <a:gd name="connsiteY44" fmla="*/ 2305050 h 3277163"/>
                  <a:gd name="connsiteX45" fmla="*/ 1206500 w 1231967"/>
                  <a:gd name="connsiteY45" fmla="*/ 2368550 h 3277163"/>
                  <a:gd name="connsiteX46" fmla="*/ 1149350 w 1231967"/>
                  <a:gd name="connsiteY46" fmla="*/ 2527300 h 3277163"/>
                  <a:gd name="connsiteX47" fmla="*/ 1104900 w 1231967"/>
                  <a:gd name="connsiteY47" fmla="*/ 2565400 h 3277163"/>
                  <a:gd name="connsiteX48" fmla="*/ 1073150 w 1231967"/>
                  <a:gd name="connsiteY48" fmla="*/ 2597150 h 3277163"/>
                  <a:gd name="connsiteX49" fmla="*/ 996950 w 1231967"/>
                  <a:gd name="connsiteY49" fmla="*/ 2616200 h 3277163"/>
                  <a:gd name="connsiteX50" fmla="*/ 958850 w 1231967"/>
                  <a:gd name="connsiteY50" fmla="*/ 2679700 h 3277163"/>
                  <a:gd name="connsiteX51" fmla="*/ 831850 w 1231967"/>
                  <a:gd name="connsiteY51" fmla="*/ 2762250 h 3277163"/>
                  <a:gd name="connsiteX52" fmla="*/ 723900 w 1231967"/>
                  <a:gd name="connsiteY52" fmla="*/ 2736850 h 3277163"/>
                  <a:gd name="connsiteX53" fmla="*/ 647700 w 1231967"/>
                  <a:gd name="connsiteY53" fmla="*/ 2730500 h 3277163"/>
                  <a:gd name="connsiteX54" fmla="*/ 565150 w 1231967"/>
                  <a:gd name="connsiteY54" fmla="*/ 2736850 h 3277163"/>
                  <a:gd name="connsiteX55" fmla="*/ 482600 w 1231967"/>
                  <a:gd name="connsiteY55" fmla="*/ 2844800 h 3277163"/>
                  <a:gd name="connsiteX56" fmla="*/ 431800 w 1231967"/>
                  <a:gd name="connsiteY56" fmla="*/ 2908300 h 3277163"/>
                  <a:gd name="connsiteX57" fmla="*/ 361950 w 1231967"/>
                  <a:gd name="connsiteY57" fmla="*/ 2946400 h 3277163"/>
                  <a:gd name="connsiteX58" fmla="*/ 342900 w 1231967"/>
                  <a:gd name="connsiteY58" fmla="*/ 3022600 h 3277163"/>
                  <a:gd name="connsiteX59" fmla="*/ 242094 w 1231967"/>
                  <a:gd name="connsiteY59" fmla="*/ 3152775 h 3277163"/>
                  <a:gd name="connsiteX60" fmla="*/ 154781 w 1231967"/>
                  <a:gd name="connsiteY60" fmla="*/ 3273426 h 3277163"/>
                  <a:gd name="connsiteX0" fmla="*/ 6350 w 1231967"/>
                  <a:gd name="connsiteY0" fmla="*/ 0 h 3277163"/>
                  <a:gd name="connsiteX1" fmla="*/ 19050 w 1231967"/>
                  <a:gd name="connsiteY1" fmla="*/ 120650 h 3277163"/>
                  <a:gd name="connsiteX2" fmla="*/ 12700 w 1231967"/>
                  <a:gd name="connsiteY2" fmla="*/ 158750 h 3277163"/>
                  <a:gd name="connsiteX3" fmla="*/ 44450 w 1231967"/>
                  <a:gd name="connsiteY3" fmla="*/ 209550 h 3277163"/>
                  <a:gd name="connsiteX4" fmla="*/ 31750 w 1231967"/>
                  <a:gd name="connsiteY4" fmla="*/ 234950 h 3277163"/>
                  <a:gd name="connsiteX5" fmla="*/ 44450 w 1231967"/>
                  <a:gd name="connsiteY5" fmla="*/ 273050 h 3277163"/>
                  <a:gd name="connsiteX6" fmla="*/ 25400 w 1231967"/>
                  <a:gd name="connsiteY6" fmla="*/ 298450 h 3277163"/>
                  <a:gd name="connsiteX7" fmla="*/ 44450 w 1231967"/>
                  <a:gd name="connsiteY7" fmla="*/ 355600 h 3277163"/>
                  <a:gd name="connsiteX8" fmla="*/ 25400 w 1231967"/>
                  <a:gd name="connsiteY8" fmla="*/ 463550 h 3277163"/>
                  <a:gd name="connsiteX9" fmla="*/ 6350 w 1231967"/>
                  <a:gd name="connsiteY9" fmla="*/ 520700 h 3277163"/>
                  <a:gd name="connsiteX10" fmla="*/ 0 w 1231967"/>
                  <a:gd name="connsiteY10" fmla="*/ 603250 h 3277163"/>
                  <a:gd name="connsiteX11" fmla="*/ 44450 w 1231967"/>
                  <a:gd name="connsiteY11" fmla="*/ 647700 h 3277163"/>
                  <a:gd name="connsiteX12" fmla="*/ 57150 w 1231967"/>
                  <a:gd name="connsiteY12" fmla="*/ 704850 h 3277163"/>
                  <a:gd name="connsiteX13" fmla="*/ 114300 w 1231967"/>
                  <a:gd name="connsiteY13" fmla="*/ 749300 h 3277163"/>
                  <a:gd name="connsiteX14" fmla="*/ 161925 w 1231967"/>
                  <a:gd name="connsiteY14" fmla="*/ 751681 h 3277163"/>
                  <a:gd name="connsiteX15" fmla="*/ 234950 w 1231967"/>
                  <a:gd name="connsiteY15" fmla="*/ 806450 h 3277163"/>
                  <a:gd name="connsiteX16" fmla="*/ 222250 w 1231967"/>
                  <a:gd name="connsiteY16" fmla="*/ 857250 h 3277163"/>
                  <a:gd name="connsiteX17" fmla="*/ 266700 w 1231967"/>
                  <a:gd name="connsiteY17" fmla="*/ 901700 h 3277163"/>
                  <a:gd name="connsiteX18" fmla="*/ 369888 w 1231967"/>
                  <a:gd name="connsiteY18" fmla="*/ 981869 h 3277163"/>
                  <a:gd name="connsiteX19" fmla="*/ 419100 w 1231967"/>
                  <a:gd name="connsiteY19" fmla="*/ 1028700 h 3277163"/>
                  <a:gd name="connsiteX20" fmla="*/ 457200 w 1231967"/>
                  <a:gd name="connsiteY20" fmla="*/ 1098550 h 3277163"/>
                  <a:gd name="connsiteX21" fmla="*/ 558800 w 1231967"/>
                  <a:gd name="connsiteY21" fmla="*/ 1143000 h 3277163"/>
                  <a:gd name="connsiteX22" fmla="*/ 603250 w 1231967"/>
                  <a:gd name="connsiteY22" fmla="*/ 1162050 h 3277163"/>
                  <a:gd name="connsiteX23" fmla="*/ 628650 w 1231967"/>
                  <a:gd name="connsiteY23" fmla="*/ 1212850 h 3277163"/>
                  <a:gd name="connsiteX24" fmla="*/ 704850 w 1231967"/>
                  <a:gd name="connsiteY24" fmla="*/ 1212850 h 3277163"/>
                  <a:gd name="connsiteX25" fmla="*/ 722313 w 1231967"/>
                  <a:gd name="connsiteY25" fmla="*/ 1239045 h 3277163"/>
                  <a:gd name="connsiteX26" fmla="*/ 758031 w 1231967"/>
                  <a:gd name="connsiteY26" fmla="*/ 1255714 h 3277163"/>
                  <a:gd name="connsiteX27" fmla="*/ 781843 w 1231967"/>
                  <a:gd name="connsiteY27" fmla="*/ 1304925 h 3277163"/>
                  <a:gd name="connsiteX28" fmla="*/ 819150 w 1231967"/>
                  <a:gd name="connsiteY28" fmla="*/ 1352550 h 3277163"/>
                  <a:gd name="connsiteX29" fmla="*/ 860425 w 1231967"/>
                  <a:gd name="connsiteY29" fmla="*/ 1386682 h 3277163"/>
                  <a:gd name="connsiteX30" fmla="*/ 908844 w 1231967"/>
                  <a:gd name="connsiteY30" fmla="*/ 1406525 h 3277163"/>
                  <a:gd name="connsiteX31" fmla="*/ 946150 w 1231967"/>
                  <a:gd name="connsiteY31" fmla="*/ 1460500 h 3277163"/>
                  <a:gd name="connsiteX32" fmla="*/ 1022350 w 1231967"/>
                  <a:gd name="connsiteY32" fmla="*/ 1612900 h 3277163"/>
                  <a:gd name="connsiteX33" fmla="*/ 1016000 w 1231967"/>
                  <a:gd name="connsiteY33" fmla="*/ 1657350 h 3277163"/>
                  <a:gd name="connsiteX34" fmla="*/ 1060450 w 1231967"/>
                  <a:gd name="connsiteY34" fmla="*/ 1720850 h 3277163"/>
                  <a:gd name="connsiteX35" fmla="*/ 1079500 w 1231967"/>
                  <a:gd name="connsiteY35" fmla="*/ 1809750 h 3277163"/>
                  <a:gd name="connsiteX36" fmla="*/ 1122363 w 1231967"/>
                  <a:gd name="connsiteY36" fmla="*/ 1910557 h 3277163"/>
                  <a:gd name="connsiteX37" fmla="*/ 1136650 w 1231967"/>
                  <a:gd name="connsiteY37" fmla="*/ 1981200 h 3277163"/>
                  <a:gd name="connsiteX38" fmla="*/ 1168400 w 1231967"/>
                  <a:gd name="connsiteY38" fmla="*/ 2044700 h 3277163"/>
                  <a:gd name="connsiteX39" fmla="*/ 1231900 w 1231967"/>
                  <a:gd name="connsiteY39" fmla="*/ 2095500 h 3277163"/>
                  <a:gd name="connsiteX40" fmla="*/ 1193800 w 1231967"/>
                  <a:gd name="connsiteY40" fmla="*/ 2139950 h 3277163"/>
                  <a:gd name="connsiteX41" fmla="*/ 1187450 w 1231967"/>
                  <a:gd name="connsiteY41" fmla="*/ 2190750 h 3277163"/>
                  <a:gd name="connsiteX42" fmla="*/ 1187450 w 1231967"/>
                  <a:gd name="connsiteY42" fmla="*/ 2241550 h 3277163"/>
                  <a:gd name="connsiteX43" fmla="*/ 1206500 w 1231967"/>
                  <a:gd name="connsiteY43" fmla="*/ 2273300 h 3277163"/>
                  <a:gd name="connsiteX44" fmla="*/ 1187450 w 1231967"/>
                  <a:gd name="connsiteY44" fmla="*/ 2305050 h 3277163"/>
                  <a:gd name="connsiteX45" fmla="*/ 1206500 w 1231967"/>
                  <a:gd name="connsiteY45" fmla="*/ 2368550 h 3277163"/>
                  <a:gd name="connsiteX46" fmla="*/ 1149350 w 1231967"/>
                  <a:gd name="connsiteY46" fmla="*/ 2527300 h 3277163"/>
                  <a:gd name="connsiteX47" fmla="*/ 1104900 w 1231967"/>
                  <a:gd name="connsiteY47" fmla="*/ 2565400 h 3277163"/>
                  <a:gd name="connsiteX48" fmla="*/ 1073150 w 1231967"/>
                  <a:gd name="connsiteY48" fmla="*/ 2597150 h 3277163"/>
                  <a:gd name="connsiteX49" fmla="*/ 996950 w 1231967"/>
                  <a:gd name="connsiteY49" fmla="*/ 2616200 h 3277163"/>
                  <a:gd name="connsiteX50" fmla="*/ 958850 w 1231967"/>
                  <a:gd name="connsiteY50" fmla="*/ 2679700 h 3277163"/>
                  <a:gd name="connsiteX51" fmla="*/ 831850 w 1231967"/>
                  <a:gd name="connsiteY51" fmla="*/ 2762250 h 3277163"/>
                  <a:gd name="connsiteX52" fmla="*/ 723900 w 1231967"/>
                  <a:gd name="connsiteY52" fmla="*/ 2736850 h 3277163"/>
                  <a:gd name="connsiteX53" fmla="*/ 647700 w 1231967"/>
                  <a:gd name="connsiteY53" fmla="*/ 2730500 h 3277163"/>
                  <a:gd name="connsiteX54" fmla="*/ 565150 w 1231967"/>
                  <a:gd name="connsiteY54" fmla="*/ 2736850 h 3277163"/>
                  <a:gd name="connsiteX55" fmla="*/ 482600 w 1231967"/>
                  <a:gd name="connsiteY55" fmla="*/ 2844800 h 3277163"/>
                  <a:gd name="connsiteX56" fmla="*/ 431800 w 1231967"/>
                  <a:gd name="connsiteY56" fmla="*/ 2908300 h 3277163"/>
                  <a:gd name="connsiteX57" fmla="*/ 361950 w 1231967"/>
                  <a:gd name="connsiteY57" fmla="*/ 2946400 h 3277163"/>
                  <a:gd name="connsiteX58" fmla="*/ 342900 w 1231967"/>
                  <a:gd name="connsiteY58" fmla="*/ 3022600 h 3277163"/>
                  <a:gd name="connsiteX59" fmla="*/ 242094 w 1231967"/>
                  <a:gd name="connsiteY59" fmla="*/ 3152775 h 3277163"/>
                  <a:gd name="connsiteX60" fmla="*/ 154781 w 1231967"/>
                  <a:gd name="connsiteY60" fmla="*/ 3273426 h 3277163"/>
                  <a:gd name="connsiteX0" fmla="*/ 6350 w 1231967"/>
                  <a:gd name="connsiteY0" fmla="*/ 0 h 3277163"/>
                  <a:gd name="connsiteX1" fmla="*/ 19050 w 1231967"/>
                  <a:gd name="connsiteY1" fmla="*/ 120650 h 3277163"/>
                  <a:gd name="connsiteX2" fmla="*/ 12700 w 1231967"/>
                  <a:gd name="connsiteY2" fmla="*/ 158750 h 3277163"/>
                  <a:gd name="connsiteX3" fmla="*/ 44450 w 1231967"/>
                  <a:gd name="connsiteY3" fmla="*/ 209550 h 3277163"/>
                  <a:gd name="connsiteX4" fmla="*/ 31750 w 1231967"/>
                  <a:gd name="connsiteY4" fmla="*/ 234950 h 3277163"/>
                  <a:gd name="connsiteX5" fmla="*/ 44450 w 1231967"/>
                  <a:gd name="connsiteY5" fmla="*/ 273050 h 3277163"/>
                  <a:gd name="connsiteX6" fmla="*/ 25400 w 1231967"/>
                  <a:gd name="connsiteY6" fmla="*/ 298450 h 3277163"/>
                  <a:gd name="connsiteX7" fmla="*/ 44450 w 1231967"/>
                  <a:gd name="connsiteY7" fmla="*/ 355600 h 3277163"/>
                  <a:gd name="connsiteX8" fmla="*/ 25400 w 1231967"/>
                  <a:gd name="connsiteY8" fmla="*/ 463550 h 3277163"/>
                  <a:gd name="connsiteX9" fmla="*/ 6350 w 1231967"/>
                  <a:gd name="connsiteY9" fmla="*/ 520700 h 3277163"/>
                  <a:gd name="connsiteX10" fmla="*/ 0 w 1231967"/>
                  <a:gd name="connsiteY10" fmla="*/ 603250 h 3277163"/>
                  <a:gd name="connsiteX11" fmla="*/ 44450 w 1231967"/>
                  <a:gd name="connsiteY11" fmla="*/ 647700 h 3277163"/>
                  <a:gd name="connsiteX12" fmla="*/ 57150 w 1231967"/>
                  <a:gd name="connsiteY12" fmla="*/ 704850 h 3277163"/>
                  <a:gd name="connsiteX13" fmla="*/ 114300 w 1231967"/>
                  <a:gd name="connsiteY13" fmla="*/ 749300 h 3277163"/>
                  <a:gd name="connsiteX14" fmla="*/ 164306 w 1231967"/>
                  <a:gd name="connsiteY14" fmla="*/ 763587 h 3277163"/>
                  <a:gd name="connsiteX15" fmla="*/ 234950 w 1231967"/>
                  <a:gd name="connsiteY15" fmla="*/ 806450 h 3277163"/>
                  <a:gd name="connsiteX16" fmla="*/ 222250 w 1231967"/>
                  <a:gd name="connsiteY16" fmla="*/ 857250 h 3277163"/>
                  <a:gd name="connsiteX17" fmla="*/ 266700 w 1231967"/>
                  <a:gd name="connsiteY17" fmla="*/ 901700 h 3277163"/>
                  <a:gd name="connsiteX18" fmla="*/ 369888 w 1231967"/>
                  <a:gd name="connsiteY18" fmla="*/ 981869 h 3277163"/>
                  <a:gd name="connsiteX19" fmla="*/ 419100 w 1231967"/>
                  <a:gd name="connsiteY19" fmla="*/ 1028700 h 3277163"/>
                  <a:gd name="connsiteX20" fmla="*/ 457200 w 1231967"/>
                  <a:gd name="connsiteY20" fmla="*/ 1098550 h 3277163"/>
                  <a:gd name="connsiteX21" fmla="*/ 558800 w 1231967"/>
                  <a:gd name="connsiteY21" fmla="*/ 1143000 h 3277163"/>
                  <a:gd name="connsiteX22" fmla="*/ 603250 w 1231967"/>
                  <a:gd name="connsiteY22" fmla="*/ 1162050 h 3277163"/>
                  <a:gd name="connsiteX23" fmla="*/ 628650 w 1231967"/>
                  <a:gd name="connsiteY23" fmla="*/ 1212850 h 3277163"/>
                  <a:gd name="connsiteX24" fmla="*/ 704850 w 1231967"/>
                  <a:gd name="connsiteY24" fmla="*/ 1212850 h 3277163"/>
                  <a:gd name="connsiteX25" fmla="*/ 722313 w 1231967"/>
                  <a:gd name="connsiteY25" fmla="*/ 1239045 h 3277163"/>
                  <a:gd name="connsiteX26" fmla="*/ 758031 w 1231967"/>
                  <a:gd name="connsiteY26" fmla="*/ 1255714 h 3277163"/>
                  <a:gd name="connsiteX27" fmla="*/ 781843 w 1231967"/>
                  <a:gd name="connsiteY27" fmla="*/ 1304925 h 3277163"/>
                  <a:gd name="connsiteX28" fmla="*/ 819150 w 1231967"/>
                  <a:gd name="connsiteY28" fmla="*/ 1352550 h 3277163"/>
                  <a:gd name="connsiteX29" fmla="*/ 860425 w 1231967"/>
                  <a:gd name="connsiteY29" fmla="*/ 1386682 h 3277163"/>
                  <a:gd name="connsiteX30" fmla="*/ 908844 w 1231967"/>
                  <a:gd name="connsiteY30" fmla="*/ 1406525 h 3277163"/>
                  <a:gd name="connsiteX31" fmla="*/ 946150 w 1231967"/>
                  <a:gd name="connsiteY31" fmla="*/ 1460500 h 3277163"/>
                  <a:gd name="connsiteX32" fmla="*/ 1022350 w 1231967"/>
                  <a:gd name="connsiteY32" fmla="*/ 1612900 h 3277163"/>
                  <a:gd name="connsiteX33" fmla="*/ 1016000 w 1231967"/>
                  <a:gd name="connsiteY33" fmla="*/ 1657350 h 3277163"/>
                  <a:gd name="connsiteX34" fmla="*/ 1060450 w 1231967"/>
                  <a:gd name="connsiteY34" fmla="*/ 1720850 h 3277163"/>
                  <a:gd name="connsiteX35" fmla="*/ 1079500 w 1231967"/>
                  <a:gd name="connsiteY35" fmla="*/ 1809750 h 3277163"/>
                  <a:gd name="connsiteX36" fmla="*/ 1122363 w 1231967"/>
                  <a:gd name="connsiteY36" fmla="*/ 1910557 h 3277163"/>
                  <a:gd name="connsiteX37" fmla="*/ 1136650 w 1231967"/>
                  <a:gd name="connsiteY37" fmla="*/ 1981200 h 3277163"/>
                  <a:gd name="connsiteX38" fmla="*/ 1168400 w 1231967"/>
                  <a:gd name="connsiteY38" fmla="*/ 2044700 h 3277163"/>
                  <a:gd name="connsiteX39" fmla="*/ 1231900 w 1231967"/>
                  <a:gd name="connsiteY39" fmla="*/ 2095500 h 3277163"/>
                  <a:gd name="connsiteX40" fmla="*/ 1193800 w 1231967"/>
                  <a:gd name="connsiteY40" fmla="*/ 2139950 h 3277163"/>
                  <a:gd name="connsiteX41" fmla="*/ 1187450 w 1231967"/>
                  <a:gd name="connsiteY41" fmla="*/ 2190750 h 3277163"/>
                  <a:gd name="connsiteX42" fmla="*/ 1187450 w 1231967"/>
                  <a:gd name="connsiteY42" fmla="*/ 2241550 h 3277163"/>
                  <a:gd name="connsiteX43" fmla="*/ 1206500 w 1231967"/>
                  <a:gd name="connsiteY43" fmla="*/ 2273300 h 3277163"/>
                  <a:gd name="connsiteX44" fmla="*/ 1187450 w 1231967"/>
                  <a:gd name="connsiteY44" fmla="*/ 2305050 h 3277163"/>
                  <a:gd name="connsiteX45" fmla="*/ 1206500 w 1231967"/>
                  <a:gd name="connsiteY45" fmla="*/ 2368550 h 3277163"/>
                  <a:gd name="connsiteX46" fmla="*/ 1149350 w 1231967"/>
                  <a:gd name="connsiteY46" fmla="*/ 2527300 h 3277163"/>
                  <a:gd name="connsiteX47" fmla="*/ 1104900 w 1231967"/>
                  <a:gd name="connsiteY47" fmla="*/ 2565400 h 3277163"/>
                  <a:gd name="connsiteX48" fmla="*/ 1073150 w 1231967"/>
                  <a:gd name="connsiteY48" fmla="*/ 2597150 h 3277163"/>
                  <a:gd name="connsiteX49" fmla="*/ 996950 w 1231967"/>
                  <a:gd name="connsiteY49" fmla="*/ 2616200 h 3277163"/>
                  <a:gd name="connsiteX50" fmla="*/ 958850 w 1231967"/>
                  <a:gd name="connsiteY50" fmla="*/ 2679700 h 3277163"/>
                  <a:gd name="connsiteX51" fmla="*/ 831850 w 1231967"/>
                  <a:gd name="connsiteY51" fmla="*/ 2762250 h 3277163"/>
                  <a:gd name="connsiteX52" fmla="*/ 723900 w 1231967"/>
                  <a:gd name="connsiteY52" fmla="*/ 2736850 h 3277163"/>
                  <a:gd name="connsiteX53" fmla="*/ 647700 w 1231967"/>
                  <a:gd name="connsiteY53" fmla="*/ 2730500 h 3277163"/>
                  <a:gd name="connsiteX54" fmla="*/ 565150 w 1231967"/>
                  <a:gd name="connsiteY54" fmla="*/ 2736850 h 3277163"/>
                  <a:gd name="connsiteX55" fmla="*/ 482600 w 1231967"/>
                  <a:gd name="connsiteY55" fmla="*/ 2844800 h 3277163"/>
                  <a:gd name="connsiteX56" fmla="*/ 431800 w 1231967"/>
                  <a:gd name="connsiteY56" fmla="*/ 2908300 h 3277163"/>
                  <a:gd name="connsiteX57" fmla="*/ 361950 w 1231967"/>
                  <a:gd name="connsiteY57" fmla="*/ 2946400 h 3277163"/>
                  <a:gd name="connsiteX58" fmla="*/ 342900 w 1231967"/>
                  <a:gd name="connsiteY58" fmla="*/ 3022600 h 3277163"/>
                  <a:gd name="connsiteX59" fmla="*/ 242094 w 1231967"/>
                  <a:gd name="connsiteY59" fmla="*/ 3152775 h 3277163"/>
                  <a:gd name="connsiteX60" fmla="*/ 154781 w 1231967"/>
                  <a:gd name="connsiteY60" fmla="*/ 3273426 h 3277163"/>
                  <a:gd name="connsiteX0" fmla="*/ 6350 w 1231967"/>
                  <a:gd name="connsiteY0" fmla="*/ 0 h 3277163"/>
                  <a:gd name="connsiteX1" fmla="*/ 19050 w 1231967"/>
                  <a:gd name="connsiteY1" fmla="*/ 120650 h 3277163"/>
                  <a:gd name="connsiteX2" fmla="*/ 12700 w 1231967"/>
                  <a:gd name="connsiteY2" fmla="*/ 158750 h 3277163"/>
                  <a:gd name="connsiteX3" fmla="*/ 44450 w 1231967"/>
                  <a:gd name="connsiteY3" fmla="*/ 209550 h 3277163"/>
                  <a:gd name="connsiteX4" fmla="*/ 31750 w 1231967"/>
                  <a:gd name="connsiteY4" fmla="*/ 234950 h 3277163"/>
                  <a:gd name="connsiteX5" fmla="*/ 44450 w 1231967"/>
                  <a:gd name="connsiteY5" fmla="*/ 273050 h 3277163"/>
                  <a:gd name="connsiteX6" fmla="*/ 25400 w 1231967"/>
                  <a:gd name="connsiteY6" fmla="*/ 298450 h 3277163"/>
                  <a:gd name="connsiteX7" fmla="*/ 44450 w 1231967"/>
                  <a:gd name="connsiteY7" fmla="*/ 355600 h 3277163"/>
                  <a:gd name="connsiteX8" fmla="*/ 25400 w 1231967"/>
                  <a:gd name="connsiteY8" fmla="*/ 463550 h 3277163"/>
                  <a:gd name="connsiteX9" fmla="*/ 6350 w 1231967"/>
                  <a:gd name="connsiteY9" fmla="*/ 520700 h 3277163"/>
                  <a:gd name="connsiteX10" fmla="*/ 0 w 1231967"/>
                  <a:gd name="connsiteY10" fmla="*/ 603250 h 3277163"/>
                  <a:gd name="connsiteX11" fmla="*/ 44450 w 1231967"/>
                  <a:gd name="connsiteY11" fmla="*/ 647700 h 3277163"/>
                  <a:gd name="connsiteX12" fmla="*/ 57150 w 1231967"/>
                  <a:gd name="connsiteY12" fmla="*/ 704850 h 3277163"/>
                  <a:gd name="connsiteX13" fmla="*/ 114300 w 1231967"/>
                  <a:gd name="connsiteY13" fmla="*/ 749300 h 3277163"/>
                  <a:gd name="connsiteX14" fmla="*/ 164306 w 1231967"/>
                  <a:gd name="connsiteY14" fmla="*/ 763587 h 3277163"/>
                  <a:gd name="connsiteX15" fmla="*/ 234950 w 1231967"/>
                  <a:gd name="connsiteY15" fmla="*/ 806450 h 3277163"/>
                  <a:gd name="connsiteX16" fmla="*/ 222250 w 1231967"/>
                  <a:gd name="connsiteY16" fmla="*/ 857250 h 3277163"/>
                  <a:gd name="connsiteX17" fmla="*/ 266700 w 1231967"/>
                  <a:gd name="connsiteY17" fmla="*/ 901700 h 3277163"/>
                  <a:gd name="connsiteX18" fmla="*/ 369888 w 1231967"/>
                  <a:gd name="connsiteY18" fmla="*/ 981869 h 3277163"/>
                  <a:gd name="connsiteX19" fmla="*/ 419100 w 1231967"/>
                  <a:gd name="connsiteY19" fmla="*/ 1028700 h 3277163"/>
                  <a:gd name="connsiteX20" fmla="*/ 457200 w 1231967"/>
                  <a:gd name="connsiteY20" fmla="*/ 1098550 h 3277163"/>
                  <a:gd name="connsiteX21" fmla="*/ 558800 w 1231967"/>
                  <a:gd name="connsiteY21" fmla="*/ 1143000 h 3277163"/>
                  <a:gd name="connsiteX22" fmla="*/ 603250 w 1231967"/>
                  <a:gd name="connsiteY22" fmla="*/ 1162050 h 3277163"/>
                  <a:gd name="connsiteX23" fmla="*/ 628650 w 1231967"/>
                  <a:gd name="connsiteY23" fmla="*/ 1212850 h 3277163"/>
                  <a:gd name="connsiteX24" fmla="*/ 704850 w 1231967"/>
                  <a:gd name="connsiteY24" fmla="*/ 1212850 h 3277163"/>
                  <a:gd name="connsiteX25" fmla="*/ 722313 w 1231967"/>
                  <a:gd name="connsiteY25" fmla="*/ 1239045 h 3277163"/>
                  <a:gd name="connsiteX26" fmla="*/ 758031 w 1231967"/>
                  <a:gd name="connsiteY26" fmla="*/ 1255714 h 3277163"/>
                  <a:gd name="connsiteX27" fmla="*/ 781843 w 1231967"/>
                  <a:gd name="connsiteY27" fmla="*/ 1304925 h 3277163"/>
                  <a:gd name="connsiteX28" fmla="*/ 819150 w 1231967"/>
                  <a:gd name="connsiteY28" fmla="*/ 1352550 h 3277163"/>
                  <a:gd name="connsiteX29" fmla="*/ 860425 w 1231967"/>
                  <a:gd name="connsiteY29" fmla="*/ 1386682 h 3277163"/>
                  <a:gd name="connsiteX30" fmla="*/ 908844 w 1231967"/>
                  <a:gd name="connsiteY30" fmla="*/ 1406525 h 3277163"/>
                  <a:gd name="connsiteX31" fmla="*/ 946150 w 1231967"/>
                  <a:gd name="connsiteY31" fmla="*/ 1460500 h 3277163"/>
                  <a:gd name="connsiteX32" fmla="*/ 1022350 w 1231967"/>
                  <a:gd name="connsiteY32" fmla="*/ 1612900 h 3277163"/>
                  <a:gd name="connsiteX33" fmla="*/ 1016000 w 1231967"/>
                  <a:gd name="connsiteY33" fmla="*/ 1657350 h 3277163"/>
                  <a:gd name="connsiteX34" fmla="*/ 1060450 w 1231967"/>
                  <a:gd name="connsiteY34" fmla="*/ 1720850 h 3277163"/>
                  <a:gd name="connsiteX35" fmla="*/ 1079500 w 1231967"/>
                  <a:gd name="connsiteY35" fmla="*/ 1809750 h 3277163"/>
                  <a:gd name="connsiteX36" fmla="*/ 1122363 w 1231967"/>
                  <a:gd name="connsiteY36" fmla="*/ 1910557 h 3277163"/>
                  <a:gd name="connsiteX37" fmla="*/ 1136650 w 1231967"/>
                  <a:gd name="connsiteY37" fmla="*/ 1981200 h 3277163"/>
                  <a:gd name="connsiteX38" fmla="*/ 1168400 w 1231967"/>
                  <a:gd name="connsiteY38" fmla="*/ 2044700 h 3277163"/>
                  <a:gd name="connsiteX39" fmla="*/ 1231900 w 1231967"/>
                  <a:gd name="connsiteY39" fmla="*/ 2095500 h 3277163"/>
                  <a:gd name="connsiteX40" fmla="*/ 1193800 w 1231967"/>
                  <a:gd name="connsiteY40" fmla="*/ 2139950 h 3277163"/>
                  <a:gd name="connsiteX41" fmla="*/ 1187450 w 1231967"/>
                  <a:gd name="connsiteY41" fmla="*/ 2190750 h 3277163"/>
                  <a:gd name="connsiteX42" fmla="*/ 1187450 w 1231967"/>
                  <a:gd name="connsiteY42" fmla="*/ 2241550 h 3277163"/>
                  <a:gd name="connsiteX43" fmla="*/ 1206500 w 1231967"/>
                  <a:gd name="connsiteY43" fmla="*/ 2273300 h 3277163"/>
                  <a:gd name="connsiteX44" fmla="*/ 1187450 w 1231967"/>
                  <a:gd name="connsiteY44" fmla="*/ 2305050 h 3277163"/>
                  <a:gd name="connsiteX45" fmla="*/ 1206500 w 1231967"/>
                  <a:gd name="connsiteY45" fmla="*/ 2368550 h 3277163"/>
                  <a:gd name="connsiteX46" fmla="*/ 1149350 w 1231967"/>
                  <a:gd name="connsiteY46" fmla="*/ 2527300 h 3277163"/>
                  <a:gd name="connsiteX47" fmla="*/ 1104900 w 1231967"/>
                  <a:gd name="connsiteY47" fmla="*/ 2565400 h 3277163"/>
                  <a:gd name="connsiteX48" fmla="*/ 1073150 w 1231967"/>
                  <a:gd name="connsiteY48" fmla="*/ 2597150 h 3277163"/>
                  <a:gd name="connsiteX49" fmla="*/ 996950 w 1231967"/>
                  <a:gd name="connsiteY49" fmla="*/ 2616200 h 3277163"/>
                  <a:gd name="connsiteX50" fmla="*/ 958850 w 1231967"/>
                  <a:gd name="connsiteY50" fmla="*/ 2679700 h 3277163"/>
                  <a:gd name="connsiteX51" fmla="*/ 831850 w 1231967"/>
                  <a:gd name="connsiteY51" fmla="*/ 2762250 h 3277163"/>
                  <a:gd name="connsiteX52" fmla="*/ 723900 w 1231967"/>
                  <a:gd name="connsiteY52" fmla="*/ 2736850 h 3277163"/>
                  <a:gd name="connsiteX53" fmla="*/ 647700 w 1231967"/>
                  <a:gd name="connsiteY53" fmla="*/ 2730500 h 3277163"/>
                  <a:gd name="connsiteX54" fmla="*/ 565150 w 1231967"/>
                  <a:gd name="connsiteY54" fmla="*/ 2736850 h 3277163"/>
                  <a:gd name="connsiteX55" fmla="*/ 482600 w 1231967"/>
                  <a:gd name="connsiteY55" fmla="*/ 2844800 h 3277163"/>
                  <a:gd name="connsiteX56" fmla="*/ 431800 w 1231967"/>
                  <a:gd name="connsiteY56" fmla="*/ 2908300 h 3277163"/>
                  <a:gd name="connsiteX57" fmla="*/ 361950 w 1231967"/>
                  <a:gd name="connsiteY57" fmla="*/ 2946400 h 3277163"/>
                  <a:gd name="connsiteX58" fmla="*/ 342900 w 1231967"/>
                  <a:gd name="connsiteY58" fmla="*/ 3022600 h 3277163"/>
                  <a:gd name="connsiteX59" fmla="*/ 242094 w 1231967"/>
                  <a:gd name="connsiteY59" fmla="*/ 3152775 h 3277163"/>
                  <a:gd name="connsiteX60" fmla="*/ 154781 w 1231967"/>
                  <a:gd name="connsiteY60" fmla="*/ 3273426 h 3277163"/>
                  <a:gd name="connsiteX0" fmla="*/ 11906 w 1237523"/>
                  <a:gd name="connsiteY0" fmla="*/ 0 h 3277163"/>
                  <a:gd name="connsiteX1" fmla="*/ 24606 w 1237523"/>
                  <a:gd name="connsiteY1" fmla="*/ 120650 h 3277163"/>
                  <a:gd name="connsiteX2" fmla="*/ 18256 w 1237523"/>
                  <a:gd name="connsiteY2" fmla="*/ 158750 h 3277163"/>
                  <a:gd name="connsiteX3" fmla="*/ 50006 w 1237523"/>
                  <a:gd name="connsiteY3" fmla="*/ 209550 h 3277163"/>
                  <a:gd name="connsiteX4" fmla="*/ 37306 w 1237523"/>
                  <a:gd name="connsiteY4" fmla="*/ 234950 h 3277163"/>
                  <a:gd name="connsiteX5" fmla="*/ 50006 w 1237523"/>
                  <a:gd name="connsiteY5" fmla="*/ 273050 h 3277163"/>
                  <a:gd name="connsiteX6" fmla="*/ 30956 w 1237523"/>
                  <a:gd name="connsiteY6" fmla="*/ 298450 h 3277163"/>
                  <a:gd name="connsiteX7" fmla="*/ 50006 w 1237523"/>
                  <a:gd name="connsiteY7" fmla="*/ 355600 h 3277163"/>
                  <a:gd name="connsiteX8" fmla="*/ 30956 w 1237523"/>
                  <a:gd name="connsiteY8" fmla="*/ 463550 h 3277163"/>
                  <a:gd name="connsiteX9" fmla="*/ 0 w 1237523"/>
                  <a:gd name="connsiteY9" fmla="*/ 525462 h 3277163"/>
                  <a:gd name="connsiteX10" fmla="*/ 5556 w 1237523"/>
                  <a:gd name="connsiteY10" fmla="*/ 603250 h 3277163"/>
                  <a:gd name="connsiteX11" fmla="*/ 50006 w 1237523"/>
                  <a:gd name="connsiteY11" fmla="*/ 647700 h 3277163"/>
                  <a:gd name="connsiteX12" fmla="*/ 62706 w 1237523"/>
                  <a:gd name="connsiteY12" fmla="*/ 704850 h 3277163"/>
                  <a:gd name="connsiteX13" fmla="*/ 119856 w 1237523"/>
                  <a:gd name="connsiteY13" fmla="*/ 749300 h 3277163"/>
                  <a:gd name="connsiteX14" fmla="*/ 169862 w 1237523"/>
                  <a:gd name="connsiteY14" fmla="*/ 763587 h 3277163"/>
                  <a:gd name="connsiteX15" fmla="*/ 240506 w 1237523"/>
                  <a:gd name="connsiteY15" fmla="*/ 806450 h 3277163"/>
                  <a:gd name="connsiteX16" fmla="*/ 227806 w 1237523"/>
                  <a:gd name="connsiteY16" fmla="*/ 857250 h 3277163"/>
                  <a:gd name="connsiteX17" fmla="*/ 272256 w 1237523"/>
                  <a:gd name="connsiteY17" fmla="*/ 901700 h 3277163"/>
                  <a:gd name="connsiteX18" fmla="*/ 375444 w 1237523"/>
                  <a:gd name="connsiteY18" fmla="*/ 981869 h 3277163"/>
                  <a:gd name="connsiteX19" fmla="*/ 424656 w 1237523"/>
                  <a:gd name="connsiteY19" fmla="*/ 1028700 h 3277163"/>
                  <a:gd name="connsiteX20" fmla="*/ 462756 w 1237523"/>
                  <a:gd name="connsiteY20" fmla="*/ 1098550 h 3277163"/>
                  <a:gd name="connsiteX21" fmla="*/ 564356 w 1237523"/>
                  <a:gd name="connsiteY21" fmla="*/ 1143000 h 3277163"/>
                  <a:gd name="connsiteX22" fmla="*/ 608806 w 1237523"/>
                  <a:gd name="connsiteY22" fmla="*/ 1162050 h 3277163"/>
                  <a:gd name="connsiteX23" fmla="*/ 634206 w 1237523"/>
                  <a:gd name="connsiteY23" fmla="*/ 1212850 h 3277163"/>
                  <a:gd name="connsiteX24" fmla="*/ 710406 w 1237523"/>
                  <a:gd name="connsiteY24" fmla="*/ 1212850 h 3277163"/>
                  <a:gd name="connsiteX25" fmla="*/ 727869 w 1237523"/>
                  <a:gd name="connsiteY25" fmla="*/ 1239045 h 3277163"/>
                  <a:gd name="connsiteX26" fmla="*/ 763587 w 1237523"/>
                  <a:gd name="connsiteY26" fmla="*/ 1255714 h 3277163"/>
                  <a:gd name="connsiteX27" fmla="*/ 787399 w 1237523"/>
                  <a:gd name="connsiteY27" fmla="*/ 1304925 h 3277163"/>
                  <a:gd name="connsiteX28" fmla="*/ 824706 w 1237523"/>
                  <a:gd name="connsiteY28" fmla="*/ 1352550 h 3277163"/>
                  <a:gd name="connsiteX29" fmla="*/ 865981 w 1237523"/>
                  <a:gd name="connsiteY29" fmla="*/ 1386682 h 3277163"/>
                  <a:gd name="connsiteX30" fmla="*/ 914400 w 1237523"/>
                  <a:gd name="connsiteY30" fmla="*/ 1406525 h 3277163"/>
                  <a:gd name="connsiteX31" fmla="*/ 951706 w 1237523"/>
                  <a:gd name="connsiteY31" fmla="*/ 1460500 h 3277163"/>
                  <a:gd name="connsiteX32" fmla="*/ 1027906 w 1237523"/>
                  <a:gd name="connsiteY32" fmla="*/ 1612900 h 3277163"/>
                  <a:gd name="connsiteX33" fmla="*/ 1021556 w 1237523"/>
                  <a:gd name="connsiteY33" fmla="*/ 1657350 h 3277163"/>
                  <a:gd name="connsiteX34" fmla="*/ 1066006 w 1237523"/>
                  <a:gd name="connsiteY34" fmla="*/ 1720850 h 3277163"/>
                  <a:gd name="connsiteX35" fmla="*/ 1085056 w 1237523"/>
                  <a:gd name="connsiteY35" fmla="*/ 1809750 h 3277163"/>
                  <a:gd name="connsiteX36" fmla="*/ 1127919 w 1237523"/>
                  <a:gd name="connsiteY36" fmla="*/ 1910557 h 3277163"/>
                  <a:gd name="connsiteX37" fmla="*/ 1142206 w 1237523"/>
                  <a:gd name="connsiteY37" fmla="*/ 1981200 h 3277163"/>
                  <a:gd name="connsiteX38" fmla="*/ 1173956 w 1237523"/>
                  <a:gd name="connsiteY38" fmla="*/ 2044700 h 3277163"/>
                  <a:gd name="connsiteX39" fmla="*/ 1237456 w 1237523"/>
                  <a:gd name="connsiteY39" fmla="*/ 2095500 h 3277163"/>
                  <a:gd name="connsiteX40" fmla="*/ 1199356 w 1237523"/>
                  <a:gd name="connsiteY40" fmla="*/ 2139950 h 3277163"/>
                  <a:gd name="connsiteX41" fmla="*/ 1193006 w 1237523"/>
                  <a:gd name="connsiteY41" fmla="*/ 2190750 h 3277163"/>
                  <a:gd name="connsiteX42" fmla="*/ 1193006 w 1237523"/>
                  <a:gd name="connsiteY42" fmla="*/ 2241550 h 3277163"/>
                  <a:gd name="connsiteX43" fmla="*/ 1212056 w 1237523"/>
                  <a:gd name="connsiteY43" fmla="*/ 2273300 h 3277163"/>
                  <a:gd name="connsiteX44" fmla="*/ 1193006 w 1237523"/>
                  <a:gd name="connsiteY44" fmla="*/ 2305050 h 3277163"/>
                  <a:gd name="connsiteX45" fmla="*/ 1212056 w 1237523"/>
                  <a:gd name="connsiteY45" fmla="*/ 2368550 h 3277163"/>
                  <a:gd name="connsiteX46" fmla="*/ 1154906 w 1237523"/>
                  <a:gd name="connsiteY46" fmla="*/ 2527300 h 3277163"/>
                  <a:gd name="connsiteX47" fmla="*/ 1110456 w 1237523"/>
                  <a:gd name="connsiteY47" fmla="*/ 2565400 h 3277163"/>
                  <a:gd name="connsiteX48" fmla="*/ 1078706 w 1237523"/>
                  <a:gd name="connsiteY48" fmla="*/ 2597150 h 3277163"/>
                  <a:gd name="connsiteX49" fmla="*/ 1002506 w 1237523"/>
                  <a:gd name="connsiteY49" fmla="*/ 2616200 h 3277163"/>
                  <a:gd name="connsiteX50" fmla="*/ 964406 w 1237523"/>
                  <a:gd name="connsiteY50" fmla="*/ 2679700 h 3277163"/>
                  <a:gd name="connsiteX51" fmla="*/ 837406 w 1237523"/>
                  <a:gd name="connsiteY51" fmla="*/ 2762250 h 3277163"/>
                  <a:gd name="connsiteX52" fmla="*/ 729456 w 1237523"/>
                  <a:gd name="connsiteY52" fmla="*/ 2736850 h 3277163"/>
                  <a:gd name="connsiteX53" fmla="*/ 653256 w 1237523"/>
                  <a:gd name="connsiteY53" fmla="*/ 2730500 h 3277163"/>
                  <a:gd name="connsiteX54" fmla="*/ 570706 w 1237523"/>
                  <a:gd name="connsiteY54" fmla="*/ 2736850 h 3277163"/>
                  <a:gd name="connsiteX55" fmla="*/ 488156 w 1237523"/>
                  <a:gd name="connsiteY55" fmla="*/ 2844800 h 3277163"/>
                  <a:gd name="connsiteX56" fmla="*/ 437356 w 1237523"/>
                  <a:gd name="connsiteY56" fmla="*/ 2908300 h 3277163"/>
                  <a:gd name="connsiteX57" fmla="*/ 367506 w 1237523"/>
                  <a:gd name="connsiteY57" fmla="*/ 2946400 h 3277163"/>
                  <a:gd name="connsiteX58" fmla="*/ 348456 w 1237523"/>
                  <a:gd name="connsiteY58" fmla="*/ 3022600 h 3277163"/>
                  <a:gd name="connsiteX59" fmla="*/ 247650 w 1237523"/>
                  <a:gd name="connsiteY59" fmla="*/ 3152775 h 3277163"/>
                  <a:gd name="connsiteX60" fmla="*/ 160337 w 1237523"/>
                  <a:gd name="connsiteY60" fmla="*/ 3273426 h 3277163"/>
                  <a:gd name="connsiteX0" fmla="*/ 11906 w 1237523"/>
                  <a:gd name="connsiteY0" fmla="*/ 0 h 3277163"/>
                  <a:gd name="connsiteX1" fmla="*/ 24606 w 1237523"/>
                  <a:gd name="connsiteY1" fmla="*/ 120650 h 3277163"/>
                  <a:gd name="connsiteX2" fmla="*/ 18256 w 1237523"/>
                  <a:gd name="connsiteY2" fmla="*/ 158750 h 3277163"/>
                  <a:gd name="connsiteX3" fmla="*/ 50006 w 1237523"/>
                  <a:gd name="connsiteY3" fmla="*/ 209550 h 3277163"/>
                  <a:gd name="connsiteX4" fmla="*/ 37306 w 1237523"/>
                  <a:gd name="connsiteY4" fmla="*/ 234950 h 3277163"/>
                  <a:gd name="connsiteX5" fmla="*/ 50006 w 1237523"/>
                  <a:gd name="connsiteY5" fmla="*/ 273050 h 3277163"/>
                  <a:gd name="connsiteX6" fmla="*/ 30956 w 1237523"/>
                  <a:gd name="connsiteY6" fmla="*/ 298450 h 3277163"/>
                  <a:gd name="connsiteX7" fmla="*/ 50006 w 1237523"/>
                  <a:gd name="connsiteY7" fmla="*/ 355600 h 3277163"/>
                  <a:gd name="connsiteX8" fmla="*/ 30956 w 1237523"/>
                  <a:gd name="connsiteY8" fmla="*/ 463550 h 3277163"/>
                  <a:gd name="connsiteX9" fmla="*/ 0 w 1237523"/>
                  <a:gd name="connsiteY9" fmla="*/ 525462 h 3277163"/>
                  <a:gd name="connsiteX10" fmla="*/ 5556 w 1237523"/>
                  <a:gd name="connsiteY10" fmla="*/ 603250 h 3277163"/>
                  <a:gd name="connsiteX11" fmla="*/ 50006 w 1237523"/>
                  <a:gd name="connsiteY11" fmla="*/ 647700 h 3277163"/>
                  <a:gd name="connsiteX12" fmla="*/ 62706 w 1237523"/>
                  <a:gd name="connsiteY12" fmla="*/ 704850 h 3277163"/>
                  <a:gd name="connsiteX13" fmla="*/ 119856 w 1237523"/>
                  <a:gd name="connsiteY13" fmla="*/ 749300 h 3277163"/>
                  <a:gd name="connsiteX14" fmla="*/ 169862 w 1237523"/>
                  <a:gd name="connsiteY14" fmla="*/ 763587 h 3277163"/>
                  <a:gd name="connsiteX15" fmla="*/ 240506 w 1237523"/>
                  <a:gd name="connsiteY15" fmla="*/ 806450 h 3277163"/>
                  <a:gd name="connsiteX16" fmla="*/ 227806 w 1237523"/>
                  <a:gd name="connsiteY16" fmla="*/ 857250 h 3277163"/>
                  <a:gd name="connsiteX17" fmla="*/ 272256 w 1237523"/>
                  <a:gd name="connsiteY17" fmla="*/ 901700 h 3277163"/>
                  <a:gd name="connsiteX18" fmla="*/ 375444 w 1237523"/>
                  <a:gd name="connsiteY18" fmla="*/ 981869 h 3277163"/>
                  <a:gd name="connsiteX19" fmla="*/ 424656 w 1237523"/>
                  <a:gd name="connsiteY19" fmla="*/ 1028700 h 3277163"/>
                  <a:gd name="connsiteX20" fmla="*/ 462756 w 1237523"/>
                  <a:gd name="connsiteY20" fmla="*/ 1098550 h 3277163"/>
                  <a:gd name="connsiteX21" fmla="*/ 564356 w 1237523"/>
                  <a:gd name="connsiteY21" fmla="*/ 1143000 h 3277163"/>
                  <a:gd name="connsiteX22" fmla="*/ 608806 w 1237523"/>
                  <a:gd name="connsiteY22" fmla="*/ 1162050 h 3277163"/>
                  <a:gd name="connsiteX23" fmla="*/ 634206 w 1237523"/>
                  <a:gd name="connsiteY23" fmla="*/ 1212850 h 3277163"/>
                  <a:gd name="connsiteX24" fmla="*/ 710406 w 1237523"/>
                  <a:gd name="connsiteY24" fmla="*/ 1212850 h 3277163"/>
                  <a:gd name="connsiteX25" fmla="*/ 727869 w 1237523"/>
                  <a:gd name="connsiteY25" fmla="*/ 1239045 h 3277163"/>
                  <a:gd name="connsiteX26" fmla="*/ 763587 w 1237523"/>
                  <a:gd name="connsiteY26" fmla="*/ 1255714 h 3277163"/>
                  <a:gd name="connsiteX27" fmla="*/ 787399 w 1237523"/>
                  <a:gd name="connsiteY27" fmla="*/ 1304925 h 3277163"/>
                  <a:gd name="connsiteX28" fmla="*/ 824706 w 1237523"/>
                  <a:gd name="connsiteY28" fmla="*/ 1352550 h 3277163"/>
                  <a:gd name="connsiteX29" fmla="*/ 865981 w 1237523"/>
                  <a:gd name="connsiteY29" fmla="*/ 1386682 h 3277163"/>
                  <a:gd name="connsiteX30" fmla="*/ 914400 w 1237523"/>
                  <a:gd name="connsiteY30" fmla="*/ 1406525 h 3277163"/>
                  <a:gd name="connsiteX31" fmla="*/ 951706 w 1237523"/>
                  <a:gd name="connsiteY31" fmla="*/ 1460500 h 3277163"/>
                  <a:gd name="connsiteX32" fmla="*/ 1027906 w 1237523"/>
                  <a:gd name="connsiteY32" fmla="*/ 1612900 h 3277163"/>
                  <a:gd name="connsiteX33" fmla="*/ 1021556 w 1237523"/>
                  <a:gd name="connsiteY33" fmla="*/ 1657350 h 3277163"/>
                  <a:gd name="connsiteX34" fmla="*/ 1066006 w 1237523"/>
                  <a:gd name="connsiteY34" fmla="*/ 1720850 h 3277163"/>
                  <a:gd name="connsiteX35" fmla="*/ 1085056 w 1237523"/>
                  <a:gd name="connsiteY35" fmla="*/ 1809750 h 3277163"/>
                  <a:gd name="connsiteX36" fmla="*/ 1127919 w 1237523"/>
                  <a:gd name="connsiteY36" fmla="*/ 1910557 h 3277163"/>
                  <a:gd name="connsiteX37" fmla="*/ 1142206 w 1237523"/>
                  <a:gd name="connsiteY37" fmla="*/ 1981200 h 3277163"/>
                  <a:gd name="connsiteX38" fmla="*/ 1173956 w 1237523"/>
                  <a:gd name="connsiteY38" fmla="*/ 2044700 h 3277163"/>
                  <a:gd name="connsiteX39" fmla="*/ 1237456 w 1237523"/>
                  <a:gd name="connsiteY39" fmla="*/ 2095500 h 3277163"/>
                  <a:gd name="connsiteX40" fmla="*/ 1199356 w 1237523"/>
                  <a:gd name="connsiteY40" fmla="*/ 2139950 h 3277163"/>
                  <a:gd name="connsiteX41" fmla="*/ 1193006 w 1237523"/>
                  <a:gd name="connsiteY41" fmla="*/ 2190750 h 3277163"/>
                  <a:gd name="connsiteX42" fmla="*/ 1193006 w 1237523"/>
                  <a:gd name="connsiteY42" fmla="*/ 2241550 h 3277163"/>
                  <a:gd name="connsiteX43" fmla="*/ 1212056 w 1237523"/>
                  <a:gd name="connsiteY43" fmla="*/ 2273300 h 3277163"/>
                  <a:gd name="connsiteX44" fmla="*/ 1193006 w 1237523"/>
                  <a:gd name="connsiteY44" fmla="*/ 2305050 h 3277163"/>
                  <a:gd name="connsiteX45" fmla="*/ 1212056 w 1237523"/>
                  <a:gd name="connsiteY45" fmla="*/ 2368550 h 3277163"/>
                  <a:gd name="connsiteX46" fmla="*/ 1154906 w 1237523"/>
                  <a:gd name="connsiteY46" fmla="*/ 2527300 h 3277163"/>
                  <a:gd name="connsiteX47" fmla="*/ 1110456 w 1237523"/>
                  <a:gd name="connsiteY47" fmla="*/ 2565400 h 3277163"/>
                  <a:gd name="connsiteX48" fmla="*/ 1078706 w 1237523"/>
                  <a:gd name="connsiteY48" fmla="*/ 2597150 h 3277163"/>
                  <a:gd name="connsiteX49" fmla="*/ 1002506 w 1237523"/>
                  <a:gd name="connsiteY49" fmla="*/ 2616200 h 3277163"/>
                  <a:gd name="connsiteX50" fmla="*/ 964406 w 1237523"/>
                  <a:gd name="connsiteY50" fmla="*/ 2679700 h 3277163"/>
                  <a:gd name="connsiteX51" fmla="*/ 837406 w 1237523"/>
                  <a:gd name="connsiteY51" fmla="*/ 2762250 h 3277163"/>
                  <a:gd name="connsiteX52" fmla="*/ 729456 w 1237523"/>
                  <a:gd name="connsiteY52" fmla="*/ 2736850 h 3277163"/>
                  <a:gd name="connsiteX53" fmla="*/ 653256 w 1237523"/>
                  <a:gd name="connsiteY53" fmla="*/ 2730500 h 3277163"/>
                  <a:gd name="connsiteX54" fmla="*/ 570706 w 1237523"/>
                  <a:gd name="connsiteY54" fmla="*/ 2736850 h 3277163"/>
                  <a:gd name="connsiteX55" fmla="*/ 488156 w 1237523"/>
                  <a:gd name="connsiteY55" fmla="*/ 2844800 h 3277163"/>
                  <a:gd name="connsiteX56" fmla="*/ 437356 w 1237523"/>
                  <a:gd name="connsiteY56" fmla="*/ 2908300 h 3277163"/>
                  <a:gd name="connsiteX57" fmla="*/ 367506 w 1237523"/>
                  <a:gd name="connsiteY57" fmla="*/ 2946400 h 3277163"/>
                  <a:gd name="connsiteX58" fmla="*/ 348456 w 1237523"/>
                  <a:gd name="connsiteY58" fmla="*/ 3022600 h 3277163"/>
                  <a:gd name="connsiteX59" fmla="*/ 247650 w 1237523"/>
                  <a:gd name="connsiteY59" fmla="*/ 3152775 h 3277163"/>
                  <a:gd name="connsiteX60" fmla="*/ 160337 w 1237523"/>
                  <a:gd name="connsiteY60" fmla="*/ 3273426 h 3277163"/>
                  <a:gd name="connsiteX0" fmla="*/ 12796 w 1238413"/>
                  <a:gd name="connsiteY0" fmla="*/ 0 h 3277163"/>
                  <a:gd name="connsiteX1" fmla="*/ 25496 w 1238413"/>
                  <a:gd name="connsiteY1" fmla="*/ 120650 h 3277163"/>
                  <a:gd name="connsiteX2" fmla="*/ 19146 w 1238413"/>
                  <a:gd name="connsiteY2" fmla="*/ 158750 h 3277163"/>
                  <a:gd name="connsiteX3" fmla="*/ 50896 w 1238413"/>
                  <a:gd name="connsiteY3" fmla="*/ 209550 h 3277163"/>
                  <a:gd name="connsiteX4" fmla="*/ 38196 w 1238413"/>
                  <a:gd name="connsiteY4" fmla="*/ 234950 h 3277163"/>
                  <a:gd name="connsiteX5" fmla="*/ 50896 w 1238413"/>
                  <a:gd name="connsiteY5" fmla="*/ 273050 h 3277163"/>
                  <a:gd name="connsiteX6" fmla="*/ 31846 w 1238413"/>
                  <a:gd name="connsiteY6" fmla="*/ 298450 h 3277163"/>
                  <a:gd name="connsiteX7" fmla="*/ 50896 w 1238413"/>
                  <a:gd name="connsiteY7" fmla="*/ 355600 h 3277163"/>
                  <a:gd name="connsiteX8" fmla="*/ 31846 w 1238413"/>
                  <a:gd name="connsiteY8" fmla="*/ 463550 h 3277163"/>
                  <a:gd name="connsiteX9" fmla="*/ 890 w 1238413"/>
                  <a:gd name="connsiteY9" fmla="*/ 525462 h 3277163"/>
                  <a:gd name="connsiteX10" fmla="*/ 96 w 1238413"/>
                  <a:gd name="connsiteY10" fmla="*/ 546101 h 3277163"/>
                  <a:gd name="connsiteX11" fmla="*/ 6446 w 1238413"/>
                  <a:gd name="connsiteY11" fmla="*/ 603250 h 3277163"/>
                  <a:gd name="connsiteX12" fmla="*/ 50896 w 1238413"/>
                  <a:gd name="connsiteY12" fmla="*/ 647700 h 3277163"/>
                  <a:gd name="connsiteX13" fmla="*/ 63596 w 1238413"/>
                  <a:gd name="connsiteY13" fmla="*/ 704850 h 3277163"/>
                  <a:gd name="connsiteX14" fmla="*/ 120746 w 1238413"/>
                  <a:gd name="connsiteY14" fmla="*/ 749300 h 3277163"/>
                  <a:gd name="connsiteX15" fmla="*/ 170752 w 1238413"/>
                  <a:gd name="connsiteY15" fmla="*/ 763587 h 3277163"/>
                  <a:gd name="connsiteX16" fmla="*/ 241396 w 1238413"/>
                  <a:gd name="connsiteY16" fmla="*/ 806450 h 3277163"/>
                  <a:gd name="connsiteX17" fmla="*/ 228696 w 1238413"/>
                  <a:gd name="connsiteY17" fmla="*/ 857250 h 3277163"/>
                  <a:gd name="connsiteX18" fmla="*/ 273146 w 1238413"/>
                  <a:gd name="connsiteY18" fmla="*/ 901700 h 3277163"/>
                  <a:gd name="connsiteX19" fmla="*/ 376334 w 1238413"/>
                  <a:gd name="connsiteY19" fmla="*/ 981869 h 3277163"/>
                  <a:gd name="connsiteX20" fmla="*/ 425546 w 1238413"/>
                  <a:gd name="connsiteY20" fmla="*/ 1028700 h 3277163"/>
                  <a:gd name="connsiteX21" fmla="*/ 463646 w 1238413"/>
                  <a:gd name="connsiteY21" fmla="*/ 1098550 h 3277163"/>
                  <a:gd name="connsiteX22" fmla="*/ 565246 w 1238413"/>
                  <a:gd name="connsiteY22" fmla="*/ 1143000 h 3277163"/>
                  <a:gd name="connsiteX23" fmla="*/ 609696 w 1238413"/>
                  <a:gd name="connsiteY23" fmla="*/ 1162050 h 3277163"/>
                  <a:gd name="connsiteX24" fmla="*/ 635096 w 1238413"/>
                  <a:gd name="connsiteY24" fmla="*/ 1212850 h 3277163"/>
                  <a:gd name="connsiteX25" fmla="*/ 711296 w 1238413"/>
                  <a:gd name="connsiteY25" fmla="*/ 1212850 h 3277163"/>
                  <a:gd name="connsiteX26" fmla="*/ 728759 w 1238413"/>
                  <a:gd name="connsiteY26" fmla="*/ 1239045 h 3277163"/>
                  <a:gd name="connsiteX27" fmla="*/ 764477 w 1238413"/>
                  <a:gd name="connsiteY27" fmla="*/ 1255714 h 3277163"/>
                  <a:gd name="connsiteX28" fmla="*/ 788289 w 1238413"/>
                  <a:gd name="connsiteY28" fmla="*/ 1304925 h 3277163"/>
                  <a:gd name="connsiteX29" fmla="*/ 825596 w 1238413"/>
                  <a:gd name="connsiteY29" fmla="*/ 1352550 h 3277163"/>
                  <a:gd name="connsiteX30" fmla="*/ 866871 w 1238413"/>
                  <a:gd name="connsiteY30" fmla="*/ 1386682 h 3277163"/>
                  <a:gd name="connsiteX31" fmla="*/ 915290 w 1238413"/>
                  <a:gd name="connsiteY31" fmla="*/ 1406525 h 3277163"/>
                  <a:gd name="connsiteX32" fmla="*/ 952596 w 1238413"/>
                  <a:gd name="connsiteY32" fmla="*/ 1460500 h 3277163"/>
                  <a:gd name="connsiteX33" fmla="*/ 1028796 w 1238413"/>
                  <a:gd name="connsiteY33" fmla="*/ 1612900 h 3277163"/>
                  <a:gd name="connsiteX34" fmla="*/ 1022446 w 1238413"/>
                  <a:gd name="connsiteY34" fmla="*/ 1657350 h 3277163"/>
                  <a:gd name="connsiteX35" fmla="*/ 1066896 w 1238413"/>
                  <a:gd name="connsiteY35" fmla="*/ 1720850 h 3277163"/>
                  <a:gd name="connsiteX36" fmla="*/ 1085946 w 1238413"/>
                  <a:gd name="connsiteY36" fmla="*/ 1809750 h 3277163"/>
                  <a:gd name="connsiteX37" fmla="*/ 1128809 w 1238413"/>
                  <a:gd name="connsiteY37" fmla="*/ 1910557 h 3277163"/>
                  <a:gd name="connsiteX38" fmla="*/ 1143096 w 1238413"/>
                  <a:gd name="connsiteY38" fmla="*/ 1981200 h 3277163"/>
                  <a:gd name="connsiteX39" fmla="*/ 1174846 w 1238413"/>
                  <a:gd name="connsiteY39" fmla="*/ 2044700 h 3277163"/>
                  <a:gd name="connsiteX40" fmla="*/ 1238346 w 1238413"/>
                  <a:gd name="connsiteY40" fmla="*/ 2095500 h 3277163"/>
                  <a:gd name="connsiteX41" fmla="*/ 1200246 w 1238413"/>
                  <a:gd name="connsiteY41" fmla="*/ 2139950 h 3277163"/>
                  <a:gd name="connsiteX42" fmla="*/ 1193896 w 1238413"/>
                  <a:gd name="connsiteY42" fmla="*/ 2190750 h 3277163"/>
                  <a:gd name="connsiteX43" fmla="*/ 1193896 w 1238413"/>
                  <a:gd name="connsiteY43" fmla="*/ 2241550 h 3277163"/>
                  <a:gd name="connsiteX44" fmla="*/ 1212946 w 1238413"/>
                  <a:gd name="connsiteY44" fmla="*/ 2273300 h 3277163"/>
                  <a:gd name="connsiteX45" fmla="*/ 1193896 w 1238413"/>
                  <a:gd name="connsiteY45" fmla="*/ 2305050 h 3277163"/>
                  <a:gd name="connsiteX46" fmla="*/ 1212946 w 1238413"/>
                  <a:gd name="connsiteY46" fmla="*/ 2368550 h 3277163"/>
                  <a:gd name="connsiteX47" fmla="*/ 1155796 w 1238413"/>
                  <a:gd name="connsiteY47" fmla="*/ 2527300 h 3277163"/>
                  <a:gd name="connsiteX48" fmla="*/ 1111346 w 1238413"/>
                  <a:gd name="connsiteY48" fmla="*/ 2565400 h 3277163"/>
                  <a:gd name="connsiteX49" fmla="*/ 1079596 w 1238413"/>
                  <a:gd name="connsiteY49" fmla="*/ 2597150 h 3277163"/>
                  <a:gd name="connsiteX50" fmla="*/ 1003396 w 1238413"/>
                  <a:gd name="connsiteY50" fmla="*/ 2616200 h 3277163"/>
                  <a:gd name="connsiteX51" fmla="*/ 965296 w 1238413"/>
                  <a:gd name="connsiteY51" fmla="*/ 2679700 h 3277163"/>
                  <a:gd name="connsiteX52" fmla="*/ 838296 w 1238413"/>
                  <a:gd name="connsiteY52" fmla="*/ 2762250 h 3277163"/>
                  <a:gd name="connsiteX53" fmla="*/ 730346 w 1238413"/>
                  <a:gd name="connsiteY53" fmla="*/ 2736850 h 3277163"/>
                  <a:gd name="connsiteX54" fmla="*/ 654146 w 1238413"/>
                  <a:gd name="connsiteY54" fmla="*/ 2730500 h 3277163"/>
                  <a:gd name="connsiteX55" fmla="*/ 571596 w 1238413"/>
                  <a:gd name="connsiteY55" fmla="*/ 2736850 h 3277163"/>
                  <a:gd name="connsiteX56" fmla="*/ 489046 w 1238413"/>
                  <a:gd name="connsiteY56" fmla="*/ 2844800 h 3277163"/>
                  <a:gd name="connsiteX57" fmla="*/ 438246 w 1238413"/>
                  <a:gd name="connsiteY57" fmla="*/ 2908300 h 3277163"/>
                  <a:gd name="connsiteX58" fmla="*/ 368396 w 1238413"/>
                  <a:gd name="connsiteY58" fmla="*/ 2946400 h 3277163"/>
                  <a:gd name="connsiteX59" fmla="*/ 349346 w 1238413"/>
                  <a:gd name="connsiteY59" fmla="*/ 3022600 h 3277163"/>
                  <a:gd name="connsiteX60" fmla="*/ 248540 w 1238413"/>
                  <a:gd name="connsiteY60" fmla="*/ 3152775 h 3277163"/>
                  <a:gd name="connsiteX61" fmla="*/ 161227 w 1238413"/>
                  <a:gd name="connsiteY61" fmla="*/ 3273426 h 3277163"/>
                  <a:gd name="connsiteX0" fmla="*/ 12796 w 1238413"/>
                  <a:gd name="connsiteY0" fmla="*/ 0 h 3277163"/>
                  <a:gd name="connsiteX1" fmla="*/ 25496 w 1238413"/>
                  <a:gd name="connsiteY1" fmla="*/ 120650 h 3277163"/>
                  <a:gd name="connsiteX2" fmla="*/ 19146 w 1238413"/>
                  <a:gd name="connsiteY2" fmla="*/ 158750 h 3277163"/>
                  <a:gd name="connsiteX3" fmla="*/ 50896 w 1238413"/>
                  <a:gd name="connsiteY3" fmla="*/ 209550 h 3277163"/>
                  <a:gd name="connsiteX4" fmla="*/ 38196 w 1238413"/>
                  <a:gd name="connsiteY4" fmla="*/ 234950 h 3277163"/>
                  <a:gd name="connsiteX5" fmla="*/ 50896 w 1238413"/>
                  <a:gd name="connsiteY5" fmla="*/ 273050 h 3277163"/>
                  <a:gd name="connsiteX6" fmla="*/ 31846 w 1238413"/>
                  <a:gd name="connsiteY6" fmla="*/ 298450 h 3277163"/>
                  <a:gd name="connsiteX7" fmla="*/ 50896 w 1238413"/>
                  <a:gd name="connsiteY7" fmla="*/ 355600 h 3277163"/>
                  <a:gd name="connsiteX8" fmla="*/ 31846 w 1238413"/>
                  <a:gd name="connsiteY8" fmla="*/ 463550 h 3277163"/>
                  <a:gd name="connsiteX9" fmla="*/ 890 w 1238413"/>
                  <a:gd name="connsiteY9" fmla="*/ 525462 h 3277163"/>
                  <a:gd name="connsiteX10" fmla="*/ 96 w 1238413"/>
                  <a:gd name="connsiteY10" fmla="*/ 546101 h 3277163"/>
                  <a:gd name="connsiteX11" fmla="*/ 6446 w 1238413"/>
                  <a:gd name="connsiteY11" fmla="*/ 603250 h 3277163"/>
                  <a:gd name="connsiteX12" fmla="*/ 50896 w 1238413"/>
                  <a:gd name="connsiteY12" fmla="*/ 647700 h 3277163"/>
                  <a:gd name="connsiteX13" fmla="*/ 63596 w 1238413"/>
                  <a:gd name="connsiteY13" fmla="*/ 704850 h 3277163"/>
                  <a:gd name="connsiteX14" fmla="*/ 120746 w 1238413"/>
                  <a:gd name="connsiteY14" fmla="*/ 749300 h 3277163"/>
                  <a:gd name="connsiteX15" fmla="*/ 170752 w 1238413"/>
                  <a:gd name="connsiteY15" fmla="*/ 763587 h 3277163"/>
                  <a:gd name="connsiteX16" fmla="*/ 241396 w 1238413"/>
                  <a:gd name="connsiteY16" fmla="*/ 806450 h 3277163"/>
                  <a:gd name="connsiteX17" fmla="*/ 228696 w 1238413"/>
                  <a:gd name="connsiteY17" fmla="*/ 857250 h 3277163"/>
                  <a:gd name="connsiteX18" fmla="*/ 273146 w 1238413"/>
                  <a:gd name="connsiteY18" fmla="*/ 901700 h 3277163"/>
                  <a:gd name="connsiteX19" fmla="*/ 376334 w 1238413"/>
                  <a:gd name="connsiteY19" fmla="*/ 981869 h 3277163"/>
                  <a:gd name="connsiteX20" fmla="*/ 425546 w 1238413"/>
                  <a:gd name="connsiteY20" fmla="*/ 1028700 h 3277163"/>
                  <a:gd name="connsiteX21" fmla="*/ 463646 w 1238413"/>
                  <a:gd name="connsiteY21" fmla="*/ 1098550 h 3277163"/>
                  <a:gd name="connsiteX22" fmla="*/ 565246 w 1238413"/>
                  <a:gd name="connsiteY22" fmla="*/ 1143000 h 3277163"/>
                  <a:gd name="connsiteX23" fmla="*/ 609696 w 1238413"/>
                  <a:gd name="connsiteY23" fmla="*/ 1162050 h 3277163"/>
                  <a:gd name="connsiteX24" fmla="*/ 635096 w 1238413"/>
                  <a:gd name="connsiteY24" fmla="*/ 1212850 h 3277163"/>
                  <a:gd name="connsiteX25" fmla="*/ 711296 w 1238413"/>
                  <a:gd name="connsiteY25" fmla="*/ 1212850 h 3277163"/>
                  <a:gd name="connsiteX26" fmla="*/ 728759 w 1238413"/>
                  <a:gd name="connsiteY26" fmla="*/ 1239045 h 3277163"/>
                  <a:gd name="connsiteX27" fmla="*/ 764477 w 1238413"/>
                  <a:gd name="connsiteY27" fmla="*/ 1255714 h 3277163"/>
                  <a:gd name="connsiteX28" fmla="*/ 788289 w 1238413"/>
                  <a:gd name="connsiteY28" fmla="*/ 1304925 h 3277163"/>
                  <a:gd name="connsiteX29" fmla="*/ 825596 w 1238413"/>
                  <a:gd name="connsiteY29" fmla="*/ 1352550 h 3277163"/>
                  <a:gd name="connsiteX30" fmla="*/ 866871 w 1238413"/>
                  <a:gd name="connsiteY30" fmla="*/ 1386682 h 3277163"/>
                  <a:gd name="connsiteX31" fmla="*/ 915290 w 1238413"/>
                  <a:gd name="connsiteY31" fmla="*/ 1406525 h 3277163"/>
                  <a:gd name="connsiteX32" fmla="*/ 952596 w 1238413"/>
                  <a:gd name="connsiteY32" fmla="*/ 1460500 h 3277163"/>
                  <a:gd name="connsiteX33" fmla="*/ 1028796 w 1238413"/>
                  <a:gd name="connsiteY33" fmla="*/ 1612900 h 3277163"/>
                  <a:gd name="connsiteX34" fmla="*/ 1022446 w 1238413"/>
                  <a:gd name="connsiteY34" fmla="*/ 1657350 h 3277163"/>
                  <a:gd name="connsiteX35" fmla="*/ 1066896 w 1238413"/>
                  <a:gd name="connsiteY35" fmla="*/ 1720850 h 3277163"/>
                  <a:gd name="connsiteX36" fmla="*/ 1085946 w 1238413"/>
                  <a:gd name="connsiteY36" fmla="*/ 1809750 h 3277163"/>
                  <a:gd name="connsiteX37" fmla="*/ 1128809 w 1238413"/>
                  <a:gd name="connsiteY37" fmla="*/ 1910557 h 3277163"/>
                  <a:gd name="connsiteX38" fmla="*/ 1143096 w 1238413"/>
                  <a:gd name="connsiteY38" fmla="*/ 1981200 h 3277163"/>
                  <a:gd name="connsiteX39" fmla="*/ 1174846 w 1238413"/>
                  <a:gd name="connsiteY39" fmla="*/ 2044700 h 3277163"/>
                  <a:gd name="connsiteX40" fmla="*/ 1238346 w 1238413"/>
                  <a:gd name="connsiteY40" fmla="*/ 2095500 h 3277163"/>
                  <a:gd name="connsiteX41" fmla="*/ 1200246 w 1238413"/>
                  <a:gd name="connsiteY41" fmla="*/ 2139950 h 3277163"/>
                  <a:gd name="connsiteX42" fmla="*/ 1193896 w 1238413"/>
                  <a:gd name="connsiteY42" fmla="*/ 2190750 h 3277163"/>
                  <a:gd name="connsiteX43" fmla="*/ 1193896 w 1238413"/>
                  <a:gd name="connsiteY43" fmla="*/ 2241550 h 3277163"/>
                  <a:gd name="connsiteX44" fmla="*/ 1212946 w 1238413"/>
                  <a:gd name="connsiteY44" fmla="*/ 2273300 h 3277163"/>
                  <a:gd name="connsiteX45" fmla="*/ 1193896 w 1238413"/>
                  <a:gd name="connsiteY45" fmla="*/ 2305050 h 3277163"/>
                  <a:gd name="connsiteX46" fmla="*/ 1212946 w 1238413"/>
                  <a:gd name="connsiteY46" fmla="*/ 2368550 h 3277163"/>
                  <a:gd name="connsiteX47" fmla="*/ 1155796 w 1238413"/>
                  <a:gd name="connsiteY47" fmla="*/ 2527300 h 3277163"/>
                  <a:gd name="connsiteX48" fmla="*/ 1111346 w 1238413"/>
                  <a:gd name="connsiteY48" fmla="*/ 2565400 h 3277163"/>
                  <a:gd name="connsiteX49" fmla="*/ 1079596 w 1238413"/>
                  <a:gd name="connsiteY49" fmla="*/ 2597150 h 3277163"/>
                  <a:gd name="connsiteX50" fmla="*/ 1003396 w 1238413"/>
                  <a:gd name="connsiteY50" fmla="*/ 2616200 h 3277163"/>
                  <a:gd name="connsiteX51" fmla="*/ 965296 w 1238413"/>
                  <a:gd name="connsiteY51" fmla="*/ 2679700 h 3277163"/>
                  <a:gd name="connsiteX52" fmla="*/ 838296 w 1238413"/>
                  <a:gd name="connsiteY52" fmla="*/ 2762250 h 3277163"/>
                  <a:gd name="connsiteX53" fmla="*/ 730346 w 1238413"/>
                  <a:gd name="connsiteY53" fmla="*/ 2736850 h 3277163"/>
                  <a:gd name="connsiteX54" fmla="*/ 654146 w 1238413"/>
                  <a:gd name="connsiteY54" fmla="*/ 2730500 h 3277163"/>
                  <a:gd name="connsiteX55" fmla="*/ 571596 w 1238413"/>
                  <a:gd name="connsiteY55" fmla="*/ 2736850 h 3277163"/>
                  <a:gd name="connsiteX56" fmla="*/ 489046 w 1238413"/>
                  <a:gd name="connsiteY56" fmla="*/ 2844800 h 3277163"/>
                  <a:gd name="connsiteX57" fmla="*/ 438246 w 1238413"/>
                  <a:gd name="connsiteY57" fmla="*/ 2908300 h 3277163"/>
                  <a:gd name="connsiteX58" fmla="*/ 368396 w 1238413"/>
                  <a:gd name="connsiteY58" fmla="*/ 2946400 h 3277163"/>
                  <a:gd name="connsiteX59" fmla="*/ 349346 w 1238413"/>
                  <a:gd name="connsiteY59" fmla="*/ 3022600 h 3277163"/>
                  <a:gd name="connsiteX60" fmla="*/ 248540 w 1238413"/>
                  <a:gd name="connsiteY60" fmla="*/ 3152775 h 3277163"/>
                  <a:gd name="connsiteX61" fmla="*/ 161227 w 1238413"/>
                  <a:gd name="connsiteY61" fmla="*/ 3273426 h 3277163"/>
                  <a:gd name="connsiteX0" fmla="*/ 12796 w 1238413"/>
                  <a:gd name="connsiteY0" fmla="*/ 0 h 3277163"/>
                  <a:gd name="connsiteX1" fmla="*/ 25496 w 1238413"/>
                  <a:gd name="connsiteY1" fmla="*/ 120650 h 3277163"/>
                  <a:gd name="connsiteX2" fmla="*/ 19146 w 1238413"/>
                  <a:gd name="connsiteY2" fmla="*/ 158750 h 3277163"/>
                  <a:gd name="connsiteX3" fmla="*/ 50896 w 1238413"/>
                  <a:gd name="connsiteY3" fmla="*/ 209550 h 3277163"/>
                  <a:gd name="connsiteX4" fmla="*/ 38196 w 1238413"/>
                  <a:gd name="connsiteY4" fmla="*/ 234950 h 3277163"/>
                  <a:gd name="connsiteX5" fmla="*/ 50896 w 1238413"/>
                  <a:gd name="connsiteY5" fmla="*/ 273050 h 3277163"/>
                  <a:gd name="connsiteX6" fmla="*/ 31846 w 1238413"/>
                  <a:gd name="connsiteY6" fmla="*/ 298450 h 3277163"/>
                  <a:gd name="connsiteX7" fmla="*/ 50896 w 1238413"/>
                  <a:gd name="connsiteY7" fmla="*/ 355600 h 3277163"/>
                  <a:gd name="connsiteX8" fmla="*/ 31846 w 1238413"/>
                  <a:gd name="connsiteY8" fmla="*/ 463550 h 3277163"/>
                  <a:gd name="connsiteX9" fmla="*/ 890 w 1238413"/>
                  <a:gd name="connsiteY9" fmla="*/ 525462 h 3277163"/>
                  <a:gd name="connsiteX10" fmla="*/ 96 w 1238413"/>
                  <a:gd name="connsiteY10" fmla="*/ 546101 h 3277163"/>
                  <a:gd name="connsiteX11" fmla="*/ 6446 w 1238413"/>
                  <a:gd name="connsiteY11" fmla="*/ 603250 h 3277163"/>
                  <a:gd name="connsiteX12" fmla="*/ 50896 w 1238413"/>
                  <a:gd name="connsiteY12" fmla="*/ 647700 h 3277163"/>
                  <a:gd name="connsiteX13" fmla="*/ 63596 w 1238413"/>
                  <a:gd name="connsiteY13" fmla="*/ 704850 h 3277163"/>
                  <a:gd name="connsiteX14" fmla="*/ 120746 w 1238413"/>
                  <a:gd name="connsiteY14" fmla="*/ 749300 h 3277163"/>
                  <a:gd name="connsiteX15" fmla="*/ 170752 w 1238413"/>
                  <a:gd name="connsiteY15" fmla="*/ 763587 h 3277163"/>
                  <a:gd name="connsiteX16" fmla="*/ 241396 w 1238413"/>
                  <a:gd name="connsiteY16" fmla="*/ 806450 h 3277163"/>
                  <a:gd name="connsiteX17" fmla="*/ 228696 w 1238413"/>
                  <a:gd name="connsiteY17" fmla="*/ 857250 h 3277163"/>
                  <a:gd name="connsiteX18" fmla="*/ 273146 w 1238413"/>
                  <a:gd name="connsiteY18" fmla="*/ 901700 h 3277163"/>
                  <a:gd name="connsiteX19" fmla="*/ 376334 w 1238413"/>
                  <a:gd name="connsiteY19" fmla="*/ 981869 h 3277163"/>
                  <a:gd name="connsiteX20" fmla="*/ 425546 w 1238413"/>
                  <a:gd name="connsiteY20" fmla="*/ 1028700 h 3277163"/>
                  <a:gd name="connsiteX21" fmla="*/ 463646 w 1238413"/>
                  <a:gd name="connsiteY21" fmla="*/ 1098550 h 3277163"/>
                  <a:gd name="connsiteX22" fmla="*/ 565246 w 1238413"/>
                  <a:gd name="connsiteY22" fmla="*/ 1143000 h 3277163"/>
                  <a:gd name="connsiteX23" fmla="*/ 609696 w 1238413"/>
                  <a:gd name="connsiteY23" fmla="*/ 1162050 h 3277163"/>
                  <a:gd name="connsiteX24" fmla="*/ 635096 w 1238413"/>
                  <a:gd name="connsiteY24" fmla="*/ 1212850 h 3277163"/>
                  <a:gd name="connsiteX25" fmla="*/ 711296 w 1238413"/>
                  <a:gd name="connsiteY25" fmla="*/ 1212850 h 3277163"/>
                  <a:gd name="connsiteX26" fmla="*/ 728759 w 1238413"/>
                  <a:gd name="connsiteY26" fmla="*/ 1239045 h 3277163"/>
                  <a:gd name="connsiteX27" fmla="*/ 764477 w 1238413"/>
                  <a:gd name="connsiteY27" fmla="*/ 1255714 h 3277163"/>
                  <a:gd name="connsiteX28" fmla="*/ 788289 w 1238413"/>
                  <a:gd name="connsiteY28" fmla="*/ 1304925 h 3277163"/>
                  <a:gd name="connsiteX29" fmla="*/ 825596 w 1238413"/>
                  <a:gd name="connsiteY29" fmla="*/ 1352550 h 3277163"/>
                  <a:gd name="connsiteX30" fmla="*/ 866871 w 1238413"/>
                  <a:gd name="connsiteY30" fmla="*/ 1386682 h 3277163"/>
                  <a:gd name="connsiteX31" fmla="*/ 915290 w 1238413"/>
                  <a:gd name="connsiteY31" fmla="*/ 1406525 h 3277163"/>
                  <a:gd name="connsiteX32" fmla="*/ 952596 w 1238413"/>
                  <a:gd name="connsiteY32" fmla="*/ 1460500 h 3277163"/>
                  <a:gd name="connsiteX33" fmla="*/ 1028796 w 1238413"/>
                  <a:gd name="connsiteY33" fmla="*/ 1612900 h 3277163"/>
                  <a:gd name="connsiteX34" fmla="*/ 1022446 w 1238413"/>
                  <a:gd name="connsiteY34" fmla="*/ 1657350 h 3277163"/>
                  <a:gd name="connsiteX35" fmla="*/ 1066896 w 1238413"/>
                  <a:gd name="connsiteY35" fmla="*/ 1720850 h 3277163"/>
                  <a:gd name="connsiteX36" fmla="*/ 1085946 w 1238413"/>
                  <a:gd name="connsiteY36" fmla="*/ 1809750 h 3277163"/>
                  <a:gd name="connsiteX37" fmla="*/ 1128809 w 1238413"/>
                  <a:gd name="connsiteY37" fmla="*/ 1910557 h 3277163"/>
                  <a:gd name="connsiteX38" fmla="*/ 1143096 w 1238413"/>
                  <a:gd name="connsiteY38" fmla="*/ 1981200 h 3277163"/>
                  <a:gd name="connsiteX39" fmla="*/ 1174846 w 1238413"/>
                  <a:gd name="connsiteY39" fmla="*/ 2044700 h 3277163"/>
                  <a:gd name="connsiteX40" fmla="*/ 1238346 w 1238413"/>
                  <a:gd name="connsiteY40" fmla="*/ 2095500 h 3277163"/>
                  <a:gd name="connsiteX41" fmla="*/ 1200246 w 1238413"/>
                  <a:gd name="connsiteY41" fmla="*/ 2139950 h 3277163"/>
                  <a:gd name="connsiteX42" fmla="*/ 1193896 w 1238413"/>
                  <a:gd name="connsiteY42" fmla="*/ 2190750 h 3277163"/>
                  <a:gd name="connsiteX43" fmla="*/ 1193896 w 1238413"/>
                  <a:gd name="connsiteY43" fmla="*/ 2241550 h 3277163"/>
                  <a:gd name="connsiteX44" fmla="*/ 1212946 w 1238413"/>
                  <a:gd name="connsiteY44" fmla="*/ 2273300 h 3277163"/>
                  <a:gd name="connsiteX45" fmla="*/ 1193896 w 1238413"/>
                  <a:gd name="connsiteY45" fmla="*/ 2305050 h 3277163"/>
                  <a:gd name="connsiteX46" fmla="*/ 1212946 w 1238413"/>
                  <a:gd name="connsiteY46" fmla="*/ 2368550 h 3277163"/>
                  <a:gd name="connsiteX47" fmla="*/ 1155796 w 1238413"/>
                  <a:gd name="connsiteY47" fmla="*/ 2527300 h 3277163"/>
                  <a:gd name="connsiteX48" fmla="*/ 1111346 w 1238413"/>
                  <a:gd name="connsiteY48" fmla="*/ 2565400 h 3277163"/>
                  <a:gd name="connsiteX49" fmla="*/ 1079596 w 1238413"/>
                  <a:gd name="connsiteY49" fmla="*/ 2597150 h 3277163"/>
                  <a:gd name="connsiteX50" fmla="*/ 1003396 w 1238413"/>
                  <a:gd name="connsiteY50" fmla="*/ 2616200 h 3277163"/>
                  <a:gd name="connsiteX51" fmla="*/ 965296 w 1238413"/>
                  <a:gd name="connsiteY51" fmla="*/ 2679700 h 3277163"/>
                  <a:gd name="connsiteX52" fmla="*/ 838296 w 1238413"/>
                  <a:gd name="connsiteY52" fmla="*/ 2762250 h 3277163"/>
                  <a:gd name="connsiteX53" fmla="*/ 730346 w 1238413"/>
                  <a:gd name="connsiteY53" fmla="*/ 2736850 h 3277163"/>
                  <a:gd name="connsiteX54" fmla="*/ 654146 w 1238413"/>
                  <a:gd name="connsiteY54" fmla="*/ 2730500 h 3277163"/>
                  <a:gd name="connsiteX55" fmla="*/ 571596 w 1238413"/>
                  <a:gd name="connsiteY55" fmla="*/ 2736850 h 3277163"/>
                  <a:gd name="connsiteX56" fmla="*/ 489046 w 1238413"/>
                  <a:gd name="connsiteY56" fmla="*/ 2844800 h 3277163"/>
                  <a:gd name="connsiteX57" fmla="*/ 438246 w 1238413"/>
                  <a:gd name="connsiteY57" fmla="*/ 2908300 h 3277163"/>
                  <a:gd name="connsiteX58" fmla="*/ 368396 w 1238413"/>
                  <a:gd name="connsiteY58" fmla="*/ 2946400 h 3277163"/>
                  <a:gd name="connsiteX59" fmla="*/ 349346 w 1238413"/>
                  <a:gd name="connsiteY59" fmla="*/ 3022600 h 3277163"/>
                  <a:gd name="connsiteX60" fmla="*/ 248540 w 1238413"/>
                  <a:gd name="connsiteY60" fmla="*/ 3152775 h 3277163"/>
                  <a:gd name="connsiteX61" fmla="*/ 161227 w 1238413"/>
                  <a:gd name="connsiteY61" fmla="*/ 3273426 h 3277163"/>
                  <a:gd name="connsiteX0" fmla="*/ 12796 w 1238413"/>
                  <a:gd name="connsiteY0" fmla="*/ 0 h 3277163"/>
                  <a:gd name="connsiteX1" fmla="*/ 25496 w 1238413"/>
                  <a:gd name="connsiteY1" fmla="*/ 120650 h 3277163"/>
                  <a:gd name="connsiteX2" fmla="*/ 19146 w 1238413"/>
                  <a:gd name="connsiteY2" fmla="*/ 158750 h 3277163"/>
                  <a:gd name="connsiteX3" fmla="*/ 50896 w 1238413"/>
                  <a:gd name="connsiteY3" fmla="*/ 209550 h 3277163"/>
                  <a:gd name="connsiteX4" fmla="*/ 38196 w 1238413"/>
                  <a:gd name="connsiteY4" fmla="*/ 234950 h 3277163"/>
                  <a:gd name="connsiteX5" fmla="*/ 50896 w 1238413"/>
                  <a:gd name="connsiteY5" fmla="*/ 273050 h 3277163"/>
                  <a:gd name="connsiteX6" fmla="*/ 31846 w 1238413"/>
                  <a:gd name="connsiteY6" fmla="*/ 298450 h 3277163"/>
                  <a:gd name="connsiteX7" fmla="*/ 36609 w 1238413"/>
                  <a:gd name="connsiteY7" fmla="*/ 357981 h 3277163"/>
                  <a:gd name="connsiteX8" fmla="*/ 31846 w 1238413"/>
                  <a:gd name="connsiteY8" fmla="*/ 463550 h 3277163"/>
                  <a:gd name="connsiteX9" fmla="*/ 890 w 1238413"/>
                  <a:gd name="connsiteY9" fmla="*/ 525462 h 3277163"/>
                  <a:gd name="connsiteX10" fmla="*/ 96 w 1238413"/>
                  <a:gd name="connsiteY10" fmla="*/ 546101 h 3277163"/>
                  <a:gd name="connsiteX11" fmla="*/ 6446 w 1238413"/>
                  <a:gd name="connsiteY11" fmla="*/ 603250 h 3277163"/>
                  <a:gd name="connsiteX12" fmla="*/ 50896 w 1238413"/>
                  <a:gd name="connsiteY12" fmla="*/ 647700 h 3277163"/>
                  <a:gd name="connsiteX13" fmla="*/ 63596 w 1238413"/>
                  <a:gd name="connsiteY13" fmla="*/ 704850 h 3277163"/>
                  <a:gd name="connsiteX14" fmla="*/ 120746 w 1238413"/>
                  <a:gd name="connsiteY14" fmla="*/ 749300 h 3277163"/>
                  <a:gd name="connsiteX15" fmla="*/ 170752 w 1238413"/>
                  <a:gd name="connsiteY15" fmla="*/ 763587 h 3277163"/>
                  <a:gd name="connsiteX16" fmla="*/ 241396 w 1238413"/>
                  <a:gd name="connsiteY16" fmla="*/ 806450 h 3277163"/>
                  <a:gd name="connsiteX17" fmla="*/ 228696 w 1238413"/>
                  <a:gd name="connsiteY17" fmla="*/ 857250 h 3277163"/>
                  <a:gd name="connsiteX18" fmla="*/ 273146 w 1238413"/>
                  <a:gd name="connsiteY18" fmla="*/ 901700 h 3277163"/>
                  <a:gd name="connsiteX19" fmla="*/ 376334 w 1238413"/>
                  <a:gd name="connsiteY19" fmla="*/ 981869 h 3277163"/>
                  <a:gd name="connsiteX20" fmla="*/ 425546 w 1238413"/>
                  <a:gd name="connsiteY20" fmla="*/ 1028700 h 3277163"/>
                  <a:gd name="connsiteX21" fmla="*/ 463646 w 1238413"/>
                  <a:gd name="connsiteY21" fmla="*/ 1098550 h 3277163"/>
                  <a:gd name="connsiteX22" fmla="*/ 565246 w 1238413"/>
                  <a:gd name="connsiteY22" fmla="*/ 1143000 h 3277163"/>
                  <a:gd name="connsiteX23" fmla="*/ 609696 w 1238413"/>
                  <a:gd name="connsiteY23" fmla="*/ 1162050 h 3277163"/>
                  <a:gd name="connsiteX24" fmla="*/ 635096 w 1238413"/>
                  <a:gd name="connsiteY24" fmla="*/ 1212850 h 3277163"/>
                  <a:gd name="connsiteX25" fmla="*/ 711296 w 1238413"/>
                  <a:gd name="connsiteY25" fmla="*/ 1212850 h 3277163"/>
                  <a:gd name="connsiteX26" fmla="*/ 728759 w 1238413"/>
                  <a:gd name="connsiteY26" fmla="*/ 1239045 h 3277163"/>
                  <a:gd name="connsiteX27" fmla="*/ 764477 w 1238413"/>
                  <a:gd name="connsiteY27" fmla="*/ 1255714 h 3277163"/>
                  <a:gd name="connsiteX28" fmla="*/ 788289 w 1238413"/>
                  <a:gd name="connsiteY28" fmla="*/ 1304925 h 3277163"/>
                  <a:gd name="connsiteX29" fmla="*/ 825596 w 1238413"/>
                  <a:gd name="connsiteY29" fmla="*/ 1352550 h 3277163"/>
                  <a:gd name="connsiteX30" fmla="*/ 866871 w 1238413"/>
                  <a:gd name="connsiteY30" fmla="*/ 1386682 h 3277163"/>
                  <a:gd name="connsiteX31" fmla="*/ 915290 w 1238413"/>
                  <a:gd name="connsiteY31" fmla="*/ 1406525 h 3277163"/>
                  <a:gd name="connsiteX32" fmla="*/ 952596 w 1238413"/>
                  <a:gd name="connsiteY32" fmla="*/ 1460500 h 3277163"/>
                  <a:gd name="connsiteX33" fmla="*/ 1028796 w 1238413"/>
                  <a:gd name="connsiteY33" fmla="*/ 1612900 h 3277163"/>
                  <a:gd name="connsiteX34" fmla="*/ 1022446 w 1238413"/>
                  <a:gd name="connsiteY34" fmla="*/ 1657350 h 3277163"/>
                  <a:gd name="connsiteX35" fmla="*/ 1066896 w 1238413"/>
                  <a:gd name="connsiteY35" fmla="*/ 1720850 h 3277163"/>
                  <a:gd name="connsiteX36" fmla="*/ 1085946 w 1238413"/>
                  <a:gd name="connsiteY36" fmla="*/ 1809750 h 3277163"/>
                  <a:gd name="connsiteX37" fmla="*/ 1128809 w 1238413"/>
                  <a:gd name="connsiteY37" fmla="*/ 1910557 h 3277163"/>
                  <a:gd name="connsiteX38" fmla="*/ 1143096 w 1238413"/>
                  <a:gd name="connsiteY38" fmla="*/ 1981200 h 3277163"/>
                  <a:gd name="connsiteX39" fmla="*/ 1174846 w 1238413"/>
                  <a:gd name="connsiteY39" fmla="*/ 2044700 h 3277163"/>
                  <a:gd name="connsiteX40" fmla="*/ 1238346 w 1238413"/>
                  <a:gd name="connsiteY40" fmla="*/ 2095500 h 3277163"/>
                  <a:gd name="connsiteX41" fmla="*/ 1200246 w 1238413"/>
                  <a:gd name="connsiteY41" fmla="*/ 2139950 h 3277163"/>
                  <a:gd name="connsiteX42" fmla="*/ 1193896 w 1238413"/>
                  <a:gd name="connsiteY42" fmla="*/ 2190750 h 3277163"/>
                  <a:gd name="connsiteX43" fmla="*/ 1193896 w 1238413"/>
                  <a:gd name="connsiteY43" fmla="*/ 2241550 h 3277163"/>
                  <a:gd name="connsiteX44" fmla="*/ 1212946 w 1238413"/>
                  <a:gd name="connsiteY44" fmla="*/ 2273300 h 3277163"/>
                  <a:gd name="connsiteX45" fmla="*/ 1193896 w 1238413"/>
                  <a:gd name="connsiteY45" fmla="*/ 2305050 h 3277163"/>
                  <a:gd name="connsiteX46" fmla="*/ 1212946 w 1238413"/>
                  <a:gd name="connsiteY46" fmla="*/ 2368550 h 3277163"/>
                  <a:gd name="connsiteX47" fmla="*/ 1155796 w 1238413"/>
                  <a:gd name="connsiteY47" fmla="*/ 2527300 h 3277163"/>
                  <a:gd name="connsiteX48" fmla="*/ 1111346 w 1238413"/>
                  <a:gd name="connsiteY48" fmla="*/ 2565400 h 3277163"/>
                  <a:gd name="connsiteX49" fmla="*/ 1079596 w 1238413"/>
                  <a:gd name="connsiteY49" fmla="*/ 2597150 h 3277163"/>
                  <a:gd name="connsiteX50" fmla="*/ 1003396 w 1238413"/>
                  <a:gd name="connsiteY50" fmla="*/ 2616200 h 3277163"/>
                  <a:gd name="connsiteX51" fmla="*/ 965296 w 1238413"/>
                  <a:gd name="connsiteY51" fmla="*/ 2679700 h 3277163"/>
                  <a:gd name="connsiteX52" fmla="*/ 838296 w 1238413"/>
                  <a:gd name="connsiteY52" fmla="*/ 2762250 h 3277163"/>
                  <a:gd name="connsiteX53" fmla="*/ 730346 w 1238413"/>
                  <a:gd name="connsiteY53" fmla="*/ 2736850 h 3277163"/>
                  <a:gd name="connsiteX54" fmla="*/ 654146 w 1238413"/>
                  <a:gd name="connsiteY54" fmla="*/ 2730500 h 3277163"/>
                  <a:gd name="connsiteX55" fmla="*/ 571596 w 1238413"/>
                  <a:gd name="connsiteY55" fmla="*/ 2736850 h 3277163"/>
                  <a:gd name="connsiteX56" fmla="*/ 489046 w 1238413"/>
                  <a:gd name="connsiteY56" fmla="*/ 2844800 h 3277163"/>
                  <a:gd name="connsiteX57" fmla="*/ 438246 w 1238413"/>
                  <a:gd name="connsiteY57" fmla="*/ 2908300 h 3277163"/>
                  <a:gd name="connsiteX58" fmla="*/ 368396 w 1238413"/>
                  <a:gd name="connsiteY58" fmla="*/ 2946400 h 3277163"/>
                  <a:gd name="connsiteX59" fmla="*/ 349346 w 1238413"/>
                  <a:gd name="connsiteY59" fmla="*/ 3022600 h 3277163"/>
                  <a:gd name="connsiteX60" fmla="*/ 248540 w 1238413"/>
                  <a:gd name="connsiteY60" fmla="*/ 3152775 h 3277163"/>
                  <a:gd name="connsiteX61" fmla="*/ 161227 w 1238413"/>
                  <a:gd name="connsiteY61" fmla="*/ 3273426 h 3277163"/>
                  <a:gd name="connsiteX0" fmla="*/ 12796 w 1238413"/>
                  <a:gd name="connsiteY0" fmla="*/ 0 h 3277163"/>
                  <a:gd name="connsiteX1" fmla="*/ 25496 w 1238413"/>
                  <a:gd name="connsiteY1" fmla="*/ 120650 h 3277163"/>
                  <a:gd name="connsiteX2" fmla="*/ 19146 w 1238413"/>
                  <a:gd name="connsiteY2" fmla="*/ 158750 h 3277163"/>
                  <a:gd name="connsiteX3" fmla="*/ 50896 w 1238413"/>
                  <a:gd name="connsiteY3" fmla="*/ 209550 h 3277163"/>
                  <a:gd name="connsiteX4" fmla="*/ 38196 w 1238413"/>
                  <a:gd name="connsiteY4" fmla="*/ 234950 h 3277163"/>
                  <a:gd name="connsiteX5" fmla="*/ 50896 w 1238413"/>
                  <a:gd name="connsiteY5" fmla="*/ 273050 h 3277163"/>
                  <a:gd name="connsiteX6" fmla="*/ 31846 w 1238413"/>
                  <a:gd name="connsiteY6" fmla="*/ 298450 h 3277163"/>
                  <a:gd name="connsiteX7" fmla="*/ 50896 w 1238413"/>
                  <a:gd name="connsiteY7" fmla="*/ 372269 h 3277163"/>
                  <a:gd name="connsiteX8" fmla="*/ 31846 w 1238413"/>
                  <a:gd name="connsiteY8" fmla="*/ 463550 h 3277163"/>
                  <a:gd name="connsiteX9" fmla="*/ 890 w 1238413"/>
                  <a:gd name="connsiteY9" fmla="*/ 525462 h 3277163"/>
                  <a:gd name="connsiteX10" fmla="*/ 96 w 1238413"/>
                  <a:gd name="connsiteY10" fmla="*/ 546101 h 3277163"/>
                  <a:gd name="connsiteX11" fmla="*/ 6446 w 1238413"/>
                  <a:gd name="connsiteY11" fmla="*/ 603250 h 3277163"/>
                  <a:gd name="connsiteX12" fmla="*/ 50896 w 1238413"/>
                  <a:gd name="connsiteY12" fmla="*/ 647700 h 3277163"/>
                  <a:gd name="connsiteX13" fmla="*/ 63596 w 1238413"/>
                  <a:gd name="connsiteY13" fmla="*/ 704850 h 3277163"/>
                  <a:gd name="connsiteX14" fmla="*/ 120746 w 1238413"/>
                  <a:gd name="connsiteY14" fmla="*/ 749300 h 3277163"/>
                  <a:gd name="connsiteX15" fmla="*/ 170752 w 1238413"/>
                  <a:gd name="connsiteY15" fmla="*/ 763587 h 3277163"/>
                  <a:gd name="connsiteX16" fmla="*/ 241396 w 1238413"/>
                  <a:gd name="connsiteY16" fmla="*/ 806450 h 3277163"/>
                  <a:gd name="connsiteX17" fmla="*/ 228696 w 1238413"/>
                  <a:gd name="connsiteY17" fmla="*/ 857250 h 3277163"/>
                  <a:gd name="connsiteX18" fmla="*/ 273146 w 1238413"/>
                  <a:gd name="connsiteY18" fmla="*/ 901700 h 3277163"/>
                  <a:gd name="connsiteX19" fmla="*/ 376334 w 1238413"/>
                  <a:gd name="connsiteY19" fmla="*/ 981869 h 3277163"/>
                  <a:gd name="connsiteX20" fmla="*/ 425546 w 1238413"/>
                  <a:gd name="connsiteY20" fmla="*/ 1028700 h 3277163"/>
                  <a:gd name="connsiteX21" fmla="*/ 463646 w 1238413"/>
                  <a:gd name="connsiteY21" fmla="*/ 1098550 h 3277163"/>
                  <a:gd name="connsiteX22" fmla="*/ 565246 w 1238413"/>
                  <a:gd name="connsiteY22" fmla="*/ 1143000 h 3277163"/>
                  <a:gd name="connsiteX23" fmla="*/ 609696 w 1238413"/>
                  <a:gd name="connsiteY23" fmla="*/ 1162050 h 3277163"/>
                  <a:gd name="connsiteX24" fmla="*/ 635096 w 1238413"/>
                  <a:gd name="connsiteY24" fmla="*/ 1212850 h 3277163"/>
                  <a:gd name="connsiteX25" fmla="*/ 711296 w 1238413"/>
                  <a:gd name="connsiteY25" fmla="*/ 1212850 h 3277163"/>
                  <a:gd name="connsiteX26" fmla="*/ 728759 w 1238413"/>
                  <a:gd name="connsiteY26" fmla="*/ 1239045 h 3277163"/>
                  <a:gd name="connsiteX27" fmla="*/ 764477 w 1238413"/>
                  <a:gd name="connsiteY27" fmla="*/ 1255714 h 3277163"/>
                  <a:gd name="connsiteX28" fmla="*/ 788289 w 1238413"/>
                  <a:gd name="connsiteY28" fmla="*/ 1304925 h 3277163"/>
                  <a:gd name="connsiteX29" fmla="*/ 825596 w 1238413"/>
                  <a:gd name="connsiteY29" fmla="*/ 1352550 h 3277163"/>
                  <a:gd name="connsiteX30" fmla="*/ 866871 w 1238413"/>
                  <a:gd name="connsiteY30" fmla="*/ 1386682 h 3277163"/>
                  <a:gd name="connsiteX31" fmla="*/ 915290 w 1238413"/>
                  <a:gd name="connsiteY31" fmla="*/ 1406525 h 3277163"/>
                  <a:gd name="connsiteX32" fmla="*/ 952596 w 1238413"/>
                  <a:gd name="connsiteY32" fmla="*/ 1460500 h 3277163"/>
                  <a:gd name="connsiteX33" fmla="*/ 1028796 w 1238413"/>
                  <a:gd name="connsiteY33" fmla="*/ 1612900 h 3277163"/>
                  <a:gd name="connsiteX34" fmla="*/ 1022446 w 1238413"/>
                  <a:gd name="connsiteY34" fmla="*/ 1657350 h 3277163"/>
                  <a:gd name="connsiteX35" fmla="*/ 1066896 w 1238413"/>
                  <a:gd name="connsiteY35" fmla="*/ 1720850 h 3277163"/>
                  <a:gd name="connsiteX36" fmla="*/ 1085946 w 1238413"/>
                  <a:gd name="connsiteY36" fmla="*/ 1809750 h 3277163"/>
                  <a:gd name="connsiteX37" fmla="*/ 1128809 w 1238413"/>
                  <a:gd name="connsiteY37" fmla="*/ 1910557 h 3277163"/>
                  <a:gd name="connsiteX38" fmla="*/ 1143096 w 1238413"/>
                  <a:gd name="connsiteY38" fmla="*/ 1981200 h 3277163"/>
                  <a:gd name="connsiteX39" fmla="*/ 1174846 w 1238413"/>
                  <a:gd name="connsiteY39" fmla="*/ 2044700 h 3277163"/>
                  <a:gd name="connsiteX40" fmla="*/ 1238346 w 1238413"/>
                  <a:gd name="connsiteY40" fmla="*/ 2095500 h 3277163"/>
                  <a:gd name="connsiteX41" fmla="*/ 1200246 w 1238413"/>
                  <a:gd name="connsiteY41" fmla="*/ 2139950 h 3277163"/>
                  <a:gd name="connsiteX42" fmla="*/ 1193896 w 1238413"/>
                  <a:gd name="connsiteY42" fmla="*/ 2190750 h 3277163"/>
                  <a:gd name="connsiteX43" fmla="*/ 1193896 w 1238413"/>
                  <a:gd name="connsiteY43" fmla="*/ 2241550 h 3277163"/>
                  <a:gd name="connsiteX44" fmla="*/ 1212946 w 1238413"/>
                  <a:gd name="connsiteY44" fmla="*/ 2273300 h 3277163"/>
                  <a:gd name="connsiteX45" fmla="*/ 1193896 w 1238413"/>
                  <a:gd name="connsiteY45" fmla="*/ 2305050 h 3277163"/>
                  <a:gd name="connsiteX46" fmla="*/ 1212946 w 1238413"/>
                  <a:gd name="connsiteY46" fmla="*/ 2368550 h 3277163"/>
                  <a:gd name="connsiteX47" fmla="*/ 1155796 w 1238413"/>
                  <a:gd name="connsiteY47" fmla="*/ 2527300 h 3277163"/>
                  <a:gd name="connsiteX48" fmla="*/ 1111346 w 1238413"/>
                  <a:gd name="connsiteY48" fmla="*/ 2565400 h 3277163"/>
                  <a:gd name="connsiteX49" fmla="*/ 1079596 w 1238413"/>
                  <a:gd name="connsiteY49" fmla="*/ 2597150 h 3277163"/>
                  <a:gd name="connsiteX50" fmla="*/ 1003396 w 1238413"/>
                  <a:gd name="connsiteY50" fmla="*/ 2616200 h 3277163"/>
                  <a:gd name="connsiteX51" fmla="*/ 965296 w 1238413"/>
                  <a:gd name="connsiteY51" fmla="*/ 2679700 h 3277163"/>
                  <a:gd name="connsiteX52" fmla="*/ 838296 w 1238413"/>
                  <a:gd name="connsiteY52" fmla="*/ 2762250 h 3277163"/>
                  <a:gd name="connsiteX53" fmla="*/ 730346 w 1238413"/>
                  <a:gd name="connsiteY53" fmla="*/ 2736850 h 3277163"/>
                  <a:gd name="connsiteX54" fmla="*/ 654146 w 1238413"/>
                  <a:gd name="connsiteY54" fmla="*/ 2730500 h 3277163"/>
                  <a:gd name="connsiteX55" fmla="*/ 571596 w 1238413"/>
                  <a:gd name="connsiteY55" fmla="*/ 2736850 h 3277163"/>
                  <a:gd name="connsiteX56" fmla="*/ 489046 w 1238413"/>
                  <a:gd name="connsiteY56" fmla="*/ 2844800 h 3277163"/>
                  <a:gd name="connsiteX57" fmla="*/ 438246 w 1238413"/>
                  <a:gd name="connsiteY57" fmla="*/ 2908300 h 3277163"/>
                  <a:gd name="connsiteX58" fmla="*/ 368396 w 1238413"/>
                  <a:gd name="connsiteY58" fmla="*/ 2946400 h 3277163"/>
                  <a:gd name="connsiteX59" fmla="*/ 349346 w 1238413"/>
                  <a:gd name="connsiteY59" fmla="*/ 3022600 h 3277163"/>
                  <a:gd name="connsiteX60" fmla="*/ 248540 w 1238413"/>
                  <a:gd name="connsiteY60" fmla="*/ 3152775 h 3277163"/>
                  <a:gd name="connsiteX61" fmla="*/ 161227 w 1238413"/>
                  <a:gd name="connsiteY61" fmla="*/ 3273426 h 3277163"/>
                  <a:gd name="connsiteX0" fmla="*/ 12796 w 1238413"/>
                  <a:gd name="connsiteY0" fmla="*/ 0 h 3277163"/>
                  <a:gd name="connsiteX1" fmla="*/ 25496 w 1238413"/>
                  <a:gd name="connsiteY1" fmla="*/ 120650 h 3277163"/>
                  <a:gd name="connsiteX2" fmla="*/ 19146 w 1238413"/>
                  <a:gd name="connsiteY2" fmla="*/ 158750 h 3277163"/>
                  <a:gd name="connsiteX3" fmla="*/ 50896 w 1238413"/>
                  <a:gd name="connsiteY3" fmla="*/ 209550 h 3277163"/>
                  <a:gd name="connsiteX4" fmla="*/ 38196 w 1238413"/>
                  <a:gd name="connsiteY4" fmla="*/ 234950 h 3277163"/>
                  <a:gd name="connsiteX5" fmla="*/ 50896 w 1238413"/>
                  <a:gd name="connsiteY5" fmla="*/ 273050 h 3277163"/>
                  <a:gd name="connsiteX6" fmla="*/ 17558 w 1238413"/>
                  <a:gd name="connsiteY6" fmla="*/ 312737 h 3277163"/>
                  <a:gd name="connsiteX7" fmla="*/ 50896 w 1238413"/>
                  <a:gd name="connsiteY7" fmla="*/ 372269 h 3277163"/>
                  <a:gd name="connsiteX8" fmla="*/ 31846 w 1238413"/>
                  <a:gd name="connsiteY8" fmla="*/ 463550 h 3277163"/>
                  <a:gd name="connsiteX9" fmla="*/ 890 w 1238413"/>
                  <a:gd name="connsiteY9" fmla="*/ 525462 h 3277163"/>
                  <a:gd name="connsiteX10" fmla="*/ 96 w 1238413"/>
                  <a:gd name="connsiteY10" fmla="*/ 546101 h 3277163"/>
                  <a:gd name="connsiteX11" fmla="*/ 6446 w 1238413"/>
                  <a:gd name="connsiteY11" fmla="*/ 603250 h 3277163"/>
                  <a:gd name="connsiteX12" fmla="*/ 50896 w 1238413"/>
                  <a:gd name="connsiteY12" fmla="*/ 647700 h 3277163"/>
                  <a:gd name="connsiteX13" fmla="*/ 63596 w 1238413"/>
                  <a:gd name="connsiteY13" fmla="*/ 704850 h 3277163"/>
                  <a:gd name="connsiteX14" fmla="*/ 120746 w 1238413"/>
                  <a:gd name="connsiteY14" fmla="*/ 749300 h 3277163"/>
                  <a:gd name="connsiteX15" fmla="*/ 170752 w 1238413"/>
                  <a:gd name="connsiteY15" fmla="*/ 763587 h 3277163"/>
                  <a:gd name="connsiteX16" fmla="*/ 241396 w 1238413"/>
                  <a:gd name="connsiteY16" fmla="*/ 806450 h 3277163"/>
                  <a:gd name="connsiteX17" fmla="*/ 228696 w 1238413"/>
                  <a:gd name="connsiteY17" fmla="*/ 857250 h 3277163"/>
                  <a:gd name="connsiteX18" fmla="*/ 273146 w 1238413"/>
                  <a:gd name="connsiteY18" fmla="*/ 901700 h 3277163"/>
                  <a:gd name="connsiteX19" fmla="*/ 376334 w 1238413"/>
                  <a:gd name="connsiteY19" fmla="*/ 981869 h 3277163"/>
                  <a:gd name="connsiteX20" fmla="*/ 425546 w 1238413"/>
                  <a:gd name="connsiteY20" fmla="*/ 1028700 h 3277163"/>
                  <a:gd name="connsiteX21" fmla="*/ 463646 w 1238413"/>
                  <a:gd name="connsiteY21" fmla="*/ 1098550 h 3277163"/>
                  <a:gd name="connsiteX22" fmla="*/ 565246 w 1238413"/>
                  <a:gd name="connsiteY22" fmla="*/ 1143000 h 3277163"/>
                  <a:gd name="connsiteX23" fmla="*/ 609696 w 1238413"/>
                  <a:gd name="connsiteY23" fmla="*/ 1162050 h 3277163"/>
                  <a:gd name="connsiteX24" fmla="*/ 635096 w 1238413"/>
                  <a:gd name="connsiteY24" fmla="*/ 1212850 h 3277163"/>
                  <a:gd name="connsiteX25" fmla="*/ 711296 w 1238413"/>
                  <a:gd name="connsiteY25" fmla="*/ 1212850 h 3277163"/>
                  <a:gd name="connsiteX26" fmla="*/ 728759 w 1238413"/>
                  <a:gd name="connsiteY26" fmla="*/ 1239045 h 3277163"/>
                  <a:gd name="connsiteX27" fmla="*/ 764477 w 1238413"/>
                  <a:gd name="connsiteY27" fmla="*/ 1255714 h 3277163"/>
                  <a:gd name="connsiteX28" fmla="*/ 788289 w 1238413"/>
                  <a:gd name="connsiteY28" fmla="*/ 1304925 h 3277163"/>
                  <a:gd name="connsiteX29" fmla="*/ 825596 w 1238413"/>
                  <a:gd name="connsiteY29" fmla="*/ 1352550 h 3277163"/>
                  <a:gd name="connsiteX30" fmla="*/ 866871 w 1238413"/>
                  <a:gd name="connsiteY30" fmla="*/ 1386682 h 3277163"/>
                  <a:gd name="connsiteX31" fmla="*/ 915290 w 1238413"/>
                  <a:gd name="connsiteY31" fmla="*/ 1406525 h 3277163"/>
                  <a:gd name="connsiteX32" fmla="*/ 952596 w 1238413"/>
                  <a:gd name="connsiteY32" fmla="*/ 1460500 h 3277163"/>
                  <a:gd name="connsiteX33" fmla="*/ 1028796 w 1238413"/>
                  <a:gd name="connsiteY33" fmla="*/ 1612900 h 3277163"/>
                  <a:gd name="connsiteX34" fmla="*/ 1022446 w 1238413"/>
                  <a:gd name="connsiteY34" fmla="*/ 1657350 h 3277163"/>
                  <a:gd name="connsiteX35" fmla="*/ 1066896 w 1238413"/>
                  <a:gd name="connsiteY35" fmla="*/ 1720850 h 3277163"/>
                  <a:gd name="connsiteX36" fmla="*/ 1085946 w 1238413"/>
                  <a:gd name="connsiteY36" fmla="*/ 1809750 h 3277163"/>
                  <a:gd name="connsiteX37" fmla="*/ 1128809 w 1238413"/>
                  <a:gd name="connsiteY37" fmla="*/ 1910557 h 3277163"/>
                  <a:gd name="connsiteX38" fmla="*/ 1143096 w 1238413"/>
                  <a:gd name="connsiteY38" fmla="*/ 1981200 h 3277163"/>
                  <a:gd name="connsiteX39" fmla="*/ 1174846 w 1238413"/>
                  <a:gd name="connsiteY39" fmla="*/ 2044700 h 3277163"/>
                  <a:gd name="connsiteX40" fmla="*/ 1238346 w 1238413"/>
                  <a:gd name="connsiteY40" fmla="*/ 2095500 h 3277163"/>
                  <a:gd name="connsiteX41" fmla="*/ 1200246 w 1238413"/>
                  <a:gd name="connsiteY41" fmla="*/ 2139950 h 3277163"/>
                  <a:gd name="connsiteX42" fmla="*/ 1193896 w 1238413"/>
                  <a:gd name="connsiteY42" fmla="*/ 2190750 h 3277163"/>
                  <a:gd name="connsiteX43" fmla="*/ 1193896 w 1238413"/>
                  <a:gd name="connsiteY43" fmla="*/ 2241550 h 3277163"/>
                  <a:gd name="connsiteX44" fmla="*/ 1212946 w 1238413"/>
                  <a:gd name="connsiteY44" fmla="*/ 2273300 h 3277163"/>
                  <a:gd name="connsiteX45" fmla="*/ 1193896 w 1238413"/>
                  <a:gd name="connsiteY45" fmla="*/ 2305050 h 3277163"/>
                  <a:gd name="connsiteX46" fmla="*/ 1212946 w 1238413"/>
                  <a:gd name="connsiteY46" fmla="*/ 2368550 h 3277163"/>
                  <a:gd name="connsiteX47" fmla="*/ 1155796 w 1238413"/>
                  <a:gd name="connsiteY47" fmla="*/ 2527300 h 3277163"/>
                  <a:gd name="connsiteX48" fmla="*/ 1111346 w 1238413"/>
                  <a:gd name="connsiteY48" fmla="*/ 2565400 h 3277163"/>
                  <a:gd name="connsiteX49" fmla="*/ 1079596 w 1238413"/>
                  <a:gd name="connsiteY49" fmla="*/ 2597150 h 3277163"/>
                  <a:gd name="connsiteX50" fmla="*/ 1003396 w 1238413"/>
                  <a:gd name="connsiteY50" fmla="*/ 2616200 h 3277163"/>
                  <a:gd name="connsiteX51" fmla="*/ 965296 w 1238413"/>
                  <a:gd name="connsiteY51" fmla="*/ 2679700 h 3277163"/>
                  <a:gd name="connsiteX52" fmla="*/ 838296 w 1238413"/>
                  <a:gd name="connsiteY52" fmla="*/ 2762250 h 3277163"/>
                  <a:gd name="connsiteX53" fmla="*/ 730346 w 1238413"/>
                  <a:gd name="connsiteY53" fmla="*/ 2736850 h 3277163"/>
                  <a:gd name="connsiteX54" fmla="*/ 654146 w 1238413"/>
                  <a:gd name="connsiteY54" fmla="*/ 2730500 h 3277163"/>
                  <a:gd name="connsiteX55" fmla="*/ 571596 w 1238413"/>
                  <a:gd name="connsiteY55" fmla="*/ 2736850 h 3277163"/>
                  <a:gd name="connsiteX56" fmla="*/ 489046 w 1238413"/>
                  <a:gd name="connsiteY56" fmla="*/ 2844800 h 3277163"/>
                  <a:gd name="connsiteX57" fmla="*/ 438246 w 1238413"/>
                  <a:gd name="connsiteY57" fmla="*/ 2908300 h 3277163"/>
                  <a:gd name="connsiteX58" fmla="*/ 368396 w 1238413"/>
                  <a:gd name="connsiteY58" fmla="*/ 2946400 h 3277163"/>
                  <a:gd name="connsiteX59" fmla="*/ 349346 w 1238413"/>
                  <a:gd name="connsiteY59" fmla="*/ 3022600 h 3277163"/>
                  <a:gd name="connsiteX60" fmla="*/ 248540 w 1238413"/>
                  <a:gd name="connsiteY60" fmla="*/ 3152775 h 3277163"/>
                  <a:gd name="connsiteX61" fmla="*/ 161227 w 1238413"/>
                  <a:gd name="connsiteY61" fmla="*/ 3273426 h 3277163"/>
                  <a:gd name="connsiteX0" fmla="*/ 12796 w 1238413"/>
                  <a:gd name="connsiteY0" fmla="*/ 0 h 3277163"/>
                  <a:gd name="connsiteX1" fmla="*/ 25496 w 1238413"/>
                  <a:gd name="connsiteY1" fmla="*/ 120650 h 3277163"/>
                  <a:gd name="connsiteX2" fmla="*/ 19146 w 1238413"/>
                  <a:gd name="connsiteY2" fmla="*/ 158750 h 3277163"/>
                  <a:gd name="connsiteX3" fmla="*/ 50896 w 1238413"/>
                  <a:gd name="connsiteY3" fmla="*/ 209550 h 3277163"/>
                  <a:gd name="connsiteX4" fmla="*/ 38196 w 1238413"/>
                  <a:gd name="connsiteY4" fmla="*/ 234950 h 3277163"/>
                  <a:gd name="connsiteX5" fmla="*/ 50896 w 1238413"/>
                  <a:gd name="connsiteY5" fmla="*/ 273050 h 3277163"/>
                  <a:gd name="connsiteX6" fmla="*/ 17558 w 1238413"/>
                  <a:gd name="connsiteY6" fmla="*/ 312737 h 3277163"/>
                  <a:gd name="connsiteX7" fmla="*/ 50896 w 1238413"/>
                  <a:gd name="connsiteY7" fmla="*/ 372269 h 3277163"/>
                  <a:gd name="connsiteX8" fmla="*/ 31846 w 1238413"/>
                  <a:gd name="connsiteY8" fmla="*/ 463550 h 3277163"/>
                  <a:gd name="connsiteX9" fmla="*/ 890 w 1238413"/>
                  <a:gd name="connsiteY9" fmla="*/ 525462 h 3277163"/>
                  <a:gd name="connsiteX10" fmla="*/ 96 w 1238413"/>
                  <a:gd name="connsiteY10" fmla="*/ 546101 h 3277163"/>
                  <a:gd name="connsiteX11" fmla="*/ 6446 w 1238413"/>
                  <a:gd name="connsiteY11" fmla="*/ 603250 h 3277163"/>
                  <a:gd name="connsiteX12" fmla="*/ 50896 w 1238413"/>
                  <a:gd name="connsiteY12" fmla="*/ 647700 h 3277163"/>
                  <a:gd name="connsiteX13" fmla="*/ 63596 w 1238413"/>
                  <a:gd name="connsiteY13" fmla="*/ 704850 h 3277163"/>
                  <a:gd name="connsiteX14" fmla="*/ 120746 w 1238413"/>
                  <a:gd name="connsiteY14" fmla="*/ 749300 h 3277163"/>
                  <a:gd name="connsiteX15" fmla="*/ 170752 w 1238413"/>
                  <a:gd name="connsiteY15" fmla="*/ 763587 h 3277163"/>
                  <a:gd name="connsiteX16" fmla="*/ 241396 w 1238413"/>
                  <a:gd name="connsiteY16" fmla="*/ 806450 h 3277163"/>
                  <a:gd name="connsiteX17" fmla="*/ 228696 w 1238413"/>
                  <a:gd name="connsiteY17" fmla="*/ 857250 h 3277163"/>
                  <a:gd name="connsiteX18" fmla="*/ 273146 w 1238413"/>
                  <a:gd name="connsiteY18" fmla="*/ 901700 h 3277163"/>
                  <a:gd name="connsiteX19" fmla="*/ 376334 w 1238413"/>
                  <a:gd name="connsiteY19" fmla="*/ 981869 h 3277163"/>
                  <a:gd name="connsiteX20" fmla="*/ 425546 w 1238413"/>
                  <a:gd name="connsiteY20" fmla="*/ 1028700 h 3277163"/>
                  <a:gd name="connsiteX21" fmla="*/ 463646 w 1238413"/>
                  <a:gd name="connsiteY21" fmla="*/ 1098550 h 3277163"/>
                  <a:gd name="connsiteX22" fmla="*/ 565246 w 1238413"/>
                  <a:gd name="connsiteY22" fmla="*/ 1143000 h 3277163"/>
                  <a:gd name="connsiteX23" fmla="*/ 609696 w 1238413"/>
                  <a:gd name="connsiteY23" fmla="*/ 1162050 h 3277163"/>
                  <a:gd name="connsiteX24" fmla="*/ 635096 w 1238413"/>
                  <a:gd name="connsiteY24" fmla="*/ 1212850 h 3277163"/>
                  <a:gd name="connsiteX25" fmla="*/ 711296 w 1238413"/>
                  <a:gd name="connsiteY25" fmla="*/ 1212850 h 3277163"/>
                  <a:gd name="connsiteX26" fmla="*/ 728759 w 1238413"/>
                  <a:gd name="connsiteY26" fmla="*/ 1239045 h 3277163"/>
                  <a:gd name="connsiteX27" fmla="*/ 764477 w 1238413"/>
                  <a:gd name="connsiteY27" fmla="*/ 1255714 h 3277163"/>
                  <a:gd name="connsiteX28" fmla="*/ 788289 w 1238413"/>
                  <a:gd name="connsiteY28" fmla="*/ 1304925 h 3277163"/>
                  <a:gd name="connsiteX29" fmla="*/ 825596 w 1238413"/>
                  <a:gd name="connsiteY29" fmla="*/ 1352550 h 3277163"/>
                  <a:gd name="connsiteX30" fmla="*/ 866871 w 1238413"/>
                  <a:gd name="connsiteY30" fmla="*/ 1386682 h 3277163"/>
                  <a:gd name="connsiteX31" fmla="*/ 915290 w 1238413"/>
                  <a:gd name="connsiteY31" fmla="*/ 1406525 h 3277163"/>
                  <a:gd name="connsiteX32" fmla="*/ 952596 w 1238413"/>
                  <a:gd name="connsiteY32" fmla="*/ 1460500 h 3277163"/>
                  <a:gd name="connsiteX33" fmla="*/ 1028796 w 1238413"/>
                  <a:gd name="connsiteY33" fmla="*/ 1612900 h 3277163"/>
                  <a:gd name="connsiteX34" fmla="*/ 1022446 w 1238413"/>
                  <a:gd name="connsiteY34" fmla="*/ 1657350 h 3277163"/>
                  <a:gd name="connsiteX35" fmla="*/ 1066896 w 1238413"/>
                  <a:gd name="connsiteY35" fmla="*/ 1720850 h 3277163"/>
                  <a:gd name="connsiteX36" fmla="*/ 1085946 w 1238413"/>
                  <a:gd name="connsiteY36" fmla="*/ 1809750 h 3277163"/>
                  <a:gd name="connsiteX37" fmla="*/ 1128809 w 1238413"/>
                  <a:gd name="connsiteY37" fmla="*/ 1910557 h 3277163"/>
                  <a:gd name="connsiteX38" fmla="*/ 1143096 w 1238413"/>
                  <a:gd name="connsiteY38" fmla="*/ 1981200 h 3277163"/>
                  <a:gd name="connsiteX39" fmla="*/ 1174846 w 1238413"/>
                  <a:gd name="connsiteY39" fmla="*/ 2044700 h 3277163"/>
                  <a:gd name="connsiteX40" fmla="*/ 1238346 w 1238413"/>
                  <a:gd name="connsiteY40" fmla="*/ 2095500 h 3277163"/>
                  <a:gd name="connsiteX41" fmla="*/ 1200246 w 1238413"/>
                  <a:gd name="connsiteY41" fmla="*/ 2139950 h 3277163"/>
                  <a:gd name="connsiteX42" fmla="*/ 1193896 w 1238413"/>
                  <a:gd name="connsiteY42" fmla="*/ 2190750 h 3277163"/>
                  <a:gd name="connsiteX43" fmla="*/ 1193896 w 1238413"/>
                  <a:gd name="connsiteY43" fmla="*/ 2241550 h 3277163"/>
                  <a:gd name="connsiteX44" fmla="*/ 1212946 w 1238413"/>
                  <a:gd name="connsiteY44" fmla="*/ 2273300 h 3277163"/>
                  <a:gd name="connsiteX45" fmla="*/ 1193896 w 1238413"/>
                  <a:gd name="connsiteY45" fmla="*/ 2305050 h 3277163"/>
                  <a:gd name="connsiteX46" fmla="*/ 1212946 w 1238413"/>
                  <a:gd name="connsiteY46" fmla="*/ 2368550 h 3277163"/>
                  <a:gd name="connsiteX47" fmla="*/ 1155796 w 1238413"/>
                  <a:gd name="connsiteY47" fmla="*/ 2527300 h 3277163"/>
                  <a:gd name="connsiteX48" fmla="*/ 1111346 w 1238413"/>
                  <a:gd name="connsiteY48" fmla="*/ 2565400 h 3277163"/>
                  <a:gd name="connsiteX49" fmla="*/ 1079596 w 1238413"/>
                  <a:gd name="connsiteY49" fmla="*/ 2597150 h 3277163"/>
                  <a:gd name="connsiteX50" fmla="*/ 1003396 w 1238413"/>
                  <a:gd name="connsiteY50" fmla="*/ 2616200 h 3277163"/>
                  <a:gd name="connsiteX51" fmla="*/ 965296 w 1238413"/>
                  <a:gd name="connsiteY51" fmla="*/ 2679700 h 3277163"/>
                  <a:gd name="connsiteX52" fmla="*/ 838296 w 1238413"/>
                  <a:gd name="connsiteY52" fmla="*/ 2762250 h 3277163"/>
                  <a:gd name="connsiteX53" fmla="*/ 730346 w 1238413"/>
                  <a:gd name="connsiteY53" fmla="*/ 2736850 h 3277163"/>
                  <a:gd name="connsiteX54" fmla="*/ 654146 w 1238413"/>
                  <a:gd name="connsiteY54" fmla="*/ 2730500 h 3277163"/>
                  <a:gd name="connsiteX55" fmla="*/ 571596 w 1238413"/>
                  <a:gd name="connsiteY55" fmla="*/ 2736850 h 3277163"/>
                  <a:gd name="connsiteX56" fmla="*/ 489046 w 1238413"/>
                  <a:gd name="connsiteY56" fmla="*/ 2844800 h 3277163"/>
                  <a:gd name="connsiteX57" fmla="*/ 438246 w 1238413"/>
                  <a:gd name="connsiteY57" fmla="*/ 2908300 h 3277163"/>
                  <a:gd name="connsiteX58" fmla="*/ 368396 w 1238413"/>
                  <a:gd name="connsiteY58" fmla="*/ 2946400 h 3277163"/>
                  <a:gd name="connsiteX59" fmla="*/ 349346 w 1238413"/>
                  <a:gd name="connsiteY59" fmla="*/ 3022600 h 3277163"/>
                  <a:gd name="connsiteX60" fmla="*/ 248540 w 1238413"/>
                  <a:gd name="connsiteY60" fmla="*/ 3152775 h 3277163"/>
                  <a:gd name="connsiteX61" fmla="*/ 161227 w 1238413"/>
                  <a:gd name="connsiteY61" fmla="*/ 3273426 h 3277163"/>
                  <a:gd name="connsiteX0" fmla="*/ 12796 w 1238413"/>
                  <a:gd name="connsiteY0" fmla="*/ 0 h 3277163"/>
                  <a:gd name="connsiteX1" fmla="*/ 25496 w 1238413"/>
                  <a:gd name="connsiteY1" fmla="*/ 120650 h 3277163"/>
                  <a:gd name="connsiteX2" fmla="*/ 19146 w 1238413"/>
                  <a:gd name="connsiteY2" fmla="*/ 158750 h 3277163"/>
                  <a:gd name="connsiteX3" fmla="*/ 50896 w 1238413"/>
                  <a:gd name="connsiteY3" fmla="*/ 209550 h 3277163"/>
                  <a:gd name="connsiteX4" fmla="*/ 38196 w 1238413"/>
                  <a:gd name="connsiteY4" fmla="*/ 234950 h 3277163"/>
                  <a:gd name="connsiteX5" fmla="*/ 50896 w 1238413"/>
                  <a:gd name="connsiteY5" fmla="*/ 273050 h 3277163"/>
                  <a:gd name="connsiteX6" fmla="*/ 17558 w 1238413"/>
                  <a:gd name="connsiteY6" fmla="*/ 312737 h 3277163"/>
                  <a:gd name="connsiteX7" fmla="*/ 50896 w 1238413"/>
                  <a:gd name="connsiteY7" fmla="*/ 372269 h 3277163"/>
                  <a:gd name="connsiteX8" fmla="*/ 31846 w 1238413"/>
                  <a:gd name="connsiteY8" fmla="*/ 463550 h 3277163"/>
                  <a:gd name="connsiteX9" fmla="*/ 890 w 1238413"/>
                  <a:gd name="connsiteY9" fmla="*/ 525462 h 3277163"/>
                  <a:gd name="connsiteX10" fmla="*/ 96 w 1238413"/>
                  <a:gd name="connsiteY10" fmla="*/ 546101 h 3277163"/>
                  <a:gd name="connsiteX11" fmla="*/ 6446 w 1238413"/>
                  <a:gd name="connsiteY11" fmla="*/ 603250 h 3277163"/>
                  <a:gd name="connsiteX12" fmla="*/ 50896 w 1238413"/>
                  <a:gd name="connsiteY12" fmla="*/ 647700 h 3277163"/>
                  <a:gd name="connsiteX13" fmla="*/ 63596 w 1238413"/>
                  <a:gd name="connsiteY13" fmla="*/ 704850 h 3277163"/>
                  <a:gd name="connsiteX14" fmla="*/ 120746 w 1238413"/>
                  <a:gd name="connsiteY14" fmla="*/ 749300 h 3277163"/>
                  <a:gd name="connsiteX15" fmla="*/ 170752 w 1238413"/>
                  <a:gd name="connsiteY15" fmla="*/ 763587 h 3277163"/>
                  <a:gd name="connsiteX16" fmla="*/ 241396 w 1238413"/>
                  <a:gd name="connsiteY16" fmla="*/ 806450 h 3277163"/>
                  <a:gd name="connsiteX17" fmla="*/ 228696 w 1238413"/>
                  <a:gd name="connsiteY17" fmla="*/ 857250 h 3277163"/>
                  <a:gd name="connsiteX18" fmla="*/ 273146 w 1238413"/>
                  <a:gd name="connsiteY18" fmla="*/ 901700 h 3277163"/>
                  <a:gd name="connsiteX19" fmla="*/ 376334 w 1238413"/>
                  <a:gd name="connsiteY19" fmla="*/ 981869 h 3277163"/>
                  <a:gd name="connsiteX20" fmla="*/ 425546 w 1238413"/>
                  <a:gd name="connsiteY20" fmla="*/ 1028700 h 3277163"/>
                  <a:gd name="connsiteX21" fmla="*/ 463646 w 1238413"/>
                  <a:gd name="connsiteY21" fmla="*/ 1098550 h 3277163"/>
                  <a:gd name="connsiteX22" fmla="*/ 565246 w 1238413"/>
                  <a:gd name="connsiteY22" fmla="*/ 1143000 h 3277163"/>
                  <a:gd name="connsiteX23" fmla="*/ 609696 w 1238413"/>
                  <a:gd name="connsiteY23" fmla="*/ 1162050 h 3277163"/>
                  <a:gd name="connsiteX24" fmla="*/ 635096 w 1238413"/>
                  <a:gd name="connsiteY24" fmla="*/ 1212850 h 3277163"/>
                  <a:gd name="connsiteX25" fmla="*/ 711296 w 1238413"/>
                  <a:gd name="connsiteY25" fmla="*/ 1212850 h 3277163"/>
                  <a:gd name="connsiteX26" fmla="*/ 728759 w 1238413"/>
                  <a:gd name="connsiteY26" fmla="*/ 1239045 h 3277163"/>
                  <a:gd name="connsiteX27" fmla="*/ 764477 w 1238413"/>
                  <a:gd name="connsiteY27" fmla="*/ 1255714 h 3277163"/>
                  <a:gd name="connsiteX28" fmla="*/ 788289 w 1238413"/>
                  <a:gd name="connsiteY28" fmla="*/ 1304925 h 3277163"/>
                  <a:gd name="connsiteX29" fmla="*/ 825596 w 1238413"/>
                  <a:gd name="connsiteY29" fmla="*/ 1352550 h 3277163"/>
                  <a:gd name="connsiteX30" fmla="*/ 866871 w 1238413"/>
                  <a:gd name="connsiteY30" fmla="*/ 1386682 h 3277163"/>
                  <a:gd name="connsiteX31" fmla="*/ 915290 w 1238413"/>
                  <a:gd name="connsiteY31" fmla="*/ 1406525 h 3277163"/>
                  <a:gd name="connsiteX32" fmla="*/ 952596 w 1238413"/>
                  <a:gd name="connsiteY32" fmla="*/ 1460500 h 3277163"/>
                  <a:gd name="connsiteX33" fmla="*/ 1028796 w 1238413"/>
                  <a:gd name="connsiteY33" fmla="*/ 1612900 h 3277163"/>
                  <a:gd name="connsiteX34" fmla="*/ 1022446 w 1238413"/>
                  <a:gd name="connsiteY34" fmla="*/ 1657350 h 3277163"/>
                  <a:gd name="connsiteX35" fmla="*/ 1066896 w 1238413"/>
                  <a:gd name="connsiteY35" fmla="*/ 1720850 h 3277163"/>
                  <a:gd name="connsiteX36" fmla="*/ 1085946 w 1238413"/>
                  <a:gd name="connsiteY36" fmla="*/ 1809750 h 3277163"/>
                  <a:gd name="connsiteX37" fmla="*/ 1128809 w 1238413"/>
                  <a:gd name="connsiteY37" fmla="*/ 1910557 h 3277163"/>
                  <a:gd name="connsiteX38" fmla="*/ 1143096 w 1238413"/>
                  <a:gd name="connsiteY38" fmla="*/ 1981200 h 3277163"/>
                  <a:gd name="connsiteX39" fmla="*/ 1174846 w 1238413"/>
                  <a:gd name="connsiteY39" fmla="*/ 2044700 h 3277163"/>
                  <a:gd name="connsiteX40" fmla="*/ 1238346 w 1238413"/>
                  <a:gd name="connsiteY40" fmla="*/ 2095500 h 3277163"/>
                  <a:gd name="connsiteX41" fmla="*/ 1200246 w 1238413"/>
                  <a:gd name="connsiteY41" fmla="*/ 2139950 h 3277163"/>
                  <a:gd name="connsiteX42" fmla="*/ 1193896 w 1238413"/>
                  <a:gd name="connsiteY42" fmla="*/ 2190750 h 3277163"/>
                  <a:gd name="connsiteX43" fmla="*/ 1193896 w 1238413"/>
                  <a:gd name="connsiteY43" fmla="*/ 2241550 h 3277163"/>
                  <a:gd name="connsiteX44" fmla="*/ 1212946 w 1238413"/>
                  <a:gd name="connsiteY44" fmla="*/ 2273300 h 3277163"/>
                  <a:gd name="connsiteX45" fmla="*/ 1193896 w 1238413"/>
                  <a:gd name="connsiteY45" fmla="*/ 2305050 h 3277163"/>
                  <a:gd name="connsiteX46" fmla="*/ 1212946 w 1238413"/>
                  <a:gd name="connsiteY46" fmla="*/ 2368550 h 3277163"/>
                  <a:gd name="connsiteX47" fmla="*/ 1155796 w 1238413"/>
                  <a:gd name="connsiteY47" fmla="*/ 2527300 h 3277163"/>
                  <a:gd name="connsiteX48" fmla="*/ 1111346 w 1238413"/>
                  <a:gd name="connsiteY48" fmla="*/ 2565400 h 3277163"/>
                  <a:gd name="connsiteX49" fmla="*/ 1079596 w 1238413"/>
                  <a:gd name="connsiteY49" fmla="*/ 2597150 h 3277163"/>
                  <a:gd name="connsiteX50" fmla="*/ 1003396 w 1238413"/>
                  <a:gd name="connsiteY50" fmla="*/ 2616200 h 3277163"/>
                  <a:gd name="connsiteX51" fmla="*/ 965296 w 1238413"/>
                  <a:gd name="connsiteY51" fmla="*/ 2679700 h 3277163"/>
                  <a:gd name="connsiteX52" fmla="*/ 838296 w 1238413"/>
                  <a:gd name="connsiteY52" fmla="*/ 2762250 h 3277163"/>
                  <a:gd name="connsiteX53" fmla="*/ 730346 w 1238413"/>
                  <a:gd name="connsiteY53" fmla="*/ 2736850 h 3277163"/>
                  <a:gd name="connsiteX54" fmla="*/ 654146 w 1238413"/>
                  <a:gd name="connsiteY54" fmla="*/ 2730500 h 3277163"/>
                  <a:gd name="connsiteX55" fmla="*/ 571596 w 1238413"/>
                  <a:gd name="connsiteY55" fmla="*/ 2736850 h 3277163"/>
                  <a:gd name="connsiteX56" fmla="*/ 489046 w 1238413"/>
                  <a:gd name="connsiteY56" fmla="*/ 2844800 h 3277163"/>
                  <a:gd name="connsiteX57" fmla="*/ 438246 w 1238413"/>
                  <a:gd name="connsiteY57" fmla="*/ 2908300 h 3277163"/>
                  <a:gd name="connsiteX58" fmla="*/ 368396 w 1238413"/>
                  <a:gd name="connsiteY58" fmla="*/ 2946400 h 3277163"/>
                  <a:gd name="connsiteX59" fmla="*/ 349346 w 1238413"/>
                  <a:gd name="connsiteY59" fmla="*/ 3022600 h 3277163"/>
                  <a:gd name="connsiteX60" fmla="*/ 248540 w 1238413"/>
                  <a:gd name="connsiteY60" fmla="*/ 3152775 h 3277163"/>
                  <a:gd name="connsiteX61" fmla="*/ 161227 w 1238413"/>
                  <a:gd name="connsiteY61" fmla="*/ 3273426 h 3277163"/>
                  <a:gd name="connsiteX0" fmla="*/ 12796 w 1238413"/>
                  <a:gd name="connsiteY0" fmla="*/ 0 h 3277163"/>
                  <a:gd name="connsiteX1" fmla="*/ 25496 w 1238413"/>
                  <a:gd name="connsiteY1" fmla="*/ 120650 h 3277163"/>
                  <a:gd name="connsiteX2" fmla="*/ 19146 w 1238413"/>
                  <a:gd name="connsiteY2" fmla="*/ 158750 h 3277163"/>
                  <a:gd name="connsiteX3" fmla="*/ 41371 w 1238413"/>
                  <a:gd name="connsiteY3" fmla="*/ 209550 h 3277163"/>
                  <a:gd name="connsiteX4" fmla="*/ 38196 w 1238413"/>
                  <a:gd name="connsiteY4" fmla="*/ 234950 h 3277163"/>
                  <a:gd name="connsiteX5" fmla="*/ 50896 w 1238413"/>
                  <a:gd name="connsiteY5" fmla="*/ 273050 h 3277163"/>
                  <a:gd name="connsiteX6" fmla="*/ 17558 w 1238413"/>
                  <a:gd name="connsiteY6" fmla="*/ 312737 h 3277163"/>
                  <a:gd name="connsiteX7" fmla="*/ 50896 w 1238413"/>
                  <a:gd name="connsiteY7" fmla="*/ 372269 h 3277163"/>
                  <a:gd name="connsiteX8" fmla="*/ 31846 w 1238413"/>
                  <a:gd name="connsiteY8" fmla="*/ 463550 h 3277163"/>
                  <a:gd name="connsiteX9" fmla="*/ 890 w 1238413"/>
                  <a:gd name="connsiteY9" fmla="*/ 525462 h 3277163"/>
                  <a:gd name="connsiteX10" fmla="*/ 96 w 1238413"/>
                  <a:gd name="connsiteY10" fmla="*/ 546101 h 3277163"/>
                  <a:gd name="connsiteX11" fmla="*/ 6446 w 1238413"/>
                  <a:gd name="connsiteY11" fmla="*/ 603250 h 3277163"/>
                  <a:gd name="connsiteX12" fmla="*/ 50896 w 1238413"/>
                  <a:gd name="connsiteY12" fmla="*/ 647700 h 3277163"/>
                  <a:gd name="connsiteX13" fmla="*/ 63596 w 1238413"/>
                  <a:gd name="connsiteY13" fmla="*/ 704850 h 3277163"/>
                  <a:gd name="connsiteX14" fmla="*/ 120746 w 1238413"/>
                  <a:gd name="connsiteY14" fmla="*/ 749300 h 3277163"/>
                  <a:gd name="connsiteX15" fmla="*/ 170752 w 1238413"/>
                  <a:gd name="connsiteY15" fmla="*/ 763587 h 3277163"/>
                  <a:gd name="connsiteX16" fmla="*/ 241396 w 1238413"/>
                  <a:gd name="connsiteY16" fmla="*/ 806450 h 3277163"/>
                  <a:gd name="connsiteX17" fmla="*/ 228696 w 1238413"/>
                  <a:gd name="connsiteY17" fmla="*/ 857250 h 3277163"/>
                  <a:gd name="connsiteX18" fmla="*/ 273146 w 1238413"/>
                  <a:gd name="connsiteY18" fmla="*/ 901700 h 3277163"/>
                  <a:gd name="connsiteX19" fmla="*/ 376334 w 1238413"/>
                  <a:gd name="connsiteY19" fmla="*/ 981869 h 3277163"/>
                  <a:gd name="connsiteX20" fmla="*/ 425546 w 1238413"/>
                  <a:gd name="connsiteY20" fmla="*/ 1028700 h 3277163"/>
                  <a:gd name="connsiteX21" fmla="*/ 463646 w 1238413"/>
                  <a:gd name="connsiteY21" fmla="*/ 1098550 h 3277163"/>
                  <a:gd name="connsiteX22" fmla="*/ 565246 w 1238413"/>
                  <a:gd name="connsiteY22" fmla="*/ 1143000 h 3277163"/>
                  <a:gd name="connsiteX23" fmla="*/ 609696 w 1238413"/>
                  <a:gd name="connsiteY23" fmla="*/ 1162050 h 3277163"/>
                  <a:gd name="connsiteX24" fmla="*/ 635096 w 1238413"/>
                  <a:gd name="connsiteY24" fmla="*/ 1212850 h 3277163"/>
                  <a:gd name="connsiteX25" fmla="*/ 711296 w 1238413"/>
                  <a:gd name="connsiteY25" fmla="*/ 1212850 h 3277163"/>
                  <a:gd name="connsiteX26" fmla="*/ 728759 w 1238413"/>
                  <a:gd name="connsiteY26" fmla="*/ 1239045 h 3277163"/>
                  <a:gd name="connsiteX27" fmla="*/ 764477 w 1238413"/>
                  <a:gd name="connsiteY27" fmla="*/ 1255714 h 3277163"/>
                  <a:gd name="connsiteX28" fmla="*/ 788289 w 1238413"/>
                  <a:gd name="connsiteY28" fmla="*/ 1304925 h 3277163"/>
                  <a:gd name="connsiteX29" fmla="*/ 825596 w 1238413"/>
                  <a:gd name="connsiteY29" fmla="*/ 1352550 h 3277163"/>
                  <a:gd name="connsiteX30" fmla="*/ 866871 w 1238413"/>
                  <a:gd name="connsiteY30" fmla="*/ 1386682 h 3277163"/>
                  <a:gd name="connsiteX31" fmla="*/ 915290 w 1238413"/>
                  <a:gd name="connsiteY31" fmla="*/ 1406525 h 3277163"/>
                  <a:gd name="connsiteX32" fmla="*/ 952596 w 1238413"/>
                  <a:gd name="connsiteY32" fmla="*/ 1460500 h 3277163"/>
                  <a:gd name="connsiteX33" fmla="*/ 1028796 w 1238413"/>
                  <a:gd name="connsiteY33" fmla="*/ 1612900 h 3277163"/>
                  <a:gd name="connsiteX34" fmla="*/ 1022446 w 1238413"/>
                  <a:gd name="connsiteY34" fmla="*/ 1657350 h 3277163"/>
                  <a:gd name="connsiteX35" fmla="*/ 1066896 w 1238413"/>
                  <a:gd name="connsiteY35" fmla="*/ 1720850 h 3277163"/>
                  <a:gd name="connsiteX36" fmla="*/ 1085946 w 1238413"/>
                  <a:gd name="connsiteY36" fmla="*/ 1809750 h 3277163"/>
                  <a:gd name="connsiteX37" fmla="*/ 1128809 w 1238413"/>
                  <a:gd name="connsiteY37" fmla="*/ 1910557 h 3277163"/>
                  <a:gd name="connsiteX38" fmla="*/ 1143096 w 1238413"/>
                  <a:gd name="connsiteY38" fmla="*/ 1981200 h 3277163"/>
                  <a:gd name="connsiteX39" fmla="*/ 1174846 w 1238413"/>
                  <a:gd name="connsiteY39" fmla="*/ 2044700 h 3277163"/>
                  <a:gd name="connsiteX40" fmla="*/ 1238346 w 1238413"/>
                  <a:gd name="connsiteY40" fmla="*/ 2095500 h 3277163"/>
                  <a:gd name="connsiteX41" fmla="*/ 1200246 w 1238413"/>
                  <a:gd name="connsiteY41" fmla="*/ 2139950 h 3277163"/>
                  <a:gd name="connsiteX42" fmla="*/ 1193896 w 1238413"/>
                  <a:gd name="connsiteY42" fmla="*/ 2190750 h 3277163"/>
                  <a:gd name="connsiteX43" fmla="*/ 1193896 w 1238413"/>
                  <a:gd name="connsiteY43" fmla="*/ 2241550 h 3277163"/>
                  <a:gd name="connsiteX44" fmla="*/ 1212946 w 1238413"/>
                  <a:gd name="connsiteY44" fmla="*/ 2273300 h 3277163"/>
                  <a:gd name="connsiteX45" fmla="*/ 1193896 w 1238413"/>
                  <a:gd name="connsiteY45" fmla="*/ 2305050 h 3277163"/>
                  <a:gd name="connsiteX46" fmla="*/ 1212946 w 1238413"/>
                  <a:gd name="connsiteY46" fmla="*/ 2368550 h 3277163"/>
                  <a:gd name="connsiteX47" fmla="*/ 1155796 w 1238413"/>
                  <a:gd name="connsiteY47" fmla="*/ 2527300 h 3277163"/>
                  <a:gd name="connsiteX48" fmla="*/ 1111346 w 1238413"/>
                  <a:gd name="connsiteY48" fmla="*/ 2565400 h 3277163"/>
                  <a:gd name="connsiteX49" fmla="*/ 1079596 w 1238413"/>
                  <a:gd name="connsiteY49" fmla="*/ 2597150 h 3277163"/>
                  <a:gd name="connsiteX50" fmla="*/ 1003396 w 1238413"/>
                  <a:gd name="connsiteY50" fmla="*/ 2616200 h 3277163"/>
                  <a:gd name="connsiteX51" fmla="*/ 965296 w 1238413"/>
                  <a:gd name="connsiteY51" fmla="*/ 2679700 h 3277163"/>
                  <a:gd name="connsiteX52" fmla="*/ 838296 w 1238413"/>
                  <a:gd name="connsiteY52" fmla="*/ 2762250 h 3277163"/>
                  <a:gd name="connsiteX53" fmla="*/ 730346 w 1238413"/>
                  <a:gd name="connsiteY53" fmla="*/ 2736850 h 3277163"/>
                  <a:gd name="connsiteX54" fmla="*/ 654146 w 1238413"/>
                  <a:gd name="connsiteY54" fmla="*/ 2730500 h 3277163"/>
                  <a:gd name="connsiteX55" fmla="*/ 571596 w 1238413"/>
                  <a:gd name="connsiteY55" fmla="*/ 2736850 h 3277163"/>
                  <a:gd name="connsiteX56" fmla="*/ 489046 w 1238413"/>
                  <a:gd name="connsiteY56" fmla="*/ 2844800 h 3277163"/>
                  <a:gd name="connsiteX57" fmla="*/ 438246 w 1238413"/>
                  <a:gd name="connsiteY57" fmla="*/ 2908300 h 3277163"/>
                  <a:gd name="connsiteX58" fmla="*/ 368396 w 1238413"/>
                  <a:gd name="connsiteY58" fmla="*/ 2946400 h 3277163"/>
                  <a:gd name="connsiteX59" fmla="*/ 349346 w 1238413"/>
                  <a:gd name="connsiteY59" fmla="*/ 3022600 h 3277163"/>
                  <a:gd name="connsiteX60" fmla="*/ 248540 w 1238413"/>
                  <a:gd name="connsiteY60" fmla="*/ 3152775 h 3277163"/>
                  <a:gd name="connsiteX61" fmla="*/ 161227 w 1238413"/>
                  <a:gd name="connsiteY61" fmla="*/ 3273426 h 3277163"/>
                  <a:gd name="connsiteX0" fmla="*/ 12796 w 1238413"/>
                  <a:gd name="connsiteY0" fmla="*/ 0 h 3277163"/>
                  <a:gd name="connsiteX1" fmla="*/ 25496 w 1238413"/>
                  <a:gd name="connsiteY1" fmla="*/ 120650 h 3277163"/>
                  <a:gd name="connsiteX2" fmla="*/ 19146 w 1238413"/>
                  <a:gd name="connsiteY2" fmla="*/ 158750 h 3277163"/>
                  <a:gd name="connsiteX3" fmla="*/ 41371 w 1238413"/>
                  <a:gd name="connsiteY3" fmla="*/ 209550 h 3277163"/>
                  <a:gd name="connsiteX4" fmla="*/ 38196 w 1238413"/>
                  <a:gd name="connsiteY4" fmla="*/ 234950 h 3277163"/>
                  <a:gd name="connsiteX5" fmla="*/ 50896 w 1238413"/>
                  <a:gd name="connsiteY5" fmla="*/ 273050 h 3277163"/>
                  <a:gd name="connsiteX6" fmla="*/ 17558 w 1238413"/>
                  <a:gd name="connsiteY6" fmla="*/ 312737 h 3277163"/>
                  <a:gd name="connsiteX7" fmla="*/ 50896 w 1238413"/>
                  <a:gd name="connsiteY7" fmla="*/ 372269 h 3277163"/>
                  <a:gd name="connsiteX8" fmla="*/ 31846 w 1238413"/>
                  <a:gd name="connsiteY8" fmla="*/ 463550 h 3277163"/>
                  <a:gd name="connsiteX9" fmla="*/ 890 w 1238413"/>
                  <a:gd name="connsiteY9" fmla="*/ 525462 h 3277163"/>
                  <a:gd name="connsiteX10" fmla="*/ 96 w 1238413"/>
                  <a:gd name="connsiteY10" fmla="*/ 546101 h 3277163"/>
                  <a:gd name="connsiteX11" fmla="*/ 6446 w 1238413"/>
                  <a:gd name="connsiteY11" fmla="*/ 603250 h 3277163"/>
                  <a:gd name="connsiteX12" fmla="*/ 50896 w 1238413"/>
                  <a:gd name="connsiteY12" fmla="*/ 647700 h 3277163"/>
                  <a:gd name="connsiteX13" fmla="*/ 63596 w 1238413"/>
                  <a:gd name="connsiteY13" fmla="*/ 704850 h 3277163"/>
                  <a:gd name="connsiteX14" fmla="*/ 120746 w 1238413"/>
                  <a:gd name="connsiteY14" fmla="*/ 749300 h 3277163"/>
                  <a:gd name="connsiteX15" fmla="*/ 170752 w 1238413"/>
                  <a:gd name="connsiteY15" fmla="*/ 763587 h 3277163"/>
                  <a:gd name="connsiteX16" fmla="*/ 241396 w 1238413"/>
                  <a:gd name="connsiteY16" fmla="*/ 806450 h 3277163"/>
                  <a:gd name="connsiteX17" fmla="*/ 228696 w 1238413"/>
                  <a:gd name="connsiteY17" fmla="*/ 857250 h 3277163"/>
                  <a:gd name="connsiteX18" fmla="*/ 273146 w 1238413"/>
                  <a:gd name="connsiteY18" fmla="*/ 901700 h 3277163"/>
                  <a:gd name="connsiteX19" fmla="*/ 376334 w 1238413"/>
                  <a:gd name="connsiteY19" fmla="*/ 981869 h 3277163"/>
                  <a:gd name="connsiteX20" fmla="*/ 425546 w 1238413"/>
                  <a:gd name="connsiteY20" fmla="*/ 1028700 h 3277163"/>
                  <a:gd name="connsiteX21" fmla="*/ 463646 w 1238413"/>
                  <a:gd name="connsiteY21" fmla="*/ 1098550 h 3277163"/>
                  <a:gd name="connsiteX22" fmla="*/ 565246 w 1238413"/>
                  <a:gd name="connsiteY22" fmla="*/ 1143000 h 3277163"/>
                  <a:gd name="connsiteX23" fmla="*/ 609696 w 1238413"/>
                  <a:gd name="connsiteY23" fmla="*/ 1162050 h 3277163"/>
                  <a:gd name="connsiteX24" fmla="*/ 635096 w 1238413"/>
                  <a:gd name="connsiteY24" fmla="*/ 1212850 h 3277163"/>
                  <a:gd name="connsiteX25" fmla="*/ 711296 w 1238413"/>
                  <a:gd name="connsiteY25" fmla="*/ 1212850 h 3277163"/>
                  <a:gd name="connsiteX26" fmla="*/ 728759 w 1238413"/>
                  <a:gd name="connsiteY26" fmla="*/ 1239045 h 3277163"/>
                  <a:gd name="connsiteX27" fmla="*/ 764477 w 1238413"/>
                  <a:gd name="connsiteY27" fmla="*/ 1255714 h 3277163"/>
                  <a:gd name="connsiteX28" fmla="*/ 788289 w 1238413"/>
                  <a:gd name="connsiteY28" fmla="*/ 1304925 h 3277163"/>
                  <a:gd name="connsiteX29" fmla="*/ 825596 w 1238413"/>
                  <a:gd name="connsiteY29" fmla="*/ 1352550 h 3277163"/>
                  <a:gd name="connsiteX30" fmla="*/ 866871 w 1238413"/>
                  <a:gd name="connsiteY30" fmla="*/ 1386682 h 3277163"/>
                  <a:gd name="connsiteX31" fmla="*/ 915290 w 1238413"/>
                  <a:gd name="connsiteY31" fmla="*/ 1406525 h 3277163"/>
                  <a:gd name="connsiteX32" fmla="*/ 952596 w 1238413"/>
                  <a:gd name="connsiteY32" fmla="*/ 1460500 h 3277163"/>
                  <a:gd name="connsiteX33" fmla="*/ 1028796 w 1238413"/>
                  <a:gd name="connsiteY33" fmla="*/ 1612900 h 3277163"/>
                  <a:gd name="connsiteX34" fmla="*/ 1022446 w 1238413"/>
                  <a:gd name="connsiteY34" fmla="*/ 1657350 h 3277163"/>
                  <a:gd name="connsiteX35" fmla="*/ 1066896 w 1238413"/>
                  <a:gd name="connsiteY35" fmla="*/ 1720850 h 3277163"/>
                  <a:gd name="connsiteX36" fmla="*/ 1085946 w 1238413"/>
                  <a:gd name="connsiteY36" fmla="*/ 1809750 h 3277163"/>
                  <a:gd name="connsiteX37" fmla="*/ 1128809 w 1238413"/>
                  <a:gd name="connsiteY37" fmla="*/ 1910557 h 3277163"/>
                  <a:gd name="connsiteX38" fmla="*/ 1143096 w 1238413"/>
                  <a:gd name="connsiteY38" fmla="*/ 1981200 h 3277163"/>
                  <a:gd name="connsiteX39" fmla="*/ 1174846 w 1238413"/>
                  <a:gd name="connsiteY39" fmla="*/ 2044700 h 3277163"/>
                  <a:gd name="connsiteX40" fmla="*/ 1238346 w 1238413"/>
                  <a:gd name="connsiteY40" fmla="*/ 2095500 h 3277163"/>
                  <a:gd name="connsiteX41" fmla="*/ 1200246 w 1238413"/>
                  <a:gd name="connsiteY41" fmla="*/ 2139950 h 3277163"/>
                  <a:gd name="connsiteX42" fmla="*/ 1193896 w 1238413"/>
                  <a:gd name="connsiteY42" fmla="*/ 2190750 h 3277163"/>
                  <a:gd name="connsiteX43" fmla="*/ 1193896 w 1238413"/>
                  <a:gd name="connsiteY43" fmla="*/ 2241550 h 3277163"/>
                  <a:gd name="connsiteX44" fmla="*/ 1212946 w 1238413"/>
                  <a:gd name="connsiteY44" fmla="*/ 2273300 h 3277163"/>
                  <a:gd name="connsiteX45" fmla="*/ 1193896 w 1238413"/>
                  <a:gd name="connsiteY45" fmla="*/ 2305050 h 3277163"/>
                  <a:gd name="connsiteX46" fmla="*/ 1212946 w 1238413"/>
                  <a:gd name="connsiteY46" fmla="*/ 2368550 h 3277163"/>
                  <a:gd name="connsiteX47" fmla="*/ 1155796 w 1238413"/>
                  <a:gd name="connsiteY47" fmla="*/ 2527300 h 3277163"/>
                  <a:gd name="connsiteX48" fmla="*/ 1111346 w 1238413"/>
                  <a:gd name="connsiteY48" fmla="*/ 2565400 h 3277163"/>
                  <a:gd name="connsiteX49" fmla="*/ 1079596 w 1238413"/>
                  <a:gd name="connsiteY49" fmla="*/ 2597150 h 3277163"/>
                  <a:gd name="connsiteX50" fmla="*/ 1003396 w 1238413"/>
                  <a:gd name="connsiteY50" fmla="*/ 2616200 h 3277163"/>
                  <a:gd name="connsiteX51" fmla="*/ 965296 w 1238413"/>
                  <a:gd name="connsiteY51" fmla="*/ 2679700 h 3277163"/>
                  <a:gd name="connsiteX52" fmla="*/ 838296 w 1238413"/>
                  <a:gd name="connsiteY52" fmla="*/ 2762250 h 3277163"/>
                  <a:gd name="connsiteX53" fmla="*/ 730346 w 1238413"/>
                  <a:gd name="connsiteY53" fmla="*/ 2736850 h 3277163"/>
                  <a:gd name="connsiteX54" fmla="*/ 654146 w 1238413"/>
                  <a:gd name="connsiteY54" fmla="*/ 2730500 h 3277163"/>
                  <a:gd name="connsiteX55" fmla="*/ 571596 w 1238413"/>
                  <a:gd name="connsiteY55" fmla="*/ 2736850 h 3277163"/>
                  <a:gd name="connsiteX56" fmla="*/ 489046 w 1238413"/>
                  <a:gd name="connsiteY56" fmla="*/ 2844800 h 3277163"/>
                  <a:gd name="connsiteX57" fmla="*/ 438246 w 1238413"/>
                  <a:gd name="connsiteY57" fmla="*/ 2908300 h 3277163"/>
                  <a:gd name="connsiteX58" fmla="*/ 368396 w 1238413"/>
                  <a:gd name="connsiteY58" fmla="*/ 2946400 h 3277163"/>
                  <a:gd name="connsiteX59" fmla="*/ 349346 w 1238413"/>
                  <a:gd name="connsiteY59" fmla="*/ 3022600 h 3277163"/>
                  <a:gd name="connsiteX60" fmla="*/ 248540 w 1238413"/>
                  <a:gd name="connsiteY60" fmla="*/ 3152775 h 3277163"/>
                  <a:gd name="connsiteX61" fmla="*/ 161227 w 1238413"/>
                  <a:gd name="connsiteY61" fmla="*/ 3273426 h 3277163"/>
                  <a:gd name="connsiteX0" fmla="*/ 12796 w 1238413"/>
                  <a:gd name="connsiteY0" fmla="*/ 0 h 3277163"/>
                  <a:gd name="connsiteX1" fmla="*/ 37402 w 1238413"/>
                  <a:gd name="connsiteY1" fmla="*/ 120650 h 3277163"/>
                  <a:gd name="connsiteX2" fmla="*/ 19146 w 1238413"/>
                  <a:gd name="connsiteY2" fmla="*/ 158750 h 3277163"/>
                  <a:gd name="connsiteX3" fmla="*/ 41371 w 1238413"/>
                  <a:gd name="connsiteY3" fmla="*/ 209550 h 3277163"/>
                  <a:gd name="connsiteX4" fmla="*/ 38196 w 1238413"/>
                  <a:gd name="connsiteY4" fmla="*/ 234950 h 3277163"/>
                  <a:gd name="connsiteX5" fmla="*/ 50896 w 1238413"/>
                  <a:gd name="connsiteY5" fmla="*/ 273050 h 3277163"/>
                  <a:gd name="connsiteX6" fmla="*/ 17558 w 1238413"/>
                  <a:gd name="connsiteY6" fmla="*/ 312737 h 3277163"/>
                  <a:gd name="connsiteX7" fmla="*/ 50896 w 1238413"/>
                  <a:gd name="connsiteY7" fmla="*/ 372269 h 3277163"/>
                  <a:gd name="connsiteX8" fmla="*/ 31846 w 1238413"/>
                  <a:gd name="connsiteY8" fmla="*/ 463550 h 3277163"/>
                  <a:gd name="connsiteX9" fmla="*/ 890 w 1238413"/>
                  <a:gd name="connsiteY9" fmla="*/ 525462 h 3277163"/>
                  <a:gd name="connsiteX10" fmla="*/ 96 w 1238413"/>
                  <a:gd name="connsiteY10" fmla="*/ 546101 h 3277163"/>
                  <a:gd name="connsiteX11" fmla="*/ 6446 w 1238413"/>
                  <a:gd name="connsiteY11" fmla="*/ 603250 h 3277163"/>
                  <a:gd name="connsiteX12" fmla="*/ 50896 w 1238413"/>
                  <a:gd name="connsiteY12" fmla="*/ 647700 h 3277163"/>
                  <a:gd name="connsiteX13" fmla="*/ 63596 w 1238413"/>
                  <a:gd name="connsiteY13" fmla="*/ 704850 h 3277163"/>
                  <a:gd name="connsiteX14" fmla="*/ 120746 w 1238413"/>
                  <a:gd name="connsiteY14" fmla="*/ 749300 h 3277163"/>
                  <a:gd name="connsiteX15" fmla="*/ 170752 w 1238413"/>
                  <a:gd name="connsiteY15" fmla="*/ 763587 h 3277163"/>
                  <a:gd name="connsiteX16" fmla="*/ 241396 w 1238413"/>
                  <a:gd name="connsiteY16" fmla="*/ 806450 h 3277163"/>
                  <a:gd name="connsiteX17" fmla="*/ 228696 w 1238413"/>
                  <a:gd name="connsiteY17" fmla="*/ 857250 h 3277163"/>
                  <a:gd name="connsiteX18" fmla="*/ 273146 w 1238413"/>
                  <a:gd name="connsiteY18" fmla="*/ 901700 h 3277163"/>
                  <a:gd name="connsiteX19" fmla="*/ 376334 w 1238413"/>
                  <a:gd name="connsiteY19" fmla="*/ 981869 h 3277163"/>
                  <a:gd name="connsiteX20" fmla="*/ 425546 w 1238413"/>
                  <a:gd name="connsiteY20" fmla="*/ 1028700 h 3277163"/>
                  <a:gd name="connsiteX21" fmla="*/ 463646 w 1238413"/>
                  <a:gd name="connsiteY21" fmla="*/ 1098550 h 3277163"/>
                  <a:gd name="connsiteX22" fmla="*/ 565246 w 1238413"/>
                  <a:gd name="connsiteY22" fmla="*/ 1143000 h 3277163"/>
                  <a:gd name="connsiteX23" fmla="*/ 609696 w 1238413"/>
                  <a:gd name="connsiteY23" fmla="*/ 1162050 h 3277163"/>
                  <a:gd name="connsiteX24" fmla="*/ 635096 w 1238413"/>
                  <a:gd name="connsiteY24" fmla="*/ 1212850 h 3277163"/>
                  <a:gd name="connsiteX25" fmla="*/ 711296 w 1238413"/>
                  <a:gd name="connsiteY25" fmla="*/ 1212850 h 3277163"/>
                  <a:gd name="connsiteX26" fmla="*/ 728759 w 1238413"/>
                  <a:gd name="connsiteY26" fmla="*/ 1239045 h 3277163"/>
                  <a:gd name="connsiteX27" fmla="*/ 764477 w 1238413"/>
                  <a:gd name="connsiteY27" fmla="*/ 1255714 h 3277163"/>
                  <a:gd name="connsiteX28" fmla="*/ 788289 w 1238413"/>
                  <a:gd name="connsiteY28" fmla="*/ 1304925 h 3277163"/>
                  <a:gd name="connsiteX29" fmla="*/ 825596 w 1238413"/>
                  <a:gd name="connsiteY29" fmla="*/ 1352550 h 3277163"/>
                  <a:gd name="connsiteX30" fmla="*/ 866871 w 1238413"/>
                  <a:gd name="connsiteY30" fmla="*/ 1386682 h 3277163"/>
                  <a:gd name="connsiteX31" fmla="*/ 915290 w 1238413"/>
                  <a:gd name="connsiteY31" fmla="*/ 1406525 h 3277163"/>
                  <a:gd name="connsiteX32" fmla="*/ 952596 w 1238413"/>
                  <a:gd name="connsiteY32" fmla="*/ 1460500 h 3277163"/>
                  <a:gd name="connsiteX33" fmla="*/ 1028796 w 1238413"/>
                  <a:gd name="connsiteY33" fmla="*/ 1612900 h 3277163"/>
                  <a:gd name="connsiteX34" fmla="*/ 1022446 w 1238413"/>
                  <a:gd name="connsiteY34" fmla="*/ 1657350 h 3277163"/>
                  <a:gd name="connsiteX35" fmla="*/ 1066896 w 1238413"/>
                  <a:gd name="connsiteY35" fmla="*/ 1720850 h 3277163"/>
                  <a:gd name="connsiteX36" fmla="*/ 1085946 w 1238413"/>
                  <a:gd name="connsiteY36" fmla="*/ 1809750 h 3277163"/>
                  <a:gd name="connsiteX37" fmla="*/ 1128809 w 1238413"/>
                  <a:gd name="connsiteY37" fmla="*/ 1910557 h 3277163"/>
                  <a:gd name="connsiteX38" fmla="*/ 1143096 w 1238413"/>
                  <a:gd name="connsiteY38" fmla="*/ 1981200 h 3277163"/>
                  <a:gd name="connsiteX39" fmla="*/ 1174846 w 1238413"/>
                  <a:gd name="connsiteY39" fmla="*/ 2044700 h 3277163"/>
                  <a:gd name="connsiteX40" fmla="*/ 1238346 w 1238413"/>
                  <a:gd name="connsiteY40" fmla="*/ 2095500 h 3277163"/>
                  <a:gd name="connsiteX41" fmla="*/ 1200246 w 1238413"/>
                  <a:gd name="connsiteY41" fmla="*/ 2139950 h 3277163"/>
                  <a:gd name="connsiteX42" fmla="*/ 1193896 w 1238413"/>
                  <a:gd name="connsiteY42" fmla="*/ 2190750 h 3277163"/>
                  <a:gd name="connsiteX43" fmla="*/ 1193896 w 1238413"/>
                  <a:gd name="connsiteY43" fmla="*/ 2241550 h 3277163"/>
                  <a:gd name="connsiteX44" fmla="*/ 1212946 w 1238413"/>
                  <a:gd name="connsiteY44" fmla="*/ 2273300 h 3277163"/>
                  <a:gd name="connsiteX45" fmla="*/ 1193896 w 1238413"/>
                  <a:gd name="connsiteY45" fmla="*/ 2305050 h 3277163"/>
                  <a:gd name="connsiteX46" fmla="*/ 1212946 w 1238413"/>
                  <a:gd name="connsiteY46" fmla="*/ 2368550 h 3277163"/>
                  <a:gd name="connsiteX47" fmla="*/ 1155796 w 1238413"/>
                  <a:gd name="connsiteY47" fmla="*/ 2527300 h 3277163"/>
                  <a:gd name="connsiteX48" fmla="*/ 1111346 w 1238413"/>
                  <a:gd name="connsiteY48" fmla="*/ 2565400 h 3277163"/>
                  <a:gd name="connsiteX49" fmla="*/ 1079596 w 1238413"/>
                  <a:gd name="connsiteY49" fmla="*/ 2597150 h 3277163"/>
                  <a:gd name="connsiteX50" fmla="*/ 1003396 w 1238413"/>
                  <a:gd name="connsiteY50" fmla="*/ 2616200 h 3277163"/>
                  <a:gd name="connsiteX51" fmla="*/ 965296 w 1238413"/>
                  <a:gd name="connsiteY51" fmla="*/ 2679700 h 3277163"/>
                  <a:gd name="connsiteX52" fmla="*/ 838296 w 1238413"/>
                  <a:gd name="connsiteY52" fmla="*/ 2762250 h 3277163"/>
                  <a:gd name="connsiteX53" fmla="*/ 730346 w 1238413"/>
                  <a:gd name="connsiteY53" fmla="*/ 2736850 h 3277163"/>
                  <a:gd name="connsiteX54" fmla="*/ 654146 w 1238413"/>
                  <a:gd name="connsiteY54" fmla="*/ 2730500 h 3277163"/>
                  <a:gd name="connsiteX55" fmla="*/ 571596 w 1238413"/>
                  <a:gd name="connsiteY55" fmla="*/ 2736850 h 3277163"/>
                  <a:gd name="connsiteX56" fmla="*/ 489046 w 1238413"/>
                  <a:gd name="connsiteY56" fmla="*/ 2844800 h 3277163"/>
                  <a:gd name="connsiteX57" fmla="*/ 438246 w 1238413"/>
                  <a:gd name="connsiteY57" fmla="*/ 2908300 h 3277163"/>
                  <a:gd name="connsiteX58" fmla="*/ 368396 w 1238413"/>
                  <a:gd name="connsiteY58" fmla="*/ 2946400 h 3277163"/>
                  <a:gd name="connsiteX59" fmla="*/ 349346 w 1238413"/>
                  <a:gd name="connsiteY59" fmla="*/ 3022600 h 3277163"/>
                  <a:gd name="connsiteX60" fmla="*/ 248540 w 1238413"/>
                  <a:gd name="connsiteY60" fmla="*/ 3152775 h 3277163"/>
                  <a:gd name="connsiteX61" fmla="*/ 161227 w 1238413"/>
                  <a:gd name="connsiteY61" fmla="*/ 3273426 h 3277163"/>
                  <a:gd name="connsiteX0" fmla="*/ 12796 w 1238413"/>
                  <a:gd name="connsiteY0" fmla="*/ 0 h 3277163"/>
                  <a:gd name="connsiteX1" fmla="*/ 37402 w 1238413"/>
                  <a:gd name="connsiteY1" fmla="*/ 120650 h 3277163"/>
                  <a:gd name="connsiteX2" fmla="*/ 19146 w 1238413"/>
                  <a:gd name="connsiteY2" fmla="*/ 158750 h 3277163"/>
                  <a:gd name="connsiteX3" fmla="*/ 41371 w 1238413"/>
                  <a:gd name="connsiteY3" fmla="*/ 209550 h 3277163"/>
                  <a:gd name="connsiteX4" fmla="*/ 38196 w 1238413"/>
                  <a:gd name="connsiteY4" fmla="*/ 234950 h 3277163"/>
                  <a:gd name="connsiteX5" fmla="*/ 50896 w 1238413"/>
                  <a:gd name="connsiteY5" fmla="*/ 273050 h 3277163"/>
                  <a:gd name="connsiteX6" fmla="*/ 17558 w 1238413"/>
                  <a:gd name="connsiteY6" fmla="*/ 312737 h 3277163"/>
                  <a:gd name="connsiteX7" fmla="*/ 50896 w 1238413"/>
                  <a:gd name="connsiteY7" fmla="*/ 372269 h 3277163"/>
                  <a:gd name="connsiteX8" fmla="*/ 31846 w 1238413"/>
                  <a:gd name="connsiteY8" fmla="*/ 463550 h 3277163"/>
                  <a:gd name="connsiteX9" fmla="*/ 890 w 1238413"/>
                  <a:gd name="connsiteY9" fmla="*/ 525462 h 3277163"/>
                  <a:gd name="connsiteX10" fmla="*/ 96 w 1238413"/>
                  <a:gd name="connsiteY10" fmla="*/ 546101 h 3277163"/>
                  <a:gd name="connsiteX11" fmla="*/ 6446 w 1238413"/>
                  <a:gd name="connsiteY11" fmla="*/ 603250 h 3277163"/>
                  <a:gd name="connsiteX12" fmla="*/ 50896 w 1238413"/>
                  <a:gd name="connsiteY12" fmla="*/ 647700 h 3277163"/>
                  <a:gd name="connsiteX13" fmla="*/ 63596 w 1238413"/>
                  <a:gd name="connsiteY13" fmla="*/ 704850 h 3277163"/>
                  <a:gd name="connsiteX14" fmla="*/ 120746 w 1238413"/>
                  <a:gd name="connsiteY14" fmla="*/ 749300 h 3277163"/>
                  <a:gd name="connsiteX15" fmla="*/ 170752 w 1238413"/>
                  <a:gd name="connsiteY15" fmla="*/ 763587 h 3277163"/>
                  <a:gd name="connsiteX16" fmla="*/ 241396 w 1238413"/>
                  <a:gd name="connsiteY16" fmla="*/ 806450 h 3277163"/>
                  <a:gd name="connsiteX17" fmla="*/ 228696 w 1238413"/>
                  <a:gd name="connsiteY17" fmla="*/ 857250 h 3277163"/>
                  <a:gd name="connsiteX18" fmla="*/ 273146 w 1238413"/>
                  <a:gd name="connsiteY18" fmla="*/ 901700 h 3277163"/>
                  <a:gd name="connsiteX19" fmla="*/ 376334 w 1238413"/>
                  <a:gd name="connsiteY19" fmla="*/ 981869 h 3277163"/>
                  <a:gd name="connsiteX20" fmla="*/ 425546 w 1238413"/>
                  <a:gd name="connsiteY20" fmla="*/ 1028700 h 3277163"/>
                  <a:gd name="connsiteX21" fmla="*/ 463646 w 1238413"/>
                  <a:gd name="connsiteY21" fmla="*/ 1098550 h 3277163"/>
                  <a:gd name="connsiteX22" fmla="*/ 565246 w 1238413"/>
                  <a:gd name="connsiteY22" fmla="*/ 1143000 h 3277163"/>
                  <a:gd name="connsiteX23" fmla="*/ 609696 w 1238413"/>
                  <a:gd name="connsiteY23" fmla="*/ 1162050 h 3277163"/>
                  <a:gd name="connsiteX24" fmla="*/ 635096 w 1238413"/>
                  <a:gd name="connsiteY24" fmla="*/ 1212850 h 3277163"/>
                  <a:gd name="connsiteX25" fmla="*/ 711296 w 1238413"/>
                  <a:gd name="connsiteY25" fmla="*/ 1212850 h 3277163"/>
                  <a:gd name="connsiteX26" fmla="*/ 728759 w 1238413"/>
                  <a:gd name="connsiteY26" fmla="*/ 1239045 h 3277163"/>
                  <a:gd name="connsiteX27" fmla="*/ 764477 w 1238413"/>
                  <a:gd name="connsiteY27" fmla="*/ 1255714 h 3277163"/>
                  <a:gd name="connsiteX28" fmla="*/ 788289 w 1238413"/>
                  <a:gd name="connsiteY28" fmla="*/ 1304925 h 3277163"/>
                  <a:gd name="connsiteX29" fmla="*/ 825596 w 1238413"/>
                  <a:gd name="connsiteY29" fmla="*/ 1352550 h 3277163"/>
                  <a:gd name="connsiteX30" fmla="*/ 866871 w 1238413"/>
                  <a:gd name="connsiteY30" fmla="*/ 1386682 h 3277163"/>
                  <a:gd name="connsiteX31" fmla="*/ 915290 w 1238413"/>
                  <a:gd name="connsiteY31" fmla="*/ 1406525 h 3277163"/>
                  <a:gd name="connsiteX32" fmla="*/ 952596 w 1238413"/>
                  <a:gd name="connsiteY32" fmla="*/ 1460500 h 3277163"/>
                  <a:gd name="connsiteX33" fmla="*/ 1028796 w 1238413"/>
                  <a:gd name="connsiteY33" fmla="*/ 1612900 h 3277163"/>
                  <a:gd name="connsiteX34" fmla="*/ 1022446 w 1238413"/>
                  <a:gd name="connsiteY34" fmla="*/ 1657350 h 3277163"/>
                  <a:gd name="connsiteX35" fmla="*/ 1066896 w 1238413"/>
                  <a:gd name="connsiteY35" fmla="*/ 1720850 h 3277163"/>
                  <a:gd name="connsiteX36" fmla="*/ 1085946 w 1238413"/>
                  <a:gd name="connsiteY36" fmla="*/ 1809750 h 3277163"/>
                  <a:gd name="connsiteX37" fmla="*/ 1128809 w 1238413"/>
                  <a:gd name="connsiteY37" fmla="*/ 1910557 h 3277163"/>
                  <a:gd name="connsiteX38" fmla="*/ 1143096 w 1238413"/>
                  <a:gd name="connsiteY38" fmla="*/ 1981200 h 3277163"/>
                  <a:gd name="connsiteX39" fmla="*/ 1174846 w 1238413"/>
                  <a:gd name="connsiteY39" fmla="*/ 2044700 h 3277163"/>
                  <a:gd name="connsiteX40" fmla="*/ 1238346 w 1238413"/>
                  <a:gd name="connsiteY40" fmla="*/ 2095500 h 3277163"/>
                  <a:gd name="connsiteX41" fmla="*/ 1200246 w 1238413"/>
                  <a:gd name="connsiteY41" fmla="*/ 2139950 h 3277163"/>
                  <a:gd name="connsiteX42" fmla="*/ 1193896 w 1238413"/>
                  <a:gd name="connsiteY42" fmla="*/ 2190750 h 3277163"/>
                  <a:gd name="connsiteX43" fmla="*/ 1193896 w 1238413"/>
                  <a:gd name="connsiteY43" fmla="*/ 2241550 h 3277163"/>
                  <a:gd name="connsiteX44" fmla="*/ 1212946 w 1238413"/>
                  <a:gd name="connsiteY44" fmla="*/ 2273300 h 3277163"/>
                  <a:gd name="connsiteX45" fmla="*/ 1193896 w 1238413"/>
                  <a:gd name="connsiteY45" fmla="*/ 2305050 h 3277163"/>
                  <a:gd name="connsiteX46" fmla="*/ 1212946 w 1238413"/>
                  <a:gd name="connsiteY46" fmla="*/ 2368550 h 3277163"/>
                  <a:gd name="connsiteX47" fmla="*/ 1155796 w 1238413"/>
                  <a:gd name="connsiteY47" fmla="*/ 2527300 h 3277163"/>
                  <a:gd name="connsiteX48" fmla="*/ 1111346 w 1238413"/>
                  <a:gd name="connsiteY48" fmla="*/ 2565400 h 3277163"/>
                  <a:gd name="connsiteX49" fmla="*/ 1079596 w 1238413"/>
                  <a:gd name="connsiteY49" fmla="*/ 2597150 h 3277163"/>
                  <a:gd name="connsiteX50" fmla="*/ 1003396 w 1238413"/>
                  <a:gd name="connsiteY50" fmla="*/ 2616200 h 3277163"/>
                  <a:gd name="connsiteX51" fmla="*/ 965296 w 1238413"/>
                  <a:gd name="connsiteY51" fmla="*/ 2679700 h 3277163"/>
                  <a:gd name="connsiteX52" fmla="*/ 838296 w 1238413"/>
                  <a:gd name="connsiteY52" fmla="*/ 2762250 h 3277163"/>
                  <a:gd name="connsiteX53" fmla="*/ 730346 w 1238413"/>
                  <a:gd name="connsiteY53" fmla="*/ 2736850 h 3277163"/>
                  <a:gd name="connsiteX54" fmla="*/ 654146 w 1238413"/>
                  <a:gd name="connsiteY54" fmla="*/ 2730500 h 3277163"/>
                  <a:gd name="connsiteX55" fmla="*/ 571596 w 1238413"/>
                  <a:gd name="connsiteY55" fmla="*/ 2736850 h 3277163"/>
                  <a:gd name="connsiteX56" fmla="*/ 489046 w 1238413"/>
                  <a:gd name="connsiteY56" fmla="*/ 2844800 h 3277163"/>
                  <a:gd name="connsiteX57" fmla="*/ 438246 w 1238413"/>
                  <a:gd name="connsiteY57" fmla="*/ 2908300 h 3277163"/>
                  <a:gd name="connsiteX58" fmla="*/ 368396 w 1238413"/>
                  <a:gd name="connsiteY58" fmla="*/ 2946400 h 3277163"/>
                  <a:gd name="connsiteX59" fmla="*/ 349346 w 1238413"/>
                  <a:gd name="connsiteY59" fmla="*/ 3022600 h 3277163"/>
                  <a:gd name="connsiteX60" fmla="*/ 248540 w 1238413"/>
                  <a:gd name="connsiteY60" fmla="*/ 3152775 h 3277163"/>
                  <a:gd name="connsiteX61" fmla="*/ 161227 w 1238413"/>
                  <a:gd name="connsiteY61" fmla="*/ 3273426 h 3277163"/>
                  <a:gd name="connsiteX0" fmla="*/ 12796 w 1238413"/>
                  <a:gd name="connsiteY0" fmla="*/ 0 h 3277163"/>
                  <a:gd name="connsiteX1" fmla="*/ 37402 w 1238413"/>
                  <a:gd name="connsiteY1" fmla="*/ 120650 h 3277163"/>
                  <a:gd name="connsiteX2" fmla="*/ 19146 w 1238413"/>
                  <a:gd name="connsiteY2" fmla="*/ 158750 h 3277163"/>
                  <a:gd name="connsiteX3" fmla="*/ 41371 w 1238413"/>
                  <a:gd name="connsiteY3" fmla="*/ 209550 h 3277163"/>
                  <a:gd name="connsiteX4" fmla="*/ 38196 w 1238413"/>
                  <a:gd name="connsiteY4" fmla="*/ 234950 h 3277163"/>
                  <a:gd name="connsiteX5" fmla="*/ 50896 w 1238413"/>
                  <a:gd name="connsiteY5" fmla="*/ 273050 h 3277163"/>
                  <a:gd name="connsiteX6" fmla="*/ 17558 w 1238413"/>
                  <a:gd name="connsiteY6" fmla="*/ 312737 h 3277163"/>
                  <a:gd name="connsiteX7" fmla="*/ 50896 w 1238413"/>
                  <a:gd name="connsiteY7" fmla="*/ 372269 h 3277163"/>
                  <a:gd name="connsiteX8" fmla="*/ 31846 w 1238413"/>
                  <a:gd name="connsiteY8" fmla="*/ 463550 h 3277163"/>
                  <a:gd name="connsiteX9" fmla="*/ 890 w 1238413"/>
                  <a:gd name="connsiteY9" fmla="*/ 525462 h 3277163"/>
                  <a:gd name="connsiteX10" fmla="*/ 96 w 1238413"/>
                  <a:gd name="connsiteY10" fmla="*/ 546101 h 3277163"/>
                  <a:gd name="connsiteX11" fmla="*/ 6446 w 1238413"/>
                  <a:gd name="connsiteY11" fmla="*/ 603250 h 3277163"/>
                  <a:gd name="connsiteX12" fmla="*/ 50896 w 1238413"/>
                  <a:gd name="connsiteY12" fmla="*/ 647700 h 3277163"/>
                  <a:gd name="connsiteX13" fmla="*/ 63596 w 1238413"/>
                  <a:gd name="connsiteY13" fmla="*/ 704850 h 3277163"/>
                  <a:gd name="connsiteX14" fmla="*/ 120746 w 1238413"/>
                  <a:gd name="connsiteY14" fmla="*/ 749300 h 3277163"/>
                  <a:gd name="connsiteX15" fmla="*/ 170752 w 1238413"/>
                  <a:gd name="connsiteY15" fmla="*/ 763587 h 3277163"/>
                  <a:gd name="connsiteX16" fmla="*/ 241396 w 1238413"/>
                  <a:gd name="connsiteY16" fmla="*/ 806450 h 3277163"/>
                  <a:gd name="connsiteX17" fmla="*/ 228696 w 1238413"/>
                  <a:gd name="connsiteY17" fmla="*/ 857250 h 3277163"/>
                  <a:gd name="connsiteX18" fmla="*/ 273146 w 1238413"/>
                  <a:gd name="connsiteY18" fmla="*/ 901700 h 3277163"/>
                  <a:gd name="connsiteX19" fmla="*/ 376334 w 1238413"/>
                  <a:gd name="connsiteY19" fmla="*/ 981869 h 3277163"/>
                  <a:gd name="connsiteX20" fmla="*/ 425546 w 1238413"/>
                  <a:gd name="connsiteY20" fmla="*/ 1028700 h 3277163"/>
                  <a:gd name="connsiteX21" fmla="*/ 463646 w 1238413"/>
                  <a:gd name="connsiteY21" fmla="*/ 1098550 h 3277163"/>
                  <a:gd name="connsiteX22" fmla="*/ 565246 w 1238413"/>
                  <a:gd name="connsiteY22" fmla="*/ 1143000 h 3277163"/>
                  <a:gd name="connsiteX23" fmla="*/ 609696 w 1238413"/>
                  <a:gd name="connsiteY23" fmla="*/ 1162050 h 3277163"/>
                  <a:gd name="connsiteX24" fmla="*/ 635096 w 1238413"/>
                  <a:gd name="connsiteY24" fmla="*/ 1212850 h 3277163"/>
                  <a:gd name="connsiteX25" fmla="*/ 711296 w 1238413"/>
                  <a:gd name="connsiteY25" fmla="*/ 1212850 h 3277163"/>
                  <a:gd name="connsiteX26" fmla="*/ 728759 w 1238413"/>
                  <a:gd name="connsiteY26" fmla="*/ 1239045 h 3277163"/>
                  <a:gd name="connsiteX27" fmla="*/ 764477 w 1238413"/>
                  <a:gd name="connsiteY27" fmla="*/ 1255714 h 3277163"/>
                  <a:gd name="connsiteX28" fmla="*/ 788289 w 1238413"/>
                  <a:gd name="connsiteY28" fmla="*/ 1304925 h 3277163"/>
                  <a:gd name="connsiteX29" fmla="*/ 825596 w 1238413"/>
                  <a:gd name="connsiteY29" fmla="*/ 1352550 h 3277163"/>
                  <a:gd name="connsiteX30" fmla="*/ 866871 w 1238413"/>
                  <a:gd name="connsiteY30" fmla="*/ 1386682 h 3277163"/>
                  <a:gd name="connsiteX31" fmla="*/ 915290 w 1238413"/>
                  <a:gd name="connsiteY31" fmla="*/ 1406525 h 3277163"/>
                  <a:gd name="connsiteX32" fmla="*/ 952596 w 1238413"/>
                  <a:gd name="connsiteY32" fmla="*/ 1460500 h 3277163"/>
                  <a:gd name="connsiteX33" fmla="*/ 1028796 w 1238413"/>
                  <a:gd name="connsiteY33" fmla="*/ 1612900 h 3277163"/>
                  <a:gd name="connsiteX34" fmla="*/ 1022446 w 1238413"/>
                  <a:gd name="connsiteY34" fmla="*/ 1657350 h 3277163"/>
                  <a:gd name="connsiteX35" fmla="*/ 1066896 w 1238413"/>
                  <a:gd name="connsiteY35" fmla="*/ 1720850 h 3277163"/>
                  <a:gd name="connsiteX36" fmla="*/ 1085946 w 1238413"/>
                  <a:gd name="connsiteY36" fmla="*/ 1809750 h 3277163"/>
                  <a:gd name="connsiteX37" fmla="*/ 1128809 w 1238413"/>
                  <a:gd name="connsiteY37" fmla="*/ 1910557 h 3277163"/>
                  <a:gd name="connsiteX38" fmla="*/ 1143096 w 1238413"/>
                  <a:gd name="connsiteY38" fmla="*/ 1981200 h 3277163"/>
                  <a:gd name="connsiteX39" fmla="*/ 1174846 w 1238413"/>
                  <a:gd name="connsiteY39" fmla="*/ 2044700 h 3277163"/>
                  <a:gd name="connsiteX40" fmla="*/ 1238346 w 1238413"/>
                  <a:gd name="connsiteY40" fmla="*/ 2095500 h 3277163"/>
                  <a:gd name="connsiteX41" fmla="*/ 1200246 w 1238413"/>
                  <a:gd name="connsiteY41" fmla="*/ 2139950 h 3277163"/>
                  <a:gd name="connsiteX42" fmla="*/ 1193896 w 1238413"/>
                  <a:gd name="connsiteY42" fmla="*/ 2190750 h 3277163"/>
                  <a:gd name="connsiteX43" fmla="*/ 1193896 w 1238413"/>
                  <a:gd name="connsiteY43" fmla="*/ 2241550 h 3277163"/>
                  <a:gd name="connsiteX44" fmla="*/ 1212946 w 1238413"/>
                  <a:gd name="connsiteY44" fmla="*/ 2273300 h 3277163"/>
                  <a:gd name="connsiteX45" fmla="*/ 1193896 w 1238413"/>
                  <a:gd name="connsiteY45" fmla="*/ 2305050 h 3277163"/>
                  <a:gd name="connsiteX46" fmla="*/ 1212946 w 1238413"/>
                  <a:gd name="connsiteY46" fmla="*/ 2368550 h 3277163"/>
                  <a:gd name="connsiteX47" fmla="*/ 1155796 w 1238413"/>
                  <a:gd name="connsiteY47" fmla="*/ 2527300 h 3277163"/>
                  <a:gd name="connsiteX48" fmla="*/ 1111346 w 1238413"/>
                  <a:gd name="connsiteY48" fmla="*/ 2565400 h 3277163"/>
                  <a:gd name="connsiteX49" fmla="*/ 1079596 w 1238413"/>
                  <a:gd name="connsiteY49" fmla="*/ 2597150 h 3277163"/>
                  <a:gd name="connsiteX50" fmla="*/ 1003396 w 1238413"/>
                  <a:gd name="connsiteY50" fmla="*/ 2616200 h 3277163"/>
                  <a:gd name="connsiteX51" fmla="*/ 965296 w 1238413"/>
                  <a:gd name="connsiteY51" fmla="*/ 2679700 h 3277163"/>
                  <a:gd name="connsiteX52" fmla="*/ 838296 w 1238413"/>
                  <a:gd name="connsiteY52" fmla="*/ 2762250 h 3277163"/>
                  <a:gd name="connsiteX53" fmla="*/ 730346 w 1238413"/>
                  <a:gd name="connsiteY53" fmla="*/ 2736850 h 3277163"/>
                  <a:gd name="connsiteX54" fmla="*/ 654146 w 1238413"/>
                  <a:gd name="connsiteY54" fmla="*/ 2730500 h 3277163"/>
                  <a:gd name="connsiteX55" fmla="*/ 571596 w 1238413"/>
                  <a:gd name="connsiteY55" fmla="*/ 2736850 h 3277163"/>
                  <a:gd name="connsiteX56" fmla="*/ 489046 w 1238413"/>
                  <a:gd name="connsiteY56" fmla="*/ 2844800 h 3277163"/>
                  <a:gd name="connsiteX57" fmla="*/ 438246 w 1238413"/>
                  <a:gd name="connsiteY57" fmla="*/ 2908300 h 3277163"/>
                  <a:gd name="connsiteX58" fmla="*/ 368396 w 1238413"/>
                  <a:gd name="connsiteY58" fmla="*/ 2946400 h 3277163"/>
                  <a:gd name="connsiteX59" fmla="*/ 349346 w 1238413"/>
                  <a:gd name="connsiteY59" fmla="*/ 3022600 h 3277163"/>
                  <a:gd name="connsiteX60" fmla="*/ 248540 w 1238413"/>
                  <a:gd name="connsiteY60" fmla="*/ 3152775 h 3277163"/>
                  <a:gd name="connsiteX61" fmla="*/ 161227 w 1238413"/>
                  <a:gd name="connsiteY61" fmla="*/ 3273426 h 3277163"/>
                  <a:gd name="connsiteX0" fmla="*/ 12796 w 1238413"/>
                  <a:gd name="connsiteY0" fmla="*/ 0 h 3277163"/>
                  <a:gd name="connsiteX1" fmla="*/ 37402 w 1238413"/>
                  <a:gd name="connsiteY1" fmla="*/ 120650 h 3277163"/>
                  <a:gd name="connsiteX2" fmla="*/ 19146 w 1238413"/>
                  <a:gd name="connsiteY2" fmla="*/ 158750 h 3277163"/>
                  <a:gd name="connsiteX3" fmla="*/ 41371 w 1238413"/>
                  <a:gd name="connsiteY3" fmla="*/ 209550 h 3277163"/>
                  <a:gd name="connsiteX4" fmla="*/ 38196 w 1238413"/>
                  <a:gd name="connsiteY4" fmla="*/ 234950 h 3277163"/>
                  <a:gd name="connsiteX5" fmla="*/ 50896 w 1238413"/>
                  <a:gd name="connsiteY5" fmla="*/ 273050 h 3277163"/>
                  <a:gd name="connsiteX6" fmla="*/ 17558 w 1238413"/>
                  <a:gd name="connsiteY6" fmla="*/ 312737 h 3277163"/>
                  <a:gd name="connsiteX7" fmla="*/ 50896 w 1238413"/>
                  <a:gd name="connsiteY7" fmla="*/ 372269 h 3277163"/>
                  <a:gd name="connsiteX8" fmla="*/ 31846 w 1238413"/>
                  <a:gd name="connsiteY8" fmla="*/ 463550 h 3277163"/>
                  <a:gd name="connsiteX9" fmla="*/ 890 w 1238413"/>
                  <a:gd name="connsiteY9" fmla="*/ 525462 h 3277163"/>
                  <a:gd name="connsiteX10" fmla="*/ 96 w 1238413"/>
                  <a:gd name="connsiteY10" fmla="*/ 546101 h 3277163"/>
                  <a:gd name="connsiteX11" fmla="*/ 6446 w 1238413"/>
                  <a:gd name="connsiteY11" fmla="*/ 603250 h 3277163"/>
                  <a:gd name="connsiteX12" fmla="*/ 50896 w 1238413"/>
                  <a:gd name="connsiteY12" fmla="*/ 647700 h 3277163"/>
                  <a:gd name="connsiteX13" fmla="*/ 63596 w 1238413"/>
                  <a:gd name="connsiteY13" fmla="*/ 704850 h 3277163"/>
                  <a:gd name="connsiteX14" fmla="*/ 120746 w 1238413"/>
                  <a:gd name="connsiteY14" fmla="*/ 749300 h 3277163"/>
                  <a:gd name="connsiteX15" fmla="*/ 170752 w 1238413"/>
                  <a:gd name="connsiteY15" fmla="*/ 763587 h 3277163"/>
                  <a:gd name="connsiteX16" fmla="*/ 241396 w 1238413"/>
                  <a:gd name="connsiteY16" fmla="*/ 806450 h 3277163"/>
                  <a:gd name="connsiteX17" fmla="*/ 238221 w 1238413"/>
                  <a:gd name="connsiteY17" fmla="*/ 854869 h 3277163"/>
                  <a:gd name="connsiteX18" fmla="*/ 273146 w 1238413"/>
                  <a:gd name="connsiteY18" fmla="*/ 901700 h 3277163"/>
                  <a:gd name="connsiteX19" fmla="*/ 376334 w 1238413"/>
                  <a:gd name="connsiteY19" fmla="*/ 981869 h 3277163"/>
                  <a:gd name="connsiteX20" fmla="*/ 425546 w 1238413"/>
                  <a:gd name="connsiteY20" fmla="*/ 1028700 h 3277163"/>
                  <a:gd name="connsiteX21" fmla="*/ 463646 w 1238413"/>
                  <a:gd name="connsiteY21" fmla="*/ 1098550 h 3277163"/>
                  <a:gd name="connsiteX22" fmla="*/ 565246 w 1238413"/>
                  <a:gd name="connsiteY22" fmla="*/ 1143000 h 3277163"/>
                  <a:gd name="connsiteX23" fmla="*/ 609696 w 1238413"/>
                  <a:gd name="connsiteY23" fmla="*/ 1162050 h 3277163"/>
                  <a:gd name="connsiteX24" fmla="*/ 635096 w 1238413"/>
                  <a:gd name="connsiteY24" fmla="*/ 1212850 h 3277163"/>
                  <a:gd name="connsiteX25" fmla="*/ 711296 w 1238413"/>
                  <a:gd name="connsiteY25" fmla="*/ 1212850 h 3277163"/>
                  <a:gd name="connsiteX26" fmla="*/ 728759 w 1238413"/>
                  <a:gd name="connsiteY26" fmla="*/ 1239045 h 3277163"/>
                  <a:gd name="connsiteX27" fmla="*/ 764477 w 1238413"/>
                  <a:gd name="connsiteY27" fmla="*/ 1255714 h 3277163"/>
                  <a:gd name="connsiteX28" fmla="*/ 788289 w 1238413"/>
                  <a:gd name="connsiteY28" fmla="*/ 1304925 h 3277163"/>
                  <a:gd name="connsiteX29" fmla="*/ 825596 w 1238413"/>
                  <a:gd name="connsiteY29" fmla="*/ 1352550 h 3277163"/>
                  <a:gd name="connsiteX30" fmla="*/ 866871 w 1238413"/>
                  <a:gd name="connsiteY30" fmla="*/ 1386682 h 3277163"/>
                  <a:gd name="connsiteX31" fmla="*/ 915290 w 1238413"/>
                  <a:gd name="connsiteY31" fmla="*/ 1406525 h 3277163"/>
                  <a:gd name="connsiteX32" fmla="*/ 952596 w 1238413"/>
                  <a:gd name="connsiteY32" fmla="*/ 1460500 h 3277163"/>
                  <a:gd name="connsiteX33" fmla="*/ 1028796 w 1238413"/>
                  <a:gd name="connsiteY33" fmla="*/ 1612900 h 3277163"/>
                  <a:gd name="connsiteX34" fmla="*/ 1022446 w 1238413"/>
                  <a:gd name="connsiteY34" fmla="*/ 1657350 h 3277163"/>
                  <a:gd name="connsiteX35" fmla="*/ 1066896 w 1238413"/>
                  <a:gd name="connsiteY35" fmla="*/ 1720850 h 3277163"/>
                  <a:gd name="connsiteX36" fmla="*/ 1085946 w 1238413"/>
                  <a:gd name="connsiteY36" fmla="*/ 1809750 h 3277163"/>
                  <a:gd name="connsiteX37" fmla="*/ 1128809 w 1238413"/>
                  <a:gd name="connsiteY37" fmla="*/ 1910557 h 3277163"/>
                  <a:gd name="connsiteX38" fmla="*/ 1143096 w 1238413"/>
                  <a:gd name="connsiteY38" fmla="*/ 1981200 h 3277163"/>
                  <a:gd name="connsiteX39" fmla="*/ 1174846 w 1238413"/>
                  <a:gd name="connsiteY39" fmla="*/ 2044700 h 3277163"/>
                  <a:gd name="connsiteX40" fmla="*/ 1238346 w 1238413"/>
                  <a:gd name="connsiteY40" fmla="*/ 2095500 h 3277163"/>
                  <a:gd name="connsiteX41" fmla="*/ 1200246 w 1238413"/>
                  <a:gd name="connsiteY41" fmla="*/ 2139950 h 3277163"/>
                  <a:gd name="connsiteX42" fmla="*/ 1193896 w 1238413"/>
                  <a:gd name="connsiteY42" fmla="*/ 2190750 h 3277163"/>
                  <a:gd name="connsiteX43" fmla="*/ 1193896 w 1238413"/>
                  <a:gd name="connsiteY43" fmla="*/ 2241550 h 3277163"/>
                  <a:gd name="connsiteX44" fmla="*/ 1212946 w 1238413"/>
                  <a:gd name="connsiteY44" fmla="*/ 2273300 h 3277163"/>
                  <a:gd name="connsiteX45" fmla="*/ 1193896 w 1238413"/>
                  <a:gd name="connsiteY45" fmla="*/ 2305050 h 3277163"/>
                  <a:gd name="connsiteX46" fmla="*/ 1212946 w 1238413"/>
                  <a:gd name="connsiteY46" fmla="*/ 2368550 h 3277163"/>
                  <a:gd name="connsiteX47" fmla="*/ 1155796 w 1238413"/>
                  <a:gd name="connsiteY47" fmla="*/ 2527300 h 3277163"/>
                  <a:gd name="connsiteX48" fmla="*/ 1111346 w 1238413"/>
                  <a:gd name="connsiteY48" fmla="*/ 2565400 h 3277163"/>
                  <a:gd name="connsiteX49" fmla="*/ 1079596 w 1238413"/>
                  <a:gd name="connsiteY49" fmla="*/ 2597150 h 3277163"/>
                  <a:gd name="connsiteX50" fmla="*/ 1003396 w 1238413"/>
                  <a:gd name="connsiteY50" fmla="*/ 2616200 h 3277163"/>
                  <a:gd name="connsiteX51" fmla="*/ 965296 w 1238413"/>
                  <a:gd name="connsiteY51" fmla="*/ 2679700 h 3277163"/>
                  <a:gd name="connsiteX52" fmla="*/ 838296 w 1238413"/>
                  <a:gd name="connsiteY52" fmla="*/ 2762250 h 3277163"/>
                  <a:gd name="connsiteX53" fmla="*/ 730346 w 1238413"/>
                  <a:gd name="connsiteY53" fmla="*/ 2736850 h 3277163"/>
                  <a:gd name="connsiteX54" fmla="*/ 654146 w 1238413"/>
                  <a:gd name="connsiteY54" fmla="*/ 2730500 h 3277163"/>
                  <a:gd name="connsiteX55" fmla="*/ 571596 w 1238413"/>
                  <a:gd name="connsiteY55" fmla="*/ 2736850 h 3277163"/>
                  <a:gd name="connsiteX56" fmla="*/ 489046 w 1238413"/>
                  <a:gd name="connsiteY56" fmla="*/ 2844800 h 3277163"/>
                  <a:gd name="connsiteX57" fmla="*/ 438246 w 1238413"/>
                  <a:gd name="connsiteY57" fmla="*/ 2908300 h 3277163"/>
                  <a:gd name="connsiteX58" fmla="*/ 368396 w 1238413"/>
                  <a:gd name="connsiteY58" fmla="*/ 2946400 h 3277163"/>
                  <a:gd name="connsiteX59" fmla="*/ 349346 w 1238413"/>
                  <a:gd name="connsiteY59" fmla="*/ 3022600 h 3277163"/>
                  <a:gd name="connsiteX60" fmla="*/ 248540 w 1238413"/>
                  <a:gd name="connsiteY60" fmla="*/ 3152775 h 3277163"/>
                  <a:gd name="connsiteX61" fmla="*/ 161227 w 1238413"/>
                  <a:gd name="connsiteY61" fmla="*/ 3273426 h 3277163"/>
                  <a:gd name="connsiteX0" fmla="*/ 12796 w 1238413"/>
                  <a:gd name="connsiteY0" fmla="*/ 0 h 3277163"/>
                  <a:gd name="connsiteX1" fmla="*/ 37402 w 1238413"/>
                  <a:gd name="connsiteY1" fmla="*/ 120650 h 3277163"/>
                  <a:gd name="connsiteX2" fmla="*/ 19146 w 1238413"/>
                  <a:gd name="connsiteY2" fmla="*/ 158750 h 3277163"/>
                  <a:gd name="connsiteX3" fmla="*/ 41371 w 1238413"/>
                  <a:gd name="connsiteY3" fmla="*/ 209550 h 3277163"/>
                  <a:gd name="connsiteX4" fmla="*/ 38196 w 1238413"/>
                  <a:gd name="connsiteY4" fmla="*/ 234950 h 3277163"/>
                  <a:gd name="connsiteX5" fmla="*/ 50896 w 1238413"/>
                  <a:gd name="connsiteY5" fmla="*/ 273050 h 3277163"/>
                  <a:gd name="connsiteX6" fmla="*/ 17558 w 1238413"/>
                  <a:gd name="connsiteY6" fmla="*/ 312737 h 3277163"/>
                  <a:gd name="connsiteX7" fmla="*/ 50896 w 1238413"/>
                  <a:gd name="connsiteY7" fmla="*/ 372269 h 3277163"/>
                  <a:gd name="connsiteX8" fmla="*/ 31846 w 1238413"/>
                  <a:gd name="connsiteY8" fmla="*/ 463550 h 3277163"/>
                  <a:gd name="connsiteX9" fmla="*/ 890 w 1238413"/>
                  <a:gd name="connsiteY9" fmla="*/ 525462 h 3277163"/>
                  <a:gd name="connsiteX10" fmla="*/ 96 w 1238413"/>
                  <a:gd name="connsiteY10" fmla="*/ 546101 h 3277163"/>
                  <a:gd name="connsiteX11" fmla="*/ 6446 w 1238413"/>
                  <a:gd name="connsiteY11" fmla="*/ 603250 h 3277163"/>
                  <a:gd name="connsiteX12" fmla="*/ 50896 w 1238413"/>
                  <a:gd name="connsiteY12" fmla="*/ 647700 h 3277163"/>
                  <a:gd name="connsiteX13" fmla="*/ 63596 w 1238413"/>
                  <a:gd name="connsiteY13" fmla="*/ 704850 h 3277163"/>
                  <a:gd name="connsiteX14" fmla="*/ 120746 w 1238413"/>
                  <a:gd name="connsiteY14" fmla="*/ 749300 h 3277163"/>
                  <a:gd name="connsiteX15" fmla="*/ 170752 w 1238413"/>
                  <a:gd name="connsiteY15" fmla="*/ 763587 h 3277163"/>
                  <a:gd name="connsiteX16" fmla="*/ 241396 w 1238413"/>
                  <a:gd name="connsiteY16" fmla="*/ 806450 h 3277163"/>
                  <a:gd name="connsiteX17" fmla="*/ 238221 w 1238413"/>
                  <a:gd name="connsiteY17" fmla="*/ 854869 h 3277163"/>
                  <a:gd name="connsiteX18" fmla="*/ 273146 w 1238413"/>
                  <a:gd name="connsiteY18" fmla="*/ 901700 h 3277163"/>
                  <a:gd name="connsiteX19" fmla="*/ 376334 w 1238413"/>
                  <a:gd name="connsiteY19" fmla="*/ 981869 h 3277163"/>
                  <a:gd name="connsiteX20" fmla="*/ 425546 w 1238413"/>
                  <a:gd name="connsiteY20" fmla="*/ 1028700 h 3277163"/>
                  <a:gd name="connsiteX21" fmla="*/ 463646 w 1238413"/>
                  <a:gd name="connsiteY21" fmla="*/ 1098550 h 3277163"/>
                  <a:gd name="connsiteX22" fmla="*/ 565246 w 1238413"/>
                  <a:gd name="connsiteY22" fmla="*/ 1143000 h 3277163"/>
                  <a:gd name="connsiteX23" fmla="*/ 609696 w 1238413"/>
                  <a:gd name="connsiteY23" fmla="*/ 1162050 h 3277163"/>
                  <a:gd name="connsiteX24" fmla="*/ 635096 w 1238413"/>
                  <a:gd name="connsiteY24" fmla="*/ 1212850 h 3277163"/>
                  <a:gd name="connsiteX25" fmla="*/ 711296 w 1238413"/>
                  <a:gd name="connsiteY25" fmla="*/ 1212850 h 3277163"/>
                  <a:gd name="connsiteX26" fmla="*/ 728759 w 1238413"/>
                  <a:gd name="connsiteY26" fmla="*/ 1239045 h 3277163"/>
                  <a:gd name="connsiteX27" fmla="*/ 764477 w 1238413"/>
                  <a:gd name="connsiteY27" fmla="*/ 1255714 h 3277163"/>
                  <a:gd name="connsiteX28" fmla="*/ 788289 w 1238413"/>
                  <a:gd name="connsiteY28" fmla="*/ 1304925 h 3277163"/>
                  <a:gd name="connsiteX29" fmla="*/ 825596 w 1238413"/>
                  <a:gd name="connsiteY29" fmla="*/ 1352550 h 3277163"/>
                  <a:gd name="connsiteX30" fmla="*/ 866871 w 1238413"/>
                  <a:gd name="connsiteY30" fmla="*/ 1386682 h 3277163"/>
                  <a:gd name="connsiteX31" fmla="*/ 915290 w 1238413"/>
                  <a:gd name="connsiteY31" fmla="*/ 1406525 h 3277163"/>
                  <a:gd name="connsiteX32" fmla="*/ 952596 w 1238413"/>
                  <a:gd name="connsiteY32" fmla="*/ 1460500 h 3277163"/>
                  <a:gd name="connsiteX33" fmla="*/ 1028796 w 1238413"/>
                  <a:gd name="connsiteY33" fmla="*/ 1612900 h 3277163"/>
                  <a:gd name="connsiteX34" fmla="*/ 1022446 w 1238413"/>
                  <a:gd name="connsiteY34" fmla="*/ 1657350 h 3277163"/>
                  <a:gd name="connsiteX35" fmla="*/ 1066896 w 1238413"/>
                  <a:gd name="connsiteY35" fmla="*/ 1720850 h 3277163"/>
                  <a:gd name="connsiteX36" fmla="*/ 1085946 w 1238413"/>
                  <a:gd name="connsiteY36" fmla="*/ 1809750 h 3277163"/>
                  <a:gd name="connsiteX37" fmla="*/ 1128809 w 1238413"/>
                  <a:gd name="connsiteY37" fmla="*/ 1910557 h 3277163"/>
                  <a:gd name="connsiteX38" fmla="*/ 1143096 w 1238413"/>
                  <a:gd name="connsiteY38" fmla="*/ 1981200 h 3277163"/>
                  <a:gd name="connsiteX39" fmla="*/ 1174846 w 1238413"/>
                  <a:gd name="connsiteY39" fmla="*/ 2044700 h 3277163"/>
                  <a:gd name="connsiteX40" fmla="*/ 1238346 w 1238413"/>
                  <a:gd name="connsiteY40" fmla="*/ 2095500 h 3277163"/>
                  <a:gd name="connsiteX41" fmla="*/ 1200246 w 1238413"/>
                  <a:gd name="connsiteY41" fmla="*/ 2139950 h 3277163"/>
                  <a:gd name="connsiteX42" fmla="*/ 1193896 w 1238413"/>
                  <a:gd name="connsiteY42" fmla="*/ 2190750 h 3277163"/>
                  <a:gd name="connsiteX43" fmla="*/ 1193896 w 1238413"/>
                  <a:gd name="connsiteY43" fmla="*/ 2241550 h 3277163"/>
                  <a:gd name="connsiteX44" fmla="*/ 1212946 w 1238413"/>
                  <a:gd name="connsiteY44" fmla="*/ 2273300 h 3277163"/>
                  <a:gd name="connsiteX45" fmla="*/ 1193896 w 1238413"/>
                  <a:gd name="connsiteY45" fmla="*/ 2305050 h 3277163"/>
                  <a:gd name="connsiteX46" fmla="*/ 1212946 w 1238413"/>
                  <a:gd name="connsiteY46" fmla="*/ 2368550 h 3277163"/>
                  <a:gd name="connsiteX47" fmla="*/ 1155796 w 1238413"/>
                  <a:gd name="connsiteY47" fmla="*/ 2527300 h 3277163"/>
                  <a:gd name="connsiteX48" fmla="*/ 1111346 w 1238413"/>
                  <a:gd name="connsiteY48" fmla="*/ 2565400 h 3277163"/>
                  <a:gd name="connsiteX49" fmla="*/ 1079596 w 1238413"/>
                  <a:gd name="connsiteY49" fmla="*/ 2597150 h 3277163"/>
                  <a:gd name="connsiteX50" fmla="*/ 1003396 w 1238413"/>
                  <a:gd name="connsiteY50" fmla="*/ 2616200 h 3277163"/>
                  <a:gd name="connsiteX51" fmla="*/ 965296 w 1238413"/>
                  <a:gd name="connsiteY51" fmla="*/ 2679700 h 3277163"/>
                  <a:gd name="connsiteX52" fmla="*/ 838296 w 1238413"/>
                  <a:gd name="connsiteY52" fmla="*/ 2762250 h 3277163"/>
                  <a:gd name="connsiteX53" fmla="*/ 730346 w 1238413"/>
                  <a:gd name="connsiteY53" fmla="*/ 2736850 h 3277163"/>
                  <a:gd name="connsiteX54" fmla="*/ 654146 w 1238413"/>
                  <a:gd name="connsiteY54" fmla="*/ 2730500 h 3277163"/>
                  <a:gd name="connsiteX55" fmla="*/ 571596 w 1238413"/>
                  <a:gd name="connsiteY55" fmla="*/ 2736850 h 3277163"/>
                  <a:gd name="connsiteX56" fmla="*/ 489046 w 1238413"/>
                  <a:gd name="connsiteY56" fmla="*/ 2844800 h 3277163"/>
                  <a:gd name="connsiteX57" fmla="*/ 438246 w 1238413"/>
                  <a:gd name="connsiteY57" fmla="*/ 2908300 h 3277163"/>
                  <a:gd name="connsiteX58" fmla="*/ 368396 w 1238413"/>
                  <a:gd name="connsiteY58" fmla="*/ 2946400 h 3277163"/>
                  <a:gd name="connsiteX59" fmla="*/ 349346 w 1238413"/>
                  <a:gd name="connsiteY59" fmla="*/ 3022600 h 3277163"/>
                  <a:gd name="connsiteX60" fmla="*/ 248540 w 1238413"/>
                  <a:gd name="connsiteY60" fmla="*/ 3152775 h 3277163"/>
                  <a:gd name="connsiteX61" fmla="*/ 161227 w 1238413"/>
                  <a:gd name="connsiteY61" fmla="*/ 3273426 h 3277163"/>
                  <a:gd name="connsiteX0" fmla="*/ 12796 w 1238413"/>
                  <a:gd name="connsiteY0" fmla="*/ 0 h 3277163"/>
                  <a:gd name="connsiteX1" fmla="*/ 37402 w 1238413"/>
                  <a:gd name="connsiteY1" fmla="*/ 120650 h 3277163"/>
                  <a:gd name="connsiteX2" fmla="*/ 19146 w 1238413"/>
                  <a:gd name="connsiteY2" fmla="*/ 158750 h 3277163"/>
                  <a:gd name="connsiteX3" fmla="*/ 41371 w 1238413"/>
                  <a:gd name="connsiteY3" fmla="*/ 209550 h 3277163"/>
                  <a:gd name="connsiteX4" fmla="*/ 38196 w 1238413"/>
                  <a:gd name="connsiteY4" fmla="*/ 234950 h 3277163"/>
                  <a:gd name="connsiteX5" fmla="*/ 50896 w 1238413"/>
                  <a:gd name="connsiteY5" fmla="*/ 273050 h 3277163"/>
                  <a:gd name="connsiteX6" fmla="*/ 17558 w 1238413"/>
                  <a:gd name="connsiteY6" fmla="*/ 312737 h 3277163"/>
                  <a:gd name="connsiteX7" fmla="*/ 50896 w 1238413"/>
                  <a:gd name="connsiteY7" fmla="*/ 372269 h 3277163"/>
                  <a:gd name="connsiteX8" fmla="*/ 31846 w 1238413"/>
                  <a:gd name="connsiteY8" fmla="*/ 463550 h 3277163"/>
                  <a:gd name="connsiteX9" fmla="*/ 890 w 1238413"/>
                  <a:gd name="connsiteY9" fmla="*/ 525462 h 3277163"/>
                  <a:gd name="connsiteX10" fmla="*/ 96 w 1238413"/>
                  <a:gd name="connsiteY10" fmla="*/ 546101 h 3277163"/>
                  <a:gd name="connsiteX11" fmla="*/ 6446 w 1238413"/>
                  <a:gd name="connsiteY11" fmla="*/ 603250 h 3277163"/>
                  <a:gd name="connsiteX12" fmla="*/ 50896 w 1238413"/>
                  <a:gd name="connsiteY12" fmla="*/ 647700 h 3277163"/>
                  <a:gd name="connsiteX13" fmla="*/ 63596 w 1238413"/>
                  <a:gd name="connsiteY13" fmla="*/ 704850 h 3277163"/>
                  <a:gd name="connsiteX14" fmla="*/ 120746 w 1238413"/>
                  <a:gd name="connsiteY14" fmla="*/ 749300 h 3277163"/>
                  <a:gd name="connsiteX15" fmla="*/ 170752 w 1238413"/>
                  <a:gd name="connsiteY15" fmla="*/ 763587 h 3277163"/>
                  <a:gd name="connsiteX16" fmla="*/ 241396 w 1238413"/>
                  <a:gd name="connsiteY16" fmla="*/ 806450 h 3277163"/>
                  <a:gd name="connsiteX17" fmla="*/ 238221 w 1238413"/>
                  <a:gd name="connsiteY17" fmla="*/ 854869 h 3277163"/>
                  <a:gd name="connsiteX18" fmla="*/ 273146 w 1238413"/>
                  <a:gd name="connsiteY18" fmla="*/ 901700 h 3277163"/>
                  <a:gd name="connsiteX19" fmla="*/ 376334 w 1238413"/>
                  <a:gd name="connsiteY19" fmla="*/ 981869 h 3277163"/>
                  <a:gd name="connsiteX20" fmla="*/ 425546 w 1238413"/>
                  <a:gd name="connsiteY20" fmla="*/ 1028700 h 3277163"/>
                  <a:gd name="connsiteX21" fmla="*/ 463646 w 1238413"/>
                  <a:gd name="connsiteY21" fmla="*/ 1098550 h 3277163"/>
                  <a:gd name="connsiteX22" fmla="*/ 565246 w 1238413"/>
                  <a:gd name="connsiteY22" fmla="*/ 1143000 h 3277163"/>
                  <a:gd name="connsiteX23" fmla="*/ 609696 w 1238413"/>
                  <a:gd name="connsiteY23" fmla="*/ 1162050 h 3277163"/>
                  <a:gd name="connsiteX24" fmla="*/ 635096 w 1238413"/>
                  <a:gd name="connsiteY24" fmla="*/ 1212850 h 3277163"/>
                  <a:gd name="connsiteX25" fmla="*/ 711296 w 1238413"/>
                  <a:gd name="connsiteY25" fmla="*/ 1212850 h 3277163"/>
                  <a:gd name="connsiteX26" fmla="*/ 728759 w 1238413"/>
                  <a:gd name="connsiteY26" fmla="*/ 1239045 h 3277163"/>
                  <a:gd name="connsiteX27" fmla="*/ 764477 w 1238413"/>
                  <a:gd name="connsiteY27" fmla="*/ 1255714 h 3277163"/>
                  <a:gd name="connsiteX28" fmla="*/ 788289 w 1238413"/>
                  <a:gd name="connsiteY28" fmla="*/ 1304925 h 3277163"/>
                  <a:gd name="connsiteX29" fmla="*/ 825596 w 1238413"/>
                  <a:gd name="connsiteY29" fmla="*/ 1352550 h 3277163"/>
                  <a:gd name="connsiteX30" fmla="*/ 866871 w 1238413"/>
                  <a:gd name="connsiteY30" fmla="*/ 1386682 h 3277163"/>
                  <a:gd name="connsiteX31" fmla="*/ 915290 w 1238413"/>
                  <a:gd name="connsiteY31" fmla="*/ 1406525 h 3277163"/>
                  <a:gd name="connsiteX32" fmla="*/ 952596 w 1238413"/>
                  <a:gd name="connsiteY32" fmla="*/ 1460500 h 3277163"/>
                  <a:gd name="connsiteX33" fmla="*/ 1028796 w 1238413"/>
                  <a:gd name="connsiteY33" fmla="*/ 1612900 h 3277163"/>
                  <a:gd name="connsiteX34" fmla="*/ 1022446 w 1238413"/>
                  <a:gd name="connsiteY34" fmla="*/ 1657350 h 3277163"/>
                  <a:gd name="connsiteX35" fmla="*/ 1066896 w 1238413"/>
                  <a:gd name="connsiteY35" fmla="*/ 1720850 h 3277163"/>
                  <a:gd name="connsiteX36" fmla="*/ 1085946 w 1238413"/>
                  <a:gd name="connsiteY36" fmla="*/ 1809750 h 3277163"/>
                  <a:gd name="connsiteX37" fmla="*/ 1128809 w 1238413"/>
                  <a:gd name="connsiteY37" fmla="*/ 1910557 h 3277163"/>
                  <a:gd name="connsiteX38" fmla="*/ 1143096 w 1238413"/>
                  <a:gd name="connsiteY38" fmla="*/ 1981200 h 3277163"/>
                  <a:gd name="connsiteX39" fmla="*/ 1174846 w 1238413"/>
                  <a:gd name="connsiteY39" fmla="*/ 2044700 h 3277163"/>
                  <a:gd name="connsiteX40" fmla="*/ 1238346 w 1238413"/>
                  <a:gd name="connsiteY40" fmla="*/ 2095500 h 3277163"/>
                  <a:gd name="connsiteX41" fmla="*/ 1200246 w 1238413"/>
                  <a:gd name="connsiteY41" fmla="*/ 2139950 h 3277163"/>
                  <a:gd name="connsiteX42" fmla="*/ 1193896 w 1238413"/>
                  <a:gd name="connsiteY42" fmla="*/ 2190750 h 3277163"/>
                  <a:gd name="connsiteX43" fmla="*/ 1193896 w 1238413"/>
                  <a:gd name="connsiteY43" fmla="*/ 2241550 h 3277163"/>
                  <a:gd name="connsiteX44" fmla="*/ 1212946 w 1238413"/>
                  <a:gd name="connsiteY44" fmla="*/ 2273300 h 3277163"/>
                  <a:gd name="connsiteX45" fmla="*/ 1193896 w 1238413"/>
                  <a:gd name="connsiteY45" fmla="*/ 2305050 h 3277163"/>
                  <a:gd name="connsiteX46" fmla="*/ 1212946 w 1238413"/>
                  <a:gd name="connsiteY46" fmla="*/ 2368550 h 3277163"/>
                  <a:gd name="connsiteX47" fmla="*/ 1155796 w 1238413"/>
                  <a:gd name="connsiteY47" fmla="*/ 2527300 h 3277163"/>
                  <a:gd name="connsiteX48" fmla="*/ 1111346 w 1238413"/>
                  <a:gd name="connsiteY48" fmla="*/ 2565400 h 3277163"/>
                  <a:gd name="connsiteX49" fmla="*/ 1079596 w 1238413"/>
                  <a:gd name="connsiteY49" fmla="*/ 2597150 h 3277163"/>
                  <a:gd name="connsiteX50" fmla="*/ 1003396 w 1238413"/>
                  <a:gd name="connsiteY50" fmla="*/ 2616200 h 3277163"/>
                  <a:gd name="connsiteX51" fmla="*/ 965296 w 1238413"/>
                  <a:gd name="connsiteY51" fmla="*/ 2679700 h 3277163"/>
                  <a:gd name="connsiteX52" fmla="*/ 838296 w 1238413"/>
                  <a:gd name="connsiteY52" fmla="*/ 2762250 h 3277163"/>
                  <a:gd name="connsiteX53" fmla="*/ 730346 w 1238413"/>
                  <a:gd name="connsiteY53" fmla="*/ 2736850 h 3277163"/>
                  <a:gd name="connsiteX54" fmla="*/ 654146 w 1238413"/>
                  <a:gd name="connsiteY54" fmla="*/ 2730500 h 3277163"/>
                  <a:gd name="connsiteX55" fmla="*/ 571596 w 1238413"/>
                  <a:gd name="connsiteY55" fmla="*/ 2736850 h 3277163"/>
                  <a:gd name="connsiteX56" fmla="*/ 489046 w 1238413"/>
                  <a:gd name="connsiteY56" fmla="*/ 2844800 h 3277163"/>
                  <a:gd name="connsiteX57" fmla="*/ 438246 w 1238413"/>
                  <a:gd name="connsiteY57" fmla="*/ 2908300 h 3277163"/>
                  <a:gd name="connsiteX58" fmla="*/ 368396 w 1238413"/>
                  <a:gd name="connsiteY58" fmla="*/ 2946400 h 3277163"/>
                  <a:gd name="connsiteX59" fmla="*/ 349346 w 1238413"/>
                  <a:gd name="connsiteY59" fmla="*/ 3022600 h 3277163"/>
                  <a:gd name="connsiteX60" fmla="*/ 248540 w 1238413"/>
                  <a:gd name="connsiteY60" fmla="*/ 3152775 h 3277163"/>
                  <a:gd name="connsiteX61" fmla="*/ 161227 w 1238413"/>
                  <a:gd name="connsiteY61" fmla="*/ 3273426 h 3277163"/>
                  <a:gd name="connsiteX0" fmla="*/ 12796 w 1238413"/>
                  <a:gd name="connsiteY0" fmla="*/ 0 h 3277163"/>
                  <a:gd name="connsiteX1" fmla="*/ 37402 w 1238413"/>
                  <a:gd name="connsiteY1" fmla="*/ 120650 h 3277163"/>
                  <a:gd name="connsiteX2" fmla="*/ 19146 w 1238413"/>
                  <a:gd name="connsiteY2" fmla="*/ 158750 h 3277163"/>
                  <a:gd name="connsiteX3" fmla="*/ 41371 w 1238413"/>
                  <a:gd name="connsiteY3" fmla="*/ 209550 h 3277163"/>
                  <a:gd name="connsiteX4" fmla="*/ 38196 w 1238413"/>
                  <a:gd name="connsiteY4" fmla="*/ 234950 h 3277163"/>
                  <a:gd name="connsiteX5" fmla="*/ 50896 w 1238413"/>
                  <a:gd name="connsiteY5" fmla="*/ 273050 h 3277163"/>
                  <a:gd name="connsiteX6" fmla="*/ 17558 w 1238413"/>
                  <a:gd name="connsiteY6" fmla="*/ 312737 h 3277163"/>
                  <a:gd name="connsiteX7" fmla="*/ 50896 w 1238413"/>
                  <a:gd name="connsiteY7" fmla="*/ 372269 h 3277163"/>
                  <a:gd name="connsiteX8" fmla="*/ 31846 w 1238413"/>
                  <a:gd name="connsiteY8" fmla="*/ 463550 h 3277163"/>
                  <a:gd name="connsiteX9" fmla="*/ 890 w 1238413"/>
                  <a:gd name="connsiteY9" fmla="*/ 525462 h 3277163"/>
                  <a:gd name="connsiteX10" fmla="*/ 96 w 1238413"/>
                  <a:gd name="connsiteY10" fmla="*/ 546101 h 3277163"/>
                  <a:gd name="connsiteX11" fmla="*/ 6446 w 1238413"/>
                  <a:gd name="connsiteY11" fmla="*/ 603250 h 3277163"/>
                  <a:gd name="connsiteX12" fmla="*/ 50896 w 1238413"/>
                  <a:gd name="connsiteY12" fmla="*/ 647700 h 3277163"/>
                  <a:gd name="connsiteX13" fmla="*/ 63596 w 1238413"/>
                  <a:gd name="connsiteY13" fmla="*/ 704850 h 3277163"/>
                  <a:gd name="connsiteX14" fmla="*/ 120746 w 1238413"/>
                  <a:gd name="connsiteY14" fmla="*/ 749300 h 3277163"/>
                  <a:gd name="connsiteX15" fmla="*/ 170752 w 1238413"/>
                  <a:gd name="connsiteY15" fmla="*/ 763587 h 3277163"/>
                  <a:gd name="connsiteX16" fmla="*/ 241396 w 1238413"/>
                  <a:gd name="connsiteY16" fmla="*/ 806450 h 3277163"/>
                  <a:gd name="connsiteX17" fmla="*/ 238221 w 1238413"/>
                  <a:gd name="connsiteY17" fmla="*/ 854869 h 3277163"/>
                  <a:gd name="connsiteX18" fmla="*/ 273146 w 1238413"/>
                  <a:gd name="connsiteY18" fmla="*/ 901700 h 3277163"/>
                  <a:gd name="connsiteX19" fmla="*/ 376334 w 1238413"/>
                  <a:gd name="connsiteY19" fmla="*/ 981869 h 3277163"/>
                  <a:gd name="connsiteX20" fmla="*/ 425546 w 1238413"/>
                  <a:gd name="connsiteY20" fmla="*/ 1028700 h 3277163"/>
                  <a:gd name="connsiteX21" fmla="*/ 463646 w 1238413"/>
                  <a:gd name="connsiteY21" fmla="*/ 1098550 h 3277163"/>
                  <a:gd name="connsiteX22" fmla="*/ 565246 w 1238413"/>
                  <a:gd name="connsiteY22" fmla="*/ 1143000 h 3277163"/>
                  <a:gd name="connsiteX23" fmla="*/ 609696 w 1238413"/>
                  <a:gd name="connsiteY23" fmla="*/ 1162050 h 3277163"/>
                  <a:gd name="connsiteX24" fmla="*/ 635096 w 1238413"/>
                  <a:gd name="connsiteY24" fmla="*/ 1212850 h 3277163"/>
                  <a:gd name="connsiteX25" fmla="*/ 711296 w 1238413"/>
                  <a:gd name="connsiteY25" fmla="*/ 1212850 h 3277163"/>
                  <a:gd name="connsiteX26" fmla="*/ 728759 w 1238413"/>
                  <a:gd name="connsiteY26" fmla="*/ 1239045 h 3277163"/>
                  <a:gd name="connsiteX27" fmla="*/ 764477 w 1238413"/>
                  <a:gd name="connsiteY27" fmla="*/ 1255714 h 3277163"/>
                  <a:gd name="connsiteX28" fmla="*/ 788289 w 1238413"/>
                  <a:gd name="connsiteY28" fmla="*/ 1304925 h 3277163"/>
                  <a:gd name="connsiteX29" fmla="*/ 825596 w 1238413"/>
                  <a:gd name="connsiteY29" fmla="*/ 1352550 h 3277163"/>
                  <a:gd name="connsiteX30" fmla="*/ 866871 w 1238413"/>
                  <a:gd name="connsiteY30" fmla="*/ 1386682 h 3277163"/>
                  <a:gd name="connsiteX31" fmla="*/ 915290 w 1238413"/>
                  <a:gd name="connsiteY31" fmla="*/ 1406525 h 3277163"/>
                  <a:gd name="connsiteX32" fmla="*/ 952596 w 1238413"/>
                  <a:gd name="connsiteY32" fmla="*/ 1460500 h 3277163"/>
                  <a:gd name="connsiteX33" fmla="*/ 1028796 w 1238413"/>
                  <a:gd name="connsiteY33" fmla="*/ 1612900 h 3277163"/>
                  <a:gd name="connsiteX34" fmla="*/ 1022446 w 1238413"/>
                  <a:gd name="connsiteY34" fmla="*/ 1657350 h 3277163"/>
                  <a:gd name="connsiteX35" fmla="*/ 1066896 w 1238413"/>
                  <a:gd name="connsiteY35" fmla="*/ 1720850 h 3277163"/>
                  <a:gd name="connsiteX36" fmla="*/ 1085946 w 1238413"/>
                  <a:gd name="connsiteY36" fmla="*/ 1809750 h 3277163"/>
                  <a:gd name="connsiteX37" fmla="*/ 1128809 w 1238413"/>
                  <a:gd name="connsiteY37" fmla="*/ 1910557 h 3277163"/>
                  <a:gd name="connsiteX38" fmla="*/ 1143096 w 1238413"/>
                  <a:gd name="connsiteY38" fmla="*/ 1981200 h 3277163"/>
                  <a:gd name="connsiteX39" fmla="*/ 1174846 w 1238413"/>
                  <a:gd name="connsiteY39" fmla="*/ 2044700 h 3277163"/>
                  <a:gd name="connsiteX40" fmla="*/ 1238346 w 1238413"/>
                  <a:gd name="connsiteY40" fmla="*/ 2095500 h 3277163"/>
                  <a:gd name="connsiteX41" fmla="*/ 1200246 w 1238413"/>
                  <a:gd name="connsiteY41" fmla="*/ 2139950 h 3277163"/>
                  <a:gd name="connsiteX42" fmla="*/ 1193896 w 1238413"/>
                  <a:gd name="connsiteY42" fmla="*/ 2190750 h 3277163"/>
                  <a:gd name="connsiteX43" fmla="*/ 1193896 w 1238413"/>
                  <a:gd name="connsiteY43" fmla="*/ 2241550 h 3277163"/>
                  <a:gd name="connsiteX44" fmla="*/ 1212946 w 1238413"/>
                  <a:gd name="connsiteY44" fmla="*/ 2273300 h 3277163"/>
                  <a:gd name="connsiteX45" fmla="*/ 1193896 w 1238413"/>
                  <a:gd name="connsiteY45" fmla="*/ 2305050 h 3277163"/>
                  <a:gd name="connsiteX46" fmla="*/ 1212946 w 1238413"/>
                  <a:gd name="connsiteY46" fmla="*/ 2368550 h 3277163"/>
                  <a:gd name="connsiteX47" fmla="*/ 1155796 w 1238413"/>
                  <a:gd name="connsiteY47" fmla="*/ 2527300 h 3277163"/>
                  <a:gd name="connsiteX48" fmla="*/ 1111346 w 1238413"/>
                  <a:gd name="connsiteY48" fmla="*/ 2565400 h 3277163"/>
                  <a:gd name="connsiteX49" fmla="*/ 1079596 w 1238413"/>
                  <a:gd name="connsiteY49" fmla="*/ 2597150 h 3277163"/>
                  <a:gd name="connsiteX50" fmla="*/ 1003396 w 1238413"/>
                  <a:gd name="connsiteY50" fmla="*/ 2616200 h 3277163"/>
                  <a:gd name="connsiteX51" fmla="*/ 965296 w 1238413"/>
                  <a:gd name="connsiteY51" fmla="*/ 2679700 h 3277163"/>
                  <a:gd name="connsiteX52" fmla="*/ 838296 w 1238413"/>
                  <a:gd name="connsiteY52" fmla="*/ 2762250 h 3277163"/>
                  <a:gd name="connsiteX53" fmla="*/ 730346 w 1238413"/>
                  <a:gd name="connsiteY53" fmla="*/ 2736850 h 3277163"/>
                  <a:gd name="connsiteX54" fmla="*/ 654146 w 1238413"/>
                  <a:gd name="connsiteY54" fmla="*/ 2730500 h 3277163"/>
                  <a:gd name="connsiteX55" fmla="*/ 571596 w 1238413"/>
                  <a:gd name="connsiteY55" fmla="*/ 2736850 h 3277163"/>
                  <a:gd name="connsiteX56" fmla="*/ 489046 w 1238413"/>
                  <a:gd name="connsiteY56" fmla="*/ 2844800 h 3277163"/>
                  <a:gd name="connsiteX57" fmla="*/ 438246 w 1238413"/>
                  <a:gd name="connsiteY57" fmla="*/ 2908300 h 3277163"/>
                  <a:gd name="connsiteX58" fmla="*/ 368396 w 1238413"/>
                  <a:gd name="connsiteY58" fmla="*/ 2946400 h 3277163"/>
                  <a:gd name="connsiteX59" fmla="*/ 349346 w 1238413"/>
                  <a:gd name="connsiteY59" fmla="*/ 3022600 h 3277163"/>
                  <a:gd name="connsiteX60" fmla="*/ 248540 w 1238413"/>
                  <a:gd name="connsiteY60" fmla="*/ 3152775 h 3277163"/>
                  <a:gd name="connsiteX61" fmla="*/ 161227 w 1238413"/>
                  <a:gd name="connsiteY61" fmla="*/ 3273426 h 3277163"/>
                  <a:gd name="connsiteX0" fmla="*/ 12796 w 1238413"/>
                  <a:gd name="connsiteY0" fmla="*/ 0 h 3277163"/>
                  <a:gd name="connsiteX1" fmla="*/ 37402 w 1238413"/>
                  <a:gd name="connsiteY1" fmla="*/ 120650 h 3277163"/>
                  <a:gd name="connsiteX2" fmla="*/ 19146 w 1238413"/>
                  <a:gd name="connsiteY2" fmla="*/ 158750 h 3277163"/>
                  <a:gd name="connsiteX3" fmla="*/ 41371 w 1238413"/>
                  <a:gd name="connsiteY3" fmla="*/ 209550 h 3277163"/>
                  <a:gd name="connsiteX4" fmla="*/ 38196 w 1238413"/>
                  <a:gd name="connsiteY4" fmla="*/ 234950 h 3277163"/>
                  <a:gd name="connsiteX5" fmla="*/ 50896 w 1238413"/>
                  <a:gd name="connsiteY5" fmla="*/ 273050 h 3277163"/>
                  <a:gd name="connsiteX6" fmla="*/ 17558 w 1238413"/>
                  <a:gd name="connsiteY6" fmla="*/ 312737 h 3277163"/>
                  <a:gd name="connsiteX7" fmla="*/ 50896 w 1238413"/>
                  <a:gd name="connsiteY7" fmla="*/ 372269 h 3277163"/>
                  <a:gd name="connsiteX8" fmla="*/ 31846 w 1238413"/>
                  <a:gd name="connsiteY8" fmla="*/ 463550 h 3277163"/>
                  <a:gd name="connsiteX9" fmla="*/ 890 w 1238413"/>
                  <a:gd name="connsiteY9" fmla="*/ 525462 h 3277163"/>
                  <a:gd name="connsiteX10" fmla="*/ 96 w 1238413"/>
                  <a:gd name="connsiteY10" fmla="*/ 546101 h 3277163"/>
                  <a:gd name="connsiteX11" fmla="*/ 6446 w 1238413"/>
                  <a:gd name="connsiteY11" fmla="*/ 603250 h 3277163"/>
                  <a:gd name="connsiteX12" fmla="*/ 50896 w 1238413"/>
                  <a:gd name="connsiteY12" fmla="*/ 647700 h 3277163"/>
                  <a:gd name="connsiteX13" fmla="*/ 63596 w 1238413"/>
                  <a:gd name="connsiteY13" fmla="*/ 704850 h 3277163"/>
                  <a:gd name="connsiteX14" fmla="*/ 120746 w 1238413"/>
                  <a:gd name="connsiteY14" fmla="*/ 749300 h 3277163"/>
                  <a:gd name="connsiteX15" fmla="*/ 170752 w 1238413"/>
                  <a:gd name="connsiteY15" fmla="*/ 763587 h 3277163"/>
                  <a:gd name="connsiteX16" fmla="*/ 241396 w 1238413"/>
                  <a:gd name="connsiteY16" fmla="*/ 806450 h 3277163"/>
                  <a:gd name="connsiteX17" fmla="*/ 238221 w 1238413"/>
                  <a:gd name="connsiteY17" fmla="*/ 854869 h 3277163"/>
                  <a:gd name="connsiteX18" fmla="*/ 273146 w 1238413"/>
                  <a:gd name="connsiteY18" fmla="*/ 901700 h 3277163"/>
                  <a:gd name="connsiteX19" fmla="*/ 376334 w 1238413"/>
                  <a:gd name="connsiteY19" fmla="*/ 981869 h 3277163"/>
                  <a:gd name="connsiteX20" fmla="*/ 425546 w 1238413"/>
                  <a:gd name="connsiteY20" fmla="*/ 1028700 h 3277163"/>
                  <a:gd name="connsiteX21" fmla="*/ 463646 w 1238413"/>
                  <a:gd name="connsiteY21" fmla="*/ 1098550 h 3277163"/>
                  <a:gd name="connsiteX22" fmla="*/ 565246 w 1238413"/>
                  <a:gd name="connsiteY22" fmla="*/ 1143000 h 3277163"/>
                  <a:gd name="connsiteX23" fmla="*/ 609696 w 1238413"/>
                  <a:gd name="connsiteY23" fmla="*/ 1162050 h 3277163"/>
                  <a:gd name="connsiteX24" fmla="*/ 635096 w 1238413"/>
                  <a:gd name="connsiteY24" fmla="*/ 1212850 h 3277163"/>
                  <a:gd name="connsiteX25" fmla="*/ 711296 w 1238413"/>
                  <a:gd name="connsiteY25" fmla="*/ 1212850 h 3277163"/>
                  <a:gd name="connsiteX26" fmla="*/ 728759 w 1238413"/>
                  <a:gd name="connsiteY26" fmla="*/ 1239045 h 3277163"/>
                  <a:gd name="connsiteX27" fmla="*/ 764477 w 1238413"/>
                  <a:gd name="connsiteY27" fmla="*/ 1255714 h 3277163"/>
                  <a:gd name="connsiteX28" fmla="*/ 788289 w 1238413"/>
                  <a:gd name="connsiteY28" fmla="*/ 1304925 h 3277163"/>
                  <a:gd name="connsiteX29" fmla="*/ 825596 w 1238413"/>
                  <a:gd name="connsiteY29" fmla="*/ 1352550 h 3277163"/>
                  <a:gd name="connsiteX30" fmla="*/ 866871 w 1238413"/>
                  <a:gd name="connsiteY30" fmla="*/ 1386682 h 3277163"/>
                  <a:gd name="connsiteX31" fmla="*/ 915290 w 1238413"/>
                  <a:gd name="connsiteY31" fmla="*/ 1406525 h 3277163"/>
                  <a:gd name="connsiteX32" fmla="*/ 952596 w 1238413"/>
                  <a:gd name="connsiteY32" fmla="*/ 1460500 h 3277163"/>
                  <a:gd name="connsiteX33" fmla="*/ 1028796 w 1238413"/>
                  <a:gd name="connsiteY33" fmla="*/ 1612900 h 3277163"/>
                  <a:gd name="connsiteX34" fmla="*/ 1022446 w 1238413"/>
                  <a:gd name="connsiteY34" fmla="*/ 1657350 h 3277163"/>
                  <a:gd name="connsiteX35" fmla="*/ 1066896 w 1238413"/>
                  <a:gd name="connsiteY35" fmla="*/ 1720850 h 3277163"/>
                  <a:gd name="connsiteX36" fmla="*/ 1085946 w 1238413"/>
                  <a:gd name="connsiteY36" fmla="*/ 1809750 h 3277163"/>
                  <a:gd name="connsiteX37" fmla="*/ 1128809 w 1238413"/>
                  <a:gd name="connsiteY37" fmla="*/ 1910557 h 3277163"/>
                  <a:gd name="connsiteX38" fmla="*/ 1143096 w 1238413"/>
                  <a:gd name="connsiteY38" fmla="*/ 1981200 h 3277163"/>
                  <a:gd name="connsiteX39" fmla="*/ 1174846 w 1238413"/>
                  <a:gd name="connsiteY39" fmla="*/ 2044700 h 3277163"/>
                  <a:gd name="connsiteX40" fmla="*/ 1238346 w 1238413"/>
                  <a:gd name="connsiteY40" fmla="*/ 2095500 h 3277163"/>
                  <a:gd name="connsiteX41" fmla="*/ 1200246 w 1238413"/>
                  <a:gd name="connsiteY41" fmla="*/ 2139950 h 3277163"/>
                  <a:gd name="connsiteX42" fmla="*/ 1193896 w 1238413"/>
                  <a:gd name="connsiteY42" fmla="*/ 2190750 h 3277163"/>
                  <a:gd name="connsiteX43" fmla="*/ 1193896 w 1238413"/>
                  <a:gd name="connsiteY43" fmla="*/ 2241550 h 3277163"/>
                  <a:gd name="connsiteX44" fmla="*/ 1212946 w 1238413"/>
                  <a:gd name="connsiteY44" fmla="*/ 2273300 h 3277163"/>
                  <a:gd name="connsiteX45" fmla="*/ 1193896 w 1238413"/>
                  <a:gd name="connsiteY45" fmla="*/ 2305050 h 3277163"/>
                  <a:gd name="connsiteX46" fmla="*/ 1212946 w 1238413"/>
                  <a:gd name="connsiteY46" fmla="*/ 2368550 h 3277163"/>
                  <a:gd name="connsiteX47" fmla="*/ 1155796 w 1238413"/>
                  <a:gd name="connsiteY47" fmla="*/ 2527300 h 3277163"/>
                  <a:gd name="connsiteX48" fmla="*/ 1111346 w 1238413"/>
                  <a:gd name="connsiteY48" fmla="*/ 2565400 h 3277163"/>
                  <a:gd name="connsiteX49" fmla="*/ 1079596 w 1238413"/>
                  <a:gd name="connsiteY49" fmla="*/ 2597150 h 3277163"/>
                  <a:gd name="connsiteX50" fmla="*/ 1003396 w 1238413"/>
                  <a:gd name="connsiteY50" fmla="*/ 2616200 h 3277163"/>
                  <a:gd name="connsiteX51" fmla="*/ 965296 w 1238413"/>
                  <a:gd name="connsiteY51" fmla="*/ 2679700 h 3277163"/>
                  <a:gd name="connsiteX52" fmla="*/ 838296 w 1238413"/>
                  <a:gd name="connsiteY52" fmla="*/ 2762250 h 3277163"/>
                  <a:gd name="connsiteX53" fmla="*/ 730346 w 1238413"/>
                  <a:gd name="connsiteY53" fmla="*/ 2736850 h 3277163"/>
                  <a:gd name="connsiteX54" fmla="*/ 654146 w 1238413"/>
                  <a:gd name="connsiteY54" fmla="*/ 2730500 h 3277163"/>
                  <a:gd name="connsiteX55" fmla="*/ 571596 w 1238413"/>
                  <a:gd name="connsiteY55" fmla="*/ 2736850 h 3277163"/>
                  <a:gd name="connsiteX56" fmla="*/ 489046 w 1238413"/>
                  <a:gd name="connsiteY56" fmla="*/ 2844800 h 3277163"/>
                  <a:gd name="connsiteX57" fmla="*/ 438246 w 1238413"/>
                  <a:gd name="connsiteY57" fmla="*/ 2908300 h 3277163"/>
                  <a:gd name="connsiteX58" fmla="*/ 368396 w 1238413"/>
                  <a:gd name="connsiteY58" fmla="*/ 2946400 h 3277163"/>
                  <a:gd name="connsiteX59" fmla="*/ 349346 w 1238413"/>
                  <a:gd name="connsiteY59" fmla="*/ 3022600 h 3277163"/>
                  <a:gd name="connsiteX60" fmla="*/ 248540 w 1238413"/>
                  <a:gd name="connsiteY60" fmla="*/ 3152775 h 3277163"/>
                  <a:gd name="connsiteX61" fmla="*/ 161227 w 1238413"/>
                  <a:gd name="connsiteY61" fmla="*/ 3273426 h 3277163"/>
                  <a:gd name="connsiteX0" fmla="*/ 12796 w 1238413"/>
                  <a:gd name="connsiteY0" fmla="*/ 0 h 3277163"/>
                  <a:gd name="connsiteX1" fmla="*/ 37402 w 1238413"/>
                  <a:gd name="connsiteY1" fmla="*/ 120650 h 3277163"/>
                  <a:gd name="connsiteX2" fmla="*/ 19146 w 1238413"/>
                  <a:gd name="connsiteY2" fmla="*/ 158750 h 3277163"/>
                  <a:gd name="connsiteX3" fmla="*/ 41371 w 1238413"/>
                  <a:gd name="connsiteY3" fmla="*/ 209550 h 3277163"/>
                  <a:gd name="connsiteX4" fmla="*/ 38196 w 1238413"/>
                  <a:gd name="connsiteY4" fmla="*/ 234950 h 3277163"/>
                  <a:gd name="connsiteX5" fmla="*/ 50896 w 1238413"/>
                  <a:gd name="connsiteY5" fmla="*/ 273050 h 3277163"/>
                  <a:gd name="connsiteX6" fmla="*/ 17558 w 1238413"/>
                  <a:gd name="connsiteY6" fmla="*/ 312737 h 3277163"/>
                  <a:gd name="connsiteX7" fmla="*/ 50896 w 1238413"/>
                  <a:gd name="connsiteY7" fmla="*/ 372269 h 3277163"/>
                  <a:gd name="connsiteX8" fmla="*/ 31846 w 1238413"/>
                  <a:gd name="connsiteY8" fmla="*/ 463550 h 3277163"/>
                  <a:gd name="connsiteX9" fmla="*/ 890 w 1238413"/>
                  <a:gd name="connsiteY9" fmla="*/ 525462 h 3277163"/>
                  <a:gd name="connsiteX10" fmla="*/ 96 w 1238413"/>
                  <a:gd name="connsiteY10" fmla="*/ 546101 h 3277163"/>
                  <a:gd name="connsiteX11" fmla="*/ 6446 w 1238413"/>
                  <a:gd name="connsiteY11" fmla="*/ 603250 h 3277163"/>
                  <a:gd name="connsiteX12" fmla="*/ 50896 w 1238413"/>
                  <a:gd name="connsiteY12" fmla="*/ 647700 h 3277163"/>
                  <a:gd name="connsiteX13" fmla="*/ 63596 w 1238413"/>
                  <a:gd name="connsiteY13" fmla="*/ 704850 h 3277163"/>
                  <a:gd name="connsiteX14" fmla="*/ 120746 w 1238413"/>
                  <a:gd name="connsiteY14" fmla="*/ 749300 h 3277163"/>
                  <a:gd name="connsiteX15" fmla="*/ 170752 w 1238413"/>
                  <a:gd name="connsiteY15" fmla="*/ 763587 h 3277163"/>
                  <a:gd name="connsiteX16" fmla="*/ 241396 w 1238413"/>
                  <a:gd name="connsiteY16" fmla="*/ 806450 h 3277163"/>
                  <a:gd name="connsiteX17" fmla="*/ 238221 w 1238413"/>
                  <a:gd name="connsiteY17" fmla="*/ 854869 h 3277163"/>
                  <a:gd name="connsiteX18" fmla="*/ 273146 w 1238413"/>
                  <a:gd name="connsiteY18" fmla="*/ 901700 h 3277163"/>
                  <a:gd name="connsiteX19" fmla="*/ 376334 w 1238413"/>
                  <a:gd name="connsiteY19" fmla="*/ 981869 h 3277163"/>
                  <a:gd name="connsiteX20" fmla="*/ 425546 w 1238413"/>
                  <a:gd name="connsiteY20" fmla="*/ 1028700 h 3277163"/>
                  <a:gd name="connsiteX21" fmla="*/ 463646 w 1238413"/>
                  <a:gd name="connsiteY21" fmla="*/ 1098550 h 3277163"/>
                  <a:gd name="connsiteX22" fmla="*/ 565246 w 1238413"/>
                  <a:gd name="connsiteY22" fmla="*/ 1143000 h 3277163"/>
                  <a:gd name="connsiteX23" fmla="*/ 609696 w 1238413"/>
                  <a:gd name="connsiteY23" fmla="*/ 1162050 h 3277163"/>
                  <a:gd name="connsiteX24" fmla="*/ 635096 w 1238413"/>
                  <a:gd name="connsiteY24" fmla="*/ 1212850 h 3277163"/>
                  <a:gd name="connsiteX25" fmla="*/ 711296 w 1238413"/>
                  <a:gd name="connsiteY25" fmla="*/ 1212850 h 3277163"/>
                  <a:gd name="connsiteX26" fmla="*/ 728759 w 1238413"/>
                  <a:gd name="connsiteY26" fmla="*/ 1239045 h 3277163"/>
                  <a:gd name="connsiteX27" fmla="*/ 764477 w 1238413"/>
                  <a:gd name="connsiteY27" fmla="*/ 1255714 h 3277163"/>
                  <a:gd name="connsiteX28" fmla="*/ 788289 w 1238413"/>
                  <a:gd name="connsiteY28" fmla="*/ 1304925 h 3277163"/>
                  <a:gd name="connsiteX29" fmla="*/ 825596 w 1238413"/>
                  <a:gd name="connsiteY29" fmla="*/ 1352550 h 3277163"/>
                  <a:gd name="connsiteX30" fmla="*/ 866871 w 1238413"/>
                  <a:gd name="connsiteY30" fmla="*/ 1386682 h 3277163"/>
                  <a:gd name="connsiteX31" fmla="*/ 915290 w 1238413"/>
                  <a:gd name="connsiteY31" fmla="*/ 1406525 h 3277163"/>
                  <a:gd name="connsiteX32" fmla="*/ 952596 w 1238413"/>
                  <a:gd name="connsiteY32" fmla="*/ 1460500 h 3277163"/>
                  <a:gd name="connsiteX33" fmla="*/ 1028796 w 1238413"/>
                  <a:gd name="connsiteY33" fmla="*/ 1612900 h 3277163"/>
                  <a:gd name="connsiteX34" fmla="*/ 1022446 w 1238413"/>
                  <a:gd name="connsiteY34" fmla="*/ 1657350 h 3277163"/>
                  <a:gd name="connsiteX35" fmla="*/ 1066896 w 1238413"/>
                  <a:gd name="connsiteY35" fmla="*/ 1720850 h 3277163"/>
                  <a:gd name="connsiteX36" fmla="*/ 1085946 w 1238413"/>
                  <a:gd name="connsiteY36" fmla="*/ 1809750 h 3277163"/>
                  <a:gd name="connsiteX37" fmla="*/ 1128809 w 1238413"/>
                  <a:gd name="connsiteY37" fmla="*/ 1910557 h 3277163"/>
                  <a:gd name="connsiteX38" fmla="*/ 1143096 w 1238413"/>
                  <a:gd name="connsiteY38" fmla="*/ 1981200 h 3277163"/>
                  <a:gd name="connsiteX39" fmla="*/ 1174846 w 1238413"/>
                  <a:gd name="connsiteY39" fmla="*/ 2044700 h 3277163"/>
                  <a:gd name="connsiteX40" fmla="*/ 1238346 w 1238413"/>
                  <a:gd name="connsiteY40" fmla="*/ 2095500 h 3277163"/>
                  <a:gd name="connsiteX41" fmla="*/ 1200246 w 1238413"/>
                  <a:gd name="connsiteY41" fmla="*/ 2139950 h 3277163"/>
                  <a:gd name="connsiteX42" fmla="*/ 1193896 w 1238413"/>
                  <a:gd name="connsiteY42" fmla="*/ 2190750 h 3277163"/>
                  <a:gd name="connsiteX43" fmla="*/ 1193896 w 1238413"/>
                  <a:gd name="connsiteY43" fmla="*/ 2241550 h 3277163"/>
                  <a:gd name="connsiteX44" fmla="*/ 1212946 w 1238413"/>
                  <a:gd name="connsiteY44" fmla="*/ 2273300 h 3277163"/>
                  <a:gd name="connsiteX45" fmla="*/ 1193896 w 1238413"/>
                  <a:gd name="connsiteY45" fmla="*/ 2305050 h 3277163"/>
                  <a:gd name="connsiteX46" fmla="*/ 1212946 w 1238413"/>
                  <a:gd name="connsiteY46" fmla="*/ 2368550 h 3277163"/>
                  <a:gd name="connsiteX47" fmla="*/ 1155796 w 1238413"/>
                  <a:gd name="connsiteY47" fmla="*/ 2527300 h 3277163"/>
                  <a:gd name="connsiteX48" fmla="*/ 1111346 w 1238413"/>
                  <a:gd name="connsiteY48" fmla="*/ 2565400 h 3277163"/>
                  <a:gd name="connsiteX49" fmla="*/ 1079596 w 1238413"/>
                  <a:gd name="connsiteY49" fmla="*/ 2597150 h 3277163"/>
                  <a:gd name="connsiteX50" fmla="*/ 1003396 w 1238413"/>
                  <a:gd name="connsiteY50" fmla="*/ 2616200 h 3277163"/>
                  <a:gd name="connsiteX51" fmla="*/ 965296 w 1238413"/>
                  <a:gd name="connsiteY51" fmla="*/ 2679700 h 3277163"/>
                  <a:gd name="connsiteX52" fmla="*/ 838296 w 1238413"/>
                  <a:gd name="connsiteY52" fmla="*/ 2762250 h 3277163"/>
                  <a:gd name="connsiteX53" fmla="*/ 730346 w 1238413"/>
                  <a:gd name="connsiteY53" fmla="*/ 2736850 h 3277163"/>
                  <a:gd name="connsiteX54" fmla="*/ 654146 w 1238413"/>
                  <a:gd name="connsiteY54" fmla="*/ 2730500 h 3277163"/>
                  <a:gd name="connsiteX55" fmla="*/ 571596 w 1238413"/>
                  <a:gd name="connsiteY55" fmla="*/ 2736850 h 3277163"/>
                  <a:gd name="connsiteX56" fmla="*/ 489046 w 1238413"/>
                  <a:gd name="connsiteY56" fmla="*/ 2844800 h 3277163"/>
                  <a:gd name="connsiteX57" fmla="*/ 438246 w 1238413"/>
                  <a:gd name="connsiteY57" fmla="*/ 2908300 h 3277163"/>
                  <a:gd name="connsiteX58" fmla="*/ 368396 w 1238413"/>
                  <a:gd name="connsiteY58" fmla="*/ 2946400 h 3277163"/>
                  <a:gd name="connsiteX59" fmla="*/ 349346 w 1238413"/>
                  <a:gd name="connsiteY59" fmla="*/ 3022600 h 3277163"/>
                  <a:gd name="connsiteX60" fmla="*/ 248540 w 1238413"/>
                  <a:gd name="connsiteY60" fmla="*/ 3152775 h 3277163"/>
                  <a:gd name="connsiteX61" fmla="*/ 161227 w 1238413"/>
                  <a:gd name="connsiteY61" fmla="*/ 3273426 h 3277163"/>
                  <a:gd name="connsiteX0" fmla="*/ 12796 w 1238413"/>
                  <a:gd name="connsiteY0" fmla="*/ 0 h 3277163"/>
                  <a:gd name="connsiteX1" fmla="*/ 37402 w 1238413"/>
                  <a:gd name="connsiteY1" fmla="*/ 120650 h 3277163"/>
                  <a:gd name="connsiteX2" fmla="*/ 19146 w 1238413"/>
                  <a:gd name="connsiteY2" fmla="*/ 158750 h 3277163"/>
                  <a:gd name="connsiteX3" fmla="*/ 41371 w 1238413"/>
                  <a:gd name="connsiteY3" fmla="*/ 209550 h 3277163"/>
                  <a:gd name="connsiteX4" fmla="*/ 38196 w 1238413"/>
                  <a:gd name="connsiteY4" fmla="*/ 234950 h 3277163"/>
                  <a:gd name="connsiteX5" fmla="*/ 50896 w 1238413"/>
                  <a:gd name="connsiteY5" fmla="*/ 273050 h 3277163"/>
                  <a:gd name="connsiteX6" fmla="*/ 17558 w 1238413"/>
                  <a:gd name="connsiteY6" fmla="*/ 312737 h 3277163"/>
                  <a:gd name="connsiteX7" fmla="*/ 50896 w 1238413"/>
                  <a:gd name="connsiteY7" fmla="*/ 372269 h 3277163"/>
                  <a:gd name="connsiteX8" fmla="*/ 31846 w 1238413"/>
                  <a:gd name="connsiteY8" fmla="*/ 463550 h 3277163"/>
                  <a:gd name="connsiteX9" fmla="*/ 890 w 1238413"/>
                  <a:gd name="connsiteY9" fmla="*/ 525462 h 3277163"/>
                  <a:gd name="connsiteX10" fmla="*/ 96 w 1238413"/>
                  <a:gd name="connsiteY10" fmla="*/ 546101 h 3277163"/>
                  <a:gd name="connsiteX11" fmla="*/ 6446 w 1238413"/>
                  <a:gd name="connsiteY11" fmla="*/ 603250 h 3277163"/>
                  <a:gd name="connsiteX12" fmla="*/ 50896 w 1238413"/>
                  <a:gd name="connsiteY12" fmla="*/ 647700 h 3277163"/>
                  <a:gd name="connsiteX13" fmla="*/ 63596 w 1238413"/>
                  <a:gd name="connsiteY13" fmla="*/ 704850 h 3277163"/>
                  <a:gd name="connsiteX14" fmla="*/ 120746 w 1238413"/>
                  <a:gd name="connsiteY14" fmla="*/ 749300 h 3277163"/>
                  <a:gd name="connsiteX15" fmla="*/ 170752 w 1238413"/>
                  <a:gd name="connsiteY15" fmla="*/ 763587 h 3277163"/>
                  <a:gd name="connsiteX16" fmla="*/ 241396 w 1238413"/>
                  <a:gd name="connsiteY16" fmla="*/ 806450 h 3277163"/>
                  <a:gd name="connsiteX17" fmla="*/ 238221 w 1238413"/>
                  <a:gd name="connsiteY17" fmla="*/ 854869 h 3277163"/>
                  <a:gd name="connsiteX18" fmla="*/ 273146 w 1238413"/>
                  <a:gd name="connsiteY18" fmla="*/ 901700 h 3277163"/>
                  <a:gd name="connsiteX19" fmla="*/ 376334 w 1238413"/>
                  <a:gd name="connsiteY19" fmla="*/ 981869 h 3277163"/>
                  <a:gd name="connsiteX20" fmla="*/ 425546 w 1238413"/>
                  <a:gd name="connsiteY20" fmla="*/ 1028700 h 3277163"/>
                  <a:gd name="connsiteX21" fmla="*/ 463646 w 1238413"/>
                  <a:gd name="connsiteY21" fmla="*/ 1098550 h 3277163"/>
                  <a:gd name="connsiteX22" fmla="*/ 565246 w 1238413"/>
                  <a:gd name="connsiteY22" fmla="*/ 1143000 h 3277163"/>
                  <a:gd name="connsiteX23" fmla="*/ 609696 w 1238413"/>
                  <a:gd name="connsiteY23" fmla="*/ 1162050 h 3277163"/>
                  <a:gd name="connsiteX24" fmla="*/ 635096 w 1238413"/>
                  <a:gd name="connsiteY24" fmla="*/ 1212850 h 3277163"/>
                  <a:gd name="connsiteX25" fmla="*/ 711296 w 1238413"/>
                  <a:gd name="connsiteY25" fmla="*/ 1212850 h 3277163"/>
                  <a:gd name="connsiteX26" fmla="*/ 728759 w 1238413"/>
                  <a:gd name="connsiteY26" fmla="*/ 1239045 h 3277163"/>
                  <a:gd name="connsiteX27" fmla="*/ 764477 w 1238413"/>
                  <a:gd name="connsiteY27" fmla="*/ 1255714 h 3277163"/>
                  <a:gd name="connsiteX28" fmla="*/ 788289 w 1238413"/>
                  <a:gd name="connsiteY28" fmla="*/ 1304925 h 3277163"/>
                  <a:gd name="connsiteX29" fmla="*/ 825596 w 1238413"/>
                  <a:gd name="connsiteY29" fmla="*/ 1352550 h 3277163"/>
                  <a:gd name="connsiteX30" fmla="*/ 866871 w 1238413"/>
                  <a:gd name="connsiteY30" fmla="*/ 1386682 h 3277163"/>
                  <a:gd name="connsiteX31" fmla="*/ 915290 w 1238413"/>
                  <a:gd name="connsiteY31" fmla="*/ 1406525 h 3277163"/>
                  <a:gd name="connsiteX32" fmla="*/ 952596 w 1238413"/>
                  <a:gd name="connsiteY32" fmla="*/ 1460500 h 3277163"/>
                  <a:gd name="connsiteX33" fmla="*/ 1028796 w 1238413"/>
                  <a:gd name="connsiteY33" fmla="*/ 1612900 h 3277163"/>
                  <a:gd name="connsiteX34" fmla="*/ 1022446 w 1238413"/>
                  <a:gd name="connsiteY34" fmla="*/ 1657350 h 3277163"/>
                  <a:gd name="connsiteX35" fmla="*/ 1066896 w 1238413"/>
                  <a:gd name="connsiteY35" fmla="*/ 1720850 h 3277163"/>
                  <a:gd name="connsiteX36" fmla="*/ 1085946 w 1238413"/>
                  <a:gd name="connsiteY36" fmla="*/ 1809750 h 3277163"/>
                  <a:gd name="connsiteX37" fmla="*/ 1128809 w 1238413"/>
                  <a:gd name="connsiteY37" fmla="*/ 1910557 h 3277163"/>
                  <a:gd name="connsiteX38" fmla="*/ 1143096 w 1238413"/>
                  <a:gd name="connsiteY38" fmla="*/ 1981200 h 3277163"/>
                  <a:gd name="connsiteX39" fmla="*/ 1174846 w 1238413"/>
                  <a:gd name="connsiteY39" fmla="*/ 2044700 h 3277163"/>
                  <a:gd name="connsiteX40" fmla="*/ 1238346 w 1238413"/>
                  <a:gd name="connsiteY40" fmla="*/ 2095500 h 3277163"/>
                  <a:gd name="connsiteX41" fmla="*/ 1200246 w 1238413"/>
                  <a:gd name="connsiteY41" fmla="*/ 2139950 h 3277163"/>
                  <a:gd name="connsiteX42" fmla="*/ 1193896 w 1238413"/>
                  <a:gd name="connsiteY42" fmla="*/ 2190750 h 3277163"/>
                  <a:gd name="connsiteX43" fmla="*/ 1193896 w 1238413"/>
                  <a:gd name="connsiteY43" fmla="*/ 2241550 h 3277163"/>
                  <a:gd name="connsiteX44" fmla="*/ 1212946 w 1238413"/>
                  <a:gd name="connsiteY44" fmla="*/ 2273300 h 3277163"/>
                  <a:gd name="connsiteX45" fmla="*/ 1193896 w 1238413"/>
                  <a:gd name="connsiteY45" fmla="*/ 2305050 h 3277163"/>
                  <a:gd name="connsiteX46" fmla="*/ 1212946 w 1238413"/>
                  <a:gd name="connsiteY46" fmla="*/ 2368550 h 3277163"/>
                  <a:gd name="connsiteX47" fmla="*/ 1155796 w 1238413"/>
                  <a:gd name="connsiteY47" fmla="*/ 2527300 h 3277163"/>
                  <a:gd name="connsiteX48" fmla="*/ 1111346 w 1238413"/>
                  <a:gd name="connsiteY48" fmla="*/ 2565400 h 3277163"/>
                  <a:gd name="connsiteX49" fmla="*/ 1079596 w 1238413"/>
                  <a:gd name="connsiteY49" fmla="*/ 2597150 h 3277163"/>
                  <a:gd name="connsiteX50" fmla="*/ 1003396 w 1238413"/>
                  <a:gd name="connsiteY50" fmla="*/ 2616200 h 3277163"/>
                  <a:gd name="connsiteX51" fmla="*/ 965296 w 1238413"/>
                  <a:gd name="connsiteY51" fmla="*/ 2679700 h 3277163"/>
                  <a:gd name="connsiteX52" fmla="*/ 838296 w 1238413"/>
                  <a:gd name="connsiteY52" fmla="*/ 2762250 h 3277163"/>
                  <a:gd name="connsiteX53" fmla="*/ 730346 w 1238413"/>
                  <a:gd name="connsiteY53" fmla="*/ 2736850 h 3277163"/>
                  <a:gd name="connsiteX54" fmla="*/ 654146 w 1238413"/>
                  <a:gd name="connsiteY54" fmla="*/ 2730500 h 3277163"/>
                  <a:gd name="connsiteX55" fmla="*/ 571596 w 1238413"/>
                  <a:gd name="connsiteY55" fmla="*/ 2736850 h 3277163"/>
                  <a:gd name="connsiteX56" fmla="*/ 489046 w 1238413"/>
                  <a:gd name="connsiteY56" fmla="*/ 2844800 h 3277163"/>
                  <a:gd name="connsiteX57" fmla="*/ 438246 w 1238413"/>
                  <a:gd name="connsiteY57" fmla="*/ 2908300 h 3277163"/>
                  <a:gd name="connsiteX58" fmla="*/ 368396 w 1238413"/>
                  <a:gd name="connsiteY58" fmla="*/ 2946400 h 3277163"/>
                  <a:gd name="connsiteX59" fmla="*/ 349346 w 1238413"/>
                  <a:gd name="connsiteY59" fmla="*/ 3022600 h 3277163"/>
                  <a:gd name="connsiteX60" fmla="*/ 248540 w 1238413"/>
                  <a:gd name="connsiteY60" fmla="*/ 3152775 h 3277163"/>
                  <a:gd name="connsiteX61" fmla="*/ 161227 w 1238413"/>
                  <a:gd name="connsiteY61" fmla="*/ 3273426 h 3277163"/>
                  <a:gd name="connsiteX0" fmla="*/ 12796 w 1238413"/>
                  <a:gd name="connsiteY0" fmla="*/ 0 h 3277163"/>
                  <a:gd name="connsiteX1" fmla="*/ 37402 w 1238413"/>
                  <a:gd name="connsiteY1" fmla="*/ 120650 h 3277163"/>
                  <a:gd name="connsiteX2" fmla="*/ 19146 w 1238413"/>
                  <a:gd name="connsiteY2" fmla="*/ 158750 h 3277163"/>
                  <a:gd name="connsiteX3" fmla="*/ 41371 w 1238413"/>
                  <a:gd name="connsiteY3" fmla="*/ 209550 h 3277163"/>
                  <a:gd name="connsiteX4" fmla="*/ 38196 w 1238413"/>
                  <a:gd name="connsiteY4" fmla="*/ 234950 h 3277163"/>
                  <a:gd name="connsiteX5" fmla="*/ 50896 w 1238413"/>
                  <a:gd name="connsiteY5" fmla="*/ 273050 h 3277163"/>
                  <a:gd name="connsiteX6" fmla="*/ 17558 w 1238413"/>
                  <a:gd name="connsiteY6" fmla="*/ 312737 h 3277163"/>
                  <a:gd name="connsiteX7" fmla="*/ 50896 w 1238413"/>
                  <a:gd name="connsiteY7" fmla="*/ 372269 h 3277163"/>
                  <a:gd name="connsiteX8" fmla="*/ 31846 w 1238413"/>
                  <a:gd name="connsiteY8" fmla="*/ 463550 h 3277163"/>
                  <a:gd name="connsiteX9" fmla="*/ 890 w 1238413"/>
                  <a:gd name="connsiteY9" fmla="*/ 525462 h 3277163"/>
                  <a:gd name="connsiteX10" fmla="*/ 96 w 1238413"/>
                  <a:gd name="connsiteY10" fmla="*/ 546101 h 3277163"/>
                  <a:gd name="connsiteX11" fmla="*/ 6446 w 1238413"/>
                  <a:gd name="connsiteY11" fmla="*/ 603250 h 3277163"/>
                  <a:gd name="connsiteX12" fmla="*/ 50896 w 1238413"/>
                  <a:gd name="connsiteY12" fmla="*/ 647700 h 3277163"/>
                  <a:gd name="connsiteX13" fmla="*/ 63596 w 1238413"/>
                  <a:gd name="connsiteY13" fmla="*/ 704850 h 3277163"/>
                  <a:gd name="connsiteX14" fmla="*/ 120746 w 1238413"/>
                  <a:gd name="connsiteY14" fmla="*/ 749300 h 3277163"/>
                  <a:gd name="connsiteX15" fmla="*/ 170752 w 1238413"/>
                  <a:gd name="connsiteY15" fmla="*/ 763587 h 3277163"/>
                  <a:gd name="connsiteX16" fmla="*/ 241396 w 1238413"/>
                  <a:gd name="connsiteY16" fmla="*/ 806450 h 3277163"/>
                  <a:gd name="connsiteX17" fmla="*/ 238221 w 1238413"/>
                  <a:gd name="connsiteY17" fmla="*/ 854869 h 3277163"/>
                  <a:gd name="connsiteX18" fmla="*/ 273146 w 1238413"/>
                  <a:gd name="connsiteY18" fmla="*/ 901700 h 3277163"/>
                  <a:gd name="connsiteX19" fmla="*/ 376334 w 1238413"/>
                  <a:gd name="connsiteY19" fmla="*/ 981869 h 3277163"/>
                  <a:gd name="connsiteX20" fmla="*/ 425546 w 1238413"/>
                  <a:gd name="connsiteY20" fmla="*/ 1028700 h 3277163"/>
                  <a:gd name="connsiteX21" fmla="*/ 463646 w 1238413"/>
                  <a:gd name="connsiteY21" fmla="*/ 1098550 h 3277163"/>
                  <a:gd name="connsiteX22" fmla="*/ 565246 w 1238413"/>
                  <a:gd name="connsiteY22" fmla="*/ 1143000 h 3277163"/>
                  <a:gd name="connsiteX23" fmla="*/ 609696 w 1238413"/>
                  <a:gd name="connsiteY23" fmla="*/ 1162050 h 3277163"/>
                  <a:gd name="connsiteX24" fmla="*/ 635096 w 1238413"/>
                  <a:gd name="connsiteY24" fmla="*/ 1212850 h 3277163"/>
                  <a:gd name="connsiteX25" fmla="*/ 711296 w 1238413"/>
                  <a:gd name="connsiteY25" fmla="*/ 1212850 h 3277163"/>
                  <a:gd name="connsiteX26" fmla="*/ 728759 w 1238413"/>
                  <a:gd name="connsiteY26" fmla="*/ 1239045 h 3277163"/>
                  <a:gd name="connsiteX27" fmla="*/ 764477 w 1238413"/>
                  <a:gd name="connsiteY27" fmla="*/ 1255714 h 3277163"/>
                  <a:gd name="connsiteX28" fmla="*/ 788289 w 1238413"/>
                  <a:gd name="connsiteY28" fmla="*/ 1304925 h 3277163"/>
                  <a:gd name="connsiteX29" fmla="*/ 825596 w 1238413"/>
                  <a:gd name="connsiteY29" fmla="*/ 1352550 h 3277163"/>
                  <a:gd name="connsiteX30" fmla="*/ 866871 w 1238413"/>
                  <a:gd name="connsiteY30" fmla="*/ 1386682 h 3277163"/>
                  <a:gd name="connsiteX31" fmla="*/ 915290 w 1238413"/>
                  <a:gd name="connsiteY31" fmla="*/ 1406525 h 3277163"/>
                  <a:gd name="connsiteX32" fmla="*/ 952596 w 1238413"/>
                  <a:gd name="connsiteY32" fmla="*/ 1460500 h 3277163"/>
                  <a:gd name="connsiteX33" fmla="*/ 1028796 w 1238413"/>
                  <a:gd name="connsiteY33" fmla="*/ 1612900 h 3277163"/>
                  <a:gd name="connsiteX34" fmla="*/ 1022446 w 1238413"/>
                  <a:gd name="connsiteY34" fmla="*/ 1657350 h 3277163"/>
                  <a:gd name="connsiteX35" fmla="*/ 1066896 w 1238413"/>
                  <a:gd name="connsiteY35" fmla="*/ 1720850 h 3277163"/>
                  <a:gd name="connsiteX36" fmla="*/ 1085946 w 1238413"/>
                  <a:gd name="connsiteY36" fmla="*/ 1809750 h 3277163"/>
                  <a:gd name="connsiteX37" fmla="*/ 1128809 w 1238413"/>
                  <a:gd name="connsiteY37" fmla="*/ 1910557 h 3277163"/>
                  <a:gd name="connsiteX38" fmla="*/ 1143096 w 1238413"/>
                  <a:gd name="connsiteY38" fmla="*/ 1981200 h 3277163"/>
                  <a:gd name="connsiteX39" fmla="*/ 1174846 w 1238413"/>
                  <a:gd name="connsiteY39" fmla="*/ 2044700 h 3277163"/>
                  <a:gd name="connsiteX40" fmla="*/ 1238346 w 1238413"/>
                  <a:gd name="connsiteY40" fmla="*/ 2095500 h 3277163"/>
                  <a:gd name="connsiteX41" fmla="*/ 1200246 w 1238413"/>
                  <a:gd name="connsiteY41" fmla="*/ 2139950 h 3277163"/>
                  <a:gd name="connsiteX42" fmla="*/ 1193896 w 1238413"/>
                  <a:gd name="connsiteY42" fmla="*/ 2190750 h 3277163"/>
                  <a:gd name="connsiteX43" fmla="*/ 1193896 w 1238413"/>
                  <a:gd name="connsiteY43" fmla="*/ 2241550 h 3277163"/>
                  <a:gd name="connsiteX44" fmla="*/ 1212946 w 1238413"/>
                  <a:gd name="connsiteY44" fmla="*/ 2273300 h 3277163"/>
                  <a:gd name="connsiteX45" fmla="*/ 1193896 w 1238413"/>
                  <a:gd name="connsiteY45" fmla="*/ 2305050 h 3277163"/>
                  <a:gd name="connsiteX46" fmla="*/ 1212946 w 1238413"/>
                  <a:gd name="connsiteY46" fmla="*/ 2368550 h 3277163"/>
                  <a:gd name="connsiteX47" fmla="*/ 1155796 w 1238413"/>
                  <a:gd name="connsiteY47" fmla="*/ 2527300 h 3277163"/>
                  <a:gd name="connsiteX48" fmla="*/ 1111346 w 1238413"/>
                  <a:gd name="connsiteY48" fmla="*/ 2565400 h 3277163"/>
                  <a:gd name="connsiteX49" fmla="*/ 1079596 w 1238413"/>
                  <a:gd name="connsiteY49" fmla="*/ 2597150 h 3277163"/>
                  <a:gd name="connsiteX50" fmla="*/ 1003396 w 1238413"/>
                  <a:gd name="connsiteY50" fmla="*/ 2616200 h 3277163"/>
                  <a:gd name="connsiteX51" fmla="*/ 965296 w 1238413"/>
                  <a:gd name="connsiteY51" fmla="*/ 2679700 h 3277163"/>
                  <a:gd name="connsiteX52" fmla="*/ 838296 w 1238413"/>
                  <a:gd name="connsiteY52" fmla="*/ 2747963 h 3277163"/>
                  <a:gd name="connsiteX53" fmla="*/ 730346 w 1238413"/>
                  <a:gd name="connsiteY53" fmla="*/ 2736850 h 3277163"/>
                  <a:gd name="connsiteX54" fmla="*/ 654146 w 1238413"/>
                  <a:gd name="connsiteY54" fmla="*/ 2730500 h 3277163"/>
                  <a:gd name="connsiteX55" fmla="*/ 571596 w 1238413"/>
                  <a:gd name="connsiteY55" fmla="*/ 2736850 h 3277163"/>
                  <a:gd name="connsiteX56" fmla="*/ 489046 w 1238413"/>
                  <a:gd name="connsiteY56" fmla="*/ 2844800 h 3277163"/>
                  <a:gd name="connsiteX57" fmla="*/ 438246 w 1238413"/>
                  <a:gd name="connsiteY57" fmla="*/ 2908300 h 3277163"/>
                  <a:gd name="connsiteX58" fmla="*/ 368396 w 1238413"/>
                  <a:gd name="connsiteY58" fmla="*/ 2946400 h 3277163"/>
                  <a:gd name="connsiteX59" fmla="*/ 349346 w 1238413"/>
                  <a:gd name="connsiteY59" fmla="*/ 3022600 h 3277163"/>
                  <a:gd name="connsiteX60" fmla="*/ 248540 w 1238413"/>
                  <a:gd name="connsiteY60" fmla="*/ 3152775 h 3277163"/>
                  <a:gd name="connsiteX61" fmla="*/ 161227 w 1238413"/>
                  <a:gd name="connsiteY61" fmla="*/ 3273426 h 3277163"/>
                  <a:gd name="connsiteX0" fmla="*/ 12796 w 1238413"/>
                  <a:gd name="connsiteY0" fmla="*/ 0 h 3277163"/>
                  <a:gd name="connsiteX1" fmla="*/ 37402 w 1238413"/>
                  <a:gd name="connsiteY1" fmla="*/ 120650 h 3277163"/>
                  <a:gd name="connsiteX2" fmla="*/ 19146 w 1238413"/>
                  <a:gd name="connsiteY2" fmla="*/ 158750 h 3277163"/>
                  <a:gd name="connsiteX3" fmla="*/ 41371 w 1238413"/>
                  <a:gd name="connsiteY3" fmla="*/ 209550 h 3277163"/>
                  <a:gd name="connsiteX4" fmla="*/ 38196 w 1238413"/>
                  <a:gd name="connsiteY4" fmla="*/ 234950 h 3277163"/>
                  <a:gd name="connsiteX5" fmla="*/ 50896 w 1238413"/>
                  <a:gd name="connsiteY5" fmla="*/ 273050 h 3277163"/>
                  <a:gd name="connsiteX6" fmla="*/ 17558 w 1238413"/>
                  <a:gd name="connsiteY6" fmla="*/ 312737 h 3277163"/>
                  <a:gd name="connsiteX7" fmla="*/ 50896 w 1238413"/>
                  <a:gd name="connsiteY7" fmla="*/ 372269 h 3277163"/>
                  <a:gd name="connsiteX8" fmla="*/ 31846 w 1238413"/>
                  <a:gd name="connsiteY8" fmla="*/ 463550 h 3277163"/>
                  <a:gd name="connsiteX9" fmla="*/ 890 w 1238413"/>
                  <a:gd name="connsiteY9" fmla="*/ 525462 h 3277163"/>
                  <a:gd name="connsiteX10" fmla="*/ 96 w 1238413"/>
                  <a:gd name="connsiteY10" fmla="*/ 546101 h 3277163"/>
                  <a:gd name="connsiteX11" fmla="*/ 6446 w 1238413"/>
                  <a:gd name="connsiteY11" fmla="*/ 603250 h 3277163"/>
                  <a:gd name="connsiteX12" fmla="*/ 50896 w 1238413"/>
                  <a:gd name="connsiteY12" fmla="*/ 647700 h 3277163"/>
                  <a:gd name="connsiteX13" fmla="*/ 63596 w 1238413"/>
                  <a:gd name="connsiteY13" fmla="*/ 704850 h 3277163"/>
                  <a:gd name="connsiteX14" fmla="*/ 120746 w 1238413"/>
                  <a:gd name="connsiteY14" fmla="*/ 749300 h 3277163"/>
                  <a:gd name="connsiteX15" fmla="*/ 170752 w 1238413"/>
                  <a:gd name="connsiteY15" fmla="*/ 763587 h 3277163"/>
                  <a:gd name="connsiteX16" fmla="*/ 241396 w 1238413"/>
                  <a:gd name="connsiteY16" fmla="*/ 806450 h 3277163"/>
                  <a:gd name="connsiteX17" fmla="*/ 238221 w 1238413"/>
                  <a:gd name="connsiteY17" fmla="*/ 854869 h 3277163"/>
                  <a:gd name="connsiteX18" fmla="*/ 273146 w 1238413"/>
                  <a:gd name="connsiteY18" fmla="*/ 901700 h 3277163"/>
                  <a:gd name="connsiteX19" fmla="*/ 376334 w 1238413"/>
                  <a:gd name="connsiteY19" fmla="*/ 981869 h 3277163"/>
                  <a:gd name="connsiteX20" fmla="*/ 425546 w 1238413"/>
                  <a:gd name="connsiteY20" fmla="*/ 1028700 h 3277163"/>
                  <a:gd name="connsiteX21" fmla="*/ 463646 w 1238413"/>
                  <a:gd name="connsiteY21" fmla="*/ 1098550 h 3277163"/>
                  <a:gd name="connsiteX22" fmla="*/ 565246 w 1238413"/>
                  <a:gd name="connsiteY22" fmla="*/ 1143000 h 3277163"/>
                  <a:gd name="connsiteX23" fmla="*/ 609696 w 1238413"/>
                  <a:gd name="connsiteY23" fmla="*/ 1162050 h 3277163"/>
                  <a:gd name="connsiteX24" fmla="*/ 635096 w 1238413"/>
                  <a:gd name="connsiteY24" fmla="*/ 1212850 h 3277163"/>
                  <a:gd name="connsiteX25" fmla="*/ 711296 w 1238413"/>
                  <a:gd name="connsiteY25" fmla="*/ 1212850 h 3277163"/>
                  <a:gd name="connsiteX26" fmla="*/ 728759 w 1238413"/>
                  <a:gd name="connsiteY26" fmla="*/ 1239045 h 3277163"/>
                  <a:gd name="connsiteX27" fmla="*/ 764477 w 1238413"/>
                  <a:gd name="connsiteY27" fmla="*/ 1255714 h 3277163"/>
                  <a:gd name="connsiteX28" fmla="*/ 788289 w 1238413"/>
                  <a:gd name="connsiteY28" fmla="*/ 1304925 h 3277163"/>
                  <a:gd name="connsiteX29" fmla="*/ 825596 w 1238413"/>
                  <a:gd name="connsiteY29" fmla="*/ 1352550 h 3277163"/>
                  <a:gd name="connsiteX30" fmla="*/ 866871 w 1238413"/>
                  <a:gd name="connsiteY30" fmla="*/ 1386682 h 3277163"/>
                  <a:gd name="connsiteX31" fmla="*/ 915290 w 1238413"/>
                  <a:gd name="connsiteY31" fmla="*/ 1406525 h 3277163"/>
                  <a:gd name="connsiteX32" fmla="*/ 952596 w 1238413"/>
                  <a:gd name="connsiteY32" fmla="*/ 1460500 h 3277163"/>
                  <a:gd name="connsiteX33" fmla="*/ 1028796 w 1238413"/>
                  <a:gd name="connsiteY33" fmla="*/ 1612900 h 3277163"/>
                  <a:gd name="connsiteX34" fmla="*/ 1022446 w 1238413"/>
                  <a:gd name="connsiteY34" fmla="*/ 1657350 h 3277163"/>
                  <a:gd name="connsiteX35" fmla="*/ 1066896 w 1238413"/>
                  <a:gd name="connsiteY35" fmla="*/ 1720850 h 3277163"/>
                  <a:gd name="connsiteX36" fmla="*/ 1085946 w 1238413"/>
                  <a:gd name="connsiteY36" fmla="*/ 1809750 h 3277163"/>
                  <a:gd name="connsiteX37" fmla="*/ 1128809 w 1238413"/>
                  <a:gd name="connsiteY37" fmla="*/ 1910557 h 3277163"/>
                  <a:gd name="connsiteX38" fmla="*/ 1143096 w 1238413"/>
                  <a:gd name="connsiteY38" fmla="*/ 1981200 h 3277163"/>
                  <a:gd name="connsiteX39" fmla="*/ 1174846 w 1238413"/>
                  <a:gd name="connsiteY39" fmla="*/ 2044700 h 3277163"/>
                  <a:gd name="connsiteX40" fmla="*/ 1238346 w 1238413"/>
                  <a:gd name="connsiteY40" fmla="*/ 2095500 h 3277163"/>
                  <a:gd name="connsiteX41" fmla="*/ 1200246 w 1238413"/>
                  <a:gd name="connsiteY41" fmla="*/ 2139950 h 3277163"/>
                  <a:gd name="connsiteX42" fmla="*/ 1193896 w 1238413"/>
                  <a:gd name="connsiteY42" fmla="*/ 2190750 h 3277163"/>
                  <a:gd name="connsiteX43" fmla="*/ 1193896 w 1238413"/>
                  <a:gd name="connsiteY43" fmla="*/ 2241550 h 3277163"/>
                  <a:gd name="connsiteX44" fmla="*/ 1212946 w 1238413"/>
                  <a:gd name="connsiteY44" fmla="*/ 2273300 h 3277163"/>
                  <a:gd name="connsiteX45" fmla="*/ 1193896 w 1238413"/>
                  <a:gd name="connsiteY45" fmla="*/ 2305050 h 3277163"/>
                  <a:gd name="connsiteX46" fmla="*/ 1212946 w 1238413"/>
                  <a:gd name="connsiteY46" fmla="*/ 2368550 h 3277163"/>
                  <a:gd name="connsiteX47" fmla="*/ 1155796 w 1238413"/>
                  <a:gd name="connsiteY47" fmla="*/ 2527300 h 3277163"/>
                  <a:gd name="connsiteX48" fmla="*/ 1111346 w 1238413"/>
                  <a:gd name="connsiteY48" fmla="*/ 2565400 h 3277163"/>
                  <a:gd name="connsiteX49" fmla="*/ 1079596 w 1238413"/>
                  <a:gd name="connsiteY49" fmla="*/ 2597150 h 3277163"/>
                  <a:gd name="connsiteX50" fmla="*/ 1003396 w 1238413"/>
                  <a:gd name="connsiteY50" fmla="*/ 2616200 h 3277163"/>
                  <a:gd name="connsiteX51" fmla="*/ 965296 w 1238413"/>
                  <a:gd name="connsiteY51" fmla="*/ 2679700 h 3277163"/>
                  <a:gd name="connsiteX52" fmla="*/ 838296 w 1238413"/>
                  <a:gd name="connsiteY52" fmla="*/ 2747963 h 3277163"/>
                  <a:gd name="connsiteX53" fmla="*/ 730346 w 1238413"/>
                  <a:gd name="connsiteY53" fmla="*/ 2736850 h 3277163"/>
                  <a:gd name="connsiteX54" fmla="*/ 654146 w 1238413"/>
                  <a:gd name="connsiteY54" fmla="*/ 2730500 h 3277163"/>
                  <a:gd name="connsiteX55" fmla="*/ 571596 w 1238413"/>
                  <a:gd name="connsiteY55" fmla="*/ 2736850 h 3277163"/>
                  <a:gd name="connsiteX56" fmla="*/ 489046 w 1238413"/>
                  <a:gd name="connsiteY56" fmla="*/ 2844800 h 3277163"/>
                  <a:gd name="connsiteX57" fmla="*/ 438246 w 1238413"/>
                  <a:gd name="connsiteY57" fmla="*/ 2908300 h 3277163"/>
                  <a:gd name="connsiteX58" fmla="*/ 368396 w 1238413"/>
                  <a:gd name="connsiteY58" fmla="*/ 2946400 h 3277163"/>
                  <a:gd name="connsiteX59" fmla="*/ 349346 w 1238413"/>
                  <a:gd name="connsiteY59" fmla="*/ 3022600 h 3277163"/>
                  <a:gd name="connsiteX60" fmla="*/ 248540 w 1238413"/>
                  <a:gd name="connsiteY60" fmla="*/ 3152775 h 3277163"/>
                  <a:gd name="connsiteX61" fmla="*/ 161227 w 1238413"/>
                  <a:gd name="connsiteY61" fmla="*/ 3273426 h 3277163"/>
                  <a:gd name="connsiteX0" fmla="*/ 12796 w 1238413"/>
                  <a:gd name="connsiteY0" fmla="*/ 0 h 3277163"/>
                  <a:gd name="connsiteX1" fmla="*/ 37402 w 1238413"/>
                  <a:gd name="connsiteY1" fmla="*/ 120650 h 3277163"/>
                  <a:gd name="connsiteX2" fmla="*/ 19146 w 1238413"/>
                  <a:gd name="connsiteY2" fmla="*/ 158750 h 3277163"/>
                  <a:gd name="connsiteX3" fmla="*/ 41371 w 1238413"/>
                  <a:gd name="connsiteY3" fmla="*/ 209550 h 3277163"/>
                  <a:gd name="connsiteX4" fmla="*/ 38196 w 1238413"/>
                  <a:gd name="connsiteY4" fmla="*/ 234950 h 3277163"/>
                  <a:gd name="connsiteX5" fmla="*/ 50896 w 1238413"/>
                  <a:gd name="connsiteY5" fmla="*/ 273050 h 3277163"/>
                  <a:gd name="connsiteX6" fmla="*/ 17558 w 1238413"/>
                  <a:gd name="connsiteY6" fmla="*/ 312737 h 3277163"/>
                  <a:gd name="connsiteX7" fmla="*/ 50896 w 1238413"/>
                  <a:gd name="connsiteY7" fmla="*/ 372269 h 3277163"/>
                  <a:gd name="connsiteX8" fmla="*/ 31846 w 1238413"/>
                  <a:gd name="connsiteY8" fmla="*/ 463550 h 3277163"/>
                  <a:gd name="connsiteX9" fmla="*/ 890 w 1238413"/>
                  <a:gd name="connsiteY9" fmla="*/ 525462 h 3277163"/>
                  <a:gd name="connsiteX10" fmla="*/ 96 w 1238413"/>
                  <a:gd name="connsiteY10" fmla="*/ 546101 h 3277163"/>
                  <a:gd name="connsiteX11" fmla="*/ 6446 w 1238413"/>
                  <a:gd name="connsiteY11" fmla="*/ 603250 h 3277163"/>
                  <a:gd name="connsiteX12" fmla="*/ 50896 w 1238413"/>
                  <a:gd name="connsiteY12" fmla="*/ 647700 h 3277163"/>
                  <a:gd name="connsiteX13" fmla="*/ 63596 w 1238413"/>
                  <a:gd name="connsiteY13" fmla="*/ 704850 h 3277163"/>
                  <a:gd name="connsiteX14" fmla="*/ 120746 w 1238413"/>
                  <a:gd name="connsiteY14" fmla="*/ 749300 h 3277163"/>
                  <a:gd name="connsiteX15" fmla="*/ 170752 w 1238413"/>
                  <a:gd name="connsiteY15" fmla="*/ 763587 h 3277163"/>
                  <a:gd name="connsiteX16" fmla="*/ 241396 w 1238413"/>
                  <a:gd name="connsiteY16" fmla="*/ 806450 h 3277163"/>
                  <a:gd name="connsiteX17" fmla="*/ 238221 w 1238413"/>
                  <a:gd name="connsiteY17" fmla="*/ 854869 h 3277163"/>
                  <a:gd name="connsiteX18" fmla="*/ 273146 w 1238413"/>
                  <a:gd name="connsiteY18" fmla="*/ 901700 h 3277163"/>
                  <a:gd name="connsiteX19" fmla="*/ 376334 w 1238413"/>
                  <a:gd name="connsiteY19" fmla="*/ 981869 h 3277163"/>
                  <a:gd name="connsiteX20" fmla="*/ 425546 w 1238413"/>
                  <a:gd name="connsiteY20" fmla="*/ 1028700 h 3277163"/>
                  <a:gd name="connsiteX21" fmla="*/ 463646 w 1238413"/>
                  <a:gd name="connsiteY21" fmla="*/ 1098550 h 3277163"/>
                  <a:gd name="connsiteX22" fmla="*/ 565246 w 1238413"/>
                  <a:gd name="connsiteY22" fmla="*/ 1143000 h 3277163"/>
                  <a:gd name="connsiteX23" fmla="*/ 609696 w 1238413"/>
                  <a:gd name="connsiteY23" fmla="*/ 1162050 h 3277163"/>
                  <a:gd name="connsiteX24" fmla="*/ 635096 w 1238413"/>
                  <a:gd name="connsiteY24" fmla="*/ 1212850 h 3277163"/>
                  <a:gd name="connsiteX25" fmla="*/ 711296 w 1238413"/>
                  <a:gd name="connsiteY25" fmla="*/ 1212850 h 3277163"/>
                  <a:gd name="connsiteX26" fmla="*/ 728759 w 1238413"/>
                  <a:gd name="connsiteY26" fmla="*/ 1239045 h 3277163"/>
                  <a:gd name="connsiteX27" fmla="*/ 764477 w 1238413"/>
                  <a:gd name="connsiteY27" fmla="*/ 1255714 h 3277163"/>
                  <a:gd name="connsiteX28" fmla="*/ 788289 w 1238413"/>
                  <a:gd name="connsiteY28" fmla="*/ 1304925 h 3277163"/>
                  <a:gd name="connsiteX29" fmla="*/ 825596 w 1238413"/>
                  <a:gd name="connsiteY29" fmla="*/ 1352550 h 3277163"/>
                  <a:gd name="connsiteX30" fmla="*/ 866871 w 1238413"/>
                  <a:gd name="connsiteY30" fmla="*/ 1386682 h 3277163"/>
                  <a:gd name="connsiteX31" fmla="*/ 915290 w 1238413"/>
                  <a:gd name="connsiteY31" fmla="*/ 1406525 h 3277163"/>
                  <a:gd name="connsiteX32" fmla="*/ 952596 w 1238413"/>
                  <a:gd name="connsiteY32" fmla="*/ 1460500 h 3277163"/>
                  <a:gd name="connsiteX33" fmla="*/ 1028796 w 1238413"/>
                  <a:gd name="connsiteY33" fmla="*/ 1612900 h 3277163"/>
                  <a:gd name="connsiteX34" fmla="*/ 1022446 w 1238413"/>
                  <a:gd name="connsiteY34" fmla="*/ 1657350 h 3277163"/>
                  <a:gd name="connsiteX35" fmla="*/ 1066896 w 1238413"/>
                  <a:gd name="connsiteY35" fmla="*/ 1720850 h 3277163"/>
                  <a:gd name="connsiteX36" fmla="*/ 1085946 w 1238413"/>
                  <a:gd name="connsiteY36" fmla="*/ 1809750 h 3277163"/>
                  <a:gd name="connsiteX37" fmla="*/ 1128809 w 1238413"/>
                  <a:gd name="connsiteY37" fmla="*/ 1910557 h 3277163"/>
                  <a:gd name="connsiteX38" fmla="*/ 1143096 w 1238413"/>
                  <a:gd name="connsiteY38" fmla="*/ 1981200 h 3277163"/>
                  <a:gd name="connsiteX39" fmla="*/ 1174846 w 1238413"/>
                  <a:gd name="connsiteY39" fmla="*/ 2044700 h 3277163"/>
                  <a:gd name="connsiteX40" fmla="*/ 1238346 w 1238413"/>
                  <a:gd name="connsiteY40" fmla="*/ 2095500 h 3277163"/>
                  <a:gd name="connsiteX41" fmla="*/ 1200246 w 1238413"/>
                  <a:gd name="connsiteY41" fmla="*/ 2139950 h 3277163"/>
                  <a:gd name="connsiteX42" fmla="*/ 1193896 w 1238413"/>
                  <a:gd name="connsiteY42" fmla="*/ 2190750 h 3277163"/>
                  <a:gd name="connsiteX43" fmla="*/ 1193896 w 1238413"/>
                  <a:gd name="connsiteY43" fmla="*/ 2241550 h 3277163"/>
                  <a:gd name="connsiteX44" fmla="*/ 1212946 w 1238413"/>
                  <a:gd name="connsiteY44" fmla="*/ 2273300 h 3277163"/>
                  <a:gd name="connsiteX45" fmla="*/ 1193896 w 1238413"/>
                  <a:gd name="connsiteY45" fmla="*/ 2305050 h 3277163"/>
                  <a:gd name="connsiteX46" fmla="*/ 1212946 w 1238413"/>
                  <a:gd name="connsiteY46" fmla="*/ 2368550 h 3277163"/>
                  <a:gd name="connsiteX47" fmla="*/ 1155796 w 1238413"/>
                  <a:gd name="connsiteY47" fmla="*/ 2527300 h 3277163"/>
                  <a:gd name="connsiteX48" fmla="*/ 1111346 w 1238413"/>
                  <a:gd name="connsiteY48" fmla="*/ 2565400 h 3277163"/>
                  <a:gd name="connsiteX49" fmla="*/ 1079596 w 1238413"/>
                  <a:gd name="connsiteY49" fmla="*/ 2597150 h 3277163"/>
                  <a:gd name="connsiteX50" fmla="*/ 1003396 w 1238413"/>
                  <a:gd name="connsiteY50" fmla="*/ 2616200 h 3277163"/>
                  <a:gd name="connsiteX51" fmla="*/ 965296 w 1238413"/>
                  <a:gd name="connsiteY51" fmla="*/ 2679700 h 3277163"/>
                  <a:gd name="connsiteX52" fmla="*/ 838296 w 1238413"/>
                  <a:gd name="connsiteY52" fmla="*/ 2747963 h 3277163"/>
                  <a:gd name="connsiteX53" fmla="*/ 730346 w 1238413"/>
                  <a:gd name="connsiteY53" fmla="*/ 2736850 h 3277163"/>
                  <a:gd name="connsiteX54" fmla="*/ 654146 w 1238413"/>
                  <a:gd name="connsiteY54" fmla="*/ 2730500 h 3277163"/>
                  <a:gd name="connsiteX55" fmla="*/ 571596 w 1238413"/>
                  <a:gd name="connsiteY55" fmla="*/ 2736850 h 3277163"/>
                  <a:gd name="connsiteX56" fmla="*/ 489046 w 1238413"/>
                  <a:gd name="connsiteY56" fmla="*/ 2844800 h 3277163"/>
                  <a:gd name="connsiteX57" fmla="*/ 438246 w 1238413"/>
                  <a:gd name="connsiteY57" fmla="*/ 2908300 h 3277163"/>
                  <a:gd name="connsiteX58" fmla="*/ 354108 w 1238413"/>
                  <a:gd name="connsiteY58" fmla="*/ 2951162 h 3277163"/>
                  <a:gd name="connsiteX59" fmla="*/ 349346 w 1238413"/>
                  <a:gd name="connsiteY59" fmla="*/ 3022600 h 3277163"/>
                  <a:gd name="connsiteX60" fmla="*/ 248540 w 1238413"/>
                  <a:gd name="connsiteY60" fmla="*/ 3152775 h 3277163"/>
                  <a:gd name="connsiteX61" fmla="*/ 161227 w 1238413"/>
                  <a:gd name="connsiteY61" fmla="*/ 3273426 h 3277163"/>
                  <a:gd name="connsiteX0" fmla="*/ 12796 w 1238413"/>
                  <a:gd name="connsiteY0" fmla="*/ 0 h 3277163"/>
                  <a:gd name="connsiteX1" fmla="*/ 37402 w 1238413"/>
                  <a:gd name="connsiteY1" fmla="*/ 120650 h 3277163"/>
                  <a:gd name="connsiteX2" fmla="*/ 19146 w 1238413"/>
                  <a:gd name="connsiteY2" fmla="*/ 158750 h 3277163"/>
                  <a:gd name="connsiteX3" fmla="*/ 41371 w 1238413"/>
                  <a:gd name="connsiteY3" fmla="*/ 209550 h 3277163"/>
                  <a:gd name="connsiteX4" fmla="*/ 38196 w 1238413"/>
                  <a:gd name="connsiteY4" fmla="*/ 234950 h 3277163"/>
                  <a:gd name="connsiteX5" fmla="*/ 50896 w 1238413"/>
                  <a:gd name="connsiteY5" fmla="*/ 273050 h 3277163"/>
                  <a:gd name="connsiteX6" fmla="*/ 17558 w 1238413"/>
                  <a:gd name="connsiteY6" fmla="*/ 312737 h 3277163"/>
                  <a:gd name="connsiteX7" fmla="*/ 50896 w 1238413"/>
                  <a:gd name="connsiteY7" fmla="*/ 372269 h 3277163"/>
                  <a:gd name="connsiteX8" fmla="*/ 31846 w 1238413"/>
                  <a:gd name="connsiteY8" fmla="*/ 463550 h 3277163"/>
                  <a:gd name="connsiteX9" fmla="*/ 890 w 1238413"/>
                  <a:gd name="connsiteY9" fmla="*/ 525462 h 3277163"/>
                  <a:gd name="connsiteX10" fmla="*/ 96 w 1238413"/>
                  <a:gd name="connsiteY10" fmla="*/ 546101 h 3277163"/>
                  <a:gd name="connsiteX11" fmla="*/ 6446 w 1238413"/>
                  <a:gd name="connsiteY11" fmla="*/ 603250 h 3277163"/>
                  <a:gd name="connsiteX12" fmla="*/ 50896 w 1238413"/>
                  <a:gd name="connsiteY12" fmla="*/ 647700 h 3277163"/>
                  <a:gd name="connsiteX13" fmla="*/ 63596 w 1238413"/>
                  <a:gd name="connsiteY13" fmla="*/ 704850 h 3277163"/>
                  <a:gd name="connsiteX14" fmla="*/ 120746 w 1238413"/>
                  <a:gd name="connsiteY14" fmla="*/ 749300 h 3277163"/>
                  <a:gd name="connsiteX15" fmla="*/ 170752 w 1238413"/>
                  <a:gd name="connsiteY15" fmla="*/ 763587 h 3277163"/>
                  <a:gd name="connsiteX16" fmla="*/ 241396 w 1238413"/>
                  <a:gd name="connsiteY16" fmla="*/ 806450 h 3277163"/>
                  <a:gd name="connsiteX17" fmla="*/ 238221 w 1238413"/>
                  <a:gd name="connsiteY17" fmla="*/ 854869 h 3277163"/>
                  <a:gd name="connsiteX18" fmla="*/ 273146 w 1238413"/>
                  <a:gd name="connsiteY18" fmla="*/ 901700 h 3277163"/>
                  <a:gd name="connsiteX19" fmla="*/ 376334 w 1238413"/>
                  <a:gd name="connsiteY19" fmla="*/ 981869 h 3277163"/>
                  <a:gd name="connsiteX20" fmla="*/ 425546 w 1238413"/>
                  <a:gd name="connsiteY20" fmla="*/ 1028700 h 3277163"/>
                  <a:gd name="connsiteX21" fmla="*/ 463646 w 1238413"/>
                  <a:gd name="connsiteY21" fmla="*/ 1098550 h 3277163"/>
                  <a:gd name="connsiteX22" fmla="*/ 565246 w 1238413"/>
                  <a:gd name="connsiteY22" fmla="*/ 1143000 h 3277163"/>
                  <a:gd name="connsiteX23" fmla="*/ 609696 w 1238413"/>
                  <a:gd name="connsiteY23" fmla="*/ 1162050 h 3277163"/>
                  <a:gd name="connsiteX24" fmla="*/ 635096 w 1238413"/>
                  <a:gd name="connsiteY24" fmla="*/ 1212850 h 3277163"/>
                  <a:gd name="connsiteX25" fmla="*/ 711296 w 1238413"/>
                  <a:gd name="connsiteY25" fmla="*/ 1212850 h 3277163"/>
                  <a:gd name="connsiteX26" fmla="*/ 728759 w 1238413"/>
                  <a:gd name="connsiteY26" fmla="*/ 1239045 h 3277163"/>
                  <a:gd name="connsiteX27" fmla="*/ 764477 w 1238413"/>
                  <a:gd name="connsiteY27" fmla="*/ 1255714 h 3277163"/>
                  <a:gd name="connsiteX28" fmla="*/ 788289 w 1238413"/>
                  <a:gd name="connsiteY28" fmla="*/ 1304925 h 3277163"/>
                  <a:gd name="connsiteX29" fmla="*/ 825596 w 1238413"/>
                  <a:gd name="connsiteY29" fmla="*/ 1352550 h 3277163"/>
                  <a:gd name="connsiteX30" fmla="*/ 866871 w 1238413"/>
                  <a:gd name="connsiteY30" fmla="*/ 1386682 h 3277163"/>
                  <a:gd name="connsiteX31" fmla="*/ 915290 w 1238413"/>
                  <a:gd name="connsiteY31" fmla="*/ 1406525 h 3277163"/>
                  <a:gd name="connsiteX32" fmla="*/ 952596 w 1238413"/>
                  <a:gd name="connsiteY32" fmla="*/ 1460500 h 3277163"/>
                  <a:gd name="connsiteX33" fmla="*/ 1028796 w 1238413"/>
                  <a:gd name="connsiteY33" fmla="*/ 1612900 h 3277163"/>
                  <a:gd name="connsiteX34" fmla="*/ 1022446 w 1238413"/>
                  <a:gd name="connsiteY34" fmla="*/ 1657350 h 3277163"/>
                  <a:gd name="connsiteX35" fmla="*/ 1066896 w 1238413"/>
                  <a:gd name="connsiteY35" fmla="*/ 1720850 h 3277163"/>
                  <a:gd name="connsiteX36" fmla="*/ 1085946 w 1238413"/>
                  <a:gd name="connsiteY36" fmla="*/ 1809750 h 3277163"/>
                  <a:gd name="connsiteX37" fmla="*/ 1128809 w 1238413"/>
                  <a:gd name="connsiteY37" fmla="*/ 1910557 h 3277163"/>
                  <a:gd name="connsiteX38" fmla="*/ 1143096 w 1238413"/>
                  <a:gd name="connsiteY38" fmla="*/ 1981200 h 3277163"/>
                  <a:gd name="connsiteX39" fmla="*/ 1174846 w 1238413"/>
                  <a:gd name="connsiteY39" fmla="*/ 2044700 h 3277163"/>
                  <a:gd name="connsiteX40" fmla="*/ 1238346 w 1238413"/>
                  <a:gd name="connsiteY40" fmla="*/ 2095500 h 3277163"/>
                  <a:gd name="connsiteX41" fmla="*/ 1200246 w 1238413"/>
                  <a:gd name="connsiteY41" fmla="*/ 2139950 h 3277163"/>
                  <a:gd name="connsiteX42" fmla="*/ 1193896 w 1238413"/>
                  <a:gd name="connsiteY42" fmla="*/ 2190750 h 3277163"/>
                  <a:gd name="connsiteX43" fmla="*/ 1193896 w 1238413"/>
                  <a:gd name="connsiteY43" fmla="*/ 2241550 h 3277163"/>
                  <a:gd name="connsiteX44" fmla="*/ 1212946 w 1238413"/>
                  <a:gd name="connsiteY44" fmla="*/ 2273300 h 3277163"/>
                  <a:gd name="connsiteX45" fmla="*/ 1193896 w 1238413"/>
                  <a:gd name="connsiteY45" fmla="*/ 2305050 h 3277163"/>
                  <a:gd name="connsiteX46" fmla="*/ 1212946 w 1238413"/>
                  <a:gd name="connsiteY46" fmla="*/ 2368550 h 3277163"/>
                  <a:gd name="connsiteX47" fmla="*/ 1155796 w 1238413"/>
                  <a:gd name="connsiteY47" fmla="*/ 2527300 h 3277163"/>
                  <a:gd name="connsiteX48" fmla="*/ 1111346 w 1238413"/>
                  <a:gd name="connsiteY48" fmla="*/ 2565400 h 3277163"/>
                  <a:gd name="connsiteX49" fmla="*/ 1079596 w 1238413"/>
                  <a:gd name="connsiteY49" fmla="*/ 2597150 h 3277163"/>
                  <a:gd name="connsiteX50" fmla="*/ 1003396 w 1238413"/>
                  <a:gd name="connsiteY50" fmla="*/ 2616200 h 3277163"/>
                  <a:gd name="connsiteX51" fmla="*/ 965296 w 1238413"/>
                  <a:gd name="connsiteY51" fmla="*/ 2679700 h 3277163"/>
                  <a:gd name="connsiteX52" fmla="*/ 838296 w 1238413"/>
                  <a:gd name="connsiteY52" fmla="*/ 2747963 h 3277163"/>
                  <a:gd name="connsiteX53" fmla="*/ 730346 w 1238413"/>
                  <a:gd name="connsiteY53" fmla="*/ 2736850 h 3277163"/>
                  <a:gd name="connsiteX54" fmla="*/ 654146 w 1238413"/>
                  <a:gd name="connsiteY54" fmla="*/ 2730500 h 3277163"/>
                  <a:gd name="connsiteX55" fmla="*/ 571596 w 1238413"/>
                  <a:gd name="connsiteY55" fmla="*/ 2736850 h 3277163"/>
                  <a:gd name="connsiteX56" fmla="*/ 489046 w 1238413"/>
                  <a:gd name="connsiteY56" fmla="*/ 2844800 h 3277163"/>
                  <a:gd name="connsiteX57" fmla="*/ 435865 w 1238413"/>
                  <a:gd name="connsiteY57" fmla="*/ 2894013 h 3277163"/>
                  <a:gd name="connsiteX58" fmla="*/ 354108 w 1238413"/>
                  <a:gd name="connsiteY58" fmla="*/ 2951162 h 3277163"/>
                  <a:gd name="connsiteX59" fmla="*/ 349346 w 1238413"/>
                  <a:gd name="connsiteY59" fmla="*/ 3022600 h 3277163"/>
                  <a:gd name="connsiteX60" fmla="*/ 248540 w 1238413"/>
                  <a:gd name="connsiteY60" fmla="*/ 3152775 h 3277163"/>
                  <a:gd name="connsiteX61" fmla="*/ 161227 w 1238413"/>
                  <a:gd name="connsiteY61" fmla="*/ 3273426 h 3277163"/>
                  <a:gd name="connsiteX0" fmla="*/ 12796 w 1238413"/>
                  <a:gd name="connsiteY0" fmla="*/ 0 h 3277163"/>
                  <a:gd name="connsiteX1" fmla="*/ 37402 w 1238413"/>
                  <a:gd name="connsiteY1" fmla="*/ 120650 h 3277163"/>
                  <a:gd name="connsiteX2" fmla="*/ 19146 w 1238413"/>
                  <a:gd name="connsiteY2" fmla="*/ 158750 h 3277163"/>
                  <a:gd name="connsiteX3" fmla="*/ 41371 w 1238413"/>
                  <a:gd name="connsiteY3" fmla="*/ 209550 h 3277163"/>
                  <a:gd name="connsiteX4" fmla="*/ 38196 w 1238413"/>
                  <a:gd name="connsiteY4" fmla="*/ 234950 h 3277163"/>
                  <a:gd name="connsiteX5" fmla="*/ 50896 w 1238413"/>
                  <a:gd name="connsiteY5" fmla="*/ 273050 h 3277163"/>
                  <a:gd name="connsiteX6" fmla="*/ 17558 w 1238413"/>
                  <a:gd name="connsiteY6" fmla="*/ 312737 h 3277163"/>
                  <a:gd name="connsiteX7" fmla="*/ 50896 w 1238413"/>
                  <a:gd name="connsiteY7" fmla="*/ 372269 h 3277163"/>
                  <a:gd name="connsiteX8" fmla="*/ 31846 w 1238413"/>
                  <a:gd name="connsiteY8" fmla="*/ 463550 h 3277163"/>
                  <a:gd name="connsiteX9" fmla="*/ 890 w 1238413"/>
                  <a:gd name="connsiteY9" fmla="*/ 525462 h 3277163"/>
                  <a:gd name="connsiteX10" fmla="*/ 96 w 1238413"/>
                  <a:gd name="connsiteY10" fmla="*/ 546101 h 3277163"/>
                  <a:gd name="connsiteX11" fmla="*/ 6446 w 1238413"/>
                  <a:gd name="connsiteY11" fmla="*/ 603250 h 3277163"/>
                  <a:gd name="connsiteX12" fmla="*/ 50896 w 1238413"/>
                  <a:gd name="connsiteY12" fmla="*/ 647700 h 3277163"/>
                  <a:gd name="connsiteX13" fmla="*/ 63596 w 1238413"/>
                  <a:gd name="connsiteY13" fmla="*/ 704850 h 3277163"/>
                  <a:gd name="connsiteX14" fmla="*/ 120746 w 1238413"/>
                  <a:gd name="connsiteY14" fmla="*/ 749300 h 3277163"/>
                  <a:gd name="connsiteX15" fmla="*/ 170752 w 1238413"/>
                  <a:gd name="connsiteY15" fmla="*/ 763587 h 3277163"/>
                  <a:gd name="connsiteX16" fmla="*/ 241396 w 1238413"/>
                  <a:gd name="connsiteY16" fmla="*/ 806450 h 3277163"/>
                  <a:gd name="connsiteX17" fmla="*/ 238221 w 1238413"/>
                  <a:gd name="connsiteY17" fmla="*/ 854869 h 3277163"/>
                  <a:gd name="connsiteX18" fmla="*/ 273146 w 1238413"/>
                  <a:gd name="connsiteY18" fmla="*/ 901700 h 3277163"/>
                  <a:gd name="connsiteX19" fmla="*/ 376334 w 1238413"/>
                  <a:gd name="connsiteY19" fmla="*/ 981869 h 3277163"/>
                  <a:gd name="connsiteX20" fmla="*/ 425546 w 1238413"/>
                  <a:gd name="connsiteY20" fmla="*/ 1028700 h 3277163"/>
                  <a:gd name="connsiteX21" fmla="*/ 463646 w 1238413"/>
                  <a:gd name="connsiteY21" fmla="*/ 1098550 h 3277163"/>
                  <a:gd name="connsiteX22" fmla="*/ 565246 w 1238413"/>
                  <a:gd name="connsiteY22" fmla="*/ 1143000 h 3277163"/>
                  <a:gd name="connsiteX23" fmla="*/ 609696 w 1238413"/>
                  <a:gd name="connsiteY23" fmla="*/ 1162050 h 3277163"/>
                  <a:gd name="connsiteX24" fmla="*/ 635096 w 1238413"/>
                  <a:gd name="connsiteY24" fmla="*/ 1212850 h 3277163"/>
                  <a:gd name="connsiteX25" fmla="*/ 711296 w 1238413"/>
                  <a:gd name="connsiteY25" fmla="*/ 1212850 h 3277163"/>
                  <a:gd name="connsiteX26" fmla="*/ 728759 w 1238413"/>
                  <a:gd name="connsiteY26" fmla="*/ 1239045 h 3277163"/>
                  <a:gd name="connsiteX27" fmla="*/ 764477 w 1238413"/>
                  <a:gd name="connsiteY27" fmla="*/ 1255714 h 3277163"/>
                  <a:gd name="connsiteX28" fmla="*/ 788289 w 1238413"/>
                  <a:gd name="connsiteY28" fmla="*/ 1304925 h 3277163"/>
                  <a:gd name="connsiteX29" fmla="*/ 825596 w 1238413"/>
                  <a:gd name="connsiteY29" fmla="*/ 1352550 h 3277163"/>
                  <a:gd name="connsiteX30" fmla="*/ 866871 w 1238413"/>
                  <a:gd name="connsiteY30" fmla="*/ 1386682 h 3277163"/>
                  <a:gd name="connsiteX31" fmla="*/ 915290 w 1238413"/>
                  <a:gd name="connsiteY31" fmla="*/ 1406525 h 3277163"/>
                  <a:gd name="connsiteX32" fmla="*/ 952596 w 1238413"/>
                  <a:gd name="connsiteY32" fmla="*/ 1460500 h 3277163"/>
                  <a:gd name="connsiteX33" fmla="*/ 1028796 w 1238413"/>
                  <a:gd name="connsiteY33" fmla="*/ 1612900 h 3277163"/>
                  <a:gd name="connsiteX34" fmla="*/ 1022446 w 1238413"/>
                  <a:gd name="connsiteY34" fmla="*/ 1657350 h 3277163"/>
                  <a:gd name="connsiteX35" fmla="*/ 1066896 w 1238413"/>
                  <a:gd name="connsiteY35" fmla="*/ 1720850 h 3277163"/>
                  <a:gd name="connsiteX36" fmla="*/ 1085946 w 1238413"/>
                  <a:gd name="connsiteY36" fmla="*/ 1809750 h 3277163"/>
                  <a:gd name="connsiteX37" fmla="*/ 1128809 w 1238413"/>
                  <a:gd name="connsiteY37" fmla="*/ 1910557 h 3277163"/>
                  <a:gd name="connsiteX38" fmla="*/ 1143096 w 1238413"/>
                  <a:gd name="connsiteY38" fmla="*/ 1981200 h 3277163"/>
                  <a:gd name="connsiteX39" fmla="*/ 1174846 w 1238413"/>
                  <a:gd name="connsiteY39" fmla="*/ 2044700 h 3277163"/>
                  <a:gd name="connsiteX40" fmla="*/ 1238346 w 1238413"/>
                  <a:gd name="connsiteY40" fmla="*/ 2095500 h 3277163"/>
                  <a:gd name="connsiteX41" fmla="*/ 1200246 w 1238413"/>
                  <a:gd name="connsiteY41" fmla="*/ 2139950 h 3277163"/>
                  <a:gd name="connsiteX42" fmla="*/ 1193896 w 1238413"/>
                  <a:gd name="connsiteY42" fmla="*/ 2190750 h 3277163"/>
                  <a:gd name="connsiteX43" fmla="*/ 1193896 w 1238413"/>
                  <a:gd name="connsiteY43" fmla="*/ 2241550 h 3277163"/>
                  <a:gd name="connsiteX44" fmla="*/ 1212946 w 1238413"/>
                  <a:gd name="connsiteY44" fmla="*/ 2273300 h 3277163"/>
                  <a:gd name="connsiteX45" fmla="*/ 1193896 w 1238413"/>
                  <a:gd name="connsiteY45" fmla="*/ 2305050 h 3277163"/>
                  <a:gd name="connsiteX46" fmla="*/ 1212946 w 1238413"/>
                  <a:gd name="connsiteY46" fmla="*/ 2368550 h 3277163"/>
                  <a:gd name="connsiteX47" fmla="*/ 1155796 w 1238413"/>
                  <a:gd name="connsiteY47" fmla="*/ 2527300 h 3277163"/>
                  <a:gd name="connsiteX48" fmla="*/ 1111346 w 1238413"/>
                  <a:gd name="connsiteY48" fmla="*/ 2565400 h 3277163"/>
                  <a:gd name="connsiteX49" fmla="*/ 1079596 w 1238413"/>
                  <a:gd name="connsiteY49" fmla="*/ 2597150 h 3277163"/>
                  <a:gd name="connsiteX50" fmla="*/ 1003396 w 1238413"/>
                  <a:gd name="connsiteY50" fmla="*/ 2616200 h 3277163"/>
                  <a:gd name="connsiteX51" fmla="*/ 965296 w 1238413"/>
                  <a:gd name="connsiteY51" fmla="*/ 2679700 h 3277163"/>
                  <a:gd name="connsiteX52" fmla="*/ 838296 w 1238413"/>
                  <a:gd name="connsiteY52" fmla="*/ 2747963 h 3277163"/>
                  <a:gd name="connsiteX53" fmla="*/ 730346 w 1238413"/>
                  <a:gd name="connsiteY53" fmla="*/ 2736850 h 3277163"/>
                  <a:gd name="connsiteX54" fmla="*/ 654146 w 1238413"/>
                  <a:gd name="connsiteY54" fmla="*/ 2730500 h 3277163"/>
                  <a:gd name="connsiteX55" fmla="*/ 571596 w 1238413"/>
                  <a:gd name="connsiteY55" fmla="*/ 2736850 h 3277163"/>
                  <a:gd name="connsiteX56" fmla="*/ 489046 w 1238413"/>
                  <a:gd name="connsiteY56" fmla="*/ 2844800 h 3277163"/>
                  <a:gd name="connsiteX57" fmla="*/ 435865 w 1238413"/>
                  <a:gd name="connsiteY57" fmla="*/ 2894013 h 3277163"/>
                  <a:gd name="connsiteX58" fmla="*/ 354108 w 1238413"/>
                  <a:gd name="connsiteY58" fmla="*/ 2951162 h 3277163"/>
                  <a:gd name="connsiteX59" fmla="*/ 349346 w 1238413"/>
                  <a:gd name="connsiteY59" fmla="*/ 3022600 h 3277163"/>
                  <a:gd name="connsiteX60" fmla="*/ 248540 w 1238413"/>
                  <a:gd name="connsiteY60" fmla="*/ 3152775 h 3277163"/>
                  <a:gd name="connsiteX61" fmla="*/ 161227 w 1238413"/>
                  <a:gd name="connsiteY61" fmla="*/ 3273426 h 3277163"/>
                  <a:gd name="connsiteX0" fmla="*/ 12796 w 1238413"/>
                  <a:gd name="connsiteY0" fmla="*/ 0 h 3277163"/>
                  <a:gd name="connsiteX1" fmla="*/ 37402 w 1238413"/>
                  <a:gd name="connsiteY1" fmla="*/ 120650 h 3277163"/>
                  <a:gd name="connsiteX2" fmla="*/ 19146 w 1238413"/>
                  <a:gd name="connsiteY2" fmla="*/ 158750 h 3277163"/>
                  <a:gd name="connsiteX3" fmla="*/ 41371 w 1238413"/>
                  <a:gd name="connsiteY3" fmla="*/ 209550 h 3277163"/>
                  <a:gd name="connsiteX4" fmla="*/ 38196 w 1238413"/>
                  <a:gd name="connsiteY4" fmla="*/ 234950 h 3277163"/>
                  <a:gd name="connsiteX5" fmla="*/ 50896 w 1238413"/>
                  <a:gd name="connsiteY5" fmla="*/ 273050 h 3277163"/>
                  <a:gd name="connsiteX6" fmla="*/ 17558 w 1238413"/>
                  <a:gd name="connsiteY6" fmla="*/ 312737 h 3277163"/>
                  <a:gd name="connsiteX7" fmla="*/ 50896 w 1238413"/>
                  <a:gd name="connsiteY7" fmla="*/ 372269 h 3277163"/>
                  <a:gd name="connsiteX8" fmla="*/ 31846 w 1238413"/>
                  <a:gd name="connsiteY8" fmla="*/ 463550 h 3277163"/>
                  <a:gd name="connsiteX9" fmla="*/ 890 w 1238413"/>
                  <a:gd name="connsiteY9" fmla="*/ 525462 h 3277163"/>
                  <a:gd name="connsiteX10" fmla="*/ 96 w 1238413"/>
                  <a:gd name="connsiteY10" fmla="*/ 546101 h 3277163"/>
                  <a:gd name="connsiteX11" fmla="*/ 6446 w 1238413"/>
                  <a:gd name="connsiteY11" fmla="*/ 603250 h 3277163"/>
                  <a:gd name="connsiteX12" fmla="*/ 50896 w 1238413"/>
                  <a:gd name="connsiteY12" fmla="*/ 647700 h 3277163"/>
                  <a:gd name="connsiteX13" fmla="*/ 63596 w 1238413"/>
                  <a:gd name="connsiteY13" fmla="*/ 704850 h 3277163"/>
                  <a:gd name="connsiteX14" fmla="*/ 120746 w 1238413"/>
                  <a:gd name="connsiteY14" fmla="*/ 749300 h 3277163"/>
                  <a:gd name="connsiteX15" fmla="*/ 170752 w 1238413"/>
                  <a:gd name="connsiteY15" fmla="*/ 763587 h 3277163"/>
                  <a:gd name="connsiteX16" fmla="*/ 241396 w 1238413"/>
                  <a:gd name="connsiteY16" fmla="*/ 806450 h 3277163"/>
                  <a:gd name="connsiteX17" fmla="*/ 238221 w 1238413"/>
                  <a:gd name="connsiteY17" fmla="*/ 854869 h 3277163"/>
                  <a:gd name="connsiteX18" fmla="*/ 273146 w 1238413"/>
                  <a:gd name="connsiteY18" fmla="*/ 901700 h 3277163"/>
                  <a:gd name="connsiteX19" fmla="*/ 376334 w 1238413"/>
                  <a:gd name="connsiteY19" fmla="*/ 981869 h 3277163"/>
                  <a:gd name="connsiteX20" fmla="*/ 425546 w 1238413"/>
                  <a:gd name="connsiteY20" fmla="*/ 1028700 h 3277163"/>
                  <a:gd name="connsiteX21" fmla="*/ 463646 w 1238413"/>
                  <a:gd name="connsiteY21" fmla="*/ 1098550 h 3277163"/>
                  <a:gd name="connsiteX22" fmla="*/ 565246 w 1238413"/>
                  <a:gd name="connsiteY22" fmla="*/ 1143000 h 3277163"/>
                  <a:gd name="connsiteX23" fmla="*/ 609696 w 1238413"/>
                  <a:gd name="connsiteY23" fmla="*/ 1162050 h 3277163"/>
                  <a:gd name="connsiteX24" fmla="*/ 635096 w 1238413"/>
                  <a:gd name="connsiteY24" fmla="*/ 1212850 h 3277163"/>
                  <a:gd name="connsiteX25" fmla="*/ 711296 w 1238413"/>
                  <a:gd name="connsiteY25" fmla="*/ 1212850 h 3277163"/>
                  <a:gd name="connsiteX26" fmla="*/ 728759 w 1238413"/>
                  <a:gd name="connsiteY26" fmla="*/ 1239045 h 3277163"/>
                  <a:gd name="connsiteX27" fmla="*/ 764477 w 1238413"/>
                  <a:gd name="connsiteY27" fmla="*/ 1255714 h 3277163"/>
                  <a:gd name="connsiteX28" fmla="*/ 788289 w 1238413"/>
                  <a:gd name="connsiteY28" fmla="*/ 1304925 h 3277163"/>
                  <a:gd name="connsiteX29" fmla="*/ 825596 w 1238413"/>
                  <a:gd name="connsiteY29" fmla="*/ 1352550 h 3277163"/>
                  <a:gd name="connsiteX30" fmla="*/ 866871 w 1238413"/>
                  <a:gd name="connsiteY30" fmla="*/ 1386682 h 3277163"/>
                  <a:gd name="connsiteX31" fmla="*/ 915290 w 1238413"/>
                  <a:gd name="connsiteY31" fmla="*/ 1406525 h 3277163"/>
                  <a:gd name="connsiteX32" fmla="*/ 952596 w 1238413"/>
                  <a:gd name="connsiteY32" fmla="*/ 1460500 h 3277163"/>
                  <a:gd name="connsiteX33" fmla="*/ 1028796 w 1238413"/>
                  <a:gd name="connsiteY33" fmla="*/ 1612900 h 3277163"/>
                  <a:gd name="connsiteX34" fmla="*/ 1022446 w 1238413"/>
                  <a:gd name="connsiteY34" fmla="*/ 1657350 h 3277163"/>
                  <a:gd name="connsiteX35" fmla="*/ 1066896 w 1238413"/>
                  <a:gd name="connsiteY35" fmla="*/ 1720850 h 3277163"/>
                  <a:gd name="connsiteX36" fmla="*/ 1085946 w 1238413"/>
                  <a:gd name="connsiteY36" fmla="*/ 1809750 h 3277163"/>
                  <a:gd name="connsiteX37" fmla="*/ 1128809 w 1238413"/>
                  <a:gd name="connsiteY37" fmla="*/ 1910557 h 3277163"/>
                  <a:gd name="connsiteX38" fmla="*/ 1143096 w 1238413"/>
                  <a:gd name="connsiteY38" fmla="*/ 1981200 h 3277163"/>
                  <a:gd name="connsiteX39" fmla="*/ 1174846 w 1238413"/>
                  <a:gd name="connsiteY39" fmla="*/ 2044700 h 3277163"/>
                  <a:gd name="connsiteX40" fmla="*/ 1238346 w 1238413"/>
                  <a:gd name="connsiteY40" fmla="*/ 2095500 h 3277163"/>
                  <a:gd name="connsiteX41" fmla="*/ 1200246 w 1238413"/>
                  <a:gd name="connsiteY41" fmla="*/ 2139950 h 3277163"/>
                  <a:gd name="connsiteX42" fmla="*/ 1193896 w 1238413"/>
                  <a:gd name="connsiteY42" fmla="*/ 2190750 h 3277163"/>
                  <a:gd name="connsiteX43" fmla="*/ 1193896 w 1238413"/>
                  <a:gd name="connsiteY43" fmla="*/ 2241550 h 3277163"/>
                  <a:gd name="connsiteX44" fmla="*/ 1212946 w 1238413"/>
                  <a:gd name="connsiteY44" fmla="*/ 2273300 h 3277163"/>
                  <a:gd name="connsiteX45" fmla="*/ 1193896 w 1238413"/>
                  <a:gd name="connsiteY45" fmla="*/ 2305050 h 3277163"/>
                  <a:gd name="connsiteX46" fmla="*/ 1212946 w 1238413"/>
                  <a:gd name="connsiteY46" fmla="*/ 2368550 h 3277163"/>
                  <a:gd name="connsiteX47" fmla="*/ 1155796 w 1238413"/>
                  <a:gd name="connsiteY47" fmla="*/ 2527300 h 3277163"/>
                  <a:gd name="connsiteX48" fmla="*/ 1111346 w 1238413"/>
                  <a:gd name="connsiteY48" fmla="*/ 2565400 h 3277163"/>
                  <a:gd name="connsiteX49" fmla="*/ 1079596 w 1238413"/>
                  <a:gd name="connsiteY49" fmla="*/ 2597150 h 3277163"/>
                  <a:gd name="connsiteX50" fmla="*/ 1003396 w 1238413"/>
                  <a:gd name="connsiteY50" fmla="*/ 2616200 h 3277163"/>
                  <a:gd name="connsiteX51" fmla="*/ 965296 w 1238413"/>
                  <a:gd name="connsiteY51" fmla="*/ 2679700 h 3277163"/>
                  <a:gd name="connsiteX52" fmla="*/ 838296 w 1238413"/>
                  <a:gd name="connsiteY52" fmla="*/ 2747963 h 3277163"/>
                  <a:gd name="connsiteX53" fmla="*/ 732728 w 1238413"/>
                  <a:gd name="connsiteY53" fmla="*/ 2729706 h 3277163"/>
                  <a:gd name="connsiteX54" fmla="*/ 654146 w 1238413"/>
                  <a:gd name="connsiteY54" fmla="*/ 2730500 h 3277163"/>
                  <a:gd name="connsiteX55" fmla="*/ 571596 w 1238413"/>
                  <a:gd name="connsiteY55" fmla="*/ 2736850 h 3277163"/>
                  <a:gd name="connsiteX56" fmla="*/ 489046 w 1238413"/>
                  <a:gd name="connsiteY56" fmla="*/ 2844800 h 3277163"/>
                  <a:gd name="connsiteX57" fmla="*/ 435865 w 1238413"/>
                  <a:gd name="connsiteY57" fmla="*/ 2894013 h 3277163"/>
                  <a:gd name="connsiteX58" fmla="*/ 354108 w 1238413"/>
                  <a:gd name="connsiteY58" fmla="*/ 2951162 h 3277163"/>
                  <a:gd name="connsiteX59" fmla="*/ 349346 w 1238413"/>
                  <a:gd name="connsiteY59" fmla="*/ 3022600 h 3277163"/>
                  <a:gd name="connsiteX60" fmla="*/ 248540 w 1238413"/>
                  <a:gd name="connsiteY60" fmla="*/ 3152775 h 3277163"/>
                  <a:gd name="connsiteX61" fmla="*/ 161227 w 1238413"/>
                  <a:gd name="connsiteY61" fmla="*/ 3273426 h 3277163"/>
                  <a:gd name="connsiteX0" fmla="*/ 12796 w 1238413"/>
                  <a:gd name="connsiteY0" fmla="*/ 0 h 3277163"/>
                  <a:gd name="connsiteX1" fmla="*/ 37402 w 1238413"/>
                  <a:gd name="connsiteY1" fmla="*/ 120650 h 3277163"/>
                  <a:gd name="connsiteX2" fmla="*/ 19146 w 1238413"/>
                  <a:gd name="connsiteY2" fmla="*/ 158750 h 3277163"/>
                  <a:gd name="connsiteX3" fmla="*/ 41371 w 1238413"/>
                  <a:gd name="connsiteY3" fmla="*/ 209550 h 3277163"/>
                  <a:gd name="connsiteX4" fmla="*/ 38196 w 1238413"/>
                  <a:gd name="connsiteY4" fmla="*/ 234950 h 3277163"/>
                  <a:gd name="connsiteX5" fmla="*/ 50896 w 1238413"/>
                  <a:gd name="connsiteY5" fmla="*/ 273050 h 3277163"/>
                  <a:gd name="connsiteX6" fmla="*/ 17558 w 1238413"/>
                  <a:gd name="connsiteY6" fmla="*/ 312737 h 3277163"/>
                  <a:gd name="connsiteX7" fmla="*/ 50896 w 1238413"/>
                  <a:gd name="connsiteY7" fmla="*/ 372269 h 3277163"/>
                  <a:gd name="connsiteX8" fmla="*/ 31846 w 1238413"/>
                  <a:gd name="connsiteY8" fmla="*/ 463550 h 3277163"/>
                  <a:gd name="connsiteX9" fmla="*/ 890 w 1238413"/>
                  <a:gd name="connsiteY9" fmla="*/ 525462 h 3277163"/>
                  <a:gd name="connsiteX10" fmla="*/ 96 w 1238413"/>
                  <a:gd name="connsiteY10" fmla="*/ 546101 h 3277163"/>
                  <a:gd name="connsiteX11" fmla="*/ 6446 w 1238413"/>
                  <a:gd name="connsiteY11" fmla="*/ 603250 h 3277163"/>
                  <a:gd name="connsiteX12" fmla="*/ 50896 w 1238413"/>
                  <a:gd name="connsiteY12" fmla="*/ 647700 h 3277163"/>
                  <a:gd name="connsiteX13" fmla="*/ 63596 w 1238413"/>
                  <a:gd name="connsiteY13" fmla="*/ 704850 h 3277163"/>
                  <a:gd name="connsiteX14" fmla="*/ 120746 w 1238413"/>
                  <a:gd name="connsiteY14" fmla="*/ 749300 h 3277163"/>
                  <a:gd name="connsiteX15" fmla="*/ 170752 w 1238413"/>
                  <a:gd name="connsiteY15" fmla="*/ 763587 h 3277163"/>
                  <a:gd name="connsiteX16" fmla="*/ 241396 w 1238413"/>
                  <a:gd name="connsiteY16" fmla="*/ 806450 h 3277163"/>
                  <a:gd name="connsiteX17" fmla="*/ 238221 w 1238413"/>
                  <a:gd name="connsiteY17" fmla="*/ 854869 h 3277163"/>
                  <a:gd name="connsiteX18" fmla="*/ 273146 w 1238413"/>
                  <a:gd name="connsiteY18" fmla="*/ 901700 h 3277163"/>
                  <a:gd name="connsiteX19" fmla="*/ 376334 w 1238413"/>
                  <a:gd name="connsiteY19" fmla="*/ 981869 h 3277163"/>
                  <a:gd name="connsiteX20" fmla="*/ 425546 w 1238413"/>
                  <a:gd name="connsiteY20" fmla="*/ 1028700 h 3277163"/>
                  <a:gd name="connsiteX21" fmla="*/ 463646 w 1238413"/>
                  <a:gd name="connsiteY21" fmla="*/ 1098550 h 3277163"/>
                  <a:gd name="connsiteX22" fmla="*/ 565246 w 1238413"/>
                  <a:gd name="connsiteY22" fmla="*/ 1143000 h 3277163"/>
                  <a:gd name="connsiteX23" fmla="*/ 609696 w 1238413"/>
                  <a:gd name="connsiteY23" fmla="*/ 1162050 h 3277163"/>
                  <a:gd name="connsiteX24" fmla="*/ 635096 w 1238413"/>
                  <a:gd name="connsiteY24" fmla="*/ 1212850 h 3277163"/>
                  <a:gd name="connsiteX25" fmla="*/ 711296 w 1238413"/>
                  <a:gd name="connsiteY25" fmla="*/ 1212850 h 3277163"/>
                  <a:gd name="connsiteX26" fmla="*/ 728759 w 1238413"/>
                  <a:gd name="connsiteY26" fmla="*/ 1239045 h 3277163"/>
                  <a:gd name="connsiteX27" fmla="*/ 764477 w 1238413"/>
                  <a:gd name="connsiteY27" fmla="*/ 1255714 h 3277163"/>
                  <a:gd name="connsiteX28" fmla="*/ 788289 w 1238413"/>
                  <a:gd name="connsiteY28" fmla="*/ 1304925 h 3277163"/>
                  <a:gd name="connsiteX29" fmla="*/ 825596 w 1238413"/>
                  <a:gd name="connsiteY29" fmla="*/ 1352550 h 3277163"/>
                  <a:gd name="connsiteX30" fmla="*/ 866871 w 1238413"/>
                  <a:gd name="connsiteY30" fmla="*/ 1386682 h 3277163"/>
                  <a:gd name="connsiteX31" fmla="*/ 915290 w 1238413"/>
                  <a:gd name="connsiteY31" fmla="*/ 1406525 h 3277163"/>
                  <a:gd name="connsiteX32" fmla="*/ 952596 w 1238413"/>
                  <a:gd name="connsiteY32" fmla="*/ 1460500 h 3277163"/>
                  <a:gd name="connsiteX33" fmla="*/ 1028796 w 1238413"/>
                  <a:gd name="connsiteY33" fmla="*/ 1612900 h 3277163"/>
                  <a:gd name="connsiteX34" fmla="*/ 1022446 w 1238413"/>
                  <a:gd name="connsiteY34" fmla="*/ 1657350 h 3277163"/>
                  <a:gd name="connsiteX35" fmla="*/ 1066896 w 1238413"/>
                  <a:gd name="connsiteY35" fmla="*/ 1720850 h 3277163"/>
                  <a:gd name="connsiteX36" fmla="*/ 1085946 w 1238413"/>
                  <a:gd name="connsiteY36" fmla="*/ 1809750 h 3277163"/>
                  <a:gd name="connsiteX37" fmla="*/ 1128809 w 1238413"/>
                  <a:gd name="connsiteY37" fmla="*/ 1910557 h 3277163"/>
                  <a:gd name="connsiteX38" fmla="*/ 1143096 w 1238413"/>
                  <a:gd name="connsiteY38" fmla="*/ 1981200 h 3277163"/>
                  <a:gd name="connsiteX39" fmla="*/ 1174846 w 1238413"/>
                  <a:gd name="connsiteY39" fmla="*/ 2044700 h 3277163"/>
                  <a:gd name="connsiteX40" fmla="*/ 1238346 w 1238413"/>
                  <a:gd name="connsiteY40" fmla="*/ 2095500 h 3277163"/>
                  <a:gd name="connsiteX41" fmla="*/ 1200246 w 1238413"/>
                  <a:gd name="connsiteY41" fmla="*/ 2139950 h 3277163"/>
                  <a:gd name="connsiteX42" fmla="*/ 1193896 w 1238413"/>
                  <a:gd name="connsiteY42" fmla="*/ 2190750 h 3277163"/>
                  <a:gd name="connsiteX43" fmla="*/ 1193896 w 1238413"/>
                  <a:gd name="connsiteY43" fmla="*/ 2241550 h 3277163"/>
                  <a:gd name="connsiteX44" fmla="*/ 1212946 w 1238413"/>
                  <a:gd name="connsiteY44" fmla="*/ 2273300 h 3277163"/>
                  <a:gd name="connsiteX45" fmla="*/ 1193896 w 1238413"/>
                  <a:gd name="connsiteY45" fmla="*/ 2305050 h 3277163"/>
                  <a:gd name="connsiteX46" fmla="*/ 1212946 w 1238413"/>
                  <a:gd name="connsiteY46" fmla="*/ 2368550 h 3277163"/>
                  <a:gd name="connsiteX47" fmla="*/ 1155796 w 1238413"/>
                  <a:gd name="connsiteY47" fmla="*/ 2527300 h 3277163"/>
                  <a:gd name="connsiteX48" fmla="*/ 1111346 w 1238413"/>
                  <a:gd name="connsiteY48" fmla="*/ 2565400 h 3277163"/>
                  <a:gd name="connsiteX49" fmla="*/ 1079596 w 1238413"/>
                  <a:gd name="connsiteY49" fmla="*/ 2597150 h 3277163"/>
                  <a:gd name="connsiteX50" fmla="*/ 1003396 w 1238413"/>
                  <a:gd name="connsiteY50" fmla="*/ 2616200 h 3277163"/>
                  <a:gd name="connsiteX51" fmla="*/ 965296 w 1238413"/>
                  <a:gd name="connsiteY51" fmla="*/ 2679700 h 3277163"/>
                  <a:gd name="connsiteX52" fmla="*/ 838296 w 1238413"/>
                  <a:gd name="connsiteY52" fmla="*/ 2747963 h 3277163"/>
                  <a:gd name="connsiteX53" fmla="*/ 732728 w 1238413"/>
                  <a:gd name="connsiteY53" fmla="*/ 2729706 h 3277163"/>
                  <a:gd name="connsiteX54" fmla="*/ 654146 w 1238413"/>
                  <a:gd name="connsiteY54" fmla="*/ 2730500 h 3277163"/>
                  <a:gd name="connsiteX55" fmla="*/ 571596 w 1238413"/>
                  <a:gd name="connsiteY55" fmla="*/ 2736850 h 3277163"/>
                  <a:gd name="connsiteX56" fmla="*/ 489046 w 1238413"/>
                  <a:gd name="connsiteY56" fmla="*/ 2844800 h 3277163"/>
                  <a:gd name="connsiteX57" fmla="*/ 435865 w 1238413"/>
                  <a:gd name="connsiteY57" fmla="*/ 2894013 h 3277163"/>
                  <a:gd name="connsiteX58" fmla="*/ 354108 w 1238413"/>
                  <a:gd name="connsiteY58" fmla="*/ 2951162 h 3277163"/>
                  <a:gd name="connsiteX59" fmla="*/ 349346 w 1238413"/>
                  <a:gd name="connsiteY59" fmla="*/ 3022600 h 3277163"/>
                  <a:gd name="connsiteX60" fmla="*/ 248540 w 1238413"/>
                  <a:gd name="connsiteY60" fmla="*/ 3152775 h 3277163"/>
                  <a:gd name="connsiteX61" fmla="*/ 161227 w 1238413"/>
                  <a:gd name="connsiteY61" fmla="*/ 3273426 h 3277163"/>
                  <a:gd name="connsiteX0" fmla="*/ 12796 w 1238413"/>
                  <a:gd name="connsiteY0" fmla="*/ 0 h 3277163"/>
                  <a:gd name="connsiteX1" fmla="*/ 37402 w 1238413"/>
                  <a:gd name="connsiteY1" fmla="*/ 120650 h 3277163"/>
                  <a:gd name="connsiteX2" fmla="*/ 19146 w 1238413"/>
                  <a:gd name="connsiteY2" fmla="*/ 158750 h 3277163"/>
                  <a:gd name="connsiteX3" fmla="*/ 41371 w 1238413"/>
                  <a:gd name="connsiteY3" fmla="*/ 209550 h 3277163"/>
                  <a:gd name="connsiteX4" fmla="*/ 38196 w 1238413"/>
                  <a:gd name="connsiteY4" fmla="*/ 234950 h 3277163"/>
                  <a:gd name="connsiteX5" fmla="*/ 50896 w 1238413"/>
                  <a:gd name="connsiteY5" fmla="*/ 273050 h 3277163"/>
                  <a:gd name="connsiteX6" fmla="*/ 17558 w 1238413"/>
                  <a:gd name="connsiteY6" fmla="*/ 312737 h 3277163"/>
                  <a:gd name="connsiteX7" fmla="*/ 50896 w 1238413"/>
                  <a:gd name="connsiteY7" fmla="*/ 372269 h 3277163"/>
                  <a:gd name="connsiteX8" fmla="*/ 31846 w 1238413"/>
                  <a:gd name="connsiteY8" fmla="*/ 463550 h 3277163"/>
                  <a:gd name="connsiteX9" fmla="*/ 890 w 1238413"/>
                  <a:gd name="connsiteY9" fmla="*/ 525462 h 3277163"/>
                  <a:gd name="connsiteX10" fmla="*/ 96 w 1238413"/>
                  <a:gd name="connsiteY10" fmla="*/ 546101 h 3277163"/>
                  <a:gd name="connsiteX11" fmla="*/ 6446 w 1238413"/>
                  <a:gd name="connsiteY11" fmla="*/ 603250 h 3277163"/>
                  <a:gd name="connsiteX12" fmla="*/ 50896 w 1238413"/>
                  <a:gd name="connsiteY12" fmla="*/ 647700 h 3277163"/>
                  <a:gd name="connsiteX13" fmla="*/ 63596 w 1238413"/>
                  <a:gd name="connsiteY13" fmla="*/ 704850 h 3277163"/>
                  <a:gd name="connsiteX14" fmla="*/ 120746 w 1238413"/>
                  <a:gd name="connsiteY14" fmla="*/ 749300 h 3277163"/>
                  <a:gd name="connsiteX15" fmla="*/ 170752 w 1238413"/>
                  <a:gd name="connsiteY15" fmla="*/ 763587 h 3277163"/>
                  <a:gd name="connsiteX16" fmla="*/ 241396 w 1238413"/>
                  <a:gd name="connsiteY16" fmla="*/ 806450 h 3277163"/>
                  <a:gd name="connsiteX17" fmla="*/ 238221 w 1238413"/>
                  <a:gd name="connsiteY17" fmla="*/ 854869 h 3277163"/>
                  <a:gd name="connsiteX18" fmla="*/ 273146 w 1238413"/>
                  <a:gd name="connsiteY18" fmla="*/ 901700 h 3277163"/>
                  <a:gd name="connsiteX19" fmla="*/ 376334 w 1238413"/>
                  <a:gd name="connsiteY19" fmla="*/ 981869 h 3277163"/>
                  <a:gd name="connsiteX20" fmla="*/ 425546 w 1238413"/>
                  <a:gd name="connsiteY20" fmla="*/ 1028700 h 3277163"/>
                  <a:gd name="connsiteX21" fmla="*/ 463646 w 1238413"/>
                  <a:gd name="connsiteY21" fmla="*/ 1098550 h 3277163"/>
                  <a:gd name="connsiteX22" fmla="*/ 565246 w 1238413"/>
                  <a:gd name="connsiteY22" fmla="*/ 1143000 h 3277163"/>
                  <a:gd name="connsiteX23" fmla="*/ 609696 w 1238413"/>
                  <a:gd name="connsiteY23" fmla="*/ 1162050 h 3277163"/>
                  <a:gd name="connsiteX24" fmla="*/ 635096 w 1238413"/>
                  <a:gd name="connsiteY24" fmla="*/ 1212850 h 3277163"/>
                  <a:gd name="connsiteX25" fmla="*/ 711296 w 1238413"/>
                  <a:gd name="connsiteY25" fmla="*/ 1212850 h 3277163"/>
                  <a:gd name="connsiteX26" fmla="*/ 728759 w 1238413"/>
                  <a:gd name="connsiteY26" fmla="*/ 1239045 h 3277163"/>
                  <a:gd name="connsiteX27" fmla="*/ 764477 w 1238413"/>
                  <a:gd name="connsiteY27" fmla="*/ 1255714 h 3277163"/>
                  <a:gd name="connsiteX28" fmla="*/ 788289 w 1238413"/>
                  <a:gd name="connsiteY28" fmla="*/ 1304925 h 3277163"/>
                  <a:gd name="connsiteX29" fmla="*/ 825596 w 1238413"/>
                  <a:gd name="connsiteY29" fmla="*/ 1352550 h 3277163"/>
                  <a:gd name="connsiteX30" fmla="*/ 866871 w 1238413"/>
                  <a:gd name="connsiteY30" fmla="*/ 1386682 h 3277163"/>
                  <a:gd name="connsiteX31" fmla="*/ 915290 w 1238413"/>
                  <a:gd name="connsiteY31" fmla="*/ 1406525 h 3277163"/>
                  <a:gd name="connsiteX32" fmla="*/ 952596 w 1238413"/>
                  <a:gd name="connsiteY32" fmla="*/ 1460500 h 3277163"/>
                  <a:gd name="connsiteX33" fmla="*/ 1028796 w 1238413"/>
                  <a:gd name="connsiteY33" fmla="*/ 1612900 h 3277163"/>
                  <a:gd name="connsiteX34" fmla="*/ 1022446 w 1238413"/>
                  <a:gd name="connsiteY34" fmla="*/ 1657350 h 3277163"/>
                  <a:gd name="connsiteX35" fmla="*/ 1066896 w 1238413"/>
                  <a:gd name="connsiteY35" fmla="*/ 1720850 h 3277163"/>
                  <a:gd name="connsiteX36" fmla="*/ 1085946 w 1238413"/>
                  <a:gd name="connsiteY36" fmla="*/ 1809750 h 3277163"/>
                  <a:gd name="connsiteX37" fmla="*/ 1128809 w 1238413"/>
                  <a:gd name="connsiteY37" fmla="*/ 1910557 h 3277163"/>
                  <a:gd name="connsiteX38" fmla="*/ 1143096 w 1238413"/>
                  <a:gd name="connsiteY38" fmla="*/ 1981200 h 3277163"/>
                  <a:gd name="connsiteX39" fmla="*/ 1174846 w 1238413"/>
                  <a:gd name="connsiteY39" fmla="*/ 2044700 h 3277163"/>
                  <a:gd name="connsiteX40" fmla="*/ 1238346 w 1238413"/>
                  <a:gd name="connsiteY40" fmla="*/ 2095500 h 3277163"/>
                  <a:gd name="connsiteX41" fmla="*/ 1200246 w 1238413"/>
                  <a:gd name="connsiteY41" fmla="*/ 2139950 h 3277163"/>
                  <a:gd name="connsiteX42" fmla="*/ 1193896 w 1238413"/>
                  <a:gd name="connsiteY42" fmla="*/ 2190750 h 3277163"/>
                  <a:gd name="connsiteX43" fmla="*/ 1193896 w 1238413"/>
                  <a:gd name="connsiteY43" fmla="*/ 2241550 h 3277163"/>
                  <a:gd name="connsiteX44" fmla="*/ 1212946 w 1238413"/>
                  <a:gd name="connsiteY44" fmla="*/ 2273300 h 3277163"/>
                  <a:gd name="connsiteX45" fmla="*/ 1193896 w 1238413"/>
                  <a:gd name="connsiteY45" fmla="*/ 2305050 h 3277163"/>
                  <a:gd name="connsiteX46" fmla="*/ 1212946 w 1238413"/>
                  <a:gd name="connsiteY46" fmla="*/ 2368550 h 3277163"/>
                  <a:gd name="connsiteX47" fmla="*/ 1155796 w 1238413"/>
                  <a:gd name="connsiteY47" fmla="*/ 2527300 h 3277163"/>
                  <a:gd name="connsiteX48" fmla="*/ 1111346 w 1238413"/>
                  <a:gd name="connsiteY48" fmla="*/ 2565400 h 3277163"/>
                  <a:gd name="connsiteX49" fmla="*/ 1079596 w 1238413"/>
                  <a:gd name="connsiteY49" fmla="*/ 2597150 h 3277163"/>
                  <a:gd name="connsiteX50" fmla="*/ 1003396 w 1238413"/>
                  <a:gd name="connsiteY50" fmla="*/ 2616200 h 3277163"/>
                  <a:gd name="connsiteX51" fmla="*/ 965296 w 1238413"/>
                  <a:gd name="connsiteY51" fmla="*/ 2679700 h 3277163"/>
                  <a:gd name="connsiteX52" fmla="*/ 838296 w 1238413"/>
                  <a:gd name="connsiteY52" fmla="*/ 2747963 h 3277163"/>
                  <a:gd name="connsiteX53" fmla="*/ 732728 w 1238413"/>
                  <a:gd name="connsiteY53" fmla="*/ 2729706 h 3277163"/>
                  <a:gd name="connsiteX54" fmla="*/ 639859 w 1238413"/>
                  <a:gd name="connsiteY54" fmla="*/ 2725737 h 3277163"/>
                  <a:gd name="connsiteX55" fmla="*/ 571596 w 1238413"/>
                  <a:gd name="connsiteY55" fmla="*/ 2736850 h 3277163"/>
                  <a:gd name="connsiteX56" fmla="*/ 489046 w 1238413"/>
                  <a:gd name="connsiteY56" fmla="*/ 2844800 h 3277163"/>
                  <a:gd name="connsiteX57" fmla="*/ 435865 w 1238413"/>
                  <a:gd name="connsiteY57" fmla="*/ 2894013 h 3277163"/>
                  <a:gd name="connsiteX58" fmla="*/ 354108 w 1238413"/>
                  <a:gd name="connsiteY58" fmla="*/ 2951162 h 3277163"/>
                  <a:gd name="connsiteX59" fmla="*/ 349346 w 1238413"/>
                  <a:gd name="connsiteY59" fmla="*/ 3022600 h 3277163"/>
                  <a:gd name="connsiteX60" fmla="*/ 248540 w 1238413"/>
                  <a:gd name="connsiteY60" fmla="*/ 3152775 h 3277163"/>
                  <a:gd name="connsiteX61" fmla="*/ 161227 w 1238413"/>
                  <a:gd name="connsiteY61" fmla="*/ 3273426 h 3277163"/>
                  <a:gd name="connsiteX0" fmla="*/ 12796 w 1212946"/>
                  <a:gd name="connsiteY0" fmla="*/ 0 h 3277163"/>
                  <a:gd name="connsiteX1" fmla="*/ 37402 w 1212946"/>
                  <a:gd name="connsiteY1" fmla="*/ 120650 h 3277163"/>
                  <a:gd name="connsiteX2" fmla="*/ 19146 w 1212946"/>
                  <a:gd name="connsiteY2" fmla="*/ 158750 h 3277163"/>
                  <a:gd name="connsiteX3" fmla="*/ 41371 w 1212946"/>
                  <a:gd name="connsiteY3" fmla="*/ 209550 h 3277163"/>
                  <a:gd name="connsiteX4" fmla="*/ 38196 w 1212946"/>
                  <a:gd name="connsiteY4" fmla="*/ 234950 h 3277163"/>
                  <a:gd name="connsiteX5" fmla="*/ 50896 w 1212946"/>
                  <a:gd name="connsiteY5" fmla="*/ 273050 h 3277163"/>
                  <a:gd name="connsiteX6" fmla="*/ 17558 w 1212946"/>
                  <a:gd name="connsiteY6" fmla="*/ 312737 h 3277163"/>
                  <a:gd name="connsiteX7" fmla="*/ 50896 w 1212946"/>
                  <a:gd name="connsiteY7" fmla="*/ 372269 h 3277163"/>
                  <a:gd name="connsiteX8" fmla="*/ 31846 w 1212946"/>
                  <a:gd name="connsiteY8" fmla="*/ 463550 h 3277163"/>
                  <a:gd name="connsiteX9" fmla="*/ 890 w 1212946"/>
                  <a:gd name="connsiteY9" fmla="*/ 525462 h 3277163"/>
                  <a:gd name="connsiteX10" fmla="*/ 96 w 1212946"/>
                  <a:gd name="connsiteY10" fmla="*/ 546101 h 3277163"/>
                  <a:gd name="connsiteX11" fmla="*/ 6446 w 1212946"/>
                  <a:gd name="connsiteY11" fmla="*/ 603250 h 3277163"/>
                  <a:gd name="connsiteX12" fmla="*/ 50896 w 1212946"/>
                  <a:gd name="connsiteY12" fmla="*/ 647700 h 3277163"/>
                  <a:gd name="connsiteX13" fmla="*/ 63596 w 1212946"/>
                  <a:gd name="connsiteY13" fmla="*/ 704850 h 3277163"/>
                  <a:gd name="connsiteX14" fmla="*/ 120746 w 1212946"/>
                  <a:gd name="connsiteY14" fmla="*/ 749300 h 3277163"/>
                  <a:gd name="connsiteX15" fmla="*/ 170752 w 1212946"/>
                  <a:gd name="connsiteY15" fmla="*/ 763587 h 3277163"/>
                  <a:gd name="connsiteX16" fmla="*/ 241396 w 1212946"/>
                  <a:gd name="connsiteY16" fmla="*/ 806450 h 3277163"/>
                  <a:gd name="connsiteX17" fmla="*/ 238221 w 1212946"/>
                  <a:gd name="connsiteY17" fmla="*/ 854869 h 3277163"/>
                  <a:gd name="connsiteX18" fmla="*/ 273146 w 1212946"/>
                  <a:gd name="connsiteY18" fmla="*/ 901700 h 3277163"/>
                  <a:gd name="connsiteX19" fmla="*/ 376334 w 1212946"/>
                  <a:gd name="connsiteY19" fmla="*/ 981869 h 3277163"/>
                  <a:gd name="connsiteX20" fmla="*/ 425546 w 1212946"/>
                  <a:gd name="connsiteY20" fmla="*/ 1028700 h 3277163"/>
                  <a:gd name="connsiteX21" fmla="*/ 463646 w 1212946"/>
                  <a:gd name="connsiteY21" fmla="*/ 1098550 h 3277163"/>
                  <a:gd name="connsiteX22" fmla="*/ 565246 w 1212946"/>
                  <a:gd name="connsiteY22" fmla="*/ 1143000 h 3277163"/>
                  <a:gd name="connsiteX23" fmla="*/ 609696 w 1212946"/>
                  <a:gd name="connsiteY23" fmla="*/ 1162050 h 3277163"/>
                  <a:gd name="connsiteX24" fmla="*/ 635096 w 1212946"/>
                  <a:gd name="connsiteY24" fmla="*/ 1212850 h 3277163"/>
                  <a:gd name="connsiteX25" fmla="*/ 711296 w 1212946"/>
                  <a:gd name="connsiteY25" fmla="*/ 1212850 h 3277163"/>
                  <a:gd name="connsiteX26" fmla="*/ 728759 w 1212946"/>
                  <a:gd name="connsiteY26" fmla="*/ 1239045 h 3277163"/>
                  <a:gd name="connsiteX27" fmla="*/ 764477 w 1212946"/>
                  <a:gd name="connsiteY27" fmla="*/ 1255714 h 3277163"/>
                  <a:gd name="connsiteX28" fmla="*/ 788289 w 1212946"/>
                  <a:gd name="connsiteY28" fmla="*/ 1304925 h 3277163"/>
                  <a:gd name="connsiteX29" fmla="*/ 825596 w 1212946"/>
                  <a:gd name="connsiteY29" fmla="*/ 1352550 h 3277163"/>
                  <a:gd name="connsiteX30" fmla="*/ 866871 w 1212946"/>
                  <a:gd name="connsiteY30" fmla="*/ 1386682 h 3277163"/>
                  <a:gd name="connsiteX31" fmla="*/ 915290 w 1212946"/>
                  <a:gd name="connsiteY31" fmla="*/ 1406525 h 3277163"/>
                  <a:gd name="connsiteX32" fmla="*/ 952596 w 1212946"/>
                  <a:gd name="connsiteY32" fmla="*/ 1460500 h 3277163"/>
                  <a:gd name="connsiteX33" fmla="*/ 1028796 w 1212946"/>
                  <a:gd name="connsiteY33" fmla="*/ 1612900 h 3277163"/>
                  <a:gd name="connsiteX34" fmla="*/ 1022446 w 1212946"/>
                  <a:gd name="connsiteY34" fmla="*/ 1657350 h 3277163"/>
                  <a:gd name="connsiteX35" fmla="*/ 1066896 w 1212946"/>
                  <a:gd name="connsiteY35" fmla="*/ 1720850 h 3277163"/>
                  <a:gd name="connsiteX36" fmla="*/ 1085946 w 1212946"/>
                  <a:gd name="connsiteY36" fmla="*/ 1809750 h 3277163"/>
                  <a:gd name="connsiteX37" fmla="*/ 1128809 w 1212946"/>
                  <a:gd name="connsiteY37" fmla="*/ 1910557 h 3277163"/>
                  <a:gd name="connsiteX38" fmla="*/ 1143096 w 1212946"/>
                  <a:gd name="connsiteY38" fmla="*/ 1981200 h 3277163"/>
                  <a:gd name="connsiteX39" fmla="*/ 1174846 w 1212946"/>
                  <a:gd name="connsiteY39" fmla="*/ 2044700 h 3277163"/>
                  <a:gd name="connsiteX40" fmla="*/ 1193896 w 1212946"/>
                  <a:gd name="connsiteY40" fmla="*/ 2101586 h 3277163"/>
                  <a:gd name="connsiteX41" fmla="*/ 1200246 w 1212946"/>
                  <a:gd name="connsiteY41" fmla="*/ 2139950 h 3277163"/>
                  <a:gd name="connsiteX42" fmla="*/ 1193896 w 1212946"/>
                  <a:gd name="connsiteY42" fmla="*/ 2190750 h 3277163"/>
                  <a:gd name="connsiteX43" fmla="*/ 1193896 w 1212946"/>
                  <a:gd name="connsiteY43" fmla="*/ 2241550 h 3277163"/>
                  <a:gd name="connsiteX44" fmla="*/ 1212946 w 1212946"/>
                  <a:gd name="connsiteY44" fmla="*/ 2273300 h 3277163"/>
                  <a:gd name="connsiteX45" fmla="*/ 1193896 w 1212946"/>
                  <a:gd name="connsiteY45" fmla="*/ 2305050 h 3277163"/>
                  <a:gd name="connsiteX46" fmla="*/ 1212946 w 1212946"/>
                  <a:gd name="connsiteY46" fmla="*/ 2368550 h 3277163"/>
                  <a:gd name="connsiteX47" fmla="*/ 1155796 w 1212946"/>
                  <a:gd name="connsiteY47" fmla="*/ 2527300 h 3277163"/>
                  <a:gd name="connsiteX48" fmla="*/ 1111346 w 1212946"/>
                  <a:gd name="connsiteY48" fmla="*/ 2565400 h 3277163"/>
                  <a:gd name="connsiteX49" fmla="*/ 1079596 w 1212946"/>
                  <a:gd name="connsiteY49" fmla="*/ 2597150 h 3277163"/>
                  <a:gd name="connsiteX50" fmla="*/ 1003396 w 1212946"/>
                  <a:gd name="connsiteY50" fmla="*/ 2616200 h 3277163"/>
                  <a:gd name="connsiteX51" fmla="*/ 965296 w 1212946"/>
                  <a:gd name="connsiteY51" fmla="*/ 2679700 h 3277163"/>
                  <a:gd name="connsiteX52" fmla="*/ 838296 w 1212946"/>
                  <a:gd name="connsiteY52" fmla="*/ 2747963 h 3277163"/>
                  <a:gd name="connsiteX53" fmla="*/ 732728 w 1212946"/>
                  <a:gd name="connsiteY53" fmla="*/ 2729706 h 3277163"/>
                  <a:gd name="connsiteX54" fmla="*/ 639859 w 1212946"/>
                  <a:gd name="connsiteY54" fmla="*/ 2725737 h 3277163"/>
                  <a:gd name="connsiteX55" fmla="*/ 571596 w 1212946"/>
                  <a:gd name="connsiteY55" fmla="*/ 2736850 h 3277163"/>
                  <a:gd name="connsiteX56" fmla="*/ 489046 w 1212946"/>
                  <a:gd name="connsiteY56" fmla="*/ 2844800 h 3277163"/>
                  <a:gd name="connsiteX57" fmla="*/ 435865 w 1212946"/>
                  <a:gd name="connsiteY57" fmla="*/ 2894013 h 3277163"/>
                  <a:gd name="connsiteX58" fmla="*/ 354108 w 1212946"/>
                  <a:gd name="connsiteY58" fmla="*/ 2951162 h 3277163"/>
                  <a:gd name="connsiteX59" fmla="*/ 349346 w 1212946"/>
                  <a:gd name="connsiteY59" fmla="*/ 3022600 h 3277163"/>
                  <a:gd name="connsiteX60" fmla="*/ 248540 w 1212946"/>
                  <a:gd name="connsiteY60" fmla="*/ 3152775 h 3277163"/>
                  <a:gd name="connsiteX61" fmla="*/ 161227 w 1212946"/>
                  <a:gd name="connsiteY61" fmla="*/ 3273426 h 3277163"/>
                  <a:gd name="connsiteX0" fmla="*/ 12796 w 1212946"/>
                  <a:gd name="connsiteY0" fmla="*/ 0 h 3277163"/>
                  <a:gd name="connsiteX1" fmla="*/ 37402 w 1212946"/>
                  <a:gd name="connsiteY1" fmla="*/ 120650 h 3277163"/>
                  <a:gd name="connsiteX2" fmla="*/ 19146 w 1212946"/>
                  <a:gd name="connsiteY2" fmla="*/ 158750 h 3277163"/>
                  <a:gd name="connsiteX3" fmla="*/ 41371 w 1212946"/>
                  <a:gd name="connsiteY3" fmla="*/ 209550 h 3277163"/>
                  <a:gd name="connsiteX4" fmla="*/ 38196 w 1212946"/>
                  <a:gd name="connsiteY4" fmla="*/ 234950 h 3277163"/>
                  <a:gd name="connsiteX5" fmla="*/ 50896 w 1212946"/>
                  <a:gd name="connsiteY5" fmla="*/ 273050 h 3277163"/>
                  <a:gd name="connsiteX6" fmla="*/ 17558 w 1212946"/>
                  <a:gd name="connsiteY6" fmla="*/ 312737 h 3277163"/>
                  <a:gd name="connsiteX7" fmla="*/ 50896 w 1212946"/>
                  <a:gd name="connsiteY7" fmla="*/ 372269 h 3277163"/>
                  <a:gd name="connsiteX8" fmla="*/ 31846 w 1212946"/>
                  <a:gd name="connsiteY8" fmla="*/ 463550 h 3277163"/>
                  <a:gd name="connsiteX9" fmla="*/ 890 w 1212946"/>
                  <a:gd name="connsiteY9" fmla="*/ 525462 h 3277163"/>
                  <a:gd name="connsiteX10" fmla="*/ 96 w 1212946"/>
                  <a:gd name="connsiteY10" fmla="*/ 546101 h 3277163"/>
                  <a:gd name="connsiteX11" fmla="*/ 6446 w 1212946"/>
                  <a:gd name="connsiteY11" fmla="*/ 603250 h 3277163"/>
                  <a:gd name="connsiteX12" fmla="*/ 50896 w 1212946"/>
                  <a:gd name="connsiteY12" fmla="*/ 647700 h 3277163"/>
                  <a:gd name="connsiteX13" fmla="*/ 63596 w 1212946"/>
                  <a:gd name="connsiteY13" fmla="*/ 704850 h 3277163"/>
                  <a:gd name="connsiteX14" fmla="*/ 120746 w 1212946"/>
                  <a:gd name="connsiteY14" fmla="*/ 749300 h 3277163"/>
                  <a:gd name="connsiteX15" fmla="*/ 170752 w 1212946"/>
                  <a:gd name="connsiteY15" fmla="*/ 763587 h 3277163"/>
                  <a:gd name="connsiteX16" fmla="*/ 241396 w 1212946"/>
                  <a:gd name="connsiteY16" fmla="*/ 806450 h 3277163"/>
                  <a:gd name="connsiteX17" fmla="*/ 238221 w 1212946"/>
                  <a:gd name="connsiteY17" fmla="*/ 854869 h 3277163"/>
                  <a:gd name="connsiteX18" fmla="*/ 273146 w 1212946"/>
                  <a:gd name="connsiteY18" fmla="*/ 901700 h 3277163"/>
                  <a:gd name="connsiteX19" fmla="*/ 376334 w 1212946"/>
                  <a:gd name="connsiteY19" fmla="*/ 981869 h 3277163"/>
                  <a:gd name="connsiteX20" fmla="*/ 425546 w 1212946"/>
                  <a:gd name="connsiteY20" fmla="*/ 1028700 h 3277163"/>
                  <a:gd name="connsiteX21" fmla="*/ 463646 w 1212946"/>
                  <a:gd name="connsiteY21" fmla="*/ 1098550 h 3277163"/>
                  <a:gd name="connsiteX22" fmla="*/ 565246 w 1212946"/>
                  <a:gd name="connsiteY22" fmla="*/ 1143000 h 3277163"/>
                  <a:gd name="connsiteX23" fmla="*/ 609696 w 1212946"/>
                  <a:gd name="connsiteY23" fmla="*/ 1162050 h 3277163"/>
                  <a:gd name="connsiteX24" fmla="*/ 635096 w 1212946"/>
                  <a:gd name="connsiteY24" fmla="*/ 1212850 h 3277163"/>
                  <a:gd name="connsiteX25" fmla="*/ 711296 w 1212946"/>
                  <a:gd name="connsiteY25" fmla="*/ 1212850 h 3277163"/>
                  <a:gd name="connsiteX26" fmla="*/ 728759 w 1212946"/>
                  <a:gd name="connsiteY26" fmla="*/ 1239045 h 3277163"/>
                  <a:gd name="connsiteX27" fmla="*/ 764477 w 1212946"/>
                  <a:gd name="connsiteY27" fmla="*/ 1255714 h 3277163"/>
                  <a:gd name="connsiteX28" fmla="*/ 788289 w 1212946"/>
                  <a:gd name="connsiteY28" fmla="*/ 1304925 h 3277163"/>
                  <a:gd name="connsiteX29" fmla="*/ 825596 w 1212946"/>
                  <a:gd name="connsiteY29" fmla="*/ 1352550 h 3277163"/>
                  <a:gd name="connsiteX30" fmla="*/ 866871 w 1212946"/>
                  <a:gd name="connsiteY30" fmla="*/ 1386682 h 3277163"/>
                  <a:gd name="connsiteX31" fmla="*/ 915290 w 1212946"/>
                  <a:gd name="connsiteY31" fmla="*/ 1406525 h 3277163"/>
                  <a:gd name="connsiteX32" fmla="*/ 952596 w 1212946"/>
                  <a:gd name="connsiteY32" fmla="*/ 1460500 h 3277163"/>
                  <a:gd name="connsiteX33" fmla="*/ 1028796 w 1212946"/>
                  <a:gd name="connsiteY33" fmla="*/ 1612900 h 3277163"/>
                  <a:gd name="connsiteX34" fmla="*/ 1022446 w 1212946"/>
                  <a:gd name="connsiteY34" fmla="*/ 1657350 h 3277163"/>
                  <a:gd name="connsiteX35" fmla="*/ 1066896 w 1212946"/>
                  <a:gd name="connsiteY35" fmla="*/ 1720850 h 3277163"/>
                  <a:gd name="connsiteX36" fmla="*/ 1111346 w 1212946"/>
                  <a:gd name="connsiteY36" fmla="*/ 1809750 h 3277163"/>
                  <a:gd name="connsiteX37" fmla="*/ 1128809 w 1212946"/>
                  <a:gd name="connsiteY37" fmla="*/ 1910557 h 3277163"/>
                  <a:gd name="connsiteX38" fmla="*/ 1143096 w 1212946"/>
                  <a:gd name="connsiteY38" fmla="*/ 1981200 h 3277163"/>
                  <a:gd name="connsiteX39" fmla="*/ 1174846 w 1212946"/>
                  <a:gd name="connsiteY39" fmla="*/ 2044700 h 3277163"/>
                  <a:gd name="connsiteX40" fmla="*/ 1193896 w 1212946"/>
                  <a:gd name="connsiteY40" fmla="*/ 2101586 h 3277163"/>
                  <a:gd name="connsiteX41" fmla="*/ 1200246 w 1212946"/>
                  <a:gd name="connsiteY41" fmla="*/ 2139950 h 3277163"/>
                  <a:gd name="connsiteX42" fmla="*/ 1193896 w 1212946"/>
                  <a:gd name="connsiteY42" fmla="*/ 2190750 h 3277163"/>
                  <a:gd name="connsiteX43" fmla="*/ 1193896 w 1212946"/>
                  <a:gd name="connsiteY43" fmla="*/ 2241550 h 3277163"/>
                  <a:gd name="connsiteX44" fmla="*/ 1212946 w 1212946"/>
                  <a:gd name="connsiteY44" fmla="*/ 2273300 h 3277163"/>
                  <a:gd name="connsiteX45" fmla="*/ 1193896 w 1212946"/>
                  <a:gd name="connsiteY45" fmla="*/ 2305050 h 3277163"/>
                  <a:gd name="connsiteX46" fmla="*/ 1212946 w 1212946"/>
                  <a:gd name="connsiteY46" fmla="*/ 2368550 h 3277163"/>
                  <a:gd name="connsiteX47" fmla="*/ 1155796 w 1212946"/>
                  <a:gd name="connsiteY47" fmla="*/ 2527300 h 3277163"/>
                  <a:gd name="connsiteX48" fmla="*/ 1111346 w 1212946"/>
                  <a:gd name="connsiteY48" fmla="*/ 2565400 h 3277163"/>
                  <a:gd name="connsiteX49" fmla="*/ 1079596 w 1212946"/>
                  <a:gd name="connsiteY49" fmla="*/ 2597150 h 3277163"/>
                  <a:gd name="connsiteX50" fmla="*/ 1003396 w 1212946"/>
                  <a:gd name="connsiteY50" fmla="*/ 2616200 h 3277163"/>
                  <a:gd name="connsiteX51" fmla="*/ 965296 w 1212946"/>
                  <a:gd name="connsiteY51" fmla="*/ 2679700 h 3277163"/>
                  <a:gd name="connsiteX52" fmla="*/ 838296 w 1212946"/>
                  <a:gd name="connsiteY52" fmla="*/ 2747963 h 3277163"/>
                  <a:gd name="connsiteX53" fmla="*/ 732728 w 1212946"/>
                  <a:gd name="connsiteY53" fmla="*/ 2729706 h 3277163"/>
                  <a:gd name="connsiteX54" fmla="*/ 639859 w 1212946"/>
                  <a:gd name="connsiteY54" fmla="*/ 2725737 h 3277163"/>
                  <a:gd name="connsiteX55" fmla="*/ 571596 w 1212946"/>
                  <a:gd name="connsiteY55" fmla="*/ 2736850 h 3277163"/>
                  <a:gd name="connsiteX56" fmla="*/ 489046 w 1212946"/>
                  <a:gd name="connsiteY56" fmla="*/ 2844800 h 3277163"/>
                  <a:gd name="connsiteX57" fmla="*/ 435865 w 1212946"/>
                  <a:gd name="connsiteY57" fmla="*/ 2894013 h 3277163"/>
                  <a:gd name="connsiteX58" fmla="*/ 354108 w 1212946"/>
                  <a:gd name="connsiteY58" fmla="*/ 2951162 h 3277163"/>
                  <a:gd name="connsiteX59" fmla="*/ 349346 w 1212946"/>
                  <a:gd name="connsiteY59" fmla="*/ 3022600 h 3277163"/>
                  <a:gd name="connsiteX60" fmla="*/ 248540 w 1212946"/>
                  <a:gd name="connsiteY60" fmla="*/ 3152775 h 3277163"/>
                  <a:gd name="connsiteX61" fmla="*/ 161227 w 1212946"/>
                  <a:gd name="connsiteY61" fmla="*/ 3273426 h 3277163"/>
                  <a:gd name="connsiteX0" fmla="*/ 12796 w 1212946"/>
                  <a:gd name="connsiteY0" fmla="*/ 0 h 3277163"/>
                  <a:gd name="connsiteX1" fmla="*/ 37402 w 1212946"/>
                  <a:gd name="connsiteY1" fmla="*/ 120650 h 3277163"/>
                  <a:gd name="connsiteX2" fmla="*/ 19146 w 1212946"/>
                  <a:gd name="connsiteY2" fmla="*/ 158750 h 3277163"/>
                  <a:gd name="connsiteX3" fmla="*/ 41371 w 1212946"/>
                  <a:gd name="connsiteY3" fmla="*/ 209550 h 3277163"/>
                  <a:gd name="connsiteX4" fmla="*/ 38196 w 1212946"/>
                  <a:gd name="connsiteY4" fmla="*/ 234950 h 3277163"/>
                  <a:gd name="connsiteX5" fmla="*/ 50896 w 1212946"/>
                  <a:gd name="connsiteY5" fmla="*/ 273050 h 3277163"/>
                  <a:gd name="connsiteX6" fmla="*/ 17558 w 1212946"/>
                  <a:gd name="connsiteY6" fmla="*/ 312737 h 3277163"/>
                  <a:gd name="connsiteX7" fmla="*/ 50896 w 1212946"/>
                  <a:gd name="connsiteY7" fmla="*/ 372269 h 3277163"/>
                  <a:gd name="connsiteX8" fmla="*/ 31846 w 1212946"/>
                  <a:gd name="connsiteY8" fmla="*/ 463550 h 3277163"/>
                  <a:gd name="connsiteX9" fmla="*/ 890 w 1212946"/>
                  <a:gd name="connsiteY9" fmla="*/ 525462 h 3277163"/>
                  <a:gd name="connsiteX10" fmla="*/ 96 w 1212946"/>
                  <a:gd name="connsiteY10" fmla="*/ 546101 h 3277163"/>
                  <a:gd name="connsiteX11" fmla="*/ 6446 w 1212946"/>
                  <a:gd name="connsiteY11" fmla="*/ 603250 h 3277163"/>
                  <a:gd name="connsiteX12" fmla="*/ 50896 w 1212946"/>
                  <a:gd name="connsiteY12" fmla="*/ 647700 h 3277163"/>
                  <a:gd name="connsiteX13" fmla="*/ 63596 w 1212946"/>
                  <a:gd name="connsiteY13" fmla="*/ 704850 h 3277163"/>
                  <a:gd name="connsiteX14" fmla="*/ 120746 w 1212946"/>
                  <a:gd name="connsiteY14" fmla="*/ 749300 h 3277163"/>
                  <a:gd name="connsiteX15" fmla="*/ 170752 w 1212946"/>
                  <a:gd name="connsiteY15" fmla="*/ 763587 h 3277163"/>
                  <a:gd name="connsiteX16" fmla="*/ 241396 w 1212946"/>
                  <a:gd name="connsiteY16" fmla="*/ 806450 h 3277163"/>
                  <a:gd name="connsiteX17" fmla="*/ 238221 w 1212946"/>
                  <a:gd name="connsiteY17" fmla="*/ 854869 h 3277163"/>
                  <a:gd name="connsiteX18" fmla="*/ 273146 w 1212946"/>
                  <a:gd name="connsiteY18" fmla="*/ 901700 h 3277163"/>
                  <a:gd name="connsiteX19" fmla="*/ 376334 w 1212946"/>
                  <a:gd name="connsiteY19" fmla="*/ 981869 h 3277163"/>
                  <a:gd name="connsiteX20" fmla="*/ 425546 w 1212946"/>
                  <a:gd name="connsiteY20" fmla="*/ 1028700 h 3277163"/>
                  <a:gd name="connsiteX21" fmla="*/ 463646 w 1212946"/>
                  <a:gd name="connsiteY21" fmla="*/ 1098550 h 3277163"/>
                  <a:gd name="connsiteX22" fmla="*/ 565246 w 1212946"/>
                  <a:gd name="connsiteY22" fmla="*/ 1143000 h 3277163"/>
                  <a:gd name="connsiteX23" fmla="*/ 609696 w 1212946"/>
                  <a:gd name="connsiteY23" fmla="*/ 1162050 h 3277163"/>
                  <a:gd name="connsiteX24" fmla="*/ 635096 w 1212946"/>
                  <a:gd name="connsiteY24" fmla="*/ 1212850 h 3277163"/>
                  <a:gd name="connsiteX25" fmla="*/ 711296 w 1212946"/>
                  <a:gd name="connsiteY25" fmla="*/ 1212850 h 3277163"/>
                  <a:gd name="connsiteX26" fmla="*/ 728759 w 1212946"/>
                  <a:gd name="connsiteY26" fmla="*/ 1239045 h 3277163"/>
                  <a:gd name="connsiteX27" fmla="*/ 764477 w 1212946"/>
                  <a:gd name="connsiteY27" fmla="*/ 1255714 h 3277163"/>
                  <a:gd name="connsiteX28" fmla="*/ 788289 w 1212946"/>
                  <a:gd name="connsiteY28" fmla="*/ 1304925 h 3277163"/>
                  <a:gd name="connsiteX29" fmla="*/ 825596 w 1212946"/>
                  <a:gd name="connsiteY29" fmla="*/ 1352550 h 3277163"/>
                  <a:gd name="connsiteX30" fmla="*/ 866871 w 1212946"/>
                  <a:gd name="connsiteY30" fmla="*/ 1386682 h 3277163"/>
                  <a:gd name="connsiteX31" fmla="*/ 915290 w 1212946"/>
                  <a:gd name="connsiteY31" fmla="*/ 1406525 h 3277163"/>
                  <a:gd name="connsiteX32" fmla="*/ 952596 w 1212946"/>
                  <a:gd name="connsiteY32" fmla="*/ 1460500 h 3277163"/>
                  <a:gd name="connsiteX33" fmla="*/ 1028796 w 1212946"/>
                  <a:gd name="connsiteY33" fmla="*/ 1612900 h 3277163"/>
                  <a:gd name="connsiteX34" fmla="*/ 1022446 w 1212946"/>
                  <a:gd name="connsiteY34" fmla="*/ 1657350 h 3277163"/>
                  <a:gd name="connsiteX35" fmla="*/ 1066896 w 1212946"/>
                  <a:gd name="connsiteY35" fmla="*/ 1720850 h 3277163"/>
                  <a:gd name="connsiteX36" fmla="*/ 1111346 w 1212946"/>
                  <a:gd name="connsiteY36" fmla="*/ 1809750 h 3277163"/>
                  <a:gd name="connsiteX37" fmla="*/ 1154209 w 1212946"/>
                  <a:gd name="connsiteY37" fmla="*/ 1910557 h 3277163"/>
                  <a:gd name="connsiteX38" fmla="*/ 1143096 w 1212946"/>
                  <a:gd name="connsiteY38" fmla="*/ 1981200 h 3277163"/>
                  <a:gd name="connsiteX39" fmla="*/ 1174846 w 1212946"/>
                  <a:gd name="connsiteY39" fmla="*/ 2044700 h 3277163"/>
                  <a:gd name="connsiteX40" fmla="*/ 1193896 w 1212946"/>
                  <a:gd name="connsiteY40" fmla="*/ 2101586 h 3277163"/>
                  <a:gd name="connsiteX41" fmla="*/ 1200246 w 1212946"/>
                  <a:gd name="connsiteY41" fmla="*/ 2139950 h 3277163"/>
                  <a:gd name="connsiteX42" fmla="*/ 1193896 w 1212946"/>
                  <a:gd name="connsiteY42" fmla="*/ 2190750 h 3277163"/>
                  <a:gd name="connsiteX43" fmla="*/ 1193896 w 1212946"/>
                  <a:gd name="connsiteY43" fmla="*/ 2241550 h 3277163"/>
                  <a:gd name="connsiteX44" fmla="*/ 1212946 w 1212946"/>
                  <a:gd name="connsiteY44" fmla="*/ 2273300 h 3277163"/>
                  <a:gd name="connsiteX45" fmla="*/ 1193896 w 1212946"/>
                  <a:gd name="connsiteY45" fmla="*/ 2305050 h 3277163"/>
                  <a:gd name="connsiteX46" fmla="*/ 1212946 w 1212946"/>
                  <a:gd name="connsiteY46" fmla="*/ 2368550 h 3277163"/>
                  <a:gd name="connsiteX47" fmla="*/ 1155796 w 1212946"/>
                  <a:gd name="connsiteY47" fmla="*/ 2527300 h 3277163"/>
                  <a:gd name="connsiteX48" fmla="*/ 1111346 w 1212946"/>
                  <a:gd name="connsiteY48" fmla="*/ 2565400 h 3277163"/>
                  <a:gd name="connsiteX49" fmla="*/ 1079596 w 1212946"/>
                  <a:gd name="connsiteY49" fmla="*/ 2597150 h 3277163"/>
                  <a:gd name="connsiteX50" fmla="*/ 1003396 w 1212946"/>
                  <a:gd name="connsiteY50" fmla="*/ 2616200 h 3277163"/>
                  <a:gd name="connsiteX51" fmla="*/ 965296 w 1212946"/>
                  <a:gd name="connsiteY51" fmla="*/ 2679700 h 3277163"/>
                  <a:gd name="connsiteX52" fmla="*/ 838296 w 1212946"/>
                  <a:gd name="connsiteY52" fmla="*/ 2747963 h 3277163"/>
                  <a:gd name="connsiteX53" fmla="*/ 732728 w 1212946"/>
                  <a:gd name="connsiteY53" fmla="*/ 2729706 h 3277163"/>
                  <a:gd name="connsiteX54" fmla="*/ 639859 w 1212946"/>
                  <a:gd name="connsiteY54" fmla="*/ 2725737 h 3277163"/>
                  <a:gd name="connsiteX55" fmla="*/ 571596 w 1212946"/>
                  <a:gd name="connsiteY55" fmla="*/ 2736850 h 3277163"/>
                  <a:gd name="connsiteX56" fmla="*/ 489046 w 1212946"/>
                  <a:gd name="connsiteY56" fmla="*/ 2844800 h 3277163"/>
                  <a:gd name="connsiteX57" fmla="*/ 435865 w 1212946"/>
                  <a:gd name="connsiteY57" fmla="*/ 2894013 h 3277163"/>
                  <a:gd name="connsiteX58" fmla="*/ 354108 w 1212946"/>
                  <a:gd name="connsiteY58" fmla="*/ 2951162 h 3277163"/>
                  <a:gd name="connsiteX59" fmla="*/ 349346 w 1212946"/>
                  <a:gd name="connsiteY59" fmla="*/ 3022600 h 3277163"/>
                  <a:gd name="connsiteX60" fmla="*/ 248540 w 1212946"/>
                  <a:gd name="connsiteY60" fmla="*/ 3152775 h 3277163"/>
                  <a:gd name="connsiteX61" fmla="*/ 161227 w 1212946"/>
                  <a:gd name="connsiteY61" fmla="*/ 3273426 h 3277163"/>
                  <a:gd name="connsiteX0" fmla="*/ 12796 w 1212946"/>
                  <a:gd name="connsiteY0" fmla="*/ 0 h 3277163"/>
                  <a:gd name="connsiteX1" fmla="*/ 37402 w 1212946"/>
                  <a:gd name="connsiteY1" fmla="*/ 120650 h 3277163"/>
                  <a:gd name="connsiteX2" fmla="*/ 19146 w 1212946"/>
                  <a:gd name="connsiteY2" fmla="*/ 158750 h 3277163"/>
                  <a:gd name="connsiteX3" fmla="*/ 41371 w 1212946"/>
                  <a:gd name="connsiteY3" fmla="*/ 209550 h 3277163"/>
                  <a:gd name="connsiteX4" fmla="*/ 38196 w 1212946"/>
                  <a:gd name="connsiteY4" fmla="*/ 234950 h 3277163"/>
                  <a:gd name="connsiteX5" fmla="*/ 50896 w 1212946"/>
                  <a:gd name="connsiteY5" fmla="*/ 273050 h 3277163"/>
                  <a:gd name="connsiteX6" fmla="*/ 17558 w 1212946"/>
                  <a:gd name="connsiteY6" fmla="*/ 312737 h 3277163"/>
                  <a:gd name="connsiteX7" fmla="*/ 50896 w 1212946"/>
                  <a:gd name="connsiteY7" fmla="*/ 372269 h 3277163"/>
                  <a:gd name="connsiteX8" fmla="*/ 31846 w 1212946"/>
                  <a:gd name="connsiteY8" fmla="*/ 463550 h 3277163"/>
                  <a:gd name="connsiteX9" fmla="*/ 890 w 1212946"/>
                  <a:gd name="connsiteY9" fmla="*/ 525462 h 3277163"/>
                  <a:gd name="connsiteX10" fmla="*/ 96 w 1212946"/>
                  <a:gd name="connsiteY10" fmla="*/ 546101 h 3277163"/>
                  <a:gd name="connsiteX11" fmla="*/ 6446 w 1212946"/>
                  <a:gd name="connsiteY11" fmla="*/ 603250 h 3277163"/>
                  <a:gd name="connsiteX12" fmla="*/ 50896 w 1212946"/>
                  <a:gd name="connsiteY12" fmla="*/ 647700 h 3277163"/>
                  <a:gd name="connsiteX13" fmla="*/ 63596 w 1212946"/>
                  <a:gd name="connsiteY13" fmla="*/ 704850 h 3277163"/>
                  <a:gd name="connsiteX14" fmla="*/ 120746 w 1212946"/>
                  <a:gd name="connsiteY14" fmla="*/ 749300 h 3277163"/>
                  <a:gd name="connsiteX15" fmla="*/ 170752 w 1212946"/>
                  <a:gd name="connsiteY15" fmla="*/ 763587 h 3277163"/>
                  <a:gd name="connsiteX16" fmla="*/ 241396 w 1212946"/>
                  <a:gd name="connsiteY16" fmla="*/ 806450 h 3277163"/>
                  <a:gd name="connsiteX17" fmla="*/ 238221 w 1212946"/>
                  <a:gd name="connsiteY17" fmla="*/ 854869 h 3277163"/>
                  <a:gd name="connsiteX18" fmla="*/ 273146 w 1212946"/>
                  <a:gd name="connsiteY18" fmla="*/ 901700 h 3277163"/>
                  <a:gd name="connsiteX19" fmla="*/ 376334 w 1212946"/>
                  <a:gd name="connsiteY19" fmla="*/ 981869 h 3277163"/>
                  <a:gd name="connsiteX20" fmla="*/ 425546 w 1212946"/>
                  <a:gd name="connsiteY20" fmla="*/ 1028700 h 3277163"/>
                  <a:gd name="connsiteX21" fmla="*/ 463646 w 1212946"/>
                  <a:gd name="connsiteY21" fmla="*/ 1098550 h 3277163"/>
                  <a:gd name="connsiteX22" fmla="*/ 565246 w 1212946"/>
                  <a:gd name="connsiteY22" fmla="*/ 1143000 h 3277163"/>
                  <a:gd name="connsiteX23" fmla="*/ 609696 w 1212946"/>
                  <a:gd name="connsiteY23" fmla="*/ 1162050 h 3277163"/>
                  <a:gd name="connsiteX24" fmla="*/ 635096 w 1212946"/>
                  <a:gd name="connsiteY24" fmla="*/ 1212850 h 3277163"/>
                  <a:gd name="connsiteX25" fmla="*/ 692246 w 1212946"/>
                  <a:gd name="connsiteY25" fmla="*/ 1237194 h 3277163"/>
                  <a:gd name="connsiteX26" fmla="*/ 728759 w 1212946"/>
                  <a:gd name="connsiteY26" fmla="*/ 1239045 h 3277163"/>
                  <a:gd name="connsiteX27" fmla="*/ 764477 w 1212946"/>
                  <a:gd name="connsiteY27" fmla="*/ 1255714 h 3277163"/>
                  <a:gd name="connsiteX28" fmla="*/ 788289 w 1212946"/>
                  <a:gd name="connsiteY28" fmla="*/ 1304925 h 3277163"/>
                  <a:gd name="connsiteX29" fmla="*/ 825596 w 1212946"/>
                  <a:gd name="connsiteY29" fmla="*/ 1352550 h 3277163"/>
                  <a:gd name="connsiteX30" fmla="*/ 866871 w 1212946"/>
                  <a:gd name="connsiteY30" fmla="*/ 1386682 h 3277163"/>
                  <a:gd name="connsiteX31" fmla="*/ 915290 w 1212946"/>
                  <a:gd name="connsiteY31" fmla="*/ 1406525 h 3277163"/>
                  <a:gd name="connsiteX32" fmla="*/ 952596 w 1212946"/>
                  <a:gd name="connsiteY32" fmla="*/ 1460500 h 3277163"/>
                  <a:gd name="connsiteX33" fmla="*/ 1028796 w 1212946"/>
                  <a:gd name="connsiteY33" fmla="*/ 1612900 h 3277163"/>
                  <a:gd name="connsiteX34" fmla="*/ 1022446 w 1212946"/>
                  <a:gd name="connsiteY34" fmla="*/ 1657350 h 3277163"/>
                  <a:gd name="connsiteX35" fmla="*/ 1066896 w 1212946"/>
                  <a:gd name="connsiteY35" fmla="*/ 1720850 h 3277163"/>
                  <a:gd name="connsiteX36" fmla="*/ 1111346 w 1212946"/>
                  <a:gd name="connsiteY36" fmla="*/ 1809750 h 3277163"/>
                  <a:gd name="connsiteX37" fmla="*/ 1154209 w 1212946"/>
                  <a:gd name="connsiteY37" fmla="*/ 1910557 h 3277163"/>
                  <a:gd name="connsiteX38" fmla="*/ 1143096 w 1212946"/>
                  <a:gd name="connsiteY38" fmla="*/ 1981200 h 3277163"/>
                  <a:gd name="connsiteX39" fmla="*/ 1174846 w 1212946"/>
                  <a:gd name="connsiteY39" fmla="*/ 2044700 h 3277163"/>
                  <a:gd name="connsiteX40" fmla="*/ 1193896 w 1212946"/>
                  <a:gd name="connsiteY40" fmla="*/ 2101586 h 3277163"/>
                  <a:gd name="connsiteX41" fmla="*/ 1200246 w 1212946"/>
                  <a:gd name="connsiteY41" fmla="*/ 2139950 h 3277163"/>
                  <a:gd name="connsiteX42" fmla="*/ 1193896 w 1212946"/>
                  <a:gd name="connsiteY42" fmla="*/ 2190750 h 3277163"/>
                  <a:gd name="connsiteX43" fmla="*/ 1193896 w 1212946"/>
                  <a:gd name="connsiteY43" fmla="*/ 2241550 h 3277163"/>
                  <a:gd name="connsiteX44" fmla="*/ 1212946 w 1212946"/>
                  <a:gd name="connsiteY44" fmla="*/ 2273300 h 3277163"/>
                  <a:gd name="connsiteX45" fmla="*/ 1193896 w 1212946"/>
                  <a:gd name="connsiteY45" fmla="*/ 2305050 h 3277163"/>
                  <a:gd name="connsiteX46" fmla="*/ 1212946 w 1212946"/>
                  <a:gd name="connsiteY46" fmla="*/ 2368550 h 3277163"/>
                  <a:gd name="connsiteX47" fmla="*/ 1155796 w 1212946"/>
                  <a:gd name="connsiteY47" fmla="*/ 2527300 h 3277163"/>
                  <a:gd name="connsiteX48" fmla="*/ 1111346 w 1212946"/>
                  <a:gd name="connsiteY48" fmla="*/ 2565400 h 3277163"/>
                  <a:gd name="connsiteX49" fmla="*/ 1079596 w 1212946"/>
                  <a:gd name="connsiteY49" fmla="*/ 2597150 h 3277163"/>
                  <a:gd name="connsiteX50" fmla="*/ 1003396 w 1212946"/>
                  <a:gd name="connsiteY50" fmla="*/ 2616200 h 3277163"/>
                  <a:gd name="connsiteX51" fmla="*/ 965296 w 1212946"/>
                  <a:gd name="connsiteY51" fmla="*/ 2679700 h 3277163"/>
                  <a:gd name="connsiteX52" fmla="*/ 838296 w 1212946"/>
                  <a:gd name="connsiteY52" fmla="*/ 2747963 h 3277163"/>
                  <a:gd name="connsiteX53" fmla="*/ 732728 w 1212946"/>
                  <a:gd name="connsiteY53" fmla="*/ 2729706 h 3277163"/>
                  <a:gd name="connsiteX54" fmla="*/ 639859 w 1212946"/>
                  <a:gd name="connsiteY54" fmla="*/ 2725737 h 3277163"/>
                  <a:gd name="connsiteX55" fmla="*/ 571596 w 1212946"/>
                  <a:gd name="connsiteY55" fmla="*/ 2736850 h 3277163"/>
                  <a:gd name="connsiteX56" fmla="*/ 489046 w 1212946"/>
                  <a:gd name="connsiteY56" fmla="*/ 2844800 h 3277163"/>
                  <a:gd name="connsiteX57" fmla="*/ 435865 w 1212946"/>
                  <a:gd name="connsiteY57" fmla="*/ 2894013 h 3277163"/>
                  <a:gd name="connsiteX58" fmla="*/ 354108 w 1212946"/>
                  <a:gd name="connsiteY58" fmla="*/ 2951162 h 3277163"/>
                  <a:gd name="connsiteX59" fmla="*/ 349346 w 1212946"/>
                  <a:gd name="connsiteY59" fmla="*/ 3022600 h 3277163"/>
                  <a:gd name="connsiteX60" fmla="*/ 248540 w 1212946"/>
                  <a:gd name="connsiteY60" fmla="*/ 3152775 h 3277163"/>
                  <a:gd name="connsiteX61" fmla="*/ 161227 w 1212946"/>
                  <a:gd name="connsiteY61" fmla="*/ 3273426 h 3277163"/>
                  <a:gd name="connsiteX0" fmla="*/ 12796 w 1212946"/>
                  <a:gd name="connsiteY0" fmla="*/ 0 h 3277163"/>
                  <a:gd name="connsiteX1" fmla="*/ 37402 w 1212946"/>
                  <a:gd name="connsiteY1" fmla="*/ 120650 h 3277163"/>
                  <a:gd name="connsiteX2" fmla="*/ 19146 w 1212946"/>
                  <a:gd name="connsiteY2" fmla="*/ 158750 h 3277163"/>
                  <a:gd name="connsiteX3" fmla="*/ 41371 w 1212946"/>
                  <a:gd name="connsiteY3" fmla="*/ 209550 h 3277163"/>
                  <a:gd name="connsiteX4" fmla="*/ 38196 w 1212946"/>
                  <a:gd name="connsiteY4" fmla="*/ 234950 h 3277163"/>
                  <a:gd name="connsiteX5" fmla="*/ 50896 w 1212946"/>
                  <a:gd name="connsiteY5" fmla="*/ 273050 h 3277163"/>
                  <a:gd name="connsiteX6" fmla="*/ 17558 w 1212946"/>
                  <a:gd name="connsiteY6" fmla="*/ 312737 h 3277163"/>
                  <a:gd name="connsiteX7" fmla="*/ 50896 w 1212946"/>
                  <a:gd name="connsiteY7" fmla="*/ 372269 h 3277163"/>
                  <a:gd name="connsiteX8" fmla="*/ 31846 w 1212946"/>
                  <a:gd name="connsiteY8" fmla="*/ 463550 h 3277163"/>
                  <a:gd name="connsiteX9" fmla="*/ 890 w 1212946"/>
                  <a:gd name="connsiteY9" fmla="*/ 525462 h 3277163"/>
                  <a:gd name="connsiteX10" fmla="*/ 96 w 1212946"/>
                  <a:gd name="connsiteY10" fmla="*/ 546101 h 3277163"/>
                  <a:gd name="connsiteX11" fmla="*/ 6446 w 1212946"/>
                  <a:gd name="connsiteY11" fmla="*/ 603250 h 3277163"/>
                  <a:gd name="connsiteX12" fmla="*/ 50896 w 1212946"/>
                  <a:gd name="connsiteY12" fmla="*/ 647700 h 3277163"/>
                  <a:gd name="connsiteX13" fmla="*/ 63596 w 1212946"/>
                  <a:gd name="connsiteY13" fmla="*/ 704850 h 3277163"/>
                  <a:gd name="connsiteX14" fmla="*/ 120746 w 1212946"/>
                  <a:gd name="connsiteY14" fmla="*/ 749300 h 3277163"/>
                  <a:gd name="connsiteX15" fmla="*/ 170752 w 1212946"/>
                  <a:gd name="connsiteY15" fmla="*/ 763587 h 3277163"/>
                  <a:gd name="connsiteX16" fmla="*/ 241396 w 1212946"/>
                  <a:gd name="connsiteY16" fmla="*/ 806450 h 3277163"/>
                  <a:gd name="connsiteX17" fmla="*/ 238221 w 1212946"/>
                  <a:gd name="connsiteY17" fmla="*/ 854869 h 3277163"/>
                  <a:gd name="connsiteX18" fmla="*/ 273146 w 1212946"/>
                  <a:gd name="connsiteY18" fmla="*/ 901700 h 3277163"/>
                  <a:gd name="connsiteX19" fmla="*/ 376334 w 1212946"/>
                  <a:gd name="connsiteY19" fmla="*/ 981869 h 3277163"/>
                  <a:gd name="connsiteX20" fmla="*/ 425546 w 1212946"/>
                  <a:gd name="connsiteY20" fmla="*/ 1028700 h 3277163"/>
                  <a:gd name="connsiteX21" fmla="*/ 463646 w 1212946"/>
                  <a:gd name="connsiteY21" fmla="*/ 1098550 h 3277163"/>
                  <a:gd name="connsiteX22" fmla="*/ 565246 w 1212946"/>
                  <a:gd name="connsiteY22" fmla="*/ 1143000 h 3277163"/>
                  <a:gd name="connsiteX23" fmla="*/ 609696 w 1212946"/>
                  <a:gd name="connsiteY23" fmla="*/ 1162050 h 3277163"/>
                  <a:gd name="connsiteX24" fmla="*/ 635096 w 1212946"/>
                  <a:gd name="connsiteY24" fmla="*/ 1212850 h 3277163"/>
                  <a:gd name="connsiteX25" fmla="*/ 692246 w 1212946"/>
                  <a:gd name="connsiteY25" fmla="*/ 1237194 h 3277163"/>
                  <a:gd name="connsiteX26" fmla="*/ 722409 w 1212946"/>
                  <a:gd name="connsiteY26" fmla="*/ 1269475 h 3277163"/>
                  <a:gd name="connsiteX27" fmla="*/ 764477 w 1212946"/>
                  <a:gd name="connsiteY27" fmla="*/ 1255714 h 3277163"/>
                  <a:gd name="connsiteX28" fmla="*/ 788289 w 1212946"/>
                  <a:gd name="connsiteY28" fmla="*/ 1304925 h 3277163"/>
                  <a:gd name="connsiteX29" fmla="*/ 825596 w 1212946"/>
                  <a:gd name="connsiteY29" fmla="*/ 1352550 h 3277163"/>
                  <a:gd name="connsiteX30" fmla="*/ 866871 w 1212946"/>
                  <a:gd name="connsiteY30" fmla="*/ 1386682 h 3277163"/>
                  <a:gd name="connsiteX31" fmla="*/ 915290 w 1212946"/>
                  <a:gd name="connsiteY31" fmla="*/ 1406525 h 3277163"/>
                  <a:gd name="connsiteX32" fmla="*/ 952596 w 1212946"/>
                  <a:gd name="connsiteY32" fmla="*/ 1460500 h 3277163"/>
                  <a:gd name="connsiteX33" fmla="*/ 1028796 w 1212946"/>
                  <a:gd name="connsiteY33" fmla="*/ 1612900 h 3277163"/>
                  <a:gd name="connsiteX34" fmla="*/ 1022446 w 1212946"/>
                  <a:gd name="connsiteY34" fmla="*/ 1657350 h 3277163"/>
                  <a:gd name="connsiteX35" fmla="*/ 1066896 w 1212946"/>
                  <a:gd name="connsiteY35" fmla="*/ 1720850 h 3277163"/>
                  <a:gd name="connsiteX36" fmla="*/ 1111346 w 1212946"/>
                  <a:gd name="connsiteY36" fmla="*/ 1809750 h 3277163"/>
                  <a:gd name="connsiteX37" fmla="*/ 1154209 w 1212946"/>
                  <a:gd name="connsiteY37" fmla="*/ 1910557 h 3277163"/>
                  <a:gd name="connsiteX38" fmla="*/ 1143096 w 1212946"/>
                  <a:gd name="connsiteY38" fmla="*/ 1981200 h 3277163"/>
                  <a:gd name="connsiteX39" fmla="*/ 1174846 w 1212946"/>
                  <a:gd name="connsiteY39" fmla="*/ 2044700 h 3277163"/>
                  <a:gd name="connsiteX40" fmla="*/ 1193896 w 1212946"/>
                  <a:gd name="connsiteY40" fmla="*/ 2101586 h 3277163"/>
                  <a:gd name="connsiteX41" fmla="*/ 1200246 w 1212946"/>
                  <a:gd name="connsiteY41" fmla="*/ 2139950 h 3277163"/>
                  <a:gd name="connsiteX42" fmla="*/ 1193896 w 1212946"/>
                  <a:gd name="connsiteY42" fmla="*/ 2190750 h 3277163"/>
                  <a:gd name="connsiteX43" fmla="*/ 1193896 w 1212946"/>
                  <a:gd name="connsiteY43" fmla="*/ 2241550 h 3277163"/>
                  <a:gd name="connsiteX44" fmla="*/ 1212946 w 1212946"/>
                  <a:gd name="connsiteY44" fmla="*/ 2273300 h 3277163"/>
                  <a:gd name="connsiteX45" fmla="*/ 1193896 w 1212946"/>
                  <a:gd name="connsiteY45" fmla="*/ 2305050 h 3277163"/>
                  <a:gd name="connsiteX46" fmla="*/ 1212946 w 1212946"/>
                  <a:gd name="connsiteY46" fmla="*/ 2368550 h 3277163"/>
                  <a:gd name="connsiteX47" fmla="*/ 1155796 w 1212946"/>
                  <a:gd name="connsiteY47" fmla="*/ 2527300 h 3277163"/>
                  <a:gd name="connsiteX48" fmla="*/ 1111346 w 1212946"/>
                  <a:gd name="connsiteY48" fmla="*/ 2565400 h 3277163"/>
                  <a:gd name="connsiteX49" fmla="*/ 1079596 w 1212946"/>
                  <a:gd name="connsiteY49" fmla="*/ 2597150 h 3277163"/>
                  <a:gd name="connsiteX50" fmla="*/ 1003396 w 1212946"/>
                  <a:gd name="connsiteY50" fmla="*/ 2616200 h 3277163"/>
                  <a:gd name="connsiteX51" fmla="*/ 965296 w 1212946"/>
                  <a:gd name="connsiteY51" fmla="*/ 2679700 h 3277163"/>
                  <a:gd name="connsiteX52" fmla="*/ 838296 w 1212946"/>
                  <a:gd name="connsiteY52" fmla="*/ 2747963 h 3277163"/>
                  <a:gd name="connsiteX53" fmla="*/ 732728 w 1212946"/>
                  <a:gd name="connsiteY53" fmla="*/ 2729706 h 3277163"/>
                  <a:gd name="connsiteX54" fmla="*/ 639859 w 1212946"/>
                  <a:gd name="connsiteY54" fmla="*/ 2725737 h 3277163"/>
                  <a:gd name="connsiteX55" fmla="*/ 571596 w 1212946"/>
                  <a:gd name="connsiteY55" fmla="*/ 2736850 h 3277163"/>
                  <a:gd name="connsiteX56" fmla="*/ 489046 w 1212946"/>
                  <a:gd name="connsiteY56" fmla="*/ 2844800 h 3277163"/>
                  <a:gd name="connsiteX57" fmla="*/ 435865 w 1212946"/>
                  <a:gd name="connsiteY57" fmla="*/ 2894013 h 3277163"/>
                  <a:gd name="connsiteX58" fmla="*/ 354108 w 1212946"/>
                  <a:gd name="connsiteY58" fmla="*/ 2951162 h 3277163"/>
                  <a:gd name="connsiteX59" fmla="*/ 349346 w 1212946"/>
                  <a:gd name="connsiteY59" fmla="*/ 3022600 h 3277163"/>
                  <a:gd name="connsiteX60" fmla="*/ 248540 w 1212946"/>
                  <a:gd name="connsiteY60" fmla="*/ 3152775 h 3277163"/>
                  <a:gd name="connsiteX61" fmla="*/ 161227 w 1212946"/>
                  <a:gd name="connsiteY61" fmla="*/ 3273426 h 3277163"/>
                  <a:gd name="connsiteX0" fmla="*/ 12796 w 1212946"/>
                  <a:gd name="connsiteY0" fmla="*/ 0 h 3277163"/>
                  <a:gd name="connsiteX1" fmla="*/ 37402 w 1212946"/>
                  <a:gd name="connsiteY1" fmla="*/ 120650 h 3277163"/>
                  <a:gd name="connsiteX2" fmla="*/ 19146 w 1212946"/>
                  <a:gd name="connsiteY2" fmla="*/ 158750 h 3277163"/>
                  <a:gd name="connsiteX3" fmla="*/ 41371 w 1212946"/>
                  <a:gd name="connsiteY3" fmla="*/ 209550 h 3277163"/>
                  <a:gd name="connsiteX4" fmla="*/ 38196 w 1212946"/>
                  <a:gd name="connsiteY4" fmla="*/ 234950 h 3277163"/>
                  <a:gd name="connsiteX5" fmla="*/ 50896 w 1212946"/>
                  <a:gd name="connsiteY5" fmla="*/ 273050 h 3277163"/>
                  <a:gd name="connsiteX6" fmla="*/ 17558 w 1212946"/>
                  <a:gd name="connsiteY6" fmla="*/ 312737 h 3277163"/>
                  <a:gd name="connsiteX7" fmla="*/ 50896 w 1212946"/>
                  <a:gd name="connsiteY7" fmla="*/ 372269 h 3277163"/>
                  <a:gd name="connsiteX8" fmla="*/ 31846 w 1212946"/>
                  <a:gd name="connsiteY8" fmla="*/ 463550 h 3277163"/>
                  <a:gd name="connsiteX9" fmla="*/ 890 w 1212946"/>
                  <a:gd name="connsiteY9" fmla="*/ 525462 h 3277163"/>
                  <a:gd name="connsiteX10" fmla="*/ 96 w 1212946"/>
                  <a:gd name="connsiteY10" fmla="*/ 546101 h 3277163"/>
                  <a:gd name="connsiteX11" fmla="*/ 6446 w 1212946"/>
                  <a:gd name="connsiteY11" fmla="*/ 603250 h 3277163"/>
                  <a:gd name="connsiteX12" fmla="*/ 50896 w 1212946"/>
                  <a:gd name="connsiteY12" fmla="*/ 647700 h 3277163"/>
                  <a:gd name="connsiteX13" fmla="*/ 63596 w 1212946"/>
                  <a:gd name="connsiteY13" fmla="*/ 704850 h 3277163"/>
                  <a:gd name="connsiteX14" fmla="*/ 120746 w 1212946"/>
                  <a:gd name="connsiteY14" fmla="*/ 749300 h 3277163"/>
                  <a:gd name="connsiteX15" fmla="*/ 170752 w 1212946"/>
                  <a:gd name="connsiteY15" fmla="*/ 763587 h 3277163"/>
                  <a:gd name="connsiteX16" fmla="*/ 241396 w 1212946"/>
                  <a:gd name="connsiteY16" fmla="*/ 806450 h 3277163"/>
                  <a:gd name="connsiteX17" fmla="*/ 238221 w 1212946"/>
                  <a:gd name="connsiteY17" fmla="*/ 854869 h 3277163"/>
                  <a:gd name="connsiteX18" fmla="*/ 273146 w 1212946"/>
                  <a:gd name="connsiteY18" fmla="*/ 901700 h 3277163"/>
                  <a:gd name="connsiteX19" fmla="*/ 376334 w 1212946"/>
                  <a:gd name="connsiteY19" fmla="*/ 981869 h 3277163"/>
                  <a:gd name="connsiteX20" fmla="*/ 425546 w 1212946"/>
                  <a:gd name="connsiteY20" fmla="*/ 1028700 h 3277163"/>
                  <a:gd name="connsiteX21" fmla="*/ 463646 w 1212946"/>
                  <a:gd name="connsiteY21" fmla="*/ 1098550 h 3277163"/>
                  <a:gd name="connsiteX22" fmla="*/ 565246 w 1212946"/>
                  <a:gd name="connsiteY22" fmla="*/ 1143000 h 3277163"/>
                  <a:gd name="connsiteX23" fmla="*/ 609696 w 1212946"/>
                  <a:gd name="connsiteY23" fmla="*/ 1162050 h 3277163"/>
                  <a:gd name="connsiteX24" fmla="*/ 635096 w 1212946"/>
                  <a:gd name="connsiteY24" fmla="*/ 1212850 h 3277163"/>
                  <a:gd name="connsiteX25" fmla="*/ 692246 w 1212946"/>
                  <a:gd name="connsiteY25" fmla="*/ 1237194 h 3277163"/>
                  <a:gd name="connsiteX26" fmla="*/ 722409 w 1212946"/>
                  <a:gd name="connsiteY26" fmla="*/ 1269475 h 3277163"/>
                  <a:gd name="connsiteX27" fmla="*/ 745427 w 1212946"/>
                  <a:gd name="connsiteY27" fmla="*/ 1280058 h 3277163"/>
                  <a:gd name="connsiteX28" fmla="*/ 788289 w 1212946"/>
                  <a:gd name="connsiteY28" fmla="*/ 1304925 h 3277163"/>
                  <a:gd name="connsiteX29" fmla="*/ 825596 w 1212946"/>
                  <a:gd name="connsiteY29" fmla="*/ 1352550 h 3277163"/>
                  <a:gd name="connsiteX30" fmla="*/ 866871 w 1212946"/>
                  <a:gd name="connsiteY30" fmla="*/ 1386682 h 3277163"/>
                  <a:gd name="connsiteX31" fmla="*/ 915290 w 1212946"/>
                  <a:gd name="connsiteY31" fmla="*/ 1406525 h 3277163"/>
                  <a:gd name="connsiteX32" fmla="*/ 952596 w 1212946"/>
                  <a:gd name="connsiteY32" fmla="*/ 1460500 h 3277163"/>
                  <a:gd name="connsiteX33" fmla="*/ 1028796 w 1212946"/>
                  <a:gd name="connsiteY33" fmla="*/ 1612900 h 3277163"/>
                  <a:gd name="connsiteX34" fmla="*/ 1022446 w 1212946"/>
                  <a:gd name="connsiteY34" fmla="*/ 1657350 h 3277163"/>
                  <a:gd name="connsiteX35" fmla="*/ 1066896 w 1212946"/>
                  <a:gd name="connsiteY35" fmla="*/ 1720850 h 3277163"/>
                  <a:gd name="connsiteX36" fmla="*/ 1111346 w 1212946"/>
                  <a:gd name="connsiteY36" fmla="*/ 1809750 h 3277163"/>
                  <a:gd name="connsiteX37" fmla="*/ 1154209 w 1212946"/>
                  <a:gd name="connsiteY37" fmla="*/ 1910557 h 3277163"/>
                  <a:gd name="connsiteX38" fmla="*/ 1143096 w 1212946"/>
                  <a:gd name="connsiteY38" fmla="*/ 1981200 h 3277163"/>
                  <a:gd name="connsiteX39" fmla="*/ 1174846 w 1212946"/>
                  <a:gd name="connsiteY39" fmla="*/ 2044700 h 3277163"/>
                  <a:gd name="connsiteX40" fmla="*/ 1193896 w 1212946"/>
                  <a:gd name="connsiteY40" fmla="*/ 2101586 h 3277163"/>
                  <a:gd name="connsiteX41" fmla="*/ 1200246 w 1212946"/>
                  <a:gd name="connsiteY41" fmla="*/ 2139950 h 3277163"/>
                  <a:gd name="connsiteX42" fmla="*/ 1193896 w 1212946"/>
                  <a:gd name="connsiteY42" fmla="*/ 2190750 h 3277163"/>
                  <a:gd name="connsiteX43" fmla="*/ 1193896 w 1212946"/>
                  <a:gd name="connsiteY43" fmla="*/ 2241550 h 3277163"/>
                  <a:gd name="connsiteX44" fmla="*/ 1212946 w 1212946"/>
                  <a:gd name="connsiteY44" fmla="*/ 2273300 h 3277163"/>
                  <a:gd name="connsiteX45" fmla="*/ 1193896 w 1212946"/>
                  <a:gd name="connsiteY45" fmla="*/ 2305050 h 3277163"/>
                  <a:gd name="connsiteX46" fmla="*/ 1212946 w 1212946"/>
                  <a:gd name="connsiteY46" fmla="*/ 2368550 h 3277163"/>
                  <a:gd name="connsiteX47" fmla="*/ 1155796 w 1212946"/>
                  <a:gd name="connsiteY47" fmla="*/ 2527300 h 3277163"/>
                  <a:gd name="connsiteX48" fmla="*/ 1111346 w 1212946"/>
                  <a:gd name="connsiteY48" fmla="*/ 2565400 h 3277163"/>
                  <a:gd name="connsiteX49" fmla="*/ 1079596 w 1212946"/>
                  <a:gd name="connsiteY49" fmla="*/ 2597150 h 3277163"/>
                  <a:gd name="connsiteX50" fmla="*/ 1003396 w 1212946"/>
                  <a:gd name="connsiteY50" fmla="*/ 2616200 h 3277163"/>
                  <a:gd name="connsiteX51" fmla="*/ 965296 w 1212946"/>
                  <a:gd name="connsiteY51" fmla="*/ 2679700 h 3277163"/>
                  <a:gd name="connsiteX52" fmla="*/ 838296 w 1212946"/>
                  <a:gd name="connsiteY52" fmla="*/ 2747963 h 3277163"/>
                  <a:gd name="connsiteX53" fmla="*/ 732728 w 1212946"/>
                  <a:gd name="connsiteY53" fmla="*/ 2729706 h 3277163"/>
                  <a:gd name="connsiteX54" fmla="*/ 639859 w 1212946"/>
                  <a:gd name="connsiteY54" fmla="*/ 2725737 h 3277163"/>
                  <a:gd name="connsiteX55" fmla="*/ 571596 w 1212946"/>
                  <a:gd name="connsiteY55" fmla="*/ 2736850 h 3277163"/>
                  <a:gd name="connsiteX56" fmla="*/ 489046 w 1212946"/>
                  <a:gd name="connsiteY56" fmla="*/ 2844800 h 3277163"/>
                  <a:gd name="connsiteX57" fmla="*/ 435865 w 1212946"/>
                  <a:gd name="connsiteY57" fmla="*/ 2894013 h 3277163"/>
                  <a:gd name="connsiteX58" fmla="*/ 354108 w 1212946"/>
                  <a:gd name="connsiteY58" fmla="*/ 2951162 h 3277163"/>
                  <a:gd name="connsiteX59" fmla="*/ 349346 w 1212946"/>
                  <a:gd name="connsiteY59" fmla="*/ 3022600 h 3277163"/>
                  <a:gd name="connsiteX60" fmla="*/ 248540 w 1212946"/>
                  <a:gd name="connsiteY60" fmla="*/ 3152775 h 3277163"/>
                  <a:gd name="connsiteX61" fmla="*/ 161227 w 1212946"/>
                  <a:gd name="connsiteY61" fmla="*/ 3273426 h 3277163"/>
                  <a:gd name="connsiteX0" fmla="*/ 12796 w 1212946"/>
                  <a:gd name="connsiteY0" fmla="*/ 0 h 3277163"/>
                  <a:gd name="connsiteX1" fmla="*/ 37402 w 1212946"/>
                  <a:gd name="connsiteY1" fmla="*/ 120650 h 3277163"/>
                  <a:gd name="connsiteX2" fmla="*/ 19146 w 1212946"/>
                  <a:gd name="connsiteY2" fmla="*/ 158750 h 3277163"/>
                  <a:gd name="connsiteX3" fmla="*/ 41371 w 1212946"/>
                  <a:gd name="connsiteY3" fmla="*/ 209550 h 3277163"/>
                  <a:gd name="connsiteX4" fmla="*/ 38196 w 1212946"/>
                  <a:gd name="connsiteY4" fmla="*/ 234950 h 3277163"/>
                  <a:gd name="connsiteX5" fmla="*/ 50896 w 1212946"/>
                  <a:gd name="connsiteY5" fmla="*/ 273050 h 3277163"/>
                  <a:gd name="connsiteX6" fmla="*/ 17558 w 1212946"/>
                  <a:gd name="connsiteY6" fmla="*/ 312737 h 3277163"/>
                  <a:gd name="connsiteX7" fmla="*/ 50896 w 1212946"/>
                  <a:gd name="connsiteY7" fmla="*/ 372269 h 3277163"/>
                  <a:gd name="connsiteX8" fmla="*/ 31846 w 1212946"/>
                  <a:gd name="connsiteY8" fmla="*/ 463550 h 3277163"/>
                  <a:gd name="connsiteX9" fmla="*/ 890 w 1212946"/>
                  <a:gd name="connsiteY9" fmla="*/ 525462 h 3277163"/>
                  <a:gd name="connsiteX10" fmla="*/ 96 w 1212946"/>
                  <a:gd name="connsiteY10" fmla="*/ 546101 h 3277163"/>
                  <a:gd name="connsiteX11" fmla="*/ 6446 w 1212946"/>
                  <a:gd name="connsiteY11" fmla="*/ 603250 h 3277163"/>
                  <a:gd name="connsiteX12" fmla="*/ 50896 w 1212946"/>
                  <a:gd name="connsiteY12" fmla="*/ 647700 h 3277163"/>
                  <a:gd name="connsiteX13" fmla="*/ 63596 w 1212946"/>
                  <a:gd name="connsiteY13" fmla="*/ 704850 h 3277163"/>
                  <a:gd name="connsiteX14" fmla="*/ 120746 w 1212946"/>
                  <a:gd name="connsiteY14" fmla="*/ 749300 h 3277163"/>
                  <a:gd name="connsiteX15" fmla="*/ 170752 w 1212946"/>
                  <a:gd name="connsiteY15" fmla="*/ 763587 h 3277163"/>
                  <a:gd name="connsiteX16" fmla="*/ 241396 w 1212946"/>
                  <a:gd name="connsiteY16" fmla="*/ 806450 h 3277163"/>
                  <a:gd name="connsiteX17" fmla="*/ 276321 w 1212946"/>
                  <a:gd name="connsiteY17" fmla="*/ 842697 h 3277163"/>
                  <a:gd name="connsiteX18" fmla="*/ 273146 w 1212946"/>
                  <a:gd name="connsiteY18" fmla="*/ 901700 h 3277163"/>
                  <a:gd name="connsiteX19" fmla="*/ 376334 w 1212946"/>
                  <a:gd name="connsiteY19" fmla="*/ 981869 h 3277163"/>
                  <a:gd name="connsiteX20" fmla="*/ 425546 w 1212946"/>
                  <a:gd name="connsiteY20" fmla="*/ 1028700 h 3277163"/>
                  <a:gd name="connsiteX21" fmla="*/ 463646 w 1212946"/>
                  <a:gd name="connsiteY21" fmla="*/ 1098550 h 3277163"/>
                  <a:gd name="connsiteX22" fmla="*/ 565246 w 1212946"/>
                  <a:gd name="connsiteY22" fmla="*/ 1143000 h 3277163"/>
                  <a:gd name="connsiteX23" fmla="*/ 609696 w 1212946"/>
                  <a:gd name="connsiteY23" fmla="*/ 1162050 h 3277163"/>
                  <a:gd name="connsiteX24" fmla="*/ 635096 w 1212946"/>
                  <a:gd name="connsiteY24" fmla="*/ 1212850 h 3277163"/>
                  <a:gd name="connsiteX25" fmla="*/ 692246 w 1212946"/>
                  <a:gd name="connsiteY25" fmla="*/ 1237194 h 3277163"/>
                  <a:gd name="connsiteX26" fmla="*/ 722409 w 1212946"/>
                  <a:gd name="connsiteY26" fmla="*/ 1269475 h 3277163"/>
                  <a:gd name="connsiteX27" fmla="*/ 745427 w 1212946"/>
                  <a:gd name="connsiteY27" fmla="*/ 1280058 h 3277163"/>
                  <a:gd name="connsiteX28" fmla="*/ 788289 w 1212946"/>
                  <a:gd name="connsiteY28" fmla="*/ 1304925 h 3277163"/>
                  <a:gd name="connsiteX29" fmla="*/ 825596 w 1212946"/>
                  <a:gd name="connsiteY29" fmla="*/ 1352550 h 3277163"/>
                  <a:gd name="connsiteX30" fmla="*/ 866871 w 1212946"/>
                  <a:gd name="connsiteY30" fmla="*/ 1386682 h 3277163"/>
                  <a:gd name="connsiteX31" fmla="*/ 915290 w 1212946"/>
                  <a:gd name="connsiteY31" fmla="*/ 1406525 h 3277163"/>
                  <a:gd name="connsiteX32" fmla="*/ 952596 w 1212946"/>
                  <a:gd name="connsiteY32" fmla="*/ 1460500 h 3277163"/>
                  <a:gd name="connsiteX33" fmla="*/ 1028796 w 1212946"/>
                  <a:gd name="connsiteY33" fmla="*/ 1612900 h 3277163"/>
                  <a:gd name="connsiteX34" fmla="*/ 1022446 w 1212946"/>
                  <a:gd name="connsiteY34" fmla="*/ 1657350 h 3277163"/>
                  <a:gd name="connsiteX35" fmla="*/ 1066896 w 1212946"/>
                  <a:gd name="connsiteY35" fmla="*/ 1720850 h 3277163"/>
                  <a:gd name="connsiteX36" fmla="*/ 1111346 w 1212946"/>
                  <a:gd name="connsiteY36" fmla="*/ 1809750 h 3277163"/>
                  <a:gd name="connsiteX37" fmla="*/ 1154209 w 1212946"/>
                  <a:gd name="connsiteY37" fmla="*/ 1910557 h 3277163"/>
                  <a:gd name="connsiteX38" fmla="*/ 1143096 w 1212946"/>
                  <a:gd name="connsiteY38" fmla="*/ 1981200 h 3277163"/>
                  <a:gd name="connsiteX39" fmla="*/ 1174846 w 1212946"/>
                  <a:gd name="connsiteY39" fmla="*/ 2044700 h 3277163"/>
                  <a:gd name="connsiteX40" fmla="*/ 1193896 w 1212946"/>
                  <a:gd name="connsiteY40" fmla="*/ 2101586 h 3277163"/>
                  <a:gd name="connsiteX41" fmla="*/ 1200246 w 1212946"/>
                  <a:gd name="connsiteY41" fmla="*/ 2139950 h 3277163"/>
                  <a:gd name="connsiteX42" fmla="*/ 1193896 w 1212946"/>
                  <a:gd name="connsiteY42" fmla="*/ 2190750 h 3277163"/>
                  <a:gd name="connsiteX43" fmla="*/ 1193896 w 1212946"/>
                  <a:gd name="connsiteY43" fmla="*/ 2241550 h 3277163"/>
                  <a:gd name="connsiteX44" fmla="*/ 1212946 w 1212946"/>
                  <a:gd name="connsiteY44" fmla="*/ 2273300 h 3277163"/>
                  <a:gd name="connsiteX45" fmla="*/ 1193896 w 1212946"/>
                  <a:gd name="connsiteY45" fmla="*/ 2305050 h 3277163"/>
                  <a:gd name="connsiteX46" fmla="*/ 1212946 w 1212946"/>
                  <a:gd name="connsiteY46" fmla="*/ 2368550 h 3277163"/>
                  <a:gd name="connsiteX47" fmla="*/ 1155796 w 1212946"/>
                  <a:gd name="connsiteY47" fmla="*/ 2527300 h 3277163"/>
                  <a:gd name="connsiteX48" fmla="*/ 1111346 w 1212946"/>
                  <a:gd name="connsiteY48" fmla="*/ 2565400 h 3277163"/>
                  <a:gd name="connsiteX49" fmla="*/ 1079596 w 1212946"/>
                  <a:gd name="connsiteY49" fmla="*/ 2597150 h 3277163"/>
                  <a:gd name="connsiteX50" fmla="*/ 1003396 w 1212946"/>
                  <a:gd name="connsiteY50" fmla="*/ 2616200 h 3277163"/>
                  <a:gd name="connsiteX51" fmla="*/ 965296 w 1212946"/>
                  <a:gd name="connsiteY51" fmla="*/ 2679700 h 3277163"/>
                  <a:gd name="connsiteX52" fmla="*/ 838296 w 1212946"/>
                  <a:gd name="connsiteY52" fmla="*/ 2747963 h 3277163"/>
                  <a:gd name="connsiteX53" fmla="*/ 732728 w 1212946"/>
                  <a:gd name="connsiteY53" fmla="*/ 2729706 h 3277163"/>
                  <a:gd name="connsiteX54" fmla="*/ 639859 w 1212946"/>
                  <a:gd name="connsiteY54" fmla="*/ 2725737 h 3277163"/>
                  <a:gd name="connsiteX55" fmla="*/ 571596 w 1212946"/>
                  <a:gd name="connsiteY55" fmla="*/ 2736850 h 3277163"/>
                  <a:gd name="connsiteX56" fmla="*/ 489046 w 1212946"/>
                  <a:gd name="connsiteY56" fmla="*/ 2844800 h 3277163"/>
                  <a:gd name="connsiteX57" fmla="*/ 435865 w 1212946"/>
                  <a:gd name="connsiteY57" fmla="*/ 2894013 h 3277163"/>
                  <a:gd name="connsiteX58" fmla="*/ 354108 w 1212946"/>
                  <a:gd name="connsiteY58" fmla="*/ 2951162 h 3277163"/>
                  <a:gd name="connsiteX59" fmla="*/ 349346 w 1212946"/>
                  <a:gd name="connsiteY59" fmla="*/ 3022600 h 3277163"/>
                  <a:gd name="connsiteX60" fmla="*/ 248540 w 1212946"/>
                  <a:gd name="connsiteY60" fmla="*/ 3152775 h 3277163"/>
                  <a:gd name="connsiteX61" fmla="*/ 161227 w 1212946"/>
                  <a:gd name="connsiteY61" fmla="*/ 3273426 h 3277163"/>
                  <a:gd name="connsiteX0" fmla="*/ 12796 w 1212946"/>
                  <a:gd name="connsiteY0" fmla="*/ 0 h 3277163"/>
                  <a:gd name="connsiteX1" fmla="*/ 37402 w 1212946"/>
                  <a:gd name="connsiteY1" fmla="*/ 120650 h 3277163"/>
                  <a:gd name="connsiteX2" fmla="*/ 19146 w 1212946"/>
                  <a:gd name="connsiteY2" fmla="*/ 158750 h 3277163"/>
                  <a:gd name="connsiteX3" fmla="*/ 41371 w 1212946"/>
                  <a:gd name="connsiteY3" fmla="*/ 209550 h 3277163"/>
                  <a:gd name="connsiteX4" fmla="*/ 38196 w 1212946"/>
                  <a:gd name="connsiteY4" fmla="*/ 234950 h 3277163"/>
                  <a:gd name="connsiteX5" fmla="*/ 50896 w 1212946"/>
                  <a:gd name="connsiteY5" fmla="*/ 273050 h 3277163"/>
                  <a:gd name="connsiteX6" fmla="*/ 17558 w 1212946"/>
                  <a:gd name="connsiteY6" fmla="*/ 312737 h 3277163"/>
                  <a:gd name="connsiteX7" fmla="*/ 50896 w 1212946"/>
                  <a:gd name="connsiteY7" fmla="*/ 372269 h 3277163"/>
                  <a:gd name="connsiteX8" fmla="*/ 31846 w 1212946"/>
                  <a:gd name="connsiteY8" fmla="*/ 463550 h 3277163"/>
                  <a:gd name="connsiteX9" fmla="*/ 890 w 1212946"/>
                  <a:gd name="connsiteY9" fmla="*/ 525462 h 3277163"/>
                  <a:gd name="connsiteX10" fmla="*/ 96 w 1212946"/>
                  <a:gd name="connsiteY10" fmla="*/ 546101 h 3277163"/>
                  <a:gd name="connsiteX11" fmla="*/ 6446 w 1212946"/>
                  <a:gd name="connsiteY11" fmla="*/ 603250 h 3277163"/>
                  <a:gd name="connsiteX12" fmla="*/ 50896 w 1212946"/>
                  <a:gd name="connsiteY12" fmla="*/ 647700 h 3277163"/>
                  <a:gd name="connsiteX13" fmla="*/ 95346 w 1212946"/>
                  <a:gd name="connsiteY13" fmla="*/ 692678 h 3277163"/>
                  <a:gd name="connsiteX14" fmla="*/ 120746 w 1212946"/>
                  <a:gd name="connsiteY14" fmla="*/ 749300 h 3277163"/>
                  <a:gd name="connsiteX15" fmla="*/ 170752 w 1212946"/>
                  <a:gd name="connsiteY15" fmla="*/ 763587 h 3277163"/>
                  <a:gd name="connsiteX16" fmla="*/ 241396 w 1212946"/>
                  <a:gd name="connsiteY16" fmla="*/ 806450 h 3277163"/>
                  <a:gd name="connsiteX17" fmla="*/ 276321 w 1212946"/>
                  <a:gd name="connsiteY17" fmla="*/ 842697 h 3277163"/>
                  <a:gd name="connsiteX18" fmla="*/ 273146 w 1212946"/>
                  <a:gd name="connsiteY18" fmla="*/ 901700 h 3277163"/>
                  <a:gd name="connsiteX19" fmla="*/ 376334 w 1212946"/>
                  <a:gd name="connsiteY19" fmla="*/ 981869 h 3277163"/>
                  <a:gd name="connsiteX20" fmla="*/ 425546 w 1212946"/>
                  <a:gd name="connsiteY20" fmla="*/ 1028700 h 3277163"/>
                  <a:gd name="connsiteX21" fmla="*/ 463646 w 1212946"/>
                  <a:gd name="connsiteY21" fmla="*/ 1098550 h 3277163"/>
                  <a:gd name="connsiteX22" fmla="*/ 565246 w 1212946"/>
                  <a:gd name="connsiteY22" fmla="*/ 1143000 h 3277163"/>
                  <a:gd name="connsiteX23" fmla="*/ 609696 w 1212946"/>
                  <a:gd name="connsiteY23" fmla="*/ 1162050 h 3277163"/>
                  <a:gd name="connsiteX24" fmla="*/ 635096 w 1212946"/>
                  <a:gd name="connsiteY24" fmla="*/ 1212850 h 3277163"/>
                  <a:gd name="connsiteX25" fmla="*/ 692246 w 1212946"/>
                  <a:gd name="connsiteY25" fmla="*/ 1237194 h 3277163"/>
                  <a:gd name="connsiteX26" fmla="*/ 722409 w 1212946"/>
                  <a:gd name="connsiteY26" fmla="*/ 1269475 h 3277163"/>
                  <a:gd name="connsiteX27" fmla="*/ 745427 w 1212946"/>
                  <a:gd name="connsiteY27" fmla="*/ 1280058 h 3277163"/>
                  <a:gd name="connsiteX28" fmla="*/ 788289 w 1212946"/>
                  <a:gd name="connsiteY28" fmla="*/ 1304925 h 3277163"/>
                  <a:gd name="connsiteX29" fmla="*/ 825596 w 1212946"/>
                  <a:gd name="connsiteY29" fmla="*/ 1352550 h 3277163"/>
                  <a:gd name="connsiteX30" fmla="*/ 866871 w 1212946"/>
                  <a:gd name="connsiteY30" fmla="*/ 1386682 h 3277163"/>
                  <a:gd name="connsiteX31" fmla="*/ 915290 w 1212946"/>
                  <a:gd name="connsiteY31" fmla="*/ 1406525 h 3277163"/>
                  <a:gd name="connsiteX32" fmla="*/ 952596 w 1212946"/>
                  <a:gd name="connsiteY32" fmla="*/ 1460500 h 3277163"/>
                  <a:gd name="connsiteX33" fmla="*/ 1028796 w 1212946"/>
                  <a:gd name="connsiteY33" fmla="*/ 1612900 h 3277163"/>
                  <a:gd name="connsiteX34" fmla="*/ 1022446 w 1212946"/>
                  <a:gd name="connsiteY34" fmla="*/ 1657350 h 3277163"/>
                  <a:gd name="connsiteX35" fmla="*/ 1066896 w 1212946"/>
                  <a:gd name="connsiteY35" fmla="*/ 1720850 h 3277163"/>
                  <a:gd name="connsiteX36" fmla="*/ 1111346 w 1212946"/>
                  <a:gd name="connsiteY36" fmla="*/ 1809750 h 3277163"/>
                  <a:gd name="connsiteX37" fmla="*/ 1154209 w 1212946"/>
                  <a:gd name="connsiteY37" fmla="*/ 1910557 h 3277163"/>
                  <a:gd name="connsiteX38" fmla="*/ 1143096 w 1212946"/>
                  <a:gd name="connsiteY38" fmla="*/ 1981200 h 3277163"/>
                  <a:gd name="connsiteX39" fmla="*/ 1174846 w 1212946"/>
                  <a:gd name="connsiteY39" fmla="*/ 2044700 h 3277163"/>
                  <a:gd name="connsiteX40" fmla="*/ 1193896 w 1212946"/>
                  <a:gd name="connsiteY40" fmla="*/ 2101586 h 3277163"/>
                  <a:gd name="connsiteX41" fmla="*/ 1200246 w 1212946"/>
                  <a:gd name="connsiteY41" fmla="*/ 2139950 h 3277163"/>
                  <a:gd name="connsiteX42" fmla="*/ 1193896 w 1212946"/>
                  <a:gd name="connsiteY42" fmla="*/ 2190750 h 3277163"/>
                  <a:gd name="connsiteX43" fmla="*/ 1193896 w 1212946"/>
                  <a:gd name="connsiteY43" fmla="*/ 2241550 h 3277163"/>
                  <a:gd name="connsiteX44" fmla="*/ 1212946 w 1212946"/>
                  <a:gd name="connsiteY44" fmla="*/ 2273300 h 3277163"/>
                  <a:gd name="connsiteX45" fmla="*/ 1193896 w 1212946"/>
                  <a:gd name="connsiteY45" fmla="*/ 2305050 h 3277163"/>
                  <a:gd name="connsiteX46" fmla="*/ 1212946 w 1212946"/>
                  <a:gd name="connsiteY46" fmla="*/ 2368550 h 3277163"/>
                  <a:gd name="connsiteX47" fmla="*/ 1155796 w 1212946"/>
                  <a:gd name="connsiteY47" fmla="*/ 2527300 h 3277163"/>
                  <a:gd name="connsiteX48" fmla="*/ 1111346 w 1212946"/>
                  <a:gd name="connsiteY48" fmla="*/ 2565400 h 3277163"/>
                  <a:gd name="connsiteX49" fmla="*/ 1079596 w 1212946"/>
                  <a:gd name="connsiteY49" fmla="*/ 2597150 h 3277163"/>
                  <a:gd name="connsiteX50" fmla="*/ 1003396 w 1212946"/>
                  <a:gd name="connsiteY50" fmla="*/ 2616200 h 3277163"/>
                  <a:gd name="connsiteX51" fmla="*/ 965296 w 1212946"/>
                  <a:gd name="connsiteY51" fmla="*/ 2679700 h 3277163"/>
                  <a:gd name="connsiteX52" fmla="*/ 838296 w 1212946"/>
                  <a:gd name="connsiteY52" fmla="*/ 2747963 h 3277163"/>
                  <a:gd name="connsiteX53" fmla="*/ 732728 w 1212946"/>
                  <a:gd name="connsiteY53" fmla="*/ 2729706 h 3277163"/>
                  <a:gd name="connsiteX54" fmla="*/ 639859 w 1212946"/>
                  <a:gd name="connsiteY54" fmla="*/ 2725737 h 3277163"/>
                  <a:gd name="connsiteX55" fmla="*/ 571596 w 1212946"/>
                  <a:gd name="connsiteY55" fmla="*/ 2736850 h 3277163"/>
                  <a:gd name="connsiteX56" fmla="*/ 489046 w 1212946"/>
                  <a:gd name="connsiteY56" fmla="*/ 2844800 h 3277163"/>
                  <a:gd name="connsiteX57" fmla="*/ 435865 w 1212946"/>
                  <a:gd name="connsiteY57" fmla="*/ 2894013 h 3277163"/>
                  <a:gd name="connsiteX58" fmla="*/ 354108 w 1212946"/>
                  <a:gd name="connsiteY58" fmla="*/ 2951162 h 3277163"/>
                  <a:gd name="connsiteX59" fmla="*/ 349346 w 1212946"/>
                  <a:gd name="connsiteY59" fmla="*/ 3022600 h 3277163"/>
                  <a:gd name="connsiteX60" fmla="*/ 248540 w 1212946"/>
                  <a:gd name="connsiteY60" fmla="*/ 3152775 h 3277163"/>
                  <a:gd name="connsiteX61" fmla="*/ 161227 w 1212946"/>
                  <a:gd name="connsiteY61" fmla="*/ 3273426 h 3277163"/>
                  <a:gd name="connsiteX0" fmla="*/ 12796 w 1212946"/>
                  <a:gd name="connsiteY0" fmla="*/ 0 h 3277163"/>
                  <a:gd name="connsiteX1" fmla="*/ 37402 w 1212946"/>
                  <a:gd name="connsiteY1" fmla="*/ 120650 h 3277163"/>
                  <a:gd name="connsiteX2" fmla="*/ 19146 w 1212946"/>
                  <a:gd name="connsiteY2" fmla="*/ 158750 h 3277163"/>
                  <a:gd name="connsiteX3" fmla="*/ 41371 w 1212946"/>
                  <a:gd name="connsiteY3" fmla="*/ 209550 h 3277163"/>
                  <a:gd name="connsiteX4" fmla="*/ 38196 w 1212946"/>
                  <a:gd name="connsiteY4" fmla="*/ 234950 h 3277163"/>
                  <a:gd name="connsiteX5" fmla="*/ 50896 w 1212946"/>
                  <a:gd name="connsiteY5" fmla="*/ 273050 h 3277163"/>
                  <a:gd name="connsiteX6" fmla="*/ 17558 w 1212946"/>
                  <a:gd name="connsiteY6" fmla="*/ 312737 h 3277163"/>
                  <a:gd name="connsiteX7" fmla="*/ 50896 w 1212946"/>
                  <a:gd name="connsiteY7" fmla="*/ 372269 h 3277163"/>
                  <a:gd name="connsiteX8" fmla="*/ 31846 w 1212946"/>
                  <a:gd name="connsiteY8" fmla="*/ 463550 h 3277163"/>
                  <a:gd name="connsiteX9" fmla="*/ 890 w 1212946"/>
                  <a:gd name="connsiteY9" fmla="*/ 525462 h 3277163"/>
                  <a:gd name="connsiteX10" fmla="*/ 96 w 1212946"/>
                  <a:gd name="connsiteY10" fmla="*/ 546101 h 3277163"/>
                  <a:gd name="connsiteX11" fmla="*/ 6446 w 1212946"/>
                  <a:gd name="connsiteY11" fmla="*/ 603250 h 3277163"/>
                  <a:gd name="connsiteX12" fmla="*/ 50896 w 1212946"/>
                  <a:gd name="connsiteY12" fmla="*/ 647700 h 3277163"/>
                  <a:gd name="connsiteX13" fmla="*/ 95346 w 1212946"/>
                  <a:gd name="connsiteY13" fmla="*/ 692678 h 3277163"/>
                  <a:gd name="connsiteX14" fmla="*/ 120746 w 1212946"/>
                  <a:gd name="connsiteY14" fmla="*/ 749300 h 3277163"/>
                  <a:gd name="connsiteX15" fmla="*/ 170752 w 1212946"/>
                  <a:gd name="connsiteY15" fmla="*/ 763587 h 3277163"/>
                  <a:gd name="connsiteX16" fmla="*/ 241396 w 1212946"/>
                  <a:gd name="connsiteY16" fmla="*/ 806450 h 3277163"/>
                  <a:gd name="connsiteX17" fmla="*/ 276321 w 1212946"/>
                  <a:gd name="connsiteY17" fmla="*/ 842697 h 3277163"/>
                  <a:gd name="connsiteX18" fmla="*/ 273146 w 1212946"/>
                  <a:gd name="connsiteY18" fmla="*/ 901700 h 3277163"/>
                  <a:gd name="connsiteX19" fmla="*/ 376334 w 1212946"/>
                  <a:gd name="connsiteY19" fmla="*/ 981869 h 3277163"/>
                  <a:gd name="connsiteX20" fmla="*/ 425546 w 1212946"/>
                  <a:gd name="connsiteY20" fmla="*/ 1028700 h 3277163"/>
                  <a:gd name="connsiteX21" fmla="*/ 463646 w 1212946"/>
                  <a:gd name="connsiteY21" fmla="*/ 1098550 h 3277163"/>
                  <a:gd name="connsiteX22" fmla="*/ 565246 w 1212946"/>
                  <a:gd name="connsiteY22" fmla="*/ 1143000 h 3277163"/>
                  <a:gd name="connsiteX23" fmla="*/ 609696 w 1212946"/>
                  <a:gd name="connsiteY23" fmla="*/ 1162050 h 3277163"/>
                  <a:gd name="connsiteX24" fmla="*/ 635096 w 1212946"/>
                  <a:gd name="connsiteY24" fmla="*/ 1212850 h 3277163"/>
                  <a:gd name="connsiteX25" fmla="*/ 692246 w 1212946"/>
                  <a:gd name="connsiteY25" fmla="*/ 1237194 h 3277163"/>
                  <a:gd name="connsiteX26" fmla="*/ 722409 w 1212946"/>
                  <a:gd name="connsiteY26" fmla="*/ 1269475 h 3277163"/>
                  <a:gd name="connsiteX27" fmla="*/ 745427 w 1212946"/>
                  <a:gd name="connsiteY27" fmla="*/ 1280058 h 3277163"/>
                  <a:gd name="connsiteX28" fmla="*/ 788289 w 1212946"/>
                  <a:gd name="connsiteY28" fmla="*/ 1304925 h 3277163"/>
                  <a:gd name="connsiteX29" fmla="*/ 825596 w 1212946"/>
                  <a:gd name="connsiteY29" fmla="*/ 1352550 h 3277163"/>
                  <a:gd name="connsiteX30" fmla="*/ 866871 w 1212946"/>
                  <a:gd name="connsiteY30" fmla="*/ 1386682 h 3277163"/>
                  <a:gd name="connsiteX31" fmla="*/ 915290 w 1212946"/>
                  <a:gd name="connsiteY31" fmla="*/ 1406525 h 3277163"/>
                  <a:gd name="connsiteX32" fmla="*/ 952596 w 1212946"/>
                  <a:gd name="connsiteY32" fmla="*/ 1460500 h 3277163"/>
                  <a:gd name="connsiteX33" fmla="*/ 1028796 w 1212946"/>
                  <a:gd name="connsiteY33" fmla="*/ 1612900 h 3277163"/>
                  <a:gd name="connsiteX34" fmla="*/ 1022446 w 1212946"/>
                  <a:gd name="connsiteY34" fmla="*/ 1657350 h 3277163"/>
                  <a:gd name="connsiteX35" fmla="*/ 1066896 w 1212946"/>
                  <a:gd name="connsiteY35" fmla="*/ 1720850 h 3277163"/>
                  <a:gd name="connsiteX36" fmla="*/ 1111346 w 1212946"/>
                  <a:gd name="connsiteY36" fmla="*/ 1809750 h 3277163"/>
                  <a:gd name="connsiteX37" fmla="*/ 1154209 w 1212946"/>
                  <a:gd name="connsiteY37" fmla="*/ 1910557 h 3277163"/>
                  <a:gd name="connsiteX38" fmla="*/ 1143096 w 1212946"/>
                  <a:gd name="connsiteY38" fmla="*/ 1981200 h 3277163"/>
                  <a:gd name="connsiteX39" fmla="*/ 1174846 w 1212946"/>
                  <a:gd name="connsiteY39" fmla="*/ 2044700 h 3277163"/>
                  <a:gd name="connsiteX40" fmla="*/ 1193896 w 1212946"/>
                  <a:gd name="connsiteY40" fmla="*/ 2101586 h 3277163"/>
                  <a:gd name="connsiteX41" fmla="*/ 1200246 w 1212946"/>
                  <a:gd name="connsiteY41" fmla="*/ 2139950 h 3277163"/>
                  <a:gd name="connsiteX42" fmla="*/ 1193896 w 1212946"/>
                  <a:gd name="connsiteY42" fmla="*/ 2190750 h 3277163"/>
                  <a:gd name="connsiteX43" fmla="*/ 1193896 w 1212946"/>
                  <a:gd name="connsiteY43" fmla="*/ 2241550 h 3277163"/>
                  <a:gd name="connsiteX44" fmla="*/ 1212946 w 1212946"/>
                  <a:gd name="connsiteY44" fmla="*/ 2273300 h 3277163"/>
                  <a:gd name="connsiteX45" fmla="*/ 1193896 w 1212946"/>
                  <a:gd name="connsiteY45" fmla="*/ 2305050 h 3277163"/>
                  <a:gd name="connsiteX46" fmla="*/ 1187546 w 1212946"/>
                  <a:gd name="connsiteY46" fmla="*/ 2368550 h 3277163"/>
                  <a:gd name="connsiteX47" fmla="*/ 1155796 w 1212946"/>
                  <a:gd name="connsiteY47" fmla="*/ 2527300 h 3277163"/>
                  <a:gd name="connsiteX48" fmla="*/ 1111346 w 1212946"/>
                  <a:gd name="connsiteY48" fmla="*/ 2565400 h 3277163"/>
                  <a:gd name="connsiteX49" fmla="*/ 1079596 w 1212946"/>
                  <a:gd name="connsiteY49" fmla="*/ 2597150 h 3277163"/>
                  <a:gd name="connsiteX50" fmla="*/ 1003396 w 1212946"/>
                  <a:gd name="connsiteY50" fmla="*/ 2616200 h 3277163"/>
                  <a:gd name="connsiteX51" fmla="*/ 965296 w 1212946"/>
                  <a:gd name="connsiteY51" fmla="*/ 2679700 h 3277163"/>
                  <a:gd name="connsiteX52" fmla="*/ 838296 w 1212946"/>
                  <a:gd name="connsiteY52" fmla="*/ 2747963 h 3277163"/>
                  <a:gd name="connsiteX53" fmla="*/ 732728 w 1212946"/>
                  <a:gd name="connsiteY53" fmla="*/ 2729706 h 3277163"/>
                  <a:gd name="connsiteX54" fmla="*/ 639859 w 1212946"/>
                  <a:gd name="connsiteY54" fmla="*/ 2725737 h 3277163"/>
                  <a:gd name="connsiteX55" fmla="*/ 571596 w 1212946"/>
                  <a:gd name="connsiteY55" fmla="*/ 2736850 h 3277163"/>
                  <a:gd name="connsiteX56" fmla="*/ 489046 w 1212946"/>
                  <a:gd name="connsiteY56" fmla="*/ 2844800 h 3277163"/>
                  <a:gd name="connsiteX57" fmla="*/ 435865 w 1212946"/>
                  <a:gd name="connsiteY57" fmla="*/ 2894013 h 3277163"/>
                  <a:gd name="connsiteX58" fmla="*/ 354108 w 1212946"/>
                  <a:gd name="connsiteY58" fmla="*/ 2951162 h 3277163"/>
                  <a:gd name="connsiteX59" fmla="*/ 349346 w 1212946"/>
                  <a:gd name="connsiteY59" fmla="*/ 3022600 h 3277163"/>
                  <a:gd name="connsiteX60" fmla="*/ 248540 w 1212946"/>
                  <a:gd name="connsiteY60" fmla="*/ 3152775 h 3277163"/>
                  <a:gd name="connsiteX61" fmla="*/ 161227 w 1212946"/>
                  <a:gd name="connsiteY61" fmla="*/ 3273426 h 3277163"/>
                  <a:gd name="connsiteX0" fmla="*/ 12796 w 1212946"/>
                  <a:gd name="connsiteY0" fmla="*/ 0 h 3277163"/>
                  <a:gd name="connsiteX1" fmla="*/ 37402 w 1212946"/>
                  <a:gd name="connsiteY1" fmla="*/ 120650 h 3277163"/>
                  <a:gd name="connsiteX2" fmla="*/ 19146 w 1212946"/>
                  <a:gd name="connsiteY2" fmla="*/ 158750 h 3277163"/>
                  <a:gd name="connsiteX3" fmla="*/ 41371 w 1212946"/>
                  <a:gd name="connsiteY3" fmla="*/ 209550 h 3277163"/>
                  <a:gd name="connsiteX4" fmla="*/ 38196 w 1212946"/>
                  <a:gd name="connsiteY4" fmla="*/ 234950 h 3277163"/>
                  <a:gd name="connsiteX5" fmla="*/ 50896 w 1212946"/>
                  <a:gd name="connsiteY5" fmla="*/ 273050 h 3277163"/>
                  <a:gd name="connsiteX6" fmla="*/ 17558 w 1212946"/>
                  <a:gd name="connsiteY6" fmla="*/ 312737 h 3277163"/>
                  <a:gd name="connsiteX7" fmla="*/ 50896 w 1212946"/>
                  <a:gd name="connsiteY7" fmla="*/ 372269 h 3277163"/>
                  <a:gd name="connsiteX8" fmla="*/ 31846 w 1212946"/>
                  <a:gd name="connsiteY8" fmla="*/ 463550 h 3277163"/>
                  <a:gd name="connsiteX9" fmla="*/ 890 w 1212946"/>
                  <a:gd name="connsiteY9" fmla="*/ 525462 h 3277163"/>
                  <a:gd name="connsiteX10" fmla="*/ 96 w 1212946"/>
                  <a:gd name="connsiteY10" fmla="*/ 546101 h 3277163"/>
                  <a:gd name="connsiteX11" fmla="*/ 6446 w 1212946"/>
                  <a:gd name="connsiteY11" fmla="*/ 603250 h 3277163"/>
                  <a:gd name="connsiteX12" fmla="*/ 50896 w 1212946"/>
                  <a:gd name="connsiteY12" fmla="*/ 647700 h 3277163"/>
                  <a:gd name="connsiteX13" fmla="*/ 95346 w 1212946"/>
                  <a:gd name="connsiteY13" fmla="*/ 692678 h 3277163"/>
                  <a:gd name="connsiteX14" fmla="*/ 120746 w 1212946"/>
                  <a:gd name="connsiteY14" fmla="*/ 749300 h 3277163"/>
                  <a:gd name="connsiteX15" fmla="*/ 170752 w 1212946"/>
                  <a:gd name="connsiteY15" fmla="*/ 763587 h 3277163"/>
                  <a:gd name="connsiteX16" fmla="*/ 241396 w 1212946"/>
                  <a:gd name="connsiteY16" fmla="*/ 806450 h 3277163"/>
                  <a:gd name="connsiteX17" fmla="*/ 276321 w 1212946"/>
                  <a:gd name="connsiteY17" fmla="*/ 842697 h 3277163"/>
                  <a:gd name="connsiteX18" fmla="*/ 273146 w 1212946"/>
                  <a:gd name="connsiteY18" fmla="*/ 901700 h 3277163"/>
                  <a:gd name="connsiteX19" fmla="*/ 376334 w 1212946"/>
                  <a:gd name="connsiteY19" fmla="*/ 981869 h 3277163"/>
                  <a:gd name="connsiteX20" fmla="*/ 425546 w 1212946"/>
                  <a:gd name="connsiteY20" fmla="*/ 1028700 h 3277163"/>
                  <a:gd name="connsiteX21" fmla="*/ 463646 w 1212946"/>
                  <a:gd name="connsiteY21" fmla="*/ 1098550 h 3277163"/>
                  <a:gd name="connsiteX22" fmla="*/ 565246 w 1212946"/>
                  <a:gd name="connsiteY22" fmla="*/ 1143000 h 3277163"/>
                  <a:gd name="connsiteX23" fmla="*/ 609696 w 1212946"/>
                  <a:gd name="connsiteY23" fmla="*/ 1162050 h 3277163"/>
                  <a:gd name="connsiteX24" fmla="*/ 635096 w 1212946"/>
                  <a:gd name="connsiteY24" fmla="*/ 1212850 h 3277163"/>
                  <a:gd name="connsiteX25" fmla="*/ 692246 w 1212946"/>
                  <a:gd name="connsiteY25" fmla="*/ 1237194 h 3277163"/>
                  <a:gd name="connsiteX26" fmla="*/ 722409 w 1212946"/>
                  <a:gd name="connsiteY26" fmla="*/ 1269475 h 3277163"/>
                  <a:gd name="connsiteX27" fmla="*/ 745427 w 1212946"/>
                  <a:gd name="connsiteY27" fmla="*/ 1280058 h 3277163"/>
                  <a:gd name="connsiteX28" fmla="*/ 788289 w 1212946"/>
                  <a:gd name="connsiteY28" fmla="*/ 1304925 h 3277163"/>
                  <a:gd name="connsiteX29" fmla="*/ 825596 w 1212946"/>
                  <a:gd name="connsiteY29" fmla="*/ 1352550 h 3277163"/>
                  <a:gd name="connsiteX30" fmla="*/ 866871 w 1212946"/>
                  <a:gd name="connsiteY30" fmla="*/ 1386682 h 3277163"/>
                  <a:gd name="connsiteX31" fmla="*/ 915290 w 1212946"/>
                  <a:gd name="connsiteY31" fmla="*/ 1406525 h 3277163"/>
                  <a:gd name="connsiteX32" fmla="*/ 952596 w 1212946"/>
                  <a:gd name="connsiteY32" fmla="*/ 1460500 h 3277163"/>
                  <a:gd name="connsiteX33" fmla="*/ 1028796 w 1212946"/>
                  <a:gd name="connsiteY33" fmla="*/ 1612900 h 3277163"/>
                  <a:gd name="connsiteX34" fmla="*/ 1022446 w 1212946"/>
                  <a:gd name="connsiteY34" fmla="*/ 1657350 h 3277163"/>
                  <a:gd name="connsiteX35" fmla="*/ 1066896 w 1212946"/>
                  <a:gd name="connsiteY35" fmla="*/ 1720850 h 3277163"/>
                  <a:gd name="connsiteX36" fmla="*/ 1111346 w 1212946"/>
                  <a:gd name="connsiteY36" fmla="*/ 1809750 h 3277163"/>
                  <a:gd name="connsiteX37" fmla="*/ 1154209 w 1212946"/>
                  <a:gd name="connsiteY37" fmla="*/ 1910557 h 3277163"/>
                  <a:gd name="connsiteX38" fmla="*/ 1143096 w 1212946"/>
                  <a:gd name="connsiteY38" fmla="*/ 1981200 h 3277163"/>
                  <a:gd name="connsiteX39" fmla="*/ 1174846 w 1212946"/>
                  <a:gd name="connsiteY39" fmla="*/ 2044700 h 3277163"/>
                  <a:gd name="connsiteX40" fmla="*/ 1193896 w 1212946"/>
                  <a:gd name="connsiteY40" fmla="*/ 2101586 h 3277163"/>
                  <a:gd name="connsiteX41" fmla="*/ 1200246 w 1212946"/>
                  <a:gd name="connsiteY41" fmla="*/ 2139950 h 3277163"/>
                  <a:gd name="connsiteX42" fmla="*/ 1193896 w 1212946"/>
                  <a:gd name="connsiteY42" fmla="*/ 2190750 h 3277163"/>
                  <a:gd name="connsiteX43" fmla="*/ 1193896 w 1212946"/>
                  <a:gd name="connsiteY43" fmla="*/ 2241550 h 3277163"/>
                  <a:gd name="connsiteX44" fmla="*/ 1212946 w 1212946"/>
                  <a:gd name="connsiteY44" fmla="*/ 2273300 h 3277163"/>
                  <a:gd name="connsiteX45" fmla="*/ 1193896 w 1212946"/>
                  <a:gd name="connsiteY45" fmla="*/ 2305050 h 3277163"/>
                  <a:gd name="connsiteX46" fmla="*/ 1187546 w 1212946"/>
                  <a:gd name="connsiteY46" fmla="*/ 2368550 h 3277163"/>
                  <a:gd name="connsiteX47" fmla="*/ 1155796 w 1212946"/>
                  <a:gd name="connsiteY47" fmla="*/ 2527300 h 3277163"/>
                  <a:gd name="connsiteX48" fmla="*/ 1111346 w 1212946"/>
                  <a:gd name="connsiteY48" fmla="*/ 2565400 h 3277163"/>
                  <a:gd name="connsiteX49" fmla="*/ 1079596 w 1212946"/>
                  <a:gd name="connsiteY49" fmla="*/ 2597150 h 3277163"/>
                  <a:gd name="connsiteX50" fmla="*/ 1003396 w 1212946"/>
                  <a:gd name="connsiteY50" fmla="*/ 2616200 h 3277163"/>
                  <a:gd name="connsiteX51" fmla="*/ 965296 w 1212946"/>
                  <a:gd name="connsiteY51" fmla="*/ 2679700 h 3277163"/>
                  <a:gd name="connsiteX52" fmla="*/ 787496 w 1212946"/>
                  <a:gd name="connsiteY52" fmla="*/ 2662759 h 3277163"/>
                  <a:gd name="connsiteX53" fmla="*/ 732728 w 1212946"/>
                  <a:gd name="connsiteY53" fmla="*/ 2729706 h 3277163"/>
                  <a:gd name="connsiteX54" fmla="*/ 639859 w 1212946"/>
                  <a:gd name="connsiteY54" fmla="*/ 2725737 h 3277163"/>
                  <a:gd name="connsiteX55" fmla="*/ 571596 w 1212946"/>
                  <a:gd name="connsiteY55" fmla="*/ 2736850 h 3277163"/>
                  <a:gd name="connsiteX56" fmla="*/ 489046 w 1212946"/>
                  <a:gd name="connsiteY56" fmla="*/ 2844800 h 3277163"/>
                  <a:gd name="connsiteX57" fmla="*/ 435865 w 1212946"/>
                  <a:gd name="connsiteY57" fmla="*/ 2894013 h 3277163"/>
                  <a:gd name="connsiteX58" fmla="*/ 354108 w 1212946"/>
                  <a:gd name="connsiteY58" fmla="*/ 2951162 h 3277163"/>
                  <a:gd name="connsiteX59" fmla="*/ 349346 w 1212946"/>
                  <a:gd name="connsiteY59" fmla="*/ 3022600 h 3277163"/>
                  <a:gd name="connsiteX60" fmla="*/ 248540 w 1212946"/>
                  <a:gd name="connsiteY60" fmla="*/ 3152775 h 3277163"/>
                  <a:gd name="connsiteX61" fmla="*/ 161227 w 1212946"/>
                  <a:gd name="connsiteY61" fmla="*/ 3273426 h 3277163"/>
                  <a:gd name="connsiteX0" fmla="*/ 12796 w 1212946"/>
                  <a:gd name="connsiteY0" fmla="*/ 0 h 3277163"/>
                  <a:gd name="connsiteX1" fmla="*/ 37402 w 1212946"/>
                  <a:gd name="connsiteY1" fmla="*/ 120650 h 3277163"/>
                  <a:gd name="connsiteX2" fmla="*/ 19146 w 1212946"/>
                  <a:gd name="connsiteY2" fmla="*/ 158750 h 3277163"/>
                  <a:gd name="connsiteX3" fmla="*/ 41371 w 1212946"/>
                  <a:gd name="connsiteY3" fmla="*/ 209550 h 3277163"/>
                  <a:gd name="connsiteX4" fmla="*/ 38196 w 1212946"/>
                  <a:gd name="connsiteY4" fmla="*/ 234950 h 3277163"/>
                  <a:gd name="connsiteX5" fmla="*/ 50896 w 1212946"/>
                  <a:gd name="connsiteY5" fmla="*/ 273050 h 3277163"/>
                  <a:gd name="connsiteX6" fmla="*/ 17558 w 1212946"/>
                  <a:gd name="connsiteY6" fmla="*/ 312737 h 3277163"/>
                  <a:gd name="connsiteX7" fmla="*/ 50896 w 1212946"/>
                  <a:gd name="connsiteY7" fmla="*/ 372269 h 3277163"/>
                  <a:gd name="connsiteX8" fmla="*/ 31846 w 1212946"/>
                  <a:gd name="connsiteY8" fmla="*/ 463550 h 3277163"/>
                  <a:gd name="connsiteX9" fmla="*/ 890 w 1212946"/>
                  <a:gd name="connsiteY9" fmla="*/ 525462 h 3277163"/>
                  <a:gd name="connsiteX10" fmla="*/ 96 w 1212946"/>
                  <a:gd name="connsiteY10" fmla="*/ 546101 h 3277163"/>
                  <a:gd name="connsiteX11" fmla="*/ 6446 w 1212946"/>
                  <a:gd name="connsiteY11" fmla="*/ 603250 h 3277163"/>
                  <a:gd name="connsiteX12" fmla="*/ 50896 w 1212946"/>
                  <a:gd name="connsiteY12" fmla="*/ 647700 h 3277163"/>
                  <a:gd name="connsiteX13" fmla="*/ 95346 w 1212946"/>
                  <a:gd name="connsiteY13" fmla="*/ 692678 h 3277163"/>
                  <a:gd name="connsiteX14" fmla="*/ 120746 w 1212946"/>
                  <a:gd name="connsiteY14" fmla="*/ 749300 h 3277163"/>
                  <a:gd name="connsiteX15" fmla="*/ 170752 w 1212946"/>
                  <a:gd name="connsiteY15" fmla="*/ 763587 h 3277163"/>
                  <a:gd name="connsiteX16" fmla="*/ 241396 w 1212946"/>
                  <a:gd name="connsiteY16" fmla="*/ 806450 h 3277163"/>
                  <a:gd name="connsiteX17" fmla="*/ 276321 w 1212946"/>
                  <a:gd name="connsiteY17" fmla="*/ 842697 h 3277163"/>
                  <a:gd name="connsiteX18" fmla="*/ 273146 w 1212946"/>
                  <a:gd name="connsiteY18" fmla="*/ 901700 h 3277163"/>
                  <a:gd name="connsiteX19" fmla="*/ 376334 w 1212946"/>
                  <a:gd name="connsiteY19" fmla="*/ 981869 h 3277163"/>
                  <a:gd name="connsiteX20" fmla="*/ 425546 w 1212946"/>
                  <a:gd name="connsiteY20" fmla="*/ 1028700 h 3277163"/>
                  <a:gd name="connsiteX21" fmla="*/ 463646 w 1212946"/>
                  <a:gd name="connsiteY21" fmla="*/ 1098550 h 3277163"/>
                  <a:gd name="connsiteX22" fmla="*/ 565246 w 1212946"/>
                  <a:gd name="connsiteY22" fmla="*/ 1143000 h 3277163"/>
                  <a:gd name="connsiteX23" fmla="*/ 609696 w 1212946"/>
                  <a:gd name="connsiteY23" fmla="*/ 1162050 h 3277163"/>
                  <a:gd name="connsiteX24" fmla="*/ 635096 w 1212946"/>
                  <a:gd name="connsiteY24" fmla="*/ 1212850 h 3277163"/>
                  <a:gd name="connsiteX25" fmla="*/ 692246 w 1212946"/>
                  <a:gd name="connsiteY25" fmla="*/ 1237194 h 3277163"/>
                  <a:gd name="connsiteX26" fmla="*/ 722409 w 1212946"/>
                  <a:gd name="connsiteY26" fmla="*/ 1269475 h 3277163"/>
                  <a:gd name="connsiteX27" fmla="*/ 745427 w 1212946"/>
                  <a:gd name="connsiteY27" fmla="*/ 1280058 h 3277163"/>
                  <a:gd name="connsiteX28" fmla="*/ 788289 w 1212946"/>
                  <a:gd name="connsiteY28" fmla="*/ 1304925 h 3277163"/>
                  <a:gd name="connsiteX29" fmla="*/ 825596 w 1212946"/>
                  <a:gd name="connsiteY29" fmla="*/ 1352550 h 3277163"/>
                  <a:gd name="connsiteX30" fmla="*/ 866871 w 1212946"/>
                  <a:gd name="connsiteY30" fmla="*/ 1386682 h 3277163"/>
                  <a:gd name="connsiteX31" fmla="*/ 915290 w 1212946"/>
                  <a:gd name="connsiteY31" fmla="*/ 1406525 h 3277163"/>
                  <a:gd name="connsiteX32" fmla="*/ 952596 w 1212946"/>
                  <a:gd name="connsiteY32" fmla="*/ 1460500 h 3277163"/>
                  <a:gd name="connsiteX33" fmla="*/ 1028796 w 1212946"/>
                  <a:gd name="connsiteY33" fmla="*/ 1612900 h 3277163"/>
                  <a:gd name="connsiteX34" fmla="*/ 1022446 w 1212946"/>
                  <a:gd name="connsiteY34" fmla="*/ 1657350 h 3277163"/>
                  <a:gd name="connsiteX35" fmla="*/ 1066896 w 1212946"/>
                  <a:gd name="connsiteY35" fmla="*/ 1720850 h 3277163"/>
                  <a:gd name="connsiteX36" fmla="*/ 1111346 w 1212946"/>
                  <a:gd name="connsiteY36" fmla="*/ 1809750 h 3277163"/>
                  <a:gd name="connsiteX37" fmla="*/ 1154209 w 1212946"/>
                  <a:gd name="connsiteY37" fmla="*/ 1910557 h 3277163"/>
                  <a:gd name="connsiteX38" fmla="*/ 1143096 w 1212946"/>
                  <a:gd name="connsiteY38" fmla="*/ 1981200 h 3277163"/>
                  <a:gd name="connsiteX39" fmla="*/ 1174846 w 1212946"/>
                  <a:gd name="connsiteY39" fmla="*/ 2044700 h 3277163"/>
                  <a:gd name="connsiteX40" fmla="*/ 1193896 w 1212946"/>
                  <a:gd name="connsiteY40" fmla="*/ 2101586 h 3277163"/>
                  <a:gd name="connsiteX41" fmla="*/ 1200246 w 1212946"/>
                  <a:gd name="connsiteY41" fmla="*/ 2139950 h 3277163"/>
                  <a:gd name="connsiteX42" fmla="*/ 1193896 w 1212946"/>
                  <a:gd name="connsiteY42" fmla="*/ 2190750 h 3277163"/>
                  <a:gd name="connsiteX43" fmla="*/ 1193896 w 1212946"/>
                  <a:gd name="connsiteY43" fmla="*/ 2241550 h 3277163"/>
                  <a:gd name="connsiteX44" fmla="*/ 1212946 w 1212946"/>
                  <a:gd name="connsiteY44" fmla="*/ 2273300 h 3277163"/>
                  <a:gd name="connsiteX45" fmla="*/ 1193896 w 1212946"/>
                  <a:gd name="connsiteY45" fmla="*/ 2305050 h 3277163"/>
                  <a:gd name="connsiteX46" fmla="*/ 1187546 w 1212946"/>
                  <a:gd name="connsiteY46" fmla="*/ 2368550 h 3277163"/>
                  <a:gd name="connsiteX47" fmla="*/ 1155796 w 1212946"/>
                  <a:gd name="connsiteY47" fmla="*/ 2527300 h 3277163"/>
                  <a:gd name="connsiteX48" fmla="*/ 1111346 w 1212946"/>
                  <a:gd name="connsiteY48" fmla="*/ 2565400 h 3277163"/>
                  <a:gd name="connsiteX49" fmla="*/ 1079596 w 1212946"/>
                  <a:gd name="connsiteY49" fmla="*/ 2597150 h 3277163"/>
                  <a:gd name="connsiteX50" fmla="*/ 1003396 w 1212946"/>
                  <a:gd name="connsiteY50" fmla="*/ 2616200 h 3277163"/>
                  <a:gd name="connsiteX51" fmla="*/ 927196 w 1212946"/>
                  <a:gd name="connsiteY51" fmla="*/ 2649270 h 3277163"/>
                  <a:gd name="connsiteX52" fmla="*/ 787496 w 1212946"/>
                  <a:gd name="connsiteY52" fmla="*/ 2662759 h 3277163"/>
                  <a:gd name="connsiteX53" fmla="*/ 732728 w 1212946"/>
                  <a:gd name="connsiteY53" fmla="*/ 2729706 h 3277163"/>
                  <a:gd name="connsiteX54" fmla="*/ 639859 w 1212946"/>
                  <a:gd name="connsiteY54" fmla="*/ 2725737 h 3277163"/>
                  <a:gd name="connsiteX55" fmla="*/ 571596 w 1212946"/>
                  <a:gd name="connsiteY55" fmla="*/ 2736850 h 3277163"/>
                  <a:gd name="connsiteX56" fmla="*/ 489046 w 1212946"/>
                  <a:gd name="connsiteY56" fmla="*/ 2844800 h 3277163"/>
                  <a:gd name="connsiteX57" fmla="*/ 435865 w 1212946"/>
                  <a:gd name="connsiteY57" fmla="*/ 2894013 h 3277163"/>
                  <a:gd name="connsiteX58" fmla="*/ 354108 w 1212946"/>
                  <a:gd name="connsiteY58" fmla="*/ 2951162 h 3277163"/>
                  <a:gd name="connsiteX59" fmla="*/ 349346 w 1212946"/>
                  <a:gd name="connsiteY59" fmla="*/ 3022600 h 3277163"/>
                  <a:gd name="connsiteX60" fmla="*/ 248540 w 1212946"/>
                  <a:gd name="connsiteY60" fmla="*/ 3152775 h 3277163"/>
                  <a:gd name="connsiteX61" fmla="*/ 161227 w 1212946"/>
                  <a:gd name="connsiteY61" fmla="*/ 3273426 h 3277163"/>
                  <a:gd name="connsiteX0" fmla="*/ 12796 w 1212946"/>
                  <a:gd name="connsiteY0" fmla="*/ 0 h 3277163"/>
                  <a:gd name="connsiteX1" fmla="*/ 37402 w 1212946"/>
                  <a:gd name="connsiteY1" fmla="*/ 120650 h 3277163"/>
                  <a:gd name="connsiteX2" fmla="*/ 19146 w 1212946"/>
                  <a:gd name="connsiteY2" fmla="*/ 158750 h 3277163"/>
                  <a:gd name="connsiteX3" fmla="*/ 41371 w 1212946"/>
                  <a:gd name="connsiteY3" fmla="*/ 209550 h 3277163"/>
                  <a:gd name="connsiteX4" fmla="*/ 38196 w 1212946"/>
                  <a:gd name="connsiteY4" fmla="*/ 234950 h 3277163"/>
                  <a:gd name="connsiteX5" fmla="*/ 50896 w 1212946"/>
                  <a:gd name="connsiteY5" fmla="*/ 273050 h 3277163"/>
                  <a:gd name="connsiteX6" fmla="*/ 17558 w 1212946"/>
                  <a:gd name="connsiteY6" fmla="*/ 312737 h 3277163"/>
                  <a:gd name="connsiteX7" fmla="*/ 50896 w 1212946"/>
                  <a:gd name="connsiteY7" fmla="*/ 372269 h 3277163"/>
                  <a:gd name="connsiteX8" fmla="*/ 31846 w 1212946"/>
                  <a:gd name="connsiteY8" fmla="*/ 463550 h 3277163"/>
                  <a:gd name="connsiteX9" fmla="*/ 890 w 1212946"/>
                  <a:gd name="connsiteY9" fmla="*/ 525462 h 3277163"/>
                  <a:gd name="connsiteX10" fmla="*/ 96 w 1212946"/>
                  <a:gd name="connsiteY10" fmla="*/ 546101 h 3277163"/>
                  <a:gd name="connsiteX11" fmla="*/ 6446 w 1212946"/>
                  <a:gd name="connsiteY11" fmla="*/ 603250 h 3277163"/>
                  <a:gd name="connsiteX12" fmla="*/ 50896 w 1212946"/>
                  <a:gd name="connsiteY12" fmla="*/ 647700 h 3277163"/>
                  <a:gd name="connsiteX13" fmla="*/ 95346 w 1212946"/>
                  <a:gd name="connsiteY13" fmla="*/ 692678 h 3277163"/>
                  <a:gd name="connsiteX14" fmla="*/ 120746 w 1212946"/>
                  <a:gd name="connsiteY14" fmla="*/ 749300 h 3277163"/>
                  <a:gd name="connsiteX15" fmla="*/ 170752 w 1212946"/>
                  <a:gd name="connsiteY15" fmla="*/ 763587 h 3277163"/>
                  <a:gd name="connsiteX16" fmla="*/ 241396 w 1212946"/>
                  <a:gd name="connsiteY16" fmla="*/ 806450 h 3277163"/>
                  <a:gd name="connsiteX17" fmla="*/ 276321 w 1212946"/>
                  <a:gd name="connsiteY17" fmla="*/ 842697 h 3277163"/>
                  <a:gd name="connsiteX18" fmla="*/ 273146 w 1212946"/>
                  <a:gd name="connsiteY18" fmla="*/ 901700 h 3277163"/>
                  <a:gd name="connsiteX19" fmla="*/ 376334 w 1212946"/>
                  <a:gd name="connsiteY19" fmla="*/ 981869 h 3277163"/>
                  <a:gd name="connsiteX20" fmla="*/ 425546 w 1212946"/>
                  <a:gd name="connsiteY20" fmla="*/ 1028700 h 3277163"/>
                  <a:gd name="connsiteX21" fmla="*/ 463646 w 1212946"/>
                  <a:gd name="connsiteY21" fmla="*/ 1098550 h 3277163"/>
                  <a:gd name="connsiteX22" fmla="*/ 565246 w 1212946"/>
                  <a:gd name="connsiteY22" fmla="*/ 1143000 h 3277163"/>
                  <a:gd name="connsiteX23" fmla="*/ 609696 w 1212946"/>
                  <a:gd name="connsiteY23" fmla="*/ 1162050 h 3277163"/>
                  <a:gd name="connsiteX24" fmla="*/ 635096 w 1212946"/>
                  <a:gd name="connsiteY24" fmla="*/ 1212850 h 3277163"/>
                  <a:gd name="connsiteX25" fmla="*/ 692246 w 1212946"/>
                  <a:gd name="connsiteY25" fmla="*/ 1237194 h 3277163"/>
                  <a:gd name="connsiteX26" fmla="*/ 722409 w 1212946"/>
                  <a:gd name="connsiteY26" fmla="*/ 1269475 h 3277163"/>
                  <a:gd name="connsiteX27" fmla="*/ 745427 w 1212946"/>
                  <a:gd name="connsiteY27" fmla="*/ 1280058 h 3277163"/>
                  <a:gd name="connsiteX28" fmla="*/ 788289 w 1212946"/>
                  <a:gd name="connsiteY28" fmla="*/ 1304925 h 3277163"/>
                  <a:gd name="connsiteX29" fmla="*/ 825596 w 1212946"/>
                  <a:gd name="connsiteY29" fmla="*/ 1352550 h 3277163"/>
                  <a:gd name="connsiteX30" fmla="*/ 866871 w 1212946"/>
                  <a:gd name="connsiteY30" fmla="*/ 1386682 h 3277163"/>
                  <a:gd name="connsiteX31" fmla="*/ 915290 w 1212946"/>
                  <a:gd name="connsiteY31" fmla="*/ 1406525 h 3277163"/>
                  <a:gd name="connsiteX32" fmla="*/ 952596 w 1212946"/>
                  <a:gd name="connsiteY32" fmla="*/ 1460500 h 3277163"/>
                  <a:gd name="connsiteX33" fmla="*/ 1028796 w 1212946"/>
                  <a:gd name="connsiteY33" fmla="*/ 1612900 h 3277163"/>
                  <a:gd name="connsiteX34" fmla="*/ 1022446 w 1212946"/>
                  <a:gd name="connsiteY34" fmla="*/ 1657350 h 3277163"/>
                  <a:gd name="connsiteX35" fmla="*/ 1066896 w 1212946"/>
                  <a:gd name="connsiteY35" fmla="*/ 1720850 h 3277163"/>
                  <a:gd name="connsiteX36" fmla="*/ 1111346 w 1212946"/>
                  <a:gd name="connsiteY36" fmla="*/ 1809750 h 3277163"/>
                  <a:gd name="connsiteX37" fmla="*/ 1154209 w 1212946"/>
                  <a:gd name="connsiteY37" fmla="*/ 1910557 h 3277163"/>
                  <a:gd name="connsiteX38" fmla="*/ 1143096 w 1212946"/>
                  <a:gd name="connsiteY38" fmla="*/ 1981200 h 3277163"/>
                  <a:gd name="connsiteX39" fmla="*/ 1174846 w 1212946"/>
                  <a:gd name="connsiteY39" fmla="*/ 2044700 h 3277163"/>
                  <a:gd name="connsiteX40" fmla="*/ 1193896 w 1212946"/>
                  <a:gd name="connsiteY40" fmla="*/ 2101586 h 3277163"/>
                  <a:gd name="connsiteX41" fmla="*/ 1200246 w 1212946"/>
                  <a:gd name="connsiteY41" fmla="*/ 2139950 h 3277163"/>
                  <a:gd name="connsiteX42" fmla="*/ 1193896 w 1212946"/>
                  <a:gd name="connsiteY42" fmla="*/ 2190750 h 3277163"/>
                  <a:gd name="connsiteX43" fmla="*/ 1193896 w 1212946"/>
                  <a:gd name="connsiteY43" fmla="*/ 2241550 h 3277163"/>
                  <a:gd name="connsiteX44" fmla="*/ 1212946 w 1212946"/>
                  <a:gd name="connsiteY44" fmla="*/ 2273300 h 3277163"/>
                  <a:gd name="connsiteX45" fmla="*/ 1193896 w 1212946"/>
                  <a:gd name="connsiteY45" fmla="*/ 2305050 h 3277163"/>
                  <a:gd name="connsiteX46" fmla="*/ 1187546 w 1212946"/>
                  <a:gd name="connsiteY46" fmla="*/ 2368550 h 3277163"/>
                  <a:gd name="connsiteX47" fmla="*/ 1168496 w 1212946"/>
                  <a:gd name="connsiteY47" fmla="*/ 2478612 h 3277163"/>
                  <a:gd name="connsiteX48" fmla="*/ 1111346 w 1212946"/>
                  <a:gd name="connsiteY48" fmla="*/ 2565400 h 3277163"/>
                  <a:gd name="connsiteX49" fmla="*/ 1079596 w 1212946"/>
                  <a:gd name="connsiteY49" fmla="*/ 2597150 h 3277163"/>
                  <a:gd name="connsiteX50" fmla="*/ 1003396 w 1212946"/>
                  <a:gd name="connsiteY50" fmla="*/ 2616200 h 3277163"/>
                  <a:gd name="connsiteX51" fmla="*/ 927196 w 1212946"/>
                  <a:gd name="connsiteY51" fmla="*/ 2649270 h 3277163"/>
                  <a:gd name="connsiteX52" fmla="*/ 787496 w 1212946"/>
                  <a:gd name="connsiteY52" fmla="*/ 2662759 h 3277163"/>
                  <a:gd name="connsiteX53" fmla="*/ 732728 w 1212946"/>
                  <a:gd name="connsiteY53" fmla="*/ 2729706 h 3277163"/>
                  <a:gd name="connsiteX54" fmla="*/ 639859 w 1212946"/>
                  <a:gd name="connsiteY54" fmla="*/ 2725737 h 3277163"/>
                  <a:gd name="connsiteX55" fmla="*/ 571596 w 1212946"/>
                  <a:gd name="connsiteY55" fmla="*/ 2736850 h 3277163"/>
                  <a:gd name="connsiteX56" fmla="*/ 489046 w 1212946"/>
                  <a:gd name="connsiteY56" fmla="*/ 2844800 h 3277163"/>
                  <a:gd name="connsiteX57" fmla="*/ 435865 w 1212946"/>
                  <a:gd name="connsiteY57" fmla="*/ 2894013 h 3277163"/>
                  <a:gd name="connsiteX58" fmla="*/ 354108 w 1212946"/>
                  <a:gd name="connsiteY58" fmla="*/ 2951162 h 3277163"/>
                  <a:gd name="connsiteX59" fmla="*/ 349346 w 1212946"/>
                  <a:gd name="connsiteY59" fmla="*/ 3022600 h 3277163"/>
                  <a:gd name="connsiteX60" fmla="*/ 248540 w 1212946"/>
                  <a:gd name="connsiteY60" fmla="*/ 3152775 h 3277163"/>
                  <a:gd name="connsiteX61" fmla="*/ 161227 w 1212946"/>
                  <a:gd name="connsiteY61" fmla="*/ 3273426 h 3277163"/>
                  <a:gd name="connsiteX0" fmla="*/ 12796 w 1212946"/>
                  <a:gd name="connsiteY0" fmla="*/ 0 h 3277163"/>
                  <a:gd name="connsiteX1" fmla="*/ 37402 w 1212946"/>
                  <a:gd name="connsiteY1" fmla="*/ 120650 h 3277163"/>
                  <a:gd name="connsiteX2" fmla="*/ 19146 w 1212946"/>
                  <a:gd name="connsiteY2" fmla="*/ 158750 h 3277163"/>
                  <a:gd name="connsiteX3" fmla="*/ 41371 w 1212946"/>
                  <a:gd name="connsiteY3" fmla="*/ 209550 h 3277163"/>
                  <a:gd name="connsiteX4" fmla="*/ 38196 w 1212946"/>
                  <a:gd name="connsiteY4" fmla="*/ 234950 h 3277163"/>
                  <a:gd name="connsiteX5" fmla="*/ 50896 w 1212946"/>
                  <a:gd name="connsiteY5" fmla="*/ 273050 h 3277163"/>
                  <a:gd name="connsiteX6" fmla="*/ 17558 w 1212946"/>
                  <a:gd name="connsiteY6" fmla="*/ 312737 h 3277163"/>
                  <a:gd name="connsiteX7" fmla="*/ 50896 w 1212946"/>
                  <a:gd name="connsiteY7" fmla="*/ 372269 h 3277163"/>
                  <a:gd name="connsiteX8" fmla="*/ 31846 w 1212946"/>
                  <a:gd name="connsiteY8" fmla="*/ 463550 h 3277163"/>
                  <a:gd name="connsiteX9" fmla="*/ 890 w 1212946"/>
                  <a:gd name="connsiteY9" fmla="*/ 525462 h 3277163"/>
                  <a:gd name="connsiteX10" fmla="*/ 96 w 1212946"/>
                  <a:gd name="connsiteY10" fmla="*/ 546101 h 3277163"/>
                  <a:gd name="connsiteX11" fmla="*/ 6446 w 1212946"/>
                  <a:gd name="connsiteY11" fmla="*/ 603250 h 3277163"/>
                  <a:gd name="connsiteX12" fmla="*/ 50896 w 1212946"/>
                  <a:gd name="connsiteY12" fmla="*/ 647700 h 3277163"/>
                  <a:gd name="connsiteX13" fmla="*/ 95346 w 1212946"/>
                  <a:gd name="connsiteY13" fmla="*/ 692678 h 3277163"/>
                  <a:gd name="connsiteX14" fmla="*/ 120746 w 1212946"/>
                  <a:gd name="connsiteY14" fmla="*/ 749300 h 3277163"/>
                  <a:gd name="connsiteX15" fmla="*/ 170752 w 1212946"/>
                  <a:gd name="connsiteY15" fmla="*/ 763587 h 3277163"/>
                  <a:gd name="connsiteX16" fmla="*/ 241396 w 1212946"/>
                  <a:gd name="connsiteY16" fmla="*/ 806450 h 3277163"/>
                  <a:gd name="connsiteX17" fmla="*/ 276321 w 1212946"/>
                  <a:gd name="connsiteY17" fmla="*/ 842697 h 3277163"/>
                  <a:gd name="connsiteX18" fmla="*/ 273146 w 1212946"/>
                  <a:gd name="connsiteY18" fmla="*/ 901700 h 3277163"/>
                  <a:gd name="connsiteX19" fmla="*/ 376334 w 1212946"/>
                  <a:gd name="connsiteY19" fmla="*/ 981869 h 3277163"/>
                  <a:gd name="connsiteX20" fmla="*/ 425546 w 1212946"/>
                  <a:gd name="connsiteY20" fmla="*/ 1028700 h 3277163"/>
                  <a:gd name="connsiteX21" fmla="*/ 463646 w 1212946"/>
                  <a:gd name="connsiteY21" fmla="*/ 1098550 h 3277163"/>
                  <a:gd name="connsiteX22" fmla="*/ 565246 w 1212946"/>
                  <a:gd name="connsiteY22" fmla="*/ 1143000 h 3277163"/>
                  <a:gd name="connsiteX23" fmla="*/ 609696 w 1212946"/>
                  <a:gd name="connsiteY23" fmla="*/ 1162050 h 3277163"/>
                  <a:gd name="connsiteX24" fmla="*/ 635096 w 1212946"/>
                  <a:gd name="connsiteY24" fmla="*/ 1212850 h 3277163"/>
                  <a:gd name="connsiteX25" fmla="*/ 692246 w 1212946"/>
                  <a:gd name="connsiteY25" fmla="*/ 1237194 h 3277163"/>
                  <a:gd name="connsiteX26" fmla="*/ 722409 w 1212946"/>
                  <a:gd name="connsiteY26" fmla="*/ 1269475 h 3277163"/>
                  <a:gd name="connsiteX27" fmla="*/ 745427 w 1212946"/>
                  <a:gd name="connsiteY27" fmla="*/ 1280058 h 3277163"/>
                  <a:gd name="connsiteX28" fmla="*/ 788289 w 1212946"/>
                  <a:gd name="connsiteY28" fmla="*/ 1304925 h 3277163"/>
                  <a:gd name="connsiteX29" fmla="*/ 825596 w 1212946"/>
                  <a:gd name="connsiteY29" fmla="*/ 1352550 h 3277163"/>
                  <a:gd name="connsiteX30" fmla="*/ 866871 w 1212946"/>
                  <a:gd name="connsiteY30" fmla="*/ 1386682 h 3277163"/>
                  <a:gd name="connsiteX31" fmla="*/ 915290 w 1212946"/>
                  <a:gd name="connsiteY31" fmla="*/ 1406525 h 3277163"/>
                  <a:gd name="connsiteX32" fmla="*/ 952596 w 1212946"/>
                  <a:gd name="connsiteY32" fmla="*/ 1460500 h 3277163"/>
                  <a:gd name="connsiteX33" fmla="*/ 1028796 w 1212946"/>
                  <a:gd name="connsiteY33" fmla="*/ 1612900 h 3277163"/>
                  <a:gd name="connsiteX34" fmla="*/ 1022446 w 1212946"/>
                  <a:gd name="connsiteY34" fmla="*/ 1657350 h 3277163"/>
                  <a:gd name="connsiteX35" fmla="*/ 1066896 w 1212946"/>
                  <a:gd name="connsiteY35" fmla="*/ 1720850 h 3277163"/>
                  <a:gd name="connsiteX36" fmla="*/ 1111346 w 1212946"/>
                  <a:gd name="connsiteY36" fmla="*/ 1809750 h 3277163"/>
                  <a:gd name="connsiteX37" fmla="*/ 1154209 w 1212946"/>
                  <a:gd name="connsiteY37" fmla="*/ 1910557 h 3277163"/>
                  <a:gd name="connsiteX38" fmla="*/ 1143096 w 1212946"/>
                  <a:gd name="connsiteY38" fmla="*/ 1981200 h 3277163"/>
                  <a:gd name="connsiteX39" fmla="*/ 1174846 w 1212946"/>
                  <a:gd name="connsiteY39" fmla="*/ 2044700 h 3277163"/>
                  <a:gd name="connsiteX40" fmla="*/ 1193896 w 1212946"/>
                  <a:gd name="connsiteY40" fmla="*/ 2101586 h 3277163"/>
                  <a:gd name="connsiteX41" fmla="*/ 1200246 w 1212946"/>
                  <a:gd name="connsiteY41" fmla="*/ 2139950 h 3277163"/>
                  <a:gd name="connsiteX42" fmla="*/ 1193896 w 1212946"/>
                  <a:gd name="connsiteY42" fmla="*/ 2190750 h 3277163"/>
                  <a:gd name="connsiteX43" fmla="*/ 1193896 w 1212946"/>
                  <a:gd name="connsiteY43" fmla="*/ 2241550 h 3277163"/>
                  <a:gd name="connsiteX44" fmla="*/ 1212946 w 1212946"/>
                  <a:gd name="connsiteY44" fmla="*/ 2273300 h 3277163"/>
                  <a:gd name="connsiteX45" fmla="*/ 1193896 w 1212946"/>
                  <a:gd name="connsiteY45" fmla="*/ 2305050 h 3277163"/>
                  <a:gd name="connsiteX46" fmla="*/ 1187546 w 1212946"/>
                  <a:gd name="connsiteY46" fmla="*/ 2368550 h 3277163"/>
                  <a:gd name="connsiteX47" fmla="*/ 1168496 w 1212946"/>
                  <a:gd name="connsiteY47" fmla="*/ 2478612 h 3277163"/>
                  <a:gd name="connsiteX48" fmla="*/ 1092296 w 1212946"/>
                  <a:gd name="connsiteY48" fmla="*/ 2547142 h 3277163"/>
                  <a:gd name="connsiteX49" fmla="*/ 1079596 w 1212946"/>
                  <a:gd name="connsiteY49" fmla="*/ 2597150 h 3277163"/>
                  <a:gd name="connsiteX50" fmla="*/ 1003396 w 1212946"/>
                  <a:gd name="connsiteY50" fmla="*/ 2616200 h 3277163"/>
                  <a:gd name="connsiteX51" fmla="*/ 927196 w 1212946"/>
                  <a:gd name="connsiteY51" fmla="*/ 2649270 h 3277163"/>
                  <a:gd name="connsiteX52" fmla="*/ 787496 w 1212946"/>
                  <a:gd name="connsiteY52" fmla="*/ 2662759 h 3277163"/>
                  <a:gd name="connsiteX53" fmla="*/ 732728 w 1212946"/>
                  <a:gd name="connsiteY53" fmla="*/ 2729706 h 3277163"/>
                  <a:gd name="connsiteX54" fmla="*/ 639859 w 1212946"/>
                  <a:gd name="connsiteY54" fmla="*/ 2725737 h 3277163"/>
                  <a:gd name="connsiteX55" fmla="*/ 571596 w 1212946"/>
                  <a:gd name="connsiteY55" fmla="*/ 2736850 h 3277163"/>
                  <a:gd name="connsiteX56" fmla="*/ 489046 w 1212946"/>
                  <a:gd name="connsiteY56" fmla="*/ 2844800 h 3277163"/>
                  <a:gd name="connsiteX57" fmla="*/ 435865 w 1212946"/>
                  <a:gd name="connsiteY57" fmla="*/ 2894013 h 3277163"/>
                  <a:gd name="connsiteX58" fmla="*/ 354108 w 1212946"/>
                  <a:gd name="connsiteY58" fmla="*/ 2951162 h 3277163"/>
                  <a:gd name="connsiteX59" fmla="*/ 349346 w 1212946"/>
                  <a:gd name="connsiteY59" fmla="*/ 3022600 h 3277163"/>
                  <a:gd name="connsiteX60" fmla="*/ 248540 w 1212946"/>
                  <a:gd name="connsiteY60" fmla="*/ 3152775 h 3277163"/>
                  <a:gd name="connsiteX61" fmla="*/ 161227 w 1212946"/>
                  <a:gd name="connsiteY61" fmla="*/ 3273426 h 3277163"/>
                  <a:gd name="connsiteX0" fmla="*/ 12796 w 1212946"/>
                  <a:gd name="connsiteY0" fmla="*/ 0 h 3277163"/>
                  <a:gd name="connsiteX1" fmla="*/ 37402 w 1212946"/>
                  <a:gd name="connsiteY1" fmla="*/ 120650 h 3277163"/>
                  <a:gd name="connsiteX2" fmla="*/ 19146 w 1212946"/>
                  <a:gd name="connsiteY2" fmla="*/ 158750 h 3277163"/>
                  <a:gd name="connsiteX3" fmla="*/ 41371 w 1212946"/>
                  <a:gd name="connsiteY3" fmla="*/ 209550 h 3277163"/>
                  <a:gd name="connsiteX4" fmla="*/ 38196 w 1212946"/>
                  <a:gd name="connsiteY4" fmla="*/ 234950 h 3277163"/>
                  <a:gd name="connsiteX5" fmla="*/ 50896 w 1212946"/>
                  <a:gd name="connsiteY5" fmla="*/ 273050 h 3277163"/>
                  <a:gd name="connsiteX6" fmla="*/ 17558 w 1212946"/>
                  <a:gd name="connsiteY6" fmla="*/ 312737 h 3277163"/>
                  <a:gd name="connsiteX7" fmla="*/ 50896 w 1212946"/>
                  <a:gd name="connsiteY7" fmla="*/ 372269 h 3277163"/>
                  <a:gd name="connsiteX8" fmla="*/ 31846 w 1212946"/>
                  <a:gd name="connsiteY8" fmla="*/ 463550 h 3277163"/>
                  <a:gd name="connsiteX9" fmla="*/ 890 w 1212946"/>
                  <a:gd name="connsiteY9" fmla="*/ 525462 h 3277163"/>
                  <a:gd name="connsiteX10" fmla="*/ 96 w 1212946"/>
                  <a:gd name="connsiteY10" fmla="*/ 546101 h 3277163"/>
                  <a:gd name="connsiteX11" fmla="*/ 6446 w 1212946"/>
                  <a:gd name="connsiteY11" fmla="*/ 603250 h 3277163"/>
                  <a:gd name="connsiteX12" fmla="*/ 50896 w 1212946"/>
                  <a:gd name="connsiteY12" fmla="*/ 647700 h 3277163"/>
                  <a:gd name="connsiteX13" fmla="*/ 95346 w 1212946"/>
                  <a:gd name="connsiteY13" fmla="*/ 692678 h 3277163"/>
                  <a:gd name="connsiteX14" fmla="*/ 120746 w 1212946"/>
                  <a:gd name="connsiteY14" fmla="*/ 749300 h 3277163"/>
                  <a:gd name="connsiteX15" fmla="*/ 170752 w 1212946"/>
                  <a:gd name="connsiteY15" fmla="*/ 763587 h 3277163"/>
                  <a:gd name="connsiteX16" fmla="*/ 241396 w 1212946"/>
                  <a:gd name="connsiteY16" fmla="*/ 806450 h 3277163"/>
                  <a:gd name="connsiteX17" fmla="*/ 276321 w 1212946"/>
                  <a:gd name="connsiteY17" fmla="*/ 842697 h 3277163"/>
                  <a:gd name="connsiteX18" fmla="*/ 273146 w 1212946"/>
                  <a:gd name="connsiteY18" fmla="*/ 901700 h 3277163"/>
                  <a:gd name="connsiteX19" fmla="*/ 376334 w 1212946"/>
                  <a:gd name="connsiteY19" fmla="*/ 981869 h 3277163"/>
                  <a:gd name="connsiteX20" fmla="*/ 425546 w 1212946"/>
                  <a:gd name="connsiteY20" fmla="*/ 1028700 h 3277163"/>
                  <a:gd name="connsiteX21" fmla="*/ 463646 w 1212946"/>
                  <a:gd name="connsiteY21" fmla="*/ 1098550 h 3277163"/>
                  <a:gd name="connsiteX22" fmla="*/ 565246 w 1212946"/>
                  <a:gd name="connsiteY22" fmla="*/ 1143000 h 3277163"/>
                  <a:gd name="connsiteX23" fmla="*/ 609696 w 1212946"/>
                  <a:gd name="connsiteY23" fmla="*/ 1162050 h 3277163"/>
                  <a:gd name="connsiteX24" fmla="*/ 635096 w 1212946"/>
                  <a:gd name="connsiteY24" fmla="*/ 1212850 h 3277163"/>
                  <a:gd name="connsiteX25" fmla="*/ 692246 w 1212946"/>
                  <a:gd name="connsiteY25" fmla="*/ 1237194 h 3277163"/>
                  <a:gd name="connsiteX26" fmla="*/ 722409 w 1212946"/>
                  <a:gd name="connsiteY26" fmla="*/ 1269475 h 3277163"/>
                  <a:gd name="connsiteX27" fmla="*/ 745427 w 1212946"/>
                  <a:gd name="connsiteY27" fmla="*/ 1280058 h 3277163"/>
                  <a:gd name="connsiteX28" fmla="*/ 788289 w 1212946"/>
                  <a:gd name="connsiteY28" fmla="*/ 1304925 h 3277163"/>
                  <a:gd name="connsiteX29" fmla="*/ 825596 w 1212946"/>
                  <a:gd name="connsiteY29" fmla="*/ 1352550 h 3277163"/>
                  <a:gd name="connsiteX30" fmla="*/ 866871 w 1212946"/>
                  <a:gd name="connsiteY30" fmla="*/ 1386682 h 3277163"/>
                  <a:gd name="connsiteX31" fmla="*/ 915290 w 1212946"/>
                  <a:gd name="connsiteY31" fmla="*/ 1406525 h 3277163"/>
                  <a:gd name="connsiteX32" fmla="*/ 952596 w 1212946"/>
                  <a:gd name="connsiteY32" fmla="*/ 1460500 h 3277163"/>
                  <a:gd name="connsiteX33" fmla="*/ 1028796 w 1212946"/>
                  <a:gd name="connsiteY33" fmla="*/ 1612900 h 3277163"/>
                  <a:gd name="connsiteX34" fmla="*/ 1022446 w 1212946"/>
                  <a:gd name="connsiteY34" fmla="*/ 1657350 h 3277163"/>
                  <a:gd name="connsiteX35" fmla="*/ 1066896 w 1212946"/>
                  <a:gd name="connsiteY35" fmla="*/ 1720850 h 3277163"/>
                  <a:gd name="connsiteX36" fmla="*/ 1111346 w 1212946"/>
                  <a:gd name="connsiteY36" fmla="*/ 1809750 h 3277163"/>
                  <a:gd name="connsiteX37" fmla="*/ 1154209 w 1212946"/>
                  <a:gd name="connsiteY37" fmla="*/ 1910557 h 3277163"/>
                  <a:gd name="connsiteX38" fmla="*/ 1143096 w 1212946"/>
                  <a:gd name="connsiteY38" fmla="*/ 1981200 h 3277163"/>
                  <a:gd name="connsiteX39" fmla="*/ 1174846 w 1212946"/>
                  <a:gd name="connsiteY39" fmla="*/ 2044700 h 3277163"/>
                  <a:gd name="connsiteX40" fmla="*/ 1193896 w 1212946"/>
                  <a:gd name="connsiteY40" fmla="*/ 2101586 h 3277163"/>
                  <a:gd name="connsiteX41" fmla="*/ 1200246 w 1212946"/>
                  <a:gd name="connsiteY41" fmla="*/ 2139950 h 3277163"/>
                  <a:gd name="connsiteX42" fmla="*/ 1193896 w 1212946"/>
                  <a:gd name="connsiteY42" fmla="*/ 2190750 h 3277163"/>
                  <a:gd name="connsiteX43" fmla="*/ 1193896 w 1212946"/>
                  <a:gd name="connsiteY43" fmla="*/ 2241550 h 3277163"/>
                  <a:gd name="connsiteX44" fmla="*/ 1212946 w 1212946"/>
                  <a:gd name="connsiteY44" fmla="*/ 2273300 h 3277163"/>
                  <a:gd name="connsiteX45" fmla="*/ 1193896 w 1212946"/>
                  <a:gd name="connsiteY45" fmla="*/ 2305050 h 3277163"/>
                  <a:gd name="connsiteX46" fmla="*/ 1187546 w 1212946"/>
                  <a:gd name="connsiteY46" fmla="*/ 2368550 h 3277163"/>
                  <a:gd name="connsiteX47" fmla="*/ 1168496 w 1212946"/>
                  <a:gd name="connsiteY47" fmla="*/ 2478612 h 3277163"/>
                  <a:gd name="connsiteX48" fmla="*/ 1092296 w 1212946"/>
                  <a:gd name="connsiteY48" fmla="*/ 2547142 h 3277163"/>
                  <a:gd name="connsiteX49" fmla="*/ 1079596 w 1212946"/>
                  <a:gd name="connsiteY49" fmla="*/ 2597150 h 3277163"/>
                  <a:gd name="connsiteX50" fmla="*/ 1003396 w 1212946"/>
                  <a:gd name="connsiteY50" fmla="*/ 2616200 h 3277163"/>
                  <a:gd name="connsiteX51" fmla="*/ 927196 w 1212946"/>
                  <a:gd name="connsiteY51" fmla="*/ 2649270 h 3277163"/>
                  <a:gd name="connsiteX52" fmla="*/ 787496 w 1212946"/>
                  <a:gd name="connsiteY52" fmla="*/ 2662759 h 3277163"/>
                  <a:gd name="connsiteX53" fmla="*/ 662878 w 1212946"/>
                  <a:gd name="connsiteY53" fmla="*/ 2674932 h 3277163"/>
                  <a:gd name="connsiteX54" fmla="*/ 639859 w 1212946"/>
                  <a:gd name="connsiteY54" fmla="*/ 2725737 h 3277163"/>
                  <a:gd name="connsiteX55" fmla="*/ 571596 w 1212946"/>
                  <a:gd name="connsiteY55" fmla="*/ 2736850 h 3277163"/>
                  <a:gd name="connsiteX56" fmla="*/ 489046 w 1212946"/>
                  <a:gd name="connsiteY56" fmla="*/ 2844800 h 3277163"/>
                  <a:gd name="connsiteX57" fmla="*/ 435865 w 1212946"/>
                  <a:gd name="connsiteY57" fmla="*/ 2894013 h 3277163"/>
                  <a:gd name="connsiteX58" fmla="*/ 354108 w 1212946"/>
                  <a:gd name="connsiteY58" fmla="*/ 2951162 h 3277163"/>
                  <a:gd name="connsiteX59" fmla="*/ 349346 w 1212946"/>
                  <a:gd name="connsiteY59" fmla="*/ 3022600 h 3277163"/>
                  <a:gd name="connsiteX60" fmla="*/ 248540 w 1212946"/>
                  <a:gd name="connsiteY60" fmla="*/ 3152775 h 3277163"/>
                  <a:gd name="connsiteX61" fmla="*/ 161227 w 1212946"/>
                  <a:gd name="connsiteY61" fmla="*/ 3273426 h 3277163"/>
                  <a:gd name="connsiteX0" fmla="*/ 12796 w 1212946"/>
                  <a:gd name="connsiteY0" fmla="*/ 0 h 3277163"/>
                  <a:gd name="connsiteX1" fmla="*/ 37402 w 1212946"/>
                  <a:gd name="connsiteY1" fmla="*/ 120650 h 3277163"/>
                  <a:gd name="connsiteX2" fmla="*/ 19146 w 1212946"/>
                  <a:gd name="connsiteY2" fmla="*/ 158750 h 3277163"/>
                  <a:gd name="connsiteX3" fmla="*/ 41371 w 1212946"/>
                  <a:gd name="connsiteY3" fmla="*/ 209550 h 3277163"/>
                  <a:gd name="connsiteX4" fmla="*/ 38196 w 1212946"/>
                  <a:gd name="connsiteY4" fmla="*/ 234950 h 3277163"/>
                  <a:gd name="connsiteX5" fmla="*/ 50896 w 1212946"/>
                  <a:gd name="connsiteY5" fmla="*/ 273050 h 3277163"/>
                  <a:gd name="connsiteX6" fmla="*/ 17558 w 1212946"/>
                  <a:gd name="connsiteY6" fmla="*/ 312737 h 3277163"/>
                  <a:gd name="connsiteX7" fmla="*/ 50896 w 1212946"/>
                  <a:gd name="connsiteY7" fmla="*/ 372269 h 3277163"/>
                  <a:gd name="connsiteX8" fmla="*/ 31846 w 1212946"/>
                  <a:gd name="connsiteY8" fmla="*/ 463550 h 3277163"/>
                  <a:gd name="connsiteX9" fmla="*/ 890 w 1212946"/>
                  <a:gd name="connsiteY9" fmla="*/ 525462 h 3277163"/>
                  <a:gd name="connsiteX10" fmla="*/ 96 w 1212946"/>
                  <a:gd name="connsiteY10" fmla="*/ 546101 h 3277163"/>
                  <a:gd name="connsiteX11" fmla="*/ 6446 w 1212946"/>
                  <a:gd name="connsiteY11" fmla="*/ 603250 h 3277163"/>
                  <a:gd name="connsiteX12" fmla="*/ 50896 w 1212946"/>
                  <a:gd name="connsiteY12" fmla="*/ 647700 h 3277163"/>
                  <a:gd name="connsiteX13" fmla="*/ 95346 w 1212946"/>
                  <a:gd name="connsiteY13" fmla="*/ 692678 h 3277163"/>
                  <a:gd name="connsiteX14" fmla="*/ 120746 w 1212946"/>
                  <a:gd name="connsiteY14" fmla="*/ 749300 h 3277163"/>
                  <a:gd name="connsiteX15" fmla="*/ 170752 w 1212946"/>
                  <a:gd name="connsiteY15" fmla="*/ 763587 h 3277163"/>
                  <a:gd name="connsiteX16" fmla="*/ 241396 w 1212946"/>
                  <a:gd name="connsiteY16" fmla="*/ 806450 h 3277163"/>
                  <a:gd name="connsiteX17" fmla="*/ 276321 w 1212946"/>
                  <a:gd name="connsiteY17" fmla="*/ 842697 h 3277163"/>
                  <a:gd name="connsiteX18" fmla="*/ 273146 w 1212946"/>
                  <a:gd name="connsiteY18" fmla="*/ 901700 h 3277163"/>
                  <a:gd name="connsiteX19" fmla="*/ 376334 w 1212946"/>
                  <a:gd name="connsiteY19" fmla="*/ 981869 h 3277163"/>
                  <a:gd name="connsiteX20" fmla="*/ 425546 w 1212946"/>
                  <a:gd name="connsiteY20" fmla="*/ 1028700 h 3277163"/>
                  <a:gd name="connsiteX21" fmla="*/ 463646 w 1212946"/>
                  <a:gd name="connsiteY21" fmla="*/ 1098550 h 3277163"/>
                  <a:gd name="connsiteX22" fmla="*/ 565246 w 1212946"/>
                  <a:gd name="connsiteY22" fmla="*/ 1143000 h 3277163"/>
                  <a:gd name="connsiteX23" fmla="*/ 609696 w 1212946"/>
                  <a:gd name="connsiteY23" fmla="*/ 1162050 h 3277163"/>
                  <a:gd name="connsiteX24" fmla="*/ 635096 w 1212946"/>
                  <a:gd name="connsiteY24" fmla="*/ 1212850 h 3277163"/>
                  <a:gd name="connsiteX25" fmla="*/ 692246 w 1212946"/>
                  <a:gd name="connsiteY25" fmla="*/ 1237194 h 3277163"/>
                  <a:gd name="connsiteX26" fmla="*/ 722409 w 1212946"/>
                  <a:gd name="connsiteY26" fmla="*/ 1269475 h 3277163"/>
                  <a:gd name="connsiteX27" fmla="*/ 745427 w 1212946"/>
                  <a:gd name="connsiteY27" fmla="*/ 1280058 h 3277163"/>
                  <a:gd name="connsiteX28" fmla="*/ 788289 w 1212946"/>
                  <a:gd name="connsiteY28" fmla="*/ 1304925 h 3277163"/>
                  <a:gd name="connsiteX29" fmla="*/ 825596 w 1212946"/>
                  <a:gd name="connsiteY29" fmla="*/ 1352550 h 3277163"/>
                  <a:gd name="connsiteX30" fmla="*/ 866871 w 1212946"/>
                  <a:gd name="connsiteY30" fmla="*/ 1386682 h 3277163"/>
                  <a:gd name="connsiteX31" fmla="*/ 915290 w 1212946"/>
                  <a:gd name="connsiteY31" fmla="*/ 1406525 h 3277163"/>
                  <a:gd name="connsiteX32" fmla="*/ 952596 w 1212946"/>
                  <a:gd name="connsiteY32" fmla="*/ 1460500 h 3277163"/>
                  <a:gd name="connsiteX33" fmla="*/ 1028796 w 1212946"/>
                  <a:gd name="connsiteY33" fmla="*/ 1612900 h 3277163"/>
                  <a:gd name="connsiteX34" fmla="*/ 1022446 w 1212946"/>
                  <a:gd name="connsiteY34" fmla="*/ 1657350 h 3277163"/>
                  <a:gd name="connsiteX35" fmla="*/ 1066896 w 1212946"/>
                  <a:gd name="connsiteY35" fmla="*/ 1720850 h 3277163"/>
                  <a:gd name="connsiteX36" fmla="*/ 1111346 w 1212946"/>
                  <a:gd name="connsiteY36" fmla="*/ 1809750 h 3277163"/>
                  <a:gd name="connsiteX37" fmla="*/ 1154209 w 1212946"/>
                  <a:gd name="connsiteY37" fmla="*/ 1910557 h 3277163"/>
                  <a:gd name="connsiteX38" fmla="*/ 1143096 w 1212946"/>
                  <a:gd name="connsiteY38" fmla="*/ 1981200 h 3277163"/>
                  <a:gd name="connsiteX39" fmla="*/ 1174846 w 1212946"/>
                  <a:gd name="connsiteY39" fmla="*/ 2044700 h 3277163"/>
                  <a:gd name="connsiteX40" fmla="*/ 1193896 w 1212946"/>
                  <a:gd name="connsiteY40" fmla="*/ 2101586 h 3277163"/>
                  <a:gd name="connsiteX41" fmla="*/ 1200246 w 1212946"/>
                  <a:gd name="connsiteY41" fmla="*/ 2139950 h 3277163"/>
                  <a:gd name="connsiteX42" fmla="*/ 1193896 w 1212946"/>
                  <a:gd name="connsiteY42" fmla="*/ 2190750 h 3277163"/>
                  <a:gd name="connsiteX43" fmla="*/ 1193896 w 1212946"/>
                  <a:gd name="connsiteY43" fmla="*/ 2241550 h 3277163"/>
                  <a:gd name="connsiteX44" fmla="*/ 1212946 w 1212946"/>
                  <a:gd name="connsiteY44" fmla="*/ 2273300 h 3277163"/>
                  <a:gd name="connsiteX45" fmla="*/ 1193896 w 1212946"/>
                  <a:gd name="connsiteY45" fmla="*/ 2305050 h 3277163"/>
                  <a:gd name="connsiteX46" fmla="*/ 1187546 w 1212946"/>
                  <a:gd name="connsiteY46" fmla="*/ 2368550 h 3277163"/>
                  <a:gd name="connsiteX47" fmla="*/ 1168496 w 1212946"/>
                  <a:gd name="connsiteY47" fmla="*/ 2478612 h 3277163"/>
                  <a:gd name="connsiteX48" fmla="*/ 1092296 w 1212946"/>
                  <a:gd name="connsiteY48" fmla="*/ 2547142 h 3277163"/>
                  <a:gd name="connsiteX49" fmla="*/ 1079596 w 1212946"/>
                  <a:gd name="connsiteY49" fmla="*/ 2597150 h 3277163"/>
                  <a:gd name="connsiteX50" fmla="*/ 1003396 w 1212946"/>
                  <a:gd name="connsiteY50" fmla="*/ 2616200 h 3277163"/>
                  <a:gd name="connsiteX51" fmla="*/ 927196 w 1212946"/>
                  <a:gd name="connsiteY51" fmla="*/ 2649270 h 3277163"/>
                  <a:gd name="connsiteX52" fmla="*/ 787496 w 1212946"/>
                  <a:gd name="connsiteY52" fmla="*/ 2662759 h 3277163"/>
                  <a:gd name="connsiteX53" fmla="*/ 662878 w 1212946"/>
                  <a:gd name="connsiteY53" fmla="*/ 2674932 h 3277163"/>
                  <a:gd name="connsiteX54" fmla="*/ 608109 w 1212946"/>
                  <a:gd name="connsiteY54" fmla="*/ 2707479 h 3277163"/>
                  <a:gd name="connsiteX55" fmla="*/ 571596 w 1212946"/>
                  <a:gd name="connsiteY55" fmla="*/ 2736850 h 3277163"/>
                  <a:gd name="connsiteX56" fmla="*/ 489046 w 1212946"/>
                  <a:gd name="connsiteY56" fmla="*/ 2844800 h 3277163"/>
                  <a:gd name="connsiteX57" fmla="*/ 435865 w 1212946"/>
                  <a:gd name="connsiteY57" fmla="*/ 2894013 h 3277163"/>
                  <a:gd name="connsiteX58" fmla="*/ 354108 w 1212946"/>
                  <a:gd name="connsiteY58" fmla="*/ 2951162 h 3277163"/>
                  <a:gd name="connsiteX59" fmla="*/ 349346 w 1212946"/>
                  <a:gd name="connsiteY59" fmla="*/ 3022600 h 3277163"/>
                  <a:gd name="connsiteX60" fmla="*/ 248540 w 1212946"/>
                  <a:gd name="connsiteY60" fmla="*/ 3152775 h 3277163"/>
                  <a:gd name="connsiteX61" fmla="*/ 161227 w 1212946"/>
                  <a:gd name="connsiteY61" fmla="*/ 3273426 h 3277163"/>
                  <a:gd name="connsiteX0" fmla="*/ 12796 w 1212946"/>
                  <a:gd name="connsiteY0" fmla="*/ 0 h 3277163"/>
                  <a:gd name="connsiteX1" fmla="*/ 37402 w 1212946"/>
                  <a:gd name="connsiteY1" fmla="*/ 120650 h 3277163"/>
                  <a:gd name="connsiteX2" fmla="*/ 19146 w 1212946"/>
                  <a:gd name="connsiteY2" fmla="*/ 158750 h 3277163"/>
                  <a:gd name="connsiteX3" fmla="*/ 41371 w 1212946"/>
                  <a:gd name="connsiteY3" fmla="*/ 209550 h 3277163"/>
                  <a:gd name="connsiteX4" fmla="*/ 38196 w 1212946"/>
                  <a:gd name="connsiteY4" fmla="*/ 234950 h 3277163"/>
                  <a:gd name="connsiteX5" fmla="*/ 50896 w 1212946"/>
                  <a:gd name="connsiteY5" fmla="*/ 273050 h 3277163"/>
                  <a:gd name="connsiteX6" fmla="*/ 17558 w 1212946"/>
                  <a:gd name="connsiteY6" fmla="*/ 312737 h 3277163"/>
                  <a:gd name="connsiteX7" fmla="*/ 50896 w 1212946"/>
                  <a:gd name="connsiteY7" fmla="*/ 372269 h 3277163"/>
                  <a:gd name="connsiteX8" fmla="*/ 31846 w 1212946"/>
                  <a:gd name="connsiteY8" fmla="*/ 463550 h 3277163"/>
                  <a:gd name="connsiteX9" fmla="*/ 890 w 1212946"/>
                  <a:gd name="connsiteY9" fmla="*/ 525462 h 3277163"/>
                  <a:gd name="connsiteX10" fmla="*/ 96 w 1212946"/>
                  <a:gd name="connsiteY10" fmla="*/ 546101 h 3277163"/>
                  <a:gd name="connsiteX11" fmla="*/ 6446 w 1212946"/>
                  <a:gd name="connsiteY11" fmla="*/ 603250 h 3277163"/>
                  <a:gd name="connsiteX12" fmla="*/ 50896 w 1212946"/>
                  <a:gd name="connsiteY12" fmla="*/ 647700 h 3277163"/>
                  <a:gd name="connsiteX13" fmla="*/ 95346 w 1212946"/>
                  <a:gd name="connsiteY13" fmla="*/ 692678 h 3277163"/>
                  <a:gd name="connsiteX14" fmla="*/ 120746 w 1212946"/>
                  <a:gd name="connsiteY14" fmla="*/ 749300 h 3277163"/>
                  <a:gd name="connsiteX15" fmla="*/ 170752 w 1212946"/>
                  <a:gd name="connsiteY15" fmla="*/ 763587 h 3277163"/>
                  <a:gd name="connsiteX16" fmla="*/ 241396 w 1212946"/>
                  <a:gd name="connsiteY16" fmla="*/ 806450 h 3277163"/>
                  <a:gd name="connsiteX17" fmla="*/ 276321 w 1212946"/>
                  <a:gd name="connsiteY17" fmla="*/ 842697 h 3277163"/>
                  <a:gd name="connsiteX18" fmla="*/ 273146 w 1212946"/>
                  <a:gd name="connsiteY18" fmla="*/ 901700 h 3277163"/>
                  <a:gd name="connsiteX19" fmla="*/ 376334 w 1212946"/>
                  <a:gd name="connsiteY19" fmla="*/ 981869 h 3277163"/>
                  <a:gd name="connsiteX20" fmla="*/ 425546 w 1212946"/>
                  <a:gd name="connsiteY20" fmla="*/ 1028700 h 3277163"/>
                  <a:gd name="connsiteX21" fmla="*/ 463646 w 1212946"/>
                  <a:gd name="connsiteY21" fmla="*/ 1098550 h 3277163"/>
                  <a:gd name="connsiteX22" fmla="*/ 565246 w 1212946"/>
                  <a:gd name="connsiteY22" fmla="*/ 1143000 h 3277163"/>
                  <a:gd name="connsiteX23" fmla="*/ 609696 w 1212946"/>
                  <a:gd name="connsiteY23" fmla="*/ 1162050 h 3277163"/>
                  <a:gd name="connsiteX24" fmla="*/ 635096 w 1212946"/>
                  <a:gd name="connsiteY24" fmla="*/ 1212850 h 3277163"/>
                  <a:gd name="connsiteX25" fmla="*/ 692246 w 1212946"/>
                  <a:gd name="connsiteY25" fmla="*/ 1237194 h 3277163"/>
                  <a:gd name="connsiteX26" fmla="*/ 722409 w 1212946"/>
                  <a:gd name="connsiteY26" fmla="*/ 1269475 h 3277163"/>
                  <a:gd name="connsiteX27" fmla="*/ 745427 w 1212946"/>
                  <a:gd name="connsiteY27" fmla="*/ 1280058 h 3277163"/>
                  <a:gd name="connsiteX28" fmla="*/ 788289 w 1212946"/>
                  <a:gd name="connsiteY28" fmla="*/ 1304925 h 3277163"/>
                  <a:gd name="connsiteX29" fmla="*/ 825596 w 1212946"/>
                  <a:gd name="connsiteY29" fmla="*/ 1352550 h 3277163"/>
                  <a:gd name="connsiteX30" fmla="*/ 866871 w 1212946"/>
                  <a:gd name="connsiteY30" fmla="*/ 1386682 h 3277163"/>
                  <a:gd name="connsiteX31" fmla="*/ 915290 w 1212946"/>
                  <a:gd name="connsiteY31" fmla="*/ 1406525 h 3277163"/>
                  <a:gd name="connsiteX32" fmla="*/ 952596 w 1212946"/>
                  <a:gd name="connsiteY32" fmla="*/ 1460500 h 3277163"/>
                  <a:gd name="connsiteX33" fmla="*/ 1028796 w 1212946"/>
                  <a:gd name="connsiteY33" fmla="*/ 1612900 h 3277163"/>
                  <a:gd name="connsiteX34" fmla="*/ 1022446 w 1212946"/>
                  <a:gd name="connsiteY34" fmla="*/ 1657350 h 3277163"/>
                  <a:gd name="connsiteX35" fmla="*/ 1066896 w 1212946"/>
                  <a:gd name="connsiteY35" fmla="*/ 1720850 h 3277163"/>
                  <a:gd name="connsiteX36" fmla="*/ 1111346 w 1212946"/>
                  <a:gd name="connsiteY36" fmla="*/ 1809750 h 3277163"/>
                  <a:gd name="connsiteX37" fmla="*/ 1154209 w 1212946"/>
                  <a:gd name="connsiteY37" fmla="*/ 1910557 h 3277163"/>
                  <a:gd name="connsiteX38" fmla="*/ 1143096 w 1212946"/>
                  <a:gd name="connsiteY38" fmla="*/ 1981200 h 3277163"/>
                  <a:gd name="connsiteX39" fmla="*/ 1174846 w 1212946"/>
                  <a:gd name="connsiteY39" fmla="*/ 2044700 h 3277163"/>
                  <a:gd name="connsiteX40" fmla="*/ 1193896 w 1212946"/>
                  <a:gd name="connsiteY40" fmla="*/ 2101586 h 3277163"/>
                  <a:gd name="connsiteX41" fmla="*/ 1200246 w 1212946"/>
                  <a:gd name="connsiteY41" fmla="*/ 2139950 h 3277163"/>
                  <a:gd name="connsiteX42" fmla="*/ 1193896 w 1212946"/>
                  <a:gd name="connsiteY42" fmla="*/ 2190750 h 3277163"/>
                  <a:gd name="connsiteX43" fmla="*/ 1193896 w 1212946"/>
                  <a:gd name="connsiteY43" fmla="*/ 2241550 h 3277163"/>
                  <a:gd name="connsiteX44" fmla="*/ 1212946 w 1212946"/>
                  <a:gd name="connsiteY44" fmla="*/ 2273300 h 3277163"/>
                  <a:gd name="connsiteX45" fmla="*/ 1193896 w 1212946"/>
                  <a:gd name="connsiteY45" fmla="*/ 2305050 h 3277163"/>
                  <a:gd name="connsiteX46" fmla="*/ 1187546 w 1212946"/>
                  <a:gd name="connsiteY46" fmla="*/ 2368550 h 3277163"/>
                  <a:gd name="connsiteX47" fmla="*/ 1168496 w 1212946"/>
                  <a:gd name="connsiteY47" fmla="*/ 2478612 h 3277163"/>
                  <a:gd name="connsiteX48" fmla="*/ 1092296 w 1212946"/>
                  <a:gd name="connsiteY48" fmla="*/ 2547142 h 3277163"/>
                  <a:gd name="connsiteX49" fmla="*/ 1079596 w 1212946"/>
                  <a:gd name="connsiteY49" fmla="*/ 2597150 h 3277163"/>
                  <a:gd name="connsiteX50" fmla="*/ 1003396 w 1212946"/>
                  <a:gd name="connsiteY50" fmla="*/ 2616200 h 3277163"/>
                  <a:gd name="connsiteX51" fmla="*/ 927196 w 1212946"/>
                  <a:gd name="connsiteY51" fmla="*/ 2649270 h 3277163"/>
                  <a:gd name="connsiteX52" fmla="*/ 787496 w 1212946"/>
                  <a:gd name="connsiteY52" fmla="*/ 2662759 h 3277163"/>
                  <a:gd name="connsiteX53" fmla="*/ 662878 w 1212946"/>
                  <a:gd name="connsiteY53" fmla="*/ 2674932 h 3277163"/>
                  <a:gd name="connsiteX54" fmla="*/ 608109 w 1212946"/>
                  <a:gd name="connsiteY54" fmla="*/ 2707479 h 3277163"/>
                  <a:gd name="connsiteX55" fmla="*/ 571596 w 1212946"/>
                  <a:gd name="connsiteY55" fmla="*/ 2736850 h 3277163"/>
                  <a:gd name="connsiteX56" fmla="*/ 476346 w 1212946"/>
                  <a:gd name="connsiteY56" fmla="*/ 2802198 h 3277163"/>
                  <a:gd name="connsiteX57" fmla="*/ 435865 w 1212946"/>
                  <a:gd name="connsiteY57" fmla="*/ 2894013 h 3277163"/>
                  <a:gd name="connsiteX58" fmla="*/ 354108 w 1212946"/>
                  <a:gd name="connsiteY58" fmla="*/ 2951162 h 3277163"/>
                  <a:gd name="connsiteX59" fmla="*/ 349346 w 1212946"/>
                  <a:gd name="connsiteY59" fmla="*/ 3022600 h 3277163"/>
                  <a:gd name="connsiteX60" fmla="*/ 248540 w 1212946"/>
                  <a:gd name="connsiteY60" fmla="*/ 3152775 h 3277163"/>
                  <a:gd name="connsiteX61" fmla="*/ 161227 w 1212946"/>
                  <a:gd name="connsiteY61" fmla="*/ 3273426 h 3277163"/>
                  <a:gd name="connsiteX0" fmla="*/ 12796 w 1212946"/>
                  <a:gd name="connsiteY0" fmla="*/ 0 h 3277163"/>
                  <a:gd name="connsiteX1" fmla="*/ 37402 w 1212946"/>
                  <a:gd name="connsiteY1" fmla="*/ 120650 h 3277163"/>
                  <a:gd name="connsiteX2" fmla="*/ 19146 w 1212946"/>
                  <a:gd name="connsiteY2" fmla="*/ 158750 h 3277163"/>
                  <a:gd name="connsiteX3" fmla="*/ 41371 w 1212946"/>
                  <a:gd name="connsiteY3" fmla="*/ 209550 h 3277163"/>
                  <a:gd name="connsiteX4" fmla="*/ 38196 w 1212946"/>
                  <a:gd name="connsiteY4" fmla="*/ 234950 h 3277163"/>
                  <a:gd name="connsiteX5" fmla="*/ 50896 w 1212946"/>
                  <a:gd name="connsiteY5" fmla="*/ 273050 h 3277163"/>
                  <a:gd name="connsiteX6" fmla="*/ 17558 w 1212946"/>
                  <a:gd name="connsiteY6" fmla="*/ 312737 h 3277163"/>
                  <a:gd name="connsiteX7" fmla="*/ 50896 w 1212946"/>
                  <a:gd name="connsiteY7" fmla="*/ 372269 h 3277163"/>
                  <a:gd name="connsiteX8" fmla="*/ 31846 w 1212946"/>
                  <a:gd name="connsiteY8" fmla="*/ 463550 h 3277163"/>
                  <a:gd name="connsiteX9" fmla="*/ 890 w 1212946"/>
                  <a:gd name="connsiteY9" fmla="*/ 525462 h 3277163"/>
                  <a:gd name="connsiteX10" fmla="*/ 96 w 1212946"/>
                  <a:gd name="connsiteY10" fmla="*/ 546101 h 3277163"/>
                  <a:gd name="connsiteX11" fmla="*/ 6446 w 1212946"/>
                  <a:gd name="connsiteY11" fmla="*/ 603250 h 3277163"/>
                  <a:gd name="connsiteX12" fmla="*/ 50896 w 1212946"/>
                  <a:gd name="connsiteY12" fmla="*/ 647700 h 3277163"/>
                  <a:gd name="connsiteX13" fmla="*/ 95346 w 1212946"/>
                  <a:gd name="connsiteY13" fmla="*/ 692678 h 3277163"/>
                  <a:gd name="connsiteX14" fmla="*/ 120746 w 1212946"/>
                  <a:gd name="connsiteY14" fmla="*/ 749300 h 3277163"/>
                  <a:gd name="connsiteX15" fmla="*/ 170752 w 1212946"/>
                  <a:gd name="connsiteY15" fmla="*/ 763587 h 3277163"/>
                  <a:gd name="connsiteX16" fmla="*/ 241396 w 1212946"/>
                  <a:gd name="connsiteY16" fmla="*/ 806450 h 3277163"/>
                  <a:gd name="connsiteX17" fmla="*/ 276321 w 1212946"/>
                  <a:gd name="connsiteY17" fmla="*/ 842697 h 3277163"/>
                  <a:gd name="connsiteX18" fmla="*/ 273146 w 1212946"/>
                  <a:gd name="connsiteY18" fmla="*/ 901700 h 3277163"/>
                  <a:gd name="connsiteX19" fmla="*/ 376334 w 1212946"/>
                  <a:gd name="connsiteY19" fmla="*/ 981869 h 3277163"/>
                  <a:gd name="connsiteX20" fmla="*/ 425546 w 1212946"/>
                  <a:gd name="connsiteY20" fmla="*/ 1028700 h 3277163"/>
                  <a:gd name="connsiteX21" fmla="*/ 463646 w 1212946"/>
                  <a:gd name="connsiteY21" fmla="*/ 1098550 h 3277163"/>
                  <a:gd name="connsiteX22" fmla="*/ 565246 w 1212946"/>
                  <a:gd name="connsiteY22" fmla="*/ 1143000 h 3277163"/>
                  <a:gd name="connsiteX23" fmla="*/ 609696 w 1212946"/>
                  <a:gd name="connsiteY23" fmla="*/ 1162050 h 3277163"/>
                  <a:gd name="connsiteX24" fmla="*/ 635096 w 1212946"/>
                  <a:gd name="connsiteY24" fmla="*/ 1212850 h 3277163"/>
                  <a:gd name="connsiteX25" fmla="*/ 692246 w 1212946"/>
                  <a:gd name="connsiteY25" fmla="*/ 1237194 h 3277163"/>
                  <a:gd name="connsiteX26" fmla="*/ 722409 w 1212946"/>
                  <a:gd name="connsiteY26" fmla="*/ 1269475 h 3277163"/>
                  <a:gd name="connsiteX27" fmla="*/ 745427 w 1212946"/>
                  <a:gd name="connsiteY27" fmla="*/ 1280058 h 3277163"/>
                  <a:gd name="connsiteX28" fmla="*/ 788289 w 1212946"/>
                  <a:gd name="connsiteY28" fmla="*/ 1304925 h 3277163"/>
                  <a:gd name="connsiteX29" fmla="*/ 825596 w 1212946"/>
                  <a:gd name="connsiteY29" fmla="*/ 1352550 h 3277163"/>
                  <a:gd name="connsiteX30" fmla="*/ 866871 w 1212946"/>
                  <a:gd name="connsiteY30" fmla="*/ 1386682 h 3277163"/>
                  <a:gd name="connsiteX31" fmla="*/ 915290 w 1212946"/>
                  <a:gd name="connsiteY31" fmla="*/ 1406525 h 3277163"/>
                  <a:gd name="connsiteX32" fmla="*/ 952596 w 1212946"/>
                  <a:gd name="connsiteY32" fmla="*/ 1460500 h 3277163"/>
                  <a:gd name="connsiteX33" fmla="*/ 1028796 w 1212946"/>
                  <a:gd name="connsiteY33" fmla="*/ 1612900 h 3277163"/>
                  <a:gd name="connsiteX34" fmla="*/ 1022446 w 1212946"/>
                  <a:gd name="connsiteY34" fmla="*/ 1657350 h 3277163"/>
                  <a:gd name="connsiteX35" fmla="*/ 1066896 w 1212946"/>
                  <a:gd name="connsiteY35" fmla="*/ 1720850 h 3277163"/>
                  <a:gd name="connsiteX36" fmla="*/ 1111346 w 1212946"/>
                  <a:gd name="connsiteY36" fmla="*/ 1809750 h 3277163"/>
                  <a:gd name="connsiteX37" fmla="*/ 1154209 w 1212946"/>
                  <a:gd name="connsiteY37" fmla="*/ 1910557 h 3277163"/>
                  <a:gd name="connsiteX38" fmla="*/ 1143096 w 1212946"/>
                  <a:gd name="connsiteY38" fmla="*/ 1981200 h 3277163"/>
                  <a:gd name="connsiteX39" fmla="*/ 1174846 w 1212946"/>
                  <a:gd name="connsiteY39" fmla="*/ 2044700 h 3277163"/>
                  <a:gd name="connsiteX40" fmla="*/ 1193896 w 1212946"/>
                  <a:gd name="connsiteY40" fmla="*/ 2101586 h 3277163"/>
                  <a:gd name="connsiteX41" fmla="*/ 1200246 w 1212946"/>
                  <a:gd name="connsiteY41" fmla="*/ 2139950 h 3277163"/>
                  <a:gd name="connsiteX42" fmla="*/ 1193896 w 1212946"/>
                  <a:gd name="connsiteY42" fmla="*/ 2190750 h 3277163"/>
                  <a:gd name="connsiteX43" fmla="*/ 1193896 w 1212946"/>
                  <a:gd name="connsiteY43" fmla="*/ 2241550 h 3277163"/>
                  <a:gd name="connsiteX44" fmla="*/ 1212946 w 1212946"/>
                  <a:gd name="connsiteY44" fmla="*/ 2273300 h 3277163"/>
                  <a:gd name="connsiteX45" fmla="*/ 1193896 w 1212946"/>
                  <a:gd name="connsiteY45" fmla="*/ 2305050 h 3277163"/>
                  <a:gd name="connsiteX46" fmla="*/ 1187546 w 1212946"/>
                  <a:gd name="connsiteY46" fmla="*/ 2368550 h 3277163"/>
                  <a:gd name="connsiteX47" fmla="*/ 1168496 w 1212946"/>
                  <a:gd name="connsiteY47" fmla="*/ 2478612 h 3277163"/>
                  <a:gd name="connsiteX48" fmla="*/ 1092296 w 1212946"/>
                  <a:gd name="connsiteY48" fmla="*/ 2547142 h 3277163"/>
                  <a:gd name="connsiteX49" fmla="*/ 1079596 w 1212946"/>
                  <a:gd name="connsiteY49" fmla="*/ 2597150 h 3277163"/>
                  <a:gd name="connsiteX50" fmla="*/ 1003396 w 1212946"/>
                  <a:gd name="connsiteY50" fmla="*/ 2616200 h 3277163"/>
                  <a:gd name="connsiteX51" fmla="*/ 927196 w 1212946"/>
                  <a:gd name="connsiteY51" fmla="*/ 2649270 h 3277163"/>
                  <a:gd name="connsiteX52" fmla="*/ 787496 w 1212946"/>
                  <a:gd name="connsiteY52" fmla="*/ 2662759 h 3277163"/>
                  <a:gd name="connsiteX53" fmla="*/ 662878 w 1212946"/>
                  <a:gd name="connsiteY53" fmla="*/ 2674932 h 3277163"/>
                  <a:gd name="connsiteX54" fmla="*/ 608109 w 1212946"/>
                  <a:gd name="connsiteY54" fmla="*/ 2707479 h 3277163"/>
                  <a:gd name="connsiteX55" fmla="*/ 546196 w 1212946"/>
                  <a:gd name="connsiteY55" fmla="*/ 2736850 h 3277163"/>
                  <a:gd name="connsiteX56" fmla="*/ 476346 w 1212946"/>
                  <a:gd name="connsiteY56" fmla="*/ 2802198 h 3277163"/>
                  <a:gd name="connsiteX57" fmla="*/ 435865 w 1212946"/>
                  <a:gd name="connsiteY57" fmla="*/ 2894013 h 3277163"/>
                  <a:gd name="connsiteX58" fmla="*/ 354108 w 1212946"/>
                  <a:gd name="connsiteY58" fmla="*/ 2951162 h 3277163"/>
                  <a:gd name="connsiteX59" fmla="*/ 349346 w 1212946"/>
                  <a:gd name="connsiteY59" fmla="*/ 3022600 h 3277163"/>
                  <a:gd name="connsiteX60" fmla="*/ 248540 w 1212946"/>
                  <a:gd name="connsiteY60" fmla="*/ 3152775 h 3277163"/>
                  <a:gd name="connsiteX61" fmla="*/ 161227 w 1212946"/>
                  <a:gd name="connsiteY61" fmla="*/ 3273426 h 3277163"/>
                  <a:gd name="connsiteX0" fmla="*/ 12796 w 1212946"/>
                  <a:gd name="connsiteY0" fmla="*/ 0 h 3277163"/>
                  <a:gd name="connsiteX1" fmla="*/ 37402 w 1212946"/>
                  <a:gd name="connsiteY1" fmla="*/ 120650 h 3277163"/>
                  <a:gd name="connsiteX2" fmla="*/ 19146 w 1212946"/>
                  <a:gd name="connsiteY2" fmla="*/ 158750 h 3277163"/>
                  <a:gd name="connsiteX3" fmla="*/ 41371 w 1212946"/>
                  <a:gd name="connsiteY3" fmla="*/ 209550 h 3277163"/>
                  <a:gd name="connsiteX4" fmla="*/ 38196 w 1212946"/>
                  <a:gd name="connsiteY4" fmla="*/ 234950 h 3277163"/>
                  <a:gd name="connsiteX5" fmla="*/ 50896 w 1212946"/>
                  <a:gd name="connsiteY5" fmla="*/ 273050 h 3277163"/>
                  <a:gd name="connsiteX6" fmla="*/ 17558 w 1212946"/>
                  <a:gd name="connsiteY6" fmla="*/ 312737 h 3277163"/>
                  <a:gd name="connsiteX7" fmla="*/ 50896 w 1212946"/>
                  <a:gd name="connsiteY7" fmla="*/ 372269 h 3277163"/>
                  <a:gd name="connsiteX8" fmla="*/ 31846 w 1212946"/>
                  <a:gd name="connsiteY8" fmla="*/ 463550 h 3277163"/>
                  <a:gd name="connsiteX9" fmla="*/ 890 w 1212946"/>
                  <a:gd name="connsiteY9" fmla="*/ 525462 h 3277163"/>
                  <a:gd name="connsiteX10" fmla="*/ 96 w 1212946"/>
                  <a:gd name="connsiteY10" fmla="*/ 546101 h 3277163"/>
                  <a:gd name="connsiteX11" fmla="*/ 6446 w 1212946"/>
                  <a:gd name="connsiteY11" fmla="*/ 603250 h 3277163"/>
                  <a:gd name="connsiteX12" fmla="*/ 50896 w 1212946"/>
                  <a:gd name="connsiteY12" fmla="*/ 647700 h 3277163"/>
                  <a:gd name="connsiteX13" fmla="*/ 95346 w 1212946"/>
                  <a:gd name="connsiteY13" fmla="*/ 692678 h 3277163"/>
                  <a:gd name="connsiteX14" fmla="*/ 120746 w 1212946"/>
                  <a:gd name="connsiteY14" fmla="*/ 749300 h 3277163"/>
                  <a:gd name="connsiteX15" fmla="*/ 170752 w 1212946"/>
                  <a:gd name="connsiteY15" fmla="*/ 763587 h 3277163"/>
                  <a:gd name="connsiteX16" fmla="*/ 241396 w 1212946"/>
                  <a:gd name="connsiteY16" fmla="*/ 806450 h 3277163"/>
                  <a:gd name="connsiteX17" fmla="*/ 276321 w 1212946"/>
                  <a:gd name="connsiteY17" fmla="*/ 842697 h 3277163"/>
                  <a:gd name="connsiteX18" fmla="*/ 273146 w 1212946"/>
                  <a:gd name="connsiteY18" fmla="*/ 901700 h 3277163"/>
                  <a:gd name="connsiteX19" fmla="*/ 376334 w 1212946"/>
                  <a:gd name="connsiteY19" fmla="*/ 981869 h 3277163"/>
                  <a:gd name="connsiteX20" fmla="*/ 425546 w 1212946"/>
                  <a:gd name="connsiteY20" fmla="*/ 1028700 h 3277163"/>
                  <a:gd name="connsiteX21" fmla="*/ 463646 w 1212946"/>
                  <a:gd name="connsiteY21" fmla="*/ 1098550 h 3277163"/>
                  <a:gd name="connsiteX22" fmla="*/ 565246 w 1212946"/>
                  <a:gd name="connsiteY22" fmla="*/ 1143000 h 3277163"/>
                  <a:gd name="connsiteX23" fmla="*/ 609696 w 1212946"/>
                  <a:gd name="connsiteY23" fmla="*/ 1162050 h 3277163"/>
                  <a:gd name="connsiteX24" fmla="*/ 635096 w 1212946"/>
                  <a:gd name="connsiteY24" fmla="*/ 1212850 h 3277163"/>
                  <a:gd name="connsiteX25" fmla="*/ 692246 w 1212946"/>
                  <a:gd name="connsiteY25" fmla="*/ 1237194 h 3277163"/>
                  <a:gd name="connsiteX26" fmla="*/ 722409 w 1212946"/>
                  <a:gd name="connsiteY26" fmla="*/ 1269475 h 3277163"/>
                  <a:gd name="connsiteX27" fmla="*/ 745427 w 1212946"/>
                  <a:gd name="connsiteY27" fmla="*/ 1280058 h 3277163"/>
                  <a:gd name="connsiteX28" fmla="*/ 788289 w 1212946"/>
                  <a:gd name="connsiteY28" fmla="*/ 1304925 h 3277163"/>
                  <a:gd name="connsiteX29" fmla="*/ 825596 w 1212946"/>
                  <a:gd name="connsiteY29" fmla="*/ 1352550 h 3277163"/>
                  <a:gd name="connsiteX30" fmla="*/ 866871 w 1212946"/>
                  <a:gd name="connsiteY30" fmla="*/ 1386682 h 3277163"/>
                  <a:gd name="connsiteX31" fmla="*/ 915290 w 1212946"/>
                  <a:gd name="connsiteY31" fmla="*/ 1406525 h 3277163"/>
                  <a:gd name="connsiteX32" fmla="*/ 952596 w 1212946"/>
                  <a:gd name="connsiteY32" fmla="*/ 1460500 h 3277163"/>
                  <a:gd name="connsiteX33" fmla="*/ 1028796 w 1212946"/>
                  <a:gd name="connsiteY33" fmla="*/ 1612900 h 3277163"/>
                  <a:gd name="connsiteX34" fmla="*/ 1022446 w 1212946"/>
                  <a:gd name="connsiteY34" fmla="*/ 1657350 h 3277163"/>
                  <a:gd name="connsiteX35" fmla="*/ 1066896 w 1212946"/>
                  <a:gd name="connsiteY35" fmla="*/ 1720850 h 3277163"/>
                  <a:gd name="connsiteX36" fmla="*/ 1111346 w 1212946"/>
                  <a:gd name="connsiteY36" fmla="*/ 1809750 h 3277163"/>
                  <a:gd name="connsiteX37" fmla="*/ 1154209 w 1212946"/>
                  <a:gd name="connsiteY37" fmla="*/ 1910557 h 3277163"/>
                  <a:gd name="connsiteX38" fmla="*/ 1143096 w 1212946"/>
                  <a:gd name="connsiteY38" fmla="*/ 1981200 h 3277163"/>
                  <a:gd name="connsiteX39" fmla="*/ 1174846 w 1212946"/>
                  <a:gd name="connsiteY39" fmla="*/ 2044700 h 3277163"/>
                  <a:gd name="connsiteX40" fmla="*/ 1193896 w 1212946"/>
                  <a:gd name="connsiteY40" fmla="*/ 2101586 h 3277163"/>
                  <a:gd name="connsiteX41" fmla="*/ 1200246 w 1212946"/>
                  <a:gd name="connsiteY41" fmla="*/ 2139950 h 3277163"/>
                  <a:gd name="connsiteX42" fmla="*/ 1193896 w 1212946"/>
                  <a:gd name="connsiteY42" fmla="*/ 2190750 h 3277163"/>
                  <a:gd name="connsiteX43" fmla="*/ 1193896 w 1212946"/>
                  <a:gd name="connsiteY43" fmla="*/ 2241550 h 3277163"/>
                  <a:gd name="connsiteX44" fmla="*/ 1212946 w 1212946"/>
                  <a:gd name="connsiteY44" fmla="*/ 2273300 h 3277163"/>
                  <a:gd name="connsiteX45" fmla="*/ 1193896 w 1212946"/>
                  <a:gd name="connsiteY45" fmla="*/ 2305050 h 3277163"/>
                  <a:gd name="connsiteX46" fmla="*/ 1187546 w 1212946"/>
                  <a:gd name="connsiteY46" fmla="*/ 2368550 h 3277163"/>
                  <a:gd name="connsiteX47" fmla="*/ 1168496 w 1212946"/>
                  <a:gd name="connsiteY47" fmla="*/ 2478612 h 3277163"/>
                  <a:gd name="connsiteX48" fmla="*/ 1092296 w 1212946"/>
                  <a:gd name="connsiteY48" fmla="*/ 2547142 h 3277163"/>
                  <a:gd name="connsiteX49" fmla="*/ 1079596 w 1212946"/>
                  <a:gd name="connsiteY49" fmla="*/ 2597150 h 3277163"/>
                  <a:gd name="connsiteX50" fmla="*/ 1003396 w 1212946"/>
                  <a:gd name="connsiteY50" fmla="*/ 2616200 h 3277163"/>
                  <a:gd name="connsiteX51" fmla="*/ 927196 w 1212946"/>
                  <a:gd name="connsiteY51" fmla="*/ 2649270 h 3277163"/>
                  <a:gd name="connsiteX52" fmla="*/ 787496 w 1212946"/>
                  <a:gd name="connsiteY52" fmla="*/ 2662759 h 3277163"/>
                  <a:gd name="connsiteX53" fmla="*/ 662878 w 1212946"/>
                  <a:gd name="connsiteY53" fmla="*/ 2674932 h 3277163"/>
                  <a:gd name="connsiteX54" fmla="*/ 608109 w 1212946"/>
                  <a:gd name="connsiteY54" fmla="*/ 2707479 h 3277163"/>
                  <a:gd name="connsiteX55" fmla="*/ 546196 w 1212946"/>
                  <a:gd name="connsiteY55" fmla="*/ 2736850 h 3277163"/>
                  <a:gd name="connsiteX56" fmla="*/ 476346 w 1212946"/>
                  <a:gd name="connsiteY56" fmla="*/ 2802198 h 3277163"/>
                  <a:gd name="connsiteX57" fmla="*/ 435865 w 1212946"/>
                  <a:gd name="connsiteY57" fmla="*/ 2894013 h 3277163"/>
                  <a:gd name="connsiteX58" fmla="*/ 354108 w 1212946"/>
                  <a:gd name="connsiteY58" fmla="*/ 2951162 h 3277163"/>
                  <a:gd name="connsiteX59" fmla="*/ 317596 w 1212946"/>
                  <a:gd name="connsiteY59" fmla="*/ 3016514 h 3277163"/>
                  <a:gd name="connsiteX60" fmla="*/ 248540 w 1212946"/>
                  <a:gd name="connsiteY60" fmla="*/ 3152775 h 3277163"/>
                  <a:gd name="connsiteX61" fmla="*/ 161227 w 1212946"/>
                  <a:gd name="connsiteY61" fmla="*/ 3273426 h 3277163"/>
                  <a:gd name="connsiteX0" fmla="*/ 12796 w 1212946"/>
                  <a:gd name="connsiteY0" fmla="*/ 0 h 3276235"/>
                  <a:gd name="connsiteX1" fmla="*/ 37402 w 1212946"/>
                  <a:gd name="connsiteY1" fmla="*/ 120650 h 3276235"/>
                  <a:gd name="connsiteX2" fmla="*/ 19146 w 1212946"/>
                  <a:gd name="connsiteY2" fmla="*/ 158750 h 3276235"/>
                  <a:gd name="connsiteX3" fmla="*/ 41371 w 1212946"/>
                  <a:gd name="connsiteY3" fmla="*/ 209550 h 3276235"/>
                  <a:gd name="connsiteX4" fmla="*/ 38196 w 1212946"/>
                  <a:gd name="connsiteY4" fmla="*/ 234950 h 3276235"/>
                  <a:gd name="connsiteX5" fmla="*/ 50896 w 1212946"/>
                  <a:gd name="connsiteY5" fmla="*/ 273050 h 3276235"/>
                  <a:gd name="connsiteX6" fmla="*/ 17558 w 1212946"/>
                  <a:gd name="connsiteY6" fmla="*/ 312737 h 3276235"/>
                  <a:gd name="connsiteX7" fmla="*/ 50896 w 1212946"/>
                  <a:gd name="connsiteY7" fmla="*/ 372269 h 3276235"/>
                  <a:gd name="connsiteX8" fmla="*/ 31846 w 1212946"/>
                  <a:gd name="connsiteY8" fmla="*/ 463550 h 3276235"/>
                  <a:gd name="connsiteX9" fmla="*/ 890 w 1212946"/>
                  <a:gd name="connsiteY9" fmla="*/ 525462 h 3276235"/>
                  <a:gd name="connsiteX10" fmla="*/ 96 w 1212946"/>
                  <a:gd name="connsiteY10" fmla="*/ 546101 h 3276235"/>
                  <a:gd name="connsiteX11" fmla="*/ 6446 w 1212946"/>
                  <a:gd name="connsiteY11" fmla="*/ 603250 h 3276235"/>
                  <a:gd name="connsiteX12" fmla="*/ 50896 w 1212946"/>
                  <a:gd name="connsiteY12" fmla="*/ 647700 h 3276235"/>
                  <a:gd name="connsiteX13" fmla="*/ 95346 w 1212946"/>
                  <a:gd name="connsiteY13" fmla="*/ 692678 h 3276235"/>
                  <a:gd name="connsiteX14" fmla="*/ 120746 w 1212946"/>
                  <a:gd name="connsiteY14" fmla="*/ 749300 h 3276235"/>
                  <a:gd name="connsiteX15" fmla="*/ 170752 w 1212946"/>
                  <a:gd name="connsiteY15" fmla="*/ 763587 h 3276235"/>
                  <a:gd name="connsiteX16" fmla="*/ 241396 w 1212946"/>
                  <a:gd name="connsiteY16" fmla="*/ 806450 h 3276235"/>
                  <a:gd name="connsiteX17" fmla="*/ 276321 w 1212946"/>
                  <a:gd name="connsiteY17" fmla="*/ 842697 h 3276235"/>
                  <a:gd name="connsiteX18" fmla="*/ 273146 w 1212946"/>
                  <a:gd name="connsiteY18" fmla="*/ 901700 h 3276235"/>
                  <a:gd name="connsiteX19" fmla="*/ 376334 w 1212946"/>
                  <a:gd name="connsiteY19" fmla="*/ 981869 h 3276235"/>
                  <a:gd name="connsiteX20" fmla="*/ 425546 w 1212946"/>
                  <a:gd name="connsiteY20" fmla="*/ 1028700 h 3276235"/>
                  <a:gd name="connsiteX21" fmla="*/ 463646 w 1212946"/>
                  <a:gd name="connsiteY21" fmla="*/ 1098550 h 3276235"/>
                  <a:gd name="connsiteX22" fmla="*/ 565246 w 1212946"/>
                  <a:gd name="connsiteY22" fmla="*/ 1143000 h 3276235"/>
                  <a:gd name="connsiteX23" fmla="*/ 609696 w 1212946"/>
                  <a:gd name="connsiteY23" fmla="*/ 1162050 h 3276235"/>
                  <a:gd name="connsiteX24" fmla="*/ 635096 w 1212946"/>
                  <a:gd name="connsiteY24" fmla="*/ 1212850 h 3276235"/>
                  <a:gd name="connsiteX25" fmla="*/ 692246 w 1212946"/>
                  <a:gd name="connsiteY25" fmla="*/ 1237194 h 3276235"/>
                  <a:gd name="connsiteX26" fmla="*/ 722409 w 1212946"/>
                  <a:gd name="connsiteY26" fmla="*/ 1269475 h 3276235"/>
                  <a:gd name="connsiteX27" fmla="*/ 745427 w 1212946"/>
                  <a:gd name="connsiteY27" fmla="*/ 1280058 h 3276235"/>
                  <a:gd name="connsiteX28" fmla="*/ 788289 w 1212946"/>
                  <a:gd name="connsiteY28" fmla="*/ 1304925 h 3276235"/>
                  <a:gd name="connsiteX29" fmla="*/ 825596 w 1212946"/>
                  <a:gd name="connsiteY29" fmla="*/ 1352550 h 3276235"/>
                  <a:gd name="connsiteX30" fmla="*/ 866871 w 1212946"/>
                  <a:gd name="connsiteY30" fmla="*/ 1386682 h 3276235"/>
                  <a:gd name="connsiteX31" fmla="*/ 915290 w 1212946"/>
                  <a:gd name="connsiteY31" fmla="*/ 1406525 h 3276235"/>
                  <a:gd name="connsiteX32" fmla="*/ 952596 w 1212946"/>
                  <a:gd name="connsiteY32" fmla="*/ 1460500 h 3276235"/>
                  <a:gd name="connsiteX33" fmla="*/ 1028796 w 1212946"/>
                  <a:gd name="connsiteY33" fmla="*/ 1612900 h 3276235"/>
                  <a:gd name="connsiteX34" fmla="*/ 1022446 w 1212946"/>
                  <a:gd name="connsiteY34" fmla="*/ 1657350 h 3276235"/>
                  <a:gd name="connsiteX35" fmla="*/ 1066896 w 1212946"/>
                  <a:gd name="connsiteY35" fmla="*/ 1720850 h 3276235"/>
                  <a:gd name="connsiteX36" fmla="*/ 1111346 w 1212946"/>
                  <a:gd name="connsiteY36" fmla="*/ 1809750 h 3276235"/>
                  <a:gd name="connsiteX37" fmla="*/ 1154209 w 1212946"/>
                  <a:gd name="connsiteY37" fmla="*/ 1910557 h 3276235"/>
                  <a:gd name="connsiteX38" fmla="*/ 1143096 w 1212946"/>
                  <a:gd name="connsiteY38" fmla="*/ 1981200 h 3276235"/>
                  <a:gd name="connsiteX39" fmla="*/ 1174846 w 1212946"/>
                  <a:gd name="connsiteY39" fmla="*/ 2044700 h 3276235"/>
                  <a:gd name="connsiteX40" fmla="*/ 1193896 w 1212946"/>
                  <a:gd name="connsiteY40" fmla="*/ 2101586 h 3276235"/>
                  <a:gd name="connsiteX41" fmla="*/ 1200246 w 1212946"/>
                  <a:gd name="connsiteY41" fmla="*/ 2139950 h 3276235"/>
                  <a:gd name="connsiteX42" fmla="*/ 1193896 w 1212946"/>
                  <a:gd name="connsiteY42" fmla="*/ 2190750 h 3276235"/>
                  <a:gd name="connsiteX43" fmla="*/ 1193896 w 1212946"/>
                  <a:gd name="connsiteY43" fmla="*/ 2241550 h 3276235"/>
                  <a:gd name="connsiteX44" fmla="*/ 1212946 w 1212946"/>
                  <a:gd name="connsiteY44" fmla="*/ 2273300 h 3276235"/>
                  <a:gd name="connsiteX45" fmla="*/ 1193896 w 1212946"/>
                  <a:gd name="connsiteY45" fmla="*/ 2305050 h 3276235"/>
                  <a:gd name="connsiteX46" fmla="*/ 1187546 w 1212946"/>
                  <a:gd name="connsiteY46" fmla="*/ 2368550 h 3276235"/>
                  <a:gd name="connsiteX47" fmla="*/ 1168496 w 1212946"/>
                  <a:gd name="connsiteY47" fmla="*/ 2478612 h 3276235"/>
                  <a:gd name="connsiteX48" fmla="*/ 1092296 w 1212946"/>
                  <a:gd name="connsiteY48" fmla="*/ 2547142 h 3276235"/>
                  <a:gd name="connsiteX49" fmla="*/ 1079596 w 1212946"/>
                  <a:gd name="connsiteY49" fmla="*/ 2597150 h 3276235"/>
                  <a:gd name="connsiteX50" fmla="*/ 1003396 w 1212946"/>
                  <a:gd name="connsiteY50" fmla="*/ 2616200 h 3276235"/>
                  <a:gd name="connsiteX51" fmla="*/ 927196 w 1212946"/>
                  <a:gd name="connsiteY51" fmla="*/ 2649270 h 3276235"/>
                  <a:gd name="connsiteX52" fmla="*/ 787496 w 1212946"/>
                  <a:gd name="connsiteY52" fmla="*/ 2662759 h 3276235"/>
                  <a:gd name="connsiteX53" fmla="*/ 662878 w 1212946"/>
                  <a:gd name="connsiteY53" fmla="*/ 2674932 h 3276235"/>
                  <a:gd name="connsiteX54" fmla="*/ 608109 w 1212946"/>
                  <a:gd name="connsiteY54" fmla="*/ 2707479 h 3276235"/>
                  <a:gd name="connsiteX55" fmla="*/ 546196 w 1212946"/>
                  <a:gd name="connsiteY55" fmla="*/ 2736850 h 3276235"/>
                  <a:gd name="connsiteX56" fmla="*/ 476346 w 1212946"/>
                  <a:gd name="connsiteY56" fmla="*/ 2802198 h 3276235"/>
                  <a:gd name="connsiteX57" fmla="*/ 435865 w 1212946"/>
                  <a:gd name="connsiteY57" fmla="*/ 2894013 h 3276235"/>
                  <a:gd name="connsiteX58" fmla="*/ 354108 w 1212946"/>
                  <a:gd name="connsiteY58" fmla="*/ 2951162 h 3276235"/>
                  <a:gd name="connsiteX59" fmla="*/ 317596 w 1212946"/>
                  <a:gd name="connsiteY59" fmla="*/ 3016514 h 3276235"/>
                  <a:gd name="connsiteX60" fmla="*/ 216790 w 1212946"/>
                  <a:gd name="connsiteY60" fmla="*/ 3116259 h 3276235"/>
                  <a:gd name="connsiteX61" fmla="*/ 161227 w 1212946"/>
                  <a:gd name="connsiteY61" fmla="*/ 3273426 h 3276235"/>
                  <a:gd name="connsiteX0" fmla="*/ 12796 w 1212946"/>
                  <a:gd name="connsiteY0" fmla="*/ 0 h 3156831"/>
                  <a:gd name="connsiteX1" fmla="*/ 37402 w 1212946"/>
                  <a:gd name="connsiteY1" fmla="*/ 120650 h 3156831"/>
                  <a:gd name="connsiteX2" fmla="*/ 19146 w 1212946"/>
                  <a:gd name="connsiteY2" fmla="*/ 158750 h 3156831"/>
                  <a:gd name="connsiteX3" fmla="*/ 41371 w 1212946"/>
                  <a:gd name="connsiteY3" fmla="*/ 209550 h 3156831"/>
                  <a:gd name="connsiteX4" fmla="*/ 38196 w 1212946"/>
                  <a:gd name="connsiteY4" fmla="*/ 234950 h 3156831"/>
                  <a:gd name="connsiteX5" fmla="*/ 50896 w 1212946"/>
                  <a:gd name="connsiteY5" fmla="*/ 273050 h 3156831"/>
                  <a:gd name="connsiteX6" fmla="*/ 17558 w 1212946"/>
                  <a:gd name="connsiteY6" fmla="*/ 312737 h 3156831"/>
                  <a:gd name="connsiteX7" fmla="*/ 50896 w 1212946"/>
                  <a:gd name="connsiteY7" fmla="*/ 372269 h 3156831"/>
                  <a:gd name="connsiteX8" fmla="*/ 31846 w 1212946"/>
                  <a:gd name="connsiteY8" fmla="*/ 463550 h 3156831"/>
                  <a:gd name="connsiteX9" fmla="*/ 890 w 1212946"/>
                  <a:gd name="connsiteY9" fmla="*/ 525462 h 3156831"/>
                  <a:gd name="connsiteX10" fmla="*/ 96 w 1212946"/>
                  <a:gd name="connsiteY10" fmla="*/ 546101 h 3156831"/>
                  <a:gd name="connsiteX11" fmla="*/ 6446 w 1212946"/>
                  <a:gd name="connsiteY11" fmla="*/ 603250 h 3156831"/>
                  <a:gd name="connsiteX12" fmla="*/ 50896 w 1212946"/>
                  <a:gd name="connsiteY12" fmla="*/ 647700 h 3156831"/>
                  <a:gd name="connsiteX13" fmla="*/ 95346 w 1212946"/>
                  <a:gd name="connsiteY13" fmla="*/ 692678 h 3156831"/>
                  <a:gd name="connsiteX14" fmla="*/ 120746 w 1212946"/>
                  <a:gd name="connsiteY14" fmla="*/ 749300 h 3156831"/>
                  <a:gd name="connsiteX15" fmla="*/ 170752 w 1212946"/>
                  <a:gd name="connsiteY15" fmla="*/ 763587 h 3156831"/>
                  <a:gd name="connsiteX16" fmla="*/ 241396 w 1212946"/>
                  <a:gd name="connsiteY16" fmla="*/ 806450 h 3156831"/>
                  <a:gd name="connsiteX17" fmla="*/ 276321 w 1212946"/>
                  <a:gd name="connsiteY17" fmla="*/ 842697 h 3156831"/>
                  <a:gd name="connsiteX18" fmla="*/ 273146 w 1212946"/>
                  <a:gd name="connsiteY18" fmla="*/ 901700 h 3156831"/>
                  <a:gd name="connsiteX19" fmla="*/ 376334 w 1212946"/>
                  <a:gd name="connsiteY19" fmla="*/ 981869 h 3156831"/>
                  <a:gd name="connsiteX20" fmla="*/ 425546 w 1212946"/>
                  <a:gd name="connsiteY20" fmla="*/ 1028700 h 3156831"/>
                  <a:gd name="connsiteX21" fmla="*/ 463646 w 1212946"/>
                  <a:gd name="connsiteY21" fmla="*/ 1098550 h 3156831"/>
                  <a:gd name="connsiteX22" fmla="*/ 565246 w 1212946"/>
                  <a:gd name="connsiteY22" fmla="*/ 1143000 h 3156831"/>
                  <a:gd name="connsiteX23" fmla="*/ 609696 w 1212946"/>
                  <a:gd name="connsiteY23" fmla="*/ 1162050 h 3156831"/>
                  <a:gd name="connsiteX24" fmla="*/ 635096 w 1212946"/>
                  <a:gd name="connsiteY24" fmla="*/ 1212850 h 3156831"/>
                  <a:gd name="connsiteX25" fmla="*/ 692246 w 1212946"/>
                  <a:gd name="connsiteY25" fmla="*/ 1237194 h 3156831"/>
                  <a:gd name="connsiteX26" fmla="*/ 722409 w 1212946"/>
                  <a:gd name="connsiteY26" fmla="*/ 1269475 h 3156831"/>
                  <a:gd name="connsiteX27" fmla="*/ 745427 w 1212946"/>
                  <a:gd name="connsiteY27" fmla="*/ 1280058 h 3156831"/>
                  <a:gd name="connsiteX28" fmla="*/ 788289 w 1212946"/>
                  <a:gd name="connsiteY28" fmla="*/ 1304925 h 3156831"/>
                  <a:gd name="connsiteX29" fmla="*/ 825596 w 1212946"/>
                  <a:gd name="connsiteY29" fmla="*/ 1352550 h 3156831"/>
                  <a:gd name="connsiteX30" fmla="*/ 866871 w 1212946"/>
                  <a:gd name="connsiteY30" fmla="*/ 1386682 h 3156831"/>
                  <a:gd name="connsiteX31" fmla="*/ 915290 w 1212946"/>
                  <a:gd name="connsiteY31" fmla="*/ 1406525 h 3156831"/>
                  <a:gd name="connsiteX32" fmla="*/ 952596 w 1212946"/>
                  <a:gd name="connsiteY32" fmla="*/ 1460500 h 3156831"/>
                  <a:gd name="connsiteX33" fmla="*/ 1028796 w 1212946"/>
                  <a:gd name="connsiteY33" fmla="*/ 1612900 h 3156831"/>
                  <a:gd name="connsiteX34" fmla="*/ 1022446 w 1212946"/>
                  <a:gd name="connsiteY34" fmla="*/ 1657350 h 3156831"/>
                  <a:gd name="connsiteX35" fmla="*/ 1066896 w 1212946"/>
                  <a:gd name="connsiteY35" fmla="*/ 1720850 h 3156831"/>
                  <a:gd name="connsiteX36" fmla="*/ 1111346 w 1212946"/>
                  <a:gd name="connsiteY36" fmla="*/ 1809750 h 3156831"/>
                  <a:gd name="connsiteX37" fmla="*/ 1154209 w 1212946"/>
                  <a:gd name="connsiteY37" fmla="*/ 1910557 h 3156831"/>
                  <a:gd name="connsiteX38" fmla="*/ 1143096 w 1212946"/>
                  <a:gd name="connsiteY38" fmla="*/ 1981200 h 3156831"/>
                  <a:gd name="connsiteX39" fmla="*/ 1174846 w 1212946"/>
                  <a:gd name="connsiteY39" fmla="*/ 2044700 h 3156831"/>
                  <a:gd name="connsiteX40" fmla="*/ 1193896 w 1212946"/>
                  <a:gd name="connsiteY40" fmla="*/ 2101586 h 3156831"/>
                  <a:gd name="connsiteX41" fmla="*/ 1200246 w 1212946"/>
                  <a:gd name="connsiteY41" fmla="*/ 2139950 h 3156831"/>
                  <a:gd name="connsiteX42" fmla="*/ 1193896 w 1212946"/>
                  <a:gd name="connsiteY42" fmla="*/ 2190750 h 3156831"/>
                  <a:gd name="connsiteX43" fmla="*/ 1193896 w 1212946"/>
                  <a:gd name="connsiteY43" fmla="*/ 2241550 h 3156831"/>
                  <a:gd name="connsiteX44" fmla="*/ 1212946 w 1212946"/>
                  <a:gd name="connsiteY44" fmla="*/ 2273300 h 3156831"/>
                  <a:gd name="connsiteX45" fmla="*/ 1193896 w 1212946"/>
                  <a:gd name="connsiteY45" fmla="*/ 2305050 h 3156831"/>
                  <a:gd name="connsiteX46" fmla="*/ 1187546 w 1212946"/>
                  <a:gd name="connsiteY46" fmla="*/ 2368550 h 3156831"/>
                  <a:gd name="connsiteX47" fmla="*/ 1168496 w 1212946"/>
                  <a:gd name="connsiteY47" fmla="*/ 2478612 h 3156831"/>
                  <a:gd name="connsiteX48" fmla="*/ 1092296 w 1212946"/>
                  <a:gd name="connsiteY48" fmla="*/ 2547142 h 3156831"/>
                  <a:gd name="connsiteX49" fmla="*/ 1079596 w 1212946"/>
                  <a:gd name="connsiteY49" fmla="*/ 2597150 h 3156831"/>
                  <a:gd name="connsiteX50" fmla="*/ 1003396 w 1212946"/>
                  <a:gd name="connsiteY50" fmla="*/ 2616200 h 3156831"/>
                  <a:gd name="connsiteX51" fmla="*/ 927196 w 1212946"/>
                  <a:gd name="connsiteY51" fmla="*/ 2649270 h 3156831"/>
                  <a:gd name="connsiteX52" fmla="*/ 787496 w 1212946"/>
                  <a:gd name="connsiteY52" fmla="*/ 2662759 h 3156831"/>
                  <a:gd name="connsiteX53" fmla="*/ 662878 w 1212946"/>
                  <a:gd name="connsiteY53" fmla="*/ 2674932 h 3156831"/>
                  <a:gd name="connsiteX54" fmla="*/ 608109 w 1212946"/>
                  <a:gd name="connsiteY54" fmla="*/ 2707479 h 3156831"/>
                  <a:gd name="connsiteX55" fmla="*/ 546196 w 1212946"/>
                  <a:gd name="connsiteY55" fmla="*/ 2736850 h 3156831"/>
                  <a:gd name="connsiteX56" fmla="*/ 476346 w 1212946"/>
                  <a:gd name="connsiteY56" fmla="*/ 2802198 h 3156831"/>
                  <a:gd name="connsiteX57" fmla="*/ 435865 w 1212946"/>
                  <a:gd name="connsiteY57" fmla="*/ 2894013 h 3156831"/>
                  <a:gd name="connsiteX58" fmla="*/ 354108 w 1212946"/>
                  <a:gd name="connsiteY58" fmla="*/ 2951162 h 3156831"/>
                  <a:gd name="connsiteX59" fmla="*/ 317596 w 1212946"/>
                  <a:gd name="connsiteY59" fmla="*/ 3016514 h 3156831"/>
                  <a:gd name="connsiteX60" fmla="*/ 216790 w 1212946"/>
                  <a:gd name="connsiteY60" fmla="*/ 3116259 h 3156831"/>
                  <a:gd name="connsiteX61" fmla="*/ 161227 w 1212946"/>
                  <a:gd name="connsiteY61" fmla="*/ 3139534 h 3156831"/>
                  <a:gd name="connsiteX0" fmla="*/ 12796 w 1212946"/>
                  <a:gd name="connsiteY0" fmla="*/ 0 h 3146724"/>
                  <a:gd name="connsiteX1" fmla="*/ 37402 w 1212946"/>
                  <a:gd name="connsiteY1" fmla="*/ 120650 h 3146724"/>
                  <a:gd name="connsiteX2" fmla="*/ 19146 w 1212946"/>
                  <a:gd name="connsiteY2" fmla="*/ 158750 h 3146724"/>
                  <a:gd name="connsiteX3" fmla="*/ 41371 w 1212946"/>
                  <a:gd name="connsiteY3" fmla="*/ 209550 h 3146724"/>
                  <a:gd name="connsiteX4" fmla="*/ 38196 w 1212946"/>
                  <a:gd name="connsiteY4" fmla="*/ 234950 h 3146724"/>
                  <a:gd name="connsiteX5" fmla="*/ 50896 w 1212946"/>
                  <a:gd name="connsiteY5" fmla="*/ 273050 h 3146724"/>
                  <a:gd name="connsiteX6" fmla="*/ 17558 w 1212946"/>
                  <a:gd name="connsiteY6" fmla="*/ 312737 h 3146724"/>
                  <a:gd name="connsiteX7" fmla="*/ 50896 w 1212946"/>
                  <a:gd name="connsiteY7" fmla="*/ 372269 h 3146724"/>
                  <a:gd name="connsiteX8" fmla="*/ 31846 w 1212946"/>
                  <a:gd name="connsiteY8" fmla="*/ 463550 h 3146724"/>
                  <a:gd name="connsiteX9" fmla="*/ 890 w 1212946"/>
                  <a:gd name="connsiteY9" fmla="*/ 525462 h 3146724"/>
                  <a:gd name="connsiteX10" fmla="*/ 96 w 1212946"/>
                  <a:gd name="connsiteY10" fmla="*/ 546101 h 3146724"/>
                  <a:gd name="connsiteX11" fmla="*/ 6446 w 1212946"/>
                  <a:gd name="connsiteY11" fmla="*/ 603250 h 3146724"/>
                  <a:gd name="connsiteX12" fmla="*/ 50896 w 1212946"/>
                  <a:gd name="connsiteY12" fmla="*/ 647700 h 3146724"/>
                  <a:gd name="connsiteX13" fmla="*/ 95346 w 1212946"/>
                  <a:gd name="connsiteY13" fmla="*/ 692678 h 3146724"/>
                  <a:gd name="connsiteX14" fmla="*/ 120746 w 1212946"/>
                  <a:gd name="connsiteY14" fmla="*/ 749300 h 3146724"/>
                  <a:gd name="connsiteX15" fmla="*/ 170752 w 1212946"/>
                  <a:gd name="connsiteY15" fmla="*/ 763587 h 3146724"/>
                  <a:gd name="connsiteX16" fmla="*/ 241396 w 1212946"/>
                  <a:gd name="connsiteY16" fmla="*/ 806450 h 3146724"/>
                  <a:gd name="connsiteX17" fmla="*/ 276321 w 1212946"/>
                  <a:gd name="connsiteY17" fmla="*/ 842697 h 3146724"/>
                  <a:gd name="connsiteX18" fmla="*/ 273146 w 1212946"/>
                  <a:gd name="connsiteY18" fmla="*/ 901700 h 3146724"/>
                  <a:gd name="connsiteX19" fmla="*/ 376334 w 1212946"/>
                  <a:gd name="connsiteY19" fmla="*/ 981869 h 3146724"/>
                  <a:gd name="connsiteX20" fmla="*/ 425546 w 1212946"/>
                  <a:gd name="connsiteY20" fmla="*/ 1028700 h 3146724"/>
                  <a:gd name="connsiteX21" fmla="*/ 463646 w 1212946"/>
                  <a:gd name="connsiteY21" fmla="*/ 1098550 h 3146724"/>
                  <a:gd name="connsiteX22" fmla="*/ 565246 w 1212946"/>
                  <a:gd name="connsiteY22" fmla="*/ 1143000 h 3146724"/>
                  <a:gd name="connsiteX23" fmla="*/ 609696 w 1212946"/>
                  <a:gd name="connsiteY23" fmla="*/ 1162050 h 3146724"/>
                  <a:gd name="connsiteX24" fmla="*/ 635096 w 1212946"/>
                  <a:gd name="connsiteY24" fmla="*/ 1212850 h 3146724"/>
                  <a:gd name="connsiteX25" fmla="*/ 692246 w 1212946"/>
                  <a:gd name="connsiteY25" fmla="*/ 1237194 h 3146724"/>
                  <a:gd name="connsiteX26" fmla="*/ 722409 w 1212946"/>
                  <a:gd name="connsiteY26" fmla="*/ 1269475 h 3146724"/>
                  <a:gd name="connsiteX27" fmla="*/ 745427 w 1212946"/>
                  <a:gd name="connsiteY27" fmla="*/ 1280058 h 3146724"/>
                  <a:gd name="connsiteX28" fmla="*/ 788289 w 1212946"/>
                  <a:gd name="connsiteY28" fmla="*/ 1304925 h 3146724"/>
                  <a:gd name="connsiteX29" fmla="*/ 825596 w 1212946"/>
                  <a:gd name="connsiteY29" fmla="*/ 1352550 h 3146724"/>
                  <a:gd name="connsiteX30" fmla="*/ 866871 w 1212946"/>
                  <a:gd name="connsiteY30" fmla="*/ 1386682 h 3146724"/>
                  <a:gd name="connsiteX31" fmla="*/ 915290 w 1212946"/>
                  <a:gd name="connsiteY31" fmla="*/ 1406525 h 3146724"/>
                  <a:gd name="connsiteX32" fmla="*/ 952596 w 1212946"/>
                  <a:gd name="connsiteY32" fmla="*/ 1460500 h 3146724"/>
                  <a:gd name="connsiteX33" fmla="*/ 1028796 w 1212946"/>
                  <a:gd name="connsiteY33" fmla="*/ 1612900 h 3146724"/>
                  <a:gd name="connsiteX34" fmla="*/ 1022446 w 1212946"/>
                  <a:gd name="connsiteY34" fmla="*/ 1657350 h 3146724"/>
                  <a:gd name="connsiteX35" fmla="*/ 1066896 w 1212946"/>
                  <a:gd name="connsiteY35" fmla="*/ 1720850 h 3146724"/>
                  <a:gd name="connsiteX36" fmla="*/ 1111346 w 1212946"/>
                  <a:gd name="connsiteY36" fmla="*/ 1809750 h 3146724"/>
                  <a:gd name="connsiteX37" fmla="*/ 1154209 w 1212946"/>
                  <a:gd name="connsiteY37" fmla="*/ 1910557 h 3146724"/>
                  <a:gd name="connsiteX38" fmla="*/ 1143096 w 1212946"/>
                  <a:gd name="connsiteY38" fmla="*/ 1981200 h 3146724"/>
                  <a:gd name="connsiteX39" fmla="*/ 1174846 w 1212946"/>
                  <a:gd name="connsiteY39" fmla="*/ 2044700 h 3146724"/>
                  <a:gd name="connsiteX40" fmla="*/ 1193896 w 1212946"/>
                  <a:gd name="connsiteY40" fmla="*/ 2101586 h 3146724"/>
                  <a:gd name="connsiteX41" fmla="*/ 1200246 w 1212946"/>
                  <a:gd name="connsiteY41" fmla="*/ 2139950 h 3146724"/>
                  <a:gd name="connsiteX42" fmla="*/ 1193896 w 1212946"/>
                  <a:gd name="connsiteY42" fmla="*/ 2190750 h 3146724"/>
                  <a:gd name="connsiteX43" fmla="*/ 1193896 w 1212946"/>
                  <a:gd name="connsiteY43" fmla="*/ 2241550 h 3146724"/>
                  <a:gd name="connsiteX44" fmla="*/ 1212946 w 1212946"/>
                  <a:gd name="connsiteY44" fmla="*/ 2273300 h 3146724"/>
                  <a:gd name="connsiteX45" fmla="*/ 1193896 w 1212946"/>
                  <a:gd name="connsiteY45" fmla="*/ 2305050 h 3146724"/>
                  <a:gd name="connsiteX46" fmla="*/ 1187546 w 1212946"/>
                  <a:gd name="connsiteY46" fmla="*/ 2368550 h 3146724"/>
                  <a:gd name="connsiteX47" fmla="*/ 1168496 w 1212946"/>
                  <a:gd name="connsiteY47" fmla="*/ 2478612 h 3146724"/>
                  <a:gd name="connsiteX48" fmla="*/ 1092296 w 1212946"/>
                  <a:gd name="connsiteY48" fmla="*/ 2547142 h 3146724"/>
                  <a:gd name="connsiteX49" fmla="*/ 1079596 w 1212946"/>
                  <a:gd name="connsiteY49" fmla="*/ 2597150 h 3146724"/>
                  <a:gd name="connsiteX50" fmla="*/ 1003396 w 1212946"/>
                  <a:gd name="connsiteY50" fmla="*/ 2616200 h 3146724"/>
                  <a:gd name="connsiteX51" fmla="*/ 927196 w 1212946"/>
                  <a:gd name="connsiteY51" fmla="*/ 2649270 h 3146724"/>
                  <a:gd name="connsiteX52" fmla="*/ 787496 w 1212946"/>
                  <a:gd name="connsiteY52" fmla="*/ 2662759 h 3146724"/>
                  <a:gd name="connsiteX53" fmla="*/ 662878 w 1212946"/>
                  <a:gd name="connsiteY53" fmla="*/ 2674932 h 3146724"/>
                  <a:gd name="connsiteX54" fmla="*/ 608109 w 1212946"/>
                  <a:gd name="connsiteY54" fmla="*/ 2707479 h 3146724"/>
                  <a:gd name="connsiteX55" fmla="*/ 546196 w 1212946"/>
                  <a:gd name="connsiteY55" fmla="*/ 2736850 h 3146724"/>
                  <a:gd name="connsiteX56" fmla="*/ 476346 w 1212946"/>
                  <a:gd name="connsiteY56" fmla="*/ 2802198 h 3146724"/>
                  <a:gd name="connsiteX57" fmla="*/ 435865 w 1212946"/>
                  <a:gd name="connsiteY57" fmla="*/ 2894013 h 3146724"/>
                  <a:gd name="connsiteX58" fmla="*/ 354108 w 1212946"/>
                  <a:gd name="connsiteY58" fmla="*/ 2951162 h 3146724"/>
                  <a:gd name="connsiteX59" fmla="*/ 317596 w 1212946"/>
                  <a:gd name="connsiteY59" fmla="*/ 3016514 h 3146724"/>
                  <a:gd name="connsiteX60" fmla="*/ 280290 w 1212946"/>
                  <a:gd name="connsiteY60" fmla="*/ 3073657 h 3146724"/>
                  <a:gd name="connsiteX61" fmla="*/ 161227 w 1212946"/>
                  <a:gd name="connsiteY61" fmla="*/ 3139534 h 3146724"/>
                  <a:gd name="connsiteX0" fmla="*/ 12796 w 1212946"/>
                  <a:gd name="connsiteY0" fmla="*/ 0 h 3117981"/>
                  <a:gd name="connsiteX1" fmla="*/ 37402 w 1212946"/>
                  <a:gd name="connsiteY1" fmla="*/ 120650 h 3117981"/>
                  <a:gd name="connsiteX2" fmla="*/ 19146 w 1212946"/>
                  <a:gd name="connsiteY2" fmla="*/ 158750 h 3117981"/>
                  <a:gd name="connsiteX3" fmla="*/ 41371 w 1212946"/>
                  <a:gd name="connsiteY3" fmla="*/ 209550 h 3117981"/>
                  <a:gd name="connsiteX4" fmla="*/ 38196 w 1212946"/>
                  <a:gd name="connsiteY4" fmla="*/ 234950 h 3117981"/>
                  <a:gd name="connsiteX5" fmla="*/ 50896 w 1212946"/>
                  <a:gd name="connsiteY5" fmla="*/ 273050 h 3117981"/>
                  <a:gd name="connsiteX6" fmla="*/ 17558 w 1212946"/>
                  <a:gd name="connsiteY6" fmla="*/ 312737 h 3117981"/>
                  <a:gd name="connsiteX7" fmla="*/ 50896 w 1212946"/>
                  <a:gd name="connsiteY7" fmla="*/ 372269 h 3117981"/>
                  <a:gd name="connsiteX8" fmla="*/ 31846 w 1212946"/>
                  <a:gd name="connsiteY8" fmla="*/ 463550 h 3117981"/>
                  <a:gd name="connsiteX9" fmla="*/ 890 w 1212946"/>
                  <a:gd name="connsiteY9" fmla="*/ 525462 h 3117981"/>
                  <a:gd name="connsiteX10" fmla="*/ 96 w 1212946"/>
                  <a:gd name="connsiteY10" fmla="*/ 546101 h 3117981"/>
                  <a:gd name="connsiteX11" fmla="*/ 6446 w 1212946"/>
                  <a:gd name="connsiteY11" fmla="*/ 603250 h 3117981"/>
                  <a:gd name="connsiteX12" fmla="*/ 50896 w 1212946"/>
                  <a:gd name="connsiteY12" fmla="*/ 647700 h 3117981"/>
                  <a:gd name="connsiteX13" fmla="*/ 95346 w 1212946"/>
                  <a:gd name="connsiteY13" fmla="*/ 692678 h 3117981"/>
                  <a:gd name="connsiteX14" fmla="*/ 120746 w 1212946"/>
                  <a:gd name="connsiteY14" fmla="*/ 749300 h 3117981"/>
                  <a:gd name="connsiteX15" fmla="*/ 170752 w 1212946"/>
                  <a:gd name="connsiteY15" fmla="*/ 763587 h 3117981"/>
                  <a:gd name="connsiteX16" fmla="*/ 241396 w 1212946"/>
                  <a:gd name="connsiteY16" fmla="*/ 806450 h 3117981"/>
                  <a:gd name="connsiteX17" fmla="*/ 276321 w 1212946"/>
                  <a:gd name="connsiteY17" fmla="*/ 842697 h 3117981"/>
                  <a:gd name="connsiteX18" fmla="*/ 273146 w 1212946"/>
                  <a:gd name="connsiteY18" fmla="*/ 901700 h 3117981"/>
                  <a:gd name="connsiteX19" fmla="*/ 376334 w 1212946"/>
                  <a:gd name="connsiteY19" fmla="*/ 981869 h 3117981"/>
                  <a:gd name="connsiteX20" fmla="*/ 425546 w 1212946"/>
                  <a:gd name="connsiteY20" fmla="*/ 1028700 h 3117981"/>
                  <a:gd name="connsiteX21" fmla="*/ 463646 w 1212946"/>
                  <a:gd name="connsiteY21" fmla="*/ 1098550 h 3117981"/>
                  <a:gd name="connsiteX22" fmla="*/ 565246 w 1212946"/>
                  <a:gd name="connsiteY22" fmla="*/ 1143000 h 3117981"/>
                  <a:gd name="connsiteX23" fmla="*/ 609696 w 1212946"/>
                  <a:gd name="connsiteY23" fmla="*/ 1162050 h 3117981"/>
                  <a:gd name="connsiteX24" fmla="*/ 635096 w 1212946"/>
                  <a:gd name="connsiteY24" fmla="*/ 1212850 h 3117981"/>
                  <a:gd name="connsiteX25" fmla="*/ 692246 w 1212946"/>
                  <a:gd name="connsiteY25" fmla="*/ 1237194 h 3117981"/>
                  <a:gd name="connsiteX26" fmla="*/ 722409 w 1212946"/>
                  <a:gd name="connsiteY26" fmla="*/ 1269475 h 3117981"/>
                  <a:gd name="connsiteX27" fmla="*/ 745427 w 1212946"/>
                  <a:gd name="connsiteY27" fmla="*/ 1280058 h 3117981"/>
                  <a:gd name="connsiteX28" fmla="*/ 788289 w 1212946"/>
                  <a:gd name="connsiteY28" fmla="*/ 1304925 h 3117981"/>
                  <a:gd name="connsiteX29" fmla="*/ 825596 w 1212946"/>
                  <a:gd name="connsiteY29" fmla="*/ 1352550 h 3117981"/>
                  <a:gd name="connsiteX30" fmla="*/ 866871 w 1212946"/>
                  <a:gd name="connsiteY30" fmla="*/ 1386682 h 3117981"/>
                  <a:gd name="connsiteX31" fmla="*/ 915290 w 1212946"/>
                  <a:gd name="connsiteY31" fmla="*/ 1406525 h 3117981"/>
                  <a:gd name="connsiteX32" fmla="*/ 952596 w 1212946"/>
                  <a:gd name="connsiteY32" fmla="*/ 1460500 h 3117981"/>
                  <a:gd name="connsiteX33" fmla="*/ 1028796 w 1212946"/>
                  <a:gd name="connsiteY33" fmla="*/ 1612900 h 3117981"/>
                  <a:gd name="connsiteX34" fmla="*/ 1022446 w 1212946"/>
                  <a:gd name="connsiteY34" fmla="*/ 1657350 h 3117981"/>
                  <a:gd name="connsiteX35" fmla="*/ 1066896 w 1212946"/>
                  <a:gd name="connsiteY35" fmla="*/ 1720850 h 3117981"/>
                  <a:gd name="connsiteX36" fmla="*/ 1111346 w 1212946"/>
                  <a:gd name="connsiteY36" fmla="*/ 1809750 h 3117981"/>
                  <a:gd name="connsiteX37" fmla="*/ 1154209 w 1212946"/>
                  <a:gd name="connsiteY37" fmla="*/ 1910557 h 3117981"/>
                  <a:gd name="connsiteX38" fmla="*/ 1143096 w 1212946"/>
                  <a:gd name="connsiteY38" fmla="*/ 1981200 h 3117981"/>
                  <a:gd name="connsiteX39" fmla="*/ 1174846 w 1212946"/>
                  <a:gd name="connsiteY39" fmla="*/ 2044700 h 3117981"/>
                  <a:gd name="connsiteX40" fmla="*/ 1193896 w 1212946"/>
                  <a:gd name="connsiteY40" fmla="*/ 2101586 h 3117981"/>
                  <a:gd name="connsiteX41" fmla="*/ 1200246 w 1212946"/>
                  <a:gd name="connsiteY41" fmla="*/ 2139950 h 3117981"/>
                  <a:gd name="connsiteX42" fmla="*/ 1193896 w 1212946"/>
                  <a:gd name="connsiteY42" fmla="*/ 2190750 h 3117981"/>
                  <a:gd name="connsiteX43" fmla="*/ 1193896 w 1212946"/>
                  <a:gd name="connsiteY43" fmla="*/ 2241550 h 3117981"/>
                  <a:gd name="connsiteX44" fmla="*/ 1212946 w 1212946"/>
                  <a:gd name="connsiteY44" fmla="*/ 2273300 h 3117981"/>
                  <a:gd name="connsiteX45" fmla="*/ 1193896 w 1212946"/>
                  <a:gd name="connsiteY45" fmla="*/ 2305050 h 3117981"/>
                  <a:gd name="connsiteX46" fmla="*/ 1187546 w 1212946"/>
                  <a:gd name="connsiteY46" fmla="*/ 2368550 h 3117981"/>
                  <a:gd name="connsiteX47" fmla="*/ 1168496 w 1212946"/>
                  <a:gd name="connsiteY47" fmla="*/ 2478612 h 3117981"/>
                  <a:gd name="connsiteX48" fmla="*/ 1092296 w 1212946"/>
                  <a:gd name="connsiteY48" fmla="*/ 2547142 h 3117981"/>
                  <a:gd name="connsiteX49" fmla="*/ 1079596 w 1212946"/>
                  <a:gd name="connsiteY49" fmla="*/ 2597150 h 3117981"/>
                  <a:gd name="connsiteX50" fmla="*/ 1003396 w 1212946"/>
                  <a:gd name="connsiteY50" fmla="*/ 2616200 h 3117981"/>
                  <a:gd name="connsiteX51" fmla="*/ 927196 w 1212946"/>
                  <a:gd name="connsiteY51" fmla="*/ 2649270 h 3117981"/>
                  <a:gd name="connsiteX52" fmla="*/ 787496 w 1212946"/>
                  <a:gd name="connsiteY52" fmla="*/ 2662759 h 3117981"/>
                  <a:gd name="connsiteX53" fmla="*/ 662878 w 1212946"/>
                  <a:gd name="connsiteY53" fmla="*/ 2674932 h 3117981"/>
                  <a:gd name="connsiteX54" fmla="*/ 608109 w 1212946"/>
                  <a:gd name="connsiteY54" fmla="*/ 2707479 h 3117981"/>
                  <a:gd name="connsiteX55" fmla="*/ 546196 w 1212946"/>
                  <a:gd name="connsiteY55" fmla="*/ 2736850 h 3117981"/>
                  <a:gd name="connsiteX56" fmla="*/ 476346 w 1212946"/>
                  <a:gd name="connsiteY56" fmla="*/ 2802198 h 3117981"/>
                  <a:gd name="connsiteX57" fmla="*/ 435865 w 1212946"/>
                  <a:gd name="connsiteY57" fmla="*/ 2894013 h 3117981"/>
                  <a:gd name="connsiteX58" fmla="*/ 354108 w 1212946"/>
                  <a:gd name="connsiteY58" fmla="*/ 2951162 h 3117981"/>
                  <a:gd name="connsiteX59" fmla="*/ 317596 w 1212946"/>
                  <a:gd name="connsiteY59" fmla="*/ 3016514 h 3117981"/>
                  <a:gd name="connsiteX60" fmla="*/ 280290 w 1212946"/>
                  <a:gd name="connsiteY60" fmla="*/ 3073657 h 3117981"/>
                  <a:gd name="connsiteX61" fmla="*/ 154877 w 1212946"/>
                  <a:gd name="connsiteY61" fmla="*/ 3103018 h 3117981"/>
                  <a:gd name="connsiteX0" fmla="*/ 12796 w 1212946"/>
                  <a:gd name="connsiteY0" fmla="*/ 0 h 3111900"/>
                  <a:gd name="connsiteX1" fmla="*/ 37402 w 1212946"/>
                  <a:gd name="connsiteY1" fmla="*/ 120650 h 3111900"/>
                  <a:gd name="connsiteX2" fmla="*/ 19146 w 1212946"/>
                  <a:gd name="connsiteY2" fmla="*/ 158750 h 3111900"/>
                  <a:gd name="connsiteX3" fmla="*/ 41371 w 1212946"/>
                  <a:gd name="connsiteY3" fmla="*/ 209550 h 3111900"/>
                  <a:gd name="connsiteX4" fmla="*/ 38196 w 1212946"/>
                  <a:gd name="connsiteY4" fmla="*/ 234950 h 3111900"/>
                  <a:gd name="connsiteX5" fmla="*/ 50896 w 1212946"/>
                  <a:gd name="connsiteY5" fmla="*/ 273050 h 3111900"/>
                  <a:gd name="connsiteX6" fmla="*/ 17558 w 1212946"/>
                  <a:gd name="connsiteY6" fmla="*/ 312737 h 3111900"/>
                  <a:gd name="connsiteX7" fmla="*/ 50896 w 1212946"/>
                  <a:gd name="connsiteY7" fmla="*/ 372269 h 3111900"/>
                  <a:gd name="connsiteX8" fmla="*/ 31846 w 1212946"/>
                  <a:gd name="connsiteY8" fmla="*/ 463550 h 3111900"/>
                  <a:gd name="connsiteX9" fmla="*/ 890 w 1212946"/>
                  <a:gd name="connsiteY9" fmla="*/ 525462 h 3111900"/>
                  <a:gd name="connsiteX10" fmla="*/ 96 w 1212946"/>
                  <a:gd name="connsiteY10" fmla="*/ 546101 h 3111900"/>
                  <a:gd name="connsiteX11" fmla="*/ 6446 w 1212946"/>
                  <a:gd name="connsiteY11" fmla="*/ 603250 h 3111900"/>
                  <a:gd name="connsiteX12" fmla="*/ 50896 w 1212946"/>
                  <a:gd name="connsiteY12" fmla="*/ 647700 h 3111900"/>
                  <a:gd name="connsiteX13" fmla="*/ 95346 w 1212946"/>
                  <a:gd name="connsiteY13" fmla="*/ 692678 h 3111900"/>
                  <a:gd name="connsiteX14" fmla="*/ 120746 w 1212946"/>
                  <a:gd name="connsiteY14" fmla="*/ 749300 h 3111900"/>
                  <a:gd name="connsiteX15" fmla="*/ 170752 w 1212946"/>
                  <a:gd name="connsiteY15" fmla="*/ 763587 h 3111900"/>
                  <a:gd name="connsiteX16" fmla="*/ 241396 w 1212946"/>
                  <a:gd name="connsiteY16" fmla="*/ 806450 h 3111900"/>
                  <a:gd name="connsiteX17" fmla="*/ 276321 w 1212946"/>
                  <a:gd name="connsiteY17" fmla="*/ 842697 h 3111900"/>
                  <a:gd name="connsiteX18" fmla="*/ 273146 w 1212946"/>
                  <a:gd name="connsiteY18" fmla="*/ 901700 h 3111900"/>
                  <a:gd name="connsiteX19" fmla="*/ 376334 w 1212946"/>
                  <a:gd name="connsiteY19" fmla="*/ 981869 h 3111900"/>
                  <a:gd name="connsiteX20" fmla="*/ 425546 w 1212946"/>
                  <a:gd name="connsiteY20" fmla="*/ 1028700 h 3111900"/>
                  <a:gd name="connsiteX21" fmla="*/ 463646 w 1212946"/>
                  <a:gd name="connsiteY21" fmla="*/ 1098550 h 3111900"/>
                  <a:gd name="connsiteX22" fmla="*/ 565246 w 1212946"/>
                  <a:gd name="connsiteY22" fmla="*/ 1143000 h 3111900"/>
                  <a:gd name="connsiteX23" fmla="*/ 609696 w 1212946"/>
                  <a:gd name="connsiteY23" fmla="*/ 1162050 h 3111900"/>
                  <a:gd name="connsiteX24" fmla="*/ 635096 w 1212946"/>
                  <a:gd name="connsiteY24" fmla="*/ 1212850 h 3111900"/>
                  <a:gd name="connsiteX25" fmla="*/ 692246 w 1212946"/>
                  <a:gd name="connsiteY25" fmla="*/ 1237194 h 3111900"/>
                  <a:gd name="connsiteX26" fmla="*/ 722409 w 1212946"/>
                  <a:gd name="connsiteY26" fmla="*/ 1269475 h 3111900"/>
                  <a:gd name="connsiteX27" fmla="*/ 745427 w 1212946"/>
                  <a:gd name="connsiteY27" fmla="*/ 1280058 h 3111900"/>
                  <a:gd name="connsiteX28" fmla="*/ 788289 w 1212946"/>
                  <a:gd name="connsiteY28" fmla="*/ 1304925 h 3111900"/>
                  <a:gd name="connsiteX29" fmla="*/ 825596 w 1212946"/>
                  <a:gd name="connsiteY29" fmla="*/ 1352550 h 3111900"/>
                  <a:gd name="connsiteX30" fmla="*/ 866871 w 1212946"/>
                  <a:gd name="connsiteY30" fmla="*/ 1386682 h 3111900"/>
                  <a:gd name="connsiteX31" fmla="*/ 915290 w 1212946"/>
                  <a:gd name="connsiteY31" fmla="*/ 1406525 h 3111900"/>
                  <a:gd name="connsiteX32" fmla="*/ 952596 w 1212946"/>
                  <a:gd name="connsiteY32" fmla="*/ 1460500 h 3111900"/>
                  <a:gd name="connsiteX33" fmla="*/ 1028796 w 1212946"/>
                  <a:gd name="connsiteY33" fmla="*/ 1612900 h 3111900"/>
                  <a:gd name="connsiteX34" fmla="*/ 1022446 w 1212946"/>
                  <a:gd name="connsiteY34" fmla="*/ 1657350 h 3111900"/>
                  <a:gd name="connsiteX35" fmla="*/ 1066896 w 1212946"/>
                  <a:gd name="connsiteY35" fmla="*/ 1720850 h 3111900"/>
                  <a:gd name="connsiteX36" fmla="*/ 1111346 w 1212946"/>
                  <a:gd name="connsiteY36" fmla="*/ 1809750 h 3111900"/>
                  <a:gd name="connsiteX37" fmla="*/ 1154209 w 1212946"/>
                  <a:gd name="connsiteY37" fmla="*/ 1910557 h 3111900"/>
                  <a:gd name="connsiteX38" fmla="*/ 1143096 w 1212946"/>
                  <a:gd name="connsiteY38" fmla="*/ 1981200 h 3111900"/>
                  <a:gd name="connsiteX39" fmla="*/ 1174846 w 1212946"/>
                  <a:gd name="connsiteY39" fmla="*/ 2044700 h 3111900"/>
                  <a:gd name="connsiteX40" fmla="*/ 1193896 w 1212946"/>
                  <a:gd name="connsiteY40" fmla="*/ 2101586 h 3111900"/>
                  <a:gd name="connsiteX41" fmla="*/ 1200246 w 1212946"/>
                  <a:gd name="connsiteY41" fmla="*/ 2139950 h 3111900"/>
                  <a:gd name="connsiteX42" fmla="*/ 1193896 w 1212946"/>
                  <a:gd name="connsiteY42" fmla="*/ 2190750 h 3111900"/>
                  <a:gd name="connsiteX43" fmla="*/ 1193896 w 1212946"/>
                  <a:gd name="connsiteY43" fmla="*/ 2241550 h 3111900"/>
                  <a:gd name="connsiteX44" fmla="*/ 1212946 w 1212946"/>
                  <a:gd name="connsiteY44" fmla="*/ 2273300 h 3111900"/>
                  <a:gd name="connsiteX45" fmla="*/ 1193896 w 1212946"/>
                  <a:gd name="connsiteY45" fmla="*/ 2305050 h 3111900"/>
                  <a:gd name="connsiteX46" fmla="*/ 1187546 w 1212946"/>
                  <a:gd name="connsiteY46" fmla="*/ 2368550 h 3111900"/>
                  <a:gd name="connsiteX47" fmla="*/ 1168496 w 1212946"/>
                  <a:gd name="connsiteY47" fmla="*/ 2478612 h 3111900"/>
                  <a:gd name="connsiteX48" fmla="*/ 1092296 w 1212946"/>
                  <a:gd name="connsiteY48" fmla="*/ 2547142 h 3111900"/>
                  <a:gd name="connsiteX49" fmla="*/ 1079596 w 1212946"/>
                  <a:gd name="connsiteY49" fmla="*/ 2597150 h 3111900"/>
                  <a:gd name="connsiteX50" fmla="*/ 1003396 w 1212946"/>
                  <a:gd name="connsiteY50" fmla="*/ 2616200 h 3111900"/>
                  <a:gd name="connsiteX51" fmla="*/ 927196 w 1212946"/>
                  <a:gd name="connsiteY51" fmla="*/ 2649270 h 3111900"/>
                  <a:gd name="connsiteX52" fmla="*/ 787496 w 1212946"/>
                  <a:gd name="connsiteY52" fmla="*/ 2662759 h 3111900"/>
                  <a:gd name="connsiteX53" fmla="*/ 662878 w 1212946"/>
                  <a:gd name="connsiteY53" fmla="*/ 2674932 h 3111900"/>
                  <a:gd name="connsiteX54" fmla="*/ 608109 w 1212946"/>
                  <a:gd name="connsiteY54" fmla="*/ 2707479 h 3111900"/>
                  <a:gd name="connsiteX55" fmla="*/ 546196 w 1212946"/>
                  <a:gd name="connsiteY55" fmla="*/ 2736850 h 3111900"/>
                  <a:gd name="connsiteX56" fmla="*/ 476346 w 1212946"/>
                  <a:gd name="connsiteY56" fmla="*/ 2802198 h 3111900"/>
                  <a:gd name="connsiteX57" fmla="*/ 435865 w 1212946"/>
                  <a:gd name="connsiteY57" fmla="*/ 2894013 h 3111900"/>
                  <a:gd name="connsiteX58" fmla="*/ 354108 w 1212946"/>
                  <a:gd name="connsiteY58" fmla="*/ 2951162 h 3111900"/>
                  <a:gd name="connsiteX59" fmla="*/ 317596 w 1212946"/>
                  <a:gd name="connsiteY59" fmla="*/ 3016514 h 3111900"/>
                  <a:gd name="connsiteX60" fmla="*/ 242190 w 1212946"/>
                  <a:gd name="connsiteY60" fmla="*/ 3049313 h 3111900"/>
                  <a:gd name="connsiteX61" fmla="*/ 154877 w 1212946"/>
                  <a:gd name="connsiteY61" fmla="*/ 3103018 h 3111900"/>
                  <a:gd name="connsiteX0" fmla="*/ 12796 w 1212946"/>
                  <a:gd name="connsiteY0" fmla="*/ 0 h 3111900"/>
                  <a:gd name="connsiteX1" fmla="*/ 37402 w 1212946"/>
                  <a:gd name="connsiteY1" fmla="*/ 120650 h 3111900"/>
                  <a:gd name="connsiteX2" fmla="*/ 19146 w 1212946"/>
                  <a:gd name="connsiteY2" fmla="*/ 158750 h 3111900"/>
                  <a:gd name="connsiteX3" fmla="*/ 41371 w 1212946"/>
                  <a:gd name="connsiteY3" fmla="*/ 209550 h 3111900"/>
                  <a:gd name="connsiteX4" fmla="*/ 38196 w 1212946"/>
                  <a:gd name="connsiteY4" fmla="*/ 234950 h 3111900"/>
                  <a:gd name="connsiteX5" fmla="*/ 50896 w 1212946"/>
                  <a:gd name="connsiteY5" fmla="*/ 273050 h 3111900"/>
                  <a:gd name="connsiteX6" fmla="*/ 17558 w 1212946"/>
                  <a:gd name="connsiteY6" fmla="*/ 312737 h 3111900"/>
                  <a:gd name="connsiteX7" fmla="*/ 50896 w 1212946"/>
                  <a:gd name="connsiteY7" fmla="*/ 372269 h 3111900"/>
                  <a:gd name="connsiteX8" fmla="*/ 31846 w 1212946"/>
                  <a:gd name="connsiteY8" fmla="*/ 463550 h 3111900"/>
                  <a:gd name="connsiteX9" fmla="*/ 890 w 1212946"/>
                  <a:gd name="connsiteY9" fmla="*/ 525462 h 3111900"/>
                  <a:gd name="connsiteX10" fmla="*/ 96 w 1212946"/>
                  <a:gd name="connsiteY10" fmla="*/ 546101 h 3111900"/>
                  <a:gd name="connsiteX11" fmla="*/ 6446 w 1212946"/>
                  <a:gd name="connsiteY11" fmla="*/ 603250 h 3111900"/>
                  <a:gd name="connsiteX12" fmla="*/ 50896 w 1212946"/>
                  <a:gd name="connsiteY12" fmla="*/ 647700 h 3111900"/>
                  <a:gd name="connsiteX13" fmla="*/ 95346 w 1212946"/>
                  <a:gd name="connsiteY13" fmla="*/ 692678 h 3111900"/>
                  <a:gd name="connsiteX14" fmla="*/ 120746 w 1212946"/>
                  <a:gd name="connsiteY14" fmla="*/ 749300 h 3111900"/>
                  <a:gd name="connsiteX15" fmla="*/ 170752 w 1212946"/>
                  <a:gd name="connsiteY15" fmla="*/ 763587 h 3111900"/>
                  <a:gd name="connsiteX16" fmla="*/ 241396 w 1212946"/>
                  <a:gd name="connsiteY16" fmla="*/ 806450 h 3111900"/>
                  <a:gd name="connsiteX17" fmla="*/ 276321 w 1212946"/>
                  <a:gd name="connsiteY17" fmla="*/ 842697 h 3111900"/>
                  <a:gd name="connsiteX18" fmla="*/ 273146 w 1212946"/>
                  <a:gd name="connsiteY18" fmla="*/ 901700 h 3111900"/>
                  <a:gd name="connsiteX19" fmla="*/ 376334 w 1212946"/>
                  <a:gd name="connsiteY19" fmla="*/ 981869 h 3111900"/>
                  <a:gd name="connsiteX20" fmla="*/ 425546 w 1212946"/>
                  <a:gd name="connsiteY20" fmla="*/ 1028700 h 3111900"/>
                  <a:gd name="connsiteX21" fmla="*/ 463646 w 1212946"/>
                  <a:gd name="connsiteY21" fmla="*/ 1098550 h 3111900"/>
                  <a:gd name="connsiteX22" fmla="*/ 565246 w 1212946"/>
                  <a:gd name="connsiteY22" fmla="*/ 1143000 h 3111900"/>
                  <a:gd name="connsiteX23" fmla="*/ 609696 w 1212946"/>
                  <a:gd name="connsiteY23" fmla="*/ 1162050 h 3111900"/>
                  <a:gd name="connsiteX24" fmla="*/ 635096 w 1212946"/>
                  <a:gd name="connsiteY24" fmla="*/ 1212850 h 3111900"/>
                  <a:gd name="connsiteX25" fmla="*/ 692246 w 1212946"/>
                  <a:gd name="connsiteY25" fmla="*/ 1237194 h 3111900"/>
                  <a:gd name="connsiteX26" fmla="*/ 722409 w 1212946"/>
                  <a:gd name="connsiteY26" fmla="*/ 1269475 h 3111900"/>
                  <a:gd name="connsiteX27" fmla="*/ 745427 w 1212946"/>
                  <a:gd name="connsiteY27" fmla="*/ 1280058 h 3111900"/>
                  <a:gd name="connsiteX28" fmla="*/ 788289 w 1212946"/>
                  <a:gd name="connsiteY28" fmla="*/ 1304925 h 3111900"/>
                  <a:gd name="connsiteX29" fmla="*/ 825596 w 1212946"/>
                  <a:gd name="connsiteY29" fmla="*/ 1352550 h 3111900"/>
                  <a:gd name="connsiteX30" fmla="*/ 866871 w 1212946"/>
                  <a:gd name="connsiteY30" fmla="*/ 1386682 h 3111900"/>
                  <a:gd name="connsiteX31" fmla="*/ 915290 w 1212946"/>
                  <a:gd name="connsiteY31" fmla="*/ 1406525 h 3111900"/>
                  <a:gd name="connsiteX32" fmla="*/ 952596 w 1212946"/>
                  <a:gd name="connsiteY32" fmla="*/ 1460500 h 3111900"/>
                  <a:gd name="connsiteX33" fmla="*/ 1028796 w 1212946"/>
                  <a:gd name="connsiteY33" fmla="*/ 1612900 h 3111900"/>
                  <a:gd name="connsiteX34" fmla="*/ 1022446 w 1212946"/>
                  <a:gd name="connsiteY34" fmla="*/ 1657350 h 3111900"/>
                  <a:gd name="connsiteX35" fmla="*/ 1066896 w 1212946"/>
                  <a:gd name="connsiteY35" fmla="*/ 1720850 h 3111900"/>
                  <a:gd name="connsiteX36" fmla="*/ 1111346 w 1212946"/>
                  <a:gd name="connsiteY36" fmla="*/ 1809750 h 3111900"/>
                  <a:gd name="connsiteX37" fmla="*/ 1154209 w 1212946"/>
                  <a:gd name="connsiteY37" fmla="*/ 1910557 h 3111900"/>
                  <a:gd name="connsiteX38" fmla="*/ 1143096 w 1212946"/>
                  <a:gd name="connsiteY38" fmla="*/ 1981200 h 3111900"/>
                  <a:gd name="connsiteX39" fmla="*/ 1174846 w 1212946"/>
                  <a:gd name="connsiteY39" fmla="*/ 2044700 h 3111900"/>
                  <a:gd name="connsiteX40" fmla="*/ 1193896 w 1212946"/>
                  <a:gd name="connsiteY40" fmla="*/ 2101586 h 3111900"/>
                  <a:gd name="connsiteX41" fmla="*/ 1200246 w 1212946"/>
                  <a:gd name="connsiteY41" fmla="*/ 2139950 h 3111900"/>
                  <a:gd name="connsiteX42" fmla="*/ 1193896 w 1212946"/>
                  <a:gd name="connsiteY42" fmla="*/ 2190750 h 3111900"/>
                  <a:gd name="connsiteX43" fmla="*/ 1193896 w 1212946"/>
                  <a:gd name="connsiteY43" fmla="*/ 2241550 h 3111900"/>
                  <a:gd name="connsiteX44" fmla="*/ 1212946 w 1212946"/>
                  <a:gd name="connsiteY44" fmla="*/ 2273300 h 3111900"/>
                  <a:gd name="connsiteX45" fmla="*/ 1193896 w 1212946"/>
                  <a:gd name="connsiteY45" fmla="*/ 2305050 h 3111900"/>
                  <a:gd name="connsiteX46" fmla="*/ 1187546 w 1212946"/>
                  <a:gd name="connsiteY46" fmla="*/ 2368550 h 3111900"/>
                  <a:gd name="connsiteX47" fmla="*/ 1168496 w 1212946"/>
                  <a:gd name="connsiteY47" fmla="*/ 2478612 h 3111900"/>
                  <a:gd name="connsiteX48" fmla="*/ 1092296 w 1212946"/>
                  <a:gd name="connsiteY48" fmla="*/ 2547142 h 3111900"/>
                  <a:gd name="connsiteX49" fmla="*/ 1079596 w 1212946"/>
                  <a:gd name="connsiteY49" fmla="*/ 2597150 h 3111900"/>
                  <a:gd name="connsiteX50" fmla="*/ 1003396 w 1212946"/>
                  <a:gd name="connsiteY50" fmla="*/ 2616200 h 3111900"/>
                  <a:gd name="connsiteX51" fmla="*/ 927196 w 1212946"/>
                  <a:gd name="connsiteY51" fmla="*/ 2649270 h 3111900"/>
                  <a:gd name="connsiteX52" fmla="*/ 787496 w 1212946"/>
                  <a:gd name="connsiteY52" fmla="*/ 2662759 h 3111900"/>
                  <a:gd name="connsiteX53" fmla="*/ 662878 w 1212946"/>
                  <a:gd name="connsiteY53" fmla="*/ 2674932 h 3111900"/>
                  <a:gd name="connsiteX54" fmla="*/ 608109 w 1212946"/>
                  <a:gd name="connsiteY54" fmla="*/ 2707479 h 3111900"/>
                  <a:gd name="connsiteX55" fmla="*/ 546196 w 1212946"/>
                  <a:gd name="connsiteY55" fmla="*/ 2736850 h 3111900"/>
                  <a:gd name="connsiteX56" fmla="*/ 476346 w 1212946"/>
                  <a:gd name="connsiteY56" fmla="*/ 2802198 h 3111900"/>
                  <a:gd name="connsiteX57" fmla="*/ 435865 w 1212946"/>
                  <a:gd name="connsiteY57" fmla="*/ 2894013 h 3111900"/>
                  <a:gd name="connsiteX58" fmla="*/ 354108 w 1212946"/>
                  <a:gd name="connsiteY58" fmla="*/ 2951162 h 3111900"/>
                  <a:gd name="connsiteX59" fmla="*/ 298546 w 1212946"/>
                  <a:gd name="connsiteY59" fmla="*/ 2986084 h 3111900"/>
                  <a:gd name="connsiteX60" fmla="*/ 242190 w 1212946"/>
                  <a:gd name="connsiteY60" fmla="*/ 3049313 h 3111900"/>
                  <a:gd name="connsiteX61" fmla="*/ 154877 w 1212946"/>
                  <a:gd name="connsiteY61" fmla="*/ 3103018 h 3111900"/>
                  <a:gd name="connsiteX0" fmla="*/ 12796 w 1212946"/>
                  <a:gd name="connsiteY0" fmla="*/ 0 h 3111900"/>
                  <a:gd name="connsiteX1" fmla="*/ 37402 w 1212946"/>
                  <a:gd name="connsiteY1" fmla="*/ 120650 h 3111900"/>
                  <a:gd name="connsiteX2" fmla="*/ 19146 w 1212946"/>
                  <a:gd name="connsiteY2" fmla="*/ 158750 h 3111900"/>
                  <a:gd name="connsiteX3" fmla="*/ 41371 w 1212946"/>
                  <a:gd name="connsiteY3" fmla="*/ 209550 h 3111900"/>
                  <a:gd name="connsiteX4" fmla="*/ 38196 w 1212946"/>
                  <a:gd name="connsiteY4" fmla="*/ 234950 h 3111900"/>
                  <a:gd name="connsiteX5" fmla="*/ 50896 w 1212946"/>
                  <a:gd name="connsiteY5" fmla="*/ 273050 h 3111900"/>
                  <a:gd name="connsiteX6" fmla="*/ 17558 w 1212946"/>
                  <a:gd name="connsiteY6" fmla="*/ 312737 h 3111900"/>
                  <a:gd name="connsiteX7" fmla="*/ 50896 w 1212946"/>
                  <a:gd name="connsiteY7" fmla="*/ 372269 h 3111900"/>
                  <a:gd name="connsiteX8" fmla="*/ 31846 w 1212946"/>
                  <a:gd name="connsiteY8" fmla="*/ 463550 h 3111900"/>
                  <a:gd name="connsiteX9" fmla="*/ 890 w 1212946"/>
                  <a:gd name="connsiteY9" fmla="*/ 525462 h 3111900"/>
                  <a:gd name="connsiteX10" fmla="*/ 96 w 1212946"/>
                  <a:gd name="connsiteY10" fmla="*/ 546101 h 3111900"/>
                  <a:gd name="connsiteX11" fmla="*/ 6446 w 1212946"/>
                  <a:gd name="connsiteY11" fmla="*/ 603250 h 3111900"/>
                  <a:gd name="connsiteX12" fmla="*/ 50896 w 1212946"/>
                  <a:gd name="connsiteY12" fmla="*/ 647700 h 3111900"/>
                  <a:gd name="connsiteX13" fmla="*/ 95346 w 1212946"/>
                  <a:gd name="connsiteY13" fmla="*/ 692678 h 3111900"/>
                  <a:gd name="connsiteX14" fmla="*/ 120746 w 1212946"/>
                  <a:gd name="connsiteY14" fmla="*/ 749300 h 3111900"/>
                  <a:gd name="connsiteX15" fmla="*/ 170752 w 1212946"/>
                  <a:gd name="connsiteY15" fmla="*/ 763587 h 3111900"/>
                  <a:gd name="connsiteX16" fmla="*/ 241396 w 1212946"/>
                  <a:gd name="connsiteY16" fmla="*/ 806450 h 3111900"/>
                  <a:gd name="connsiteX17" fmla="*/ 276321 w 1212946"/>
                  <a:gd name="connsiteY17" fmla="*/ 842697 h 3111900"/>
                  <a:gd name="connsiteX18" fmla="*/ 273146 w 1212946"/>
                  <a:gd name="connsiteY18" fmla="*/ 901700 h 3111900"/>
                  <a:gd name="connsiteX19" fmla="*/ 376334 w 1212946"/>
                  <a:gd name="connsiteY19" fmla="*/ 981869 h 3111900"/>
                  <a:gd name="connsiteX20" fmla="*/ 425546 w 1212946"/>
                  <a:gd name="connsiteY20" fmla="*/ 1028700 h 3111900"/>
                  <a:gd name="connsiteX21" fmla="*/ 463646 w 1212946"/>
                  <a:gd name="connsiteY21" fmla="*/ 1098550 h 3111900"/>
                  <a:gd name="connsiteX22" fmla="*/ 565246 w 1212946"/>
                  <a:gd name="connsiteY22" fmla="*/ 1143000 h 3111900"/>
                  <a:gd name="connsiteX23" fmla="*/ 609696 w 1212946"/>
                  <a:gd name="connsiteY23" fmla="*/ 1162050 h 3111900"/>
                  <a:gd name="connsiteX24" fmla="*/ 635096 w 1212946"/>
                  <a:gd name="connsiteY24" fmla="*/ 1212850 h 3111900"/>
                  <a:gd name="connsiteX25" fmla="*/ 692246 w 1212946"/>
                  <a:gd name="connsiteY25" fmla="*/ 1237194 h 3111900"/>
                  <a:gd name="connsiteX26" fmla="*/ 722409 w 1212946"/>
                  <a:gd name="connsiteY26" fmla="*/ 1269475 h 3111900"/>
                  <a:gd name="connsiteX27" fmla="*/ 745427 w 1212946"/>
                  <a:gd name="connsiteY27" fmla="*/ 1280058 h 3111900"/>
                  <a:gd name="connsiteX28" fmla="*/ 788289 w 1212946"/>
                  <a:gd name="connsiteY28" fmla="*/ 1304925 h 3111900"/>
                  <a:gd name="connsiteX29" fmla="*/ 825596 w 1212946"/>
                  <a:gd name="connsiteY29" fmla="*/ 1352550 h 3111900"/>
                  <a:gd name="connsiteX30" fmla="*/ 866871 w 1212946"/>
                  <a:gd name="connsiteY30" fmla="*/ 1386682 h 3111900"/>
                  <a:gd name="connsiteX31" fmla="*/ 915290 w 1212946"/>
                  <a:gd name="connsiteY31" fmla="*/ 1406525 h 3111900"/>
                  <a:gd name="connsiteX32" fmla="*/ 952596 w 1212946"/>
                  <a:gd name="connsiteY32" fmla="*/ 1460500 h 3111900"/>
                  <a:gd name="connsiteX33" fmla="*/ 1028796 w 1212946"/>
                  <a:gd name="connsiteY33" fmla="*/ 1612900 h 3111900"/>
                  <a:gd name="connsiteX34" fmla="*/ 1022446 w 1212946"/>
                  <a:gd name="connsiteY34" fmla="*/ 1657350 h 3111900"/>
                  <a:gd name="connsiteX35" fmla="*/ 1066896 w 1212946"/>
                  <a:gd name="connsiteY35" fmla="*/ 1720850 h 3111900"/>
                  <a:gd name="connsiteX36" fmla="*/ 1111346 w 1212946"/>
                  <a:gd name="connsiteY36" fmla="*/ 1809750 h 3111900"/>
                  <a:gd name="connsiteX37" fmla="*/ 1154209 w 1212946"/>
                  <a:gd name="connsiteY37" fmla="*/ 1910557 h 3111900"/>
                  <a:gd name="connsiteX38" fmla="*/ 1143096 w 1212946"/>
                  <a:gd name="connsiteY38" fmla="*/ 1981200 h 3111900"/>
                  <a:gd name="connsiteX39" fmla="*/ 1174846 w 1212946"/>
                  <a:gd name="connsiteY39" fmla="*/ 2044700 h 3111900"/>
                  <a:gd name="connsiteX40" fmla="*/ 1193896 w 1212946"/>
                  <a:gd name="connsiteY40" fmla="*/ 2101586 h 3111900"/>
                  <a:gd name="connsiteX41" fmla="*/ 1200246 w 1212946"/>
                  <a:gd name="connsiteY41" fmla="*/ 2139950 h 3111900"/>
                  <a:gd name="connsiteX42" fmla="*/ 1193896 w 1212946"/>
                  <a:gd name="connsiteY42" fmla="*/ 2190750 h 3111900"/>
                  <a:gd name="connsiteX43" fmla="*/ 1193896 w 1212946"/>
                  <a:gd name="connsiteY43" fmla="*/ 2241550 h 3111900"/>
                  <a:gd name="connsiteX44" fmla="*/ 1212946 w 1212946"/>
                  <a:gd name="connsiteY44" fmla="*/ 2273300 h 3111900"/>
                  <a:gd name="connsiteX45" fmla="*/ 1193896 w 1212946"/>
                  <a:gd name="connsiteY45" fmla="*/ 2305050 h 3111900"/>
                  <a:gd name="connsiteX46" fmla="*/ 1187546 w 1212946"/>
                  <a:gd name="connsiteY46" fmla="*/ 2368550 h 3111900"/>
                  <a:gd name="connsiteX47" fmla="*/ 1168496 w 1212946"/>
                  <a:gd name="connsiteY47" fmla="*/ 2478612 h 3111900"/>
                  <a:gd name="connsiteX48" fmla="*/ 1092296 w 1212946"/>
                  <a:gd name="connsiteY48" fmla="*/ 2547142 h 3111900"/>
                  <a:gd name="connsiteX49" fmla="*/ 1079596 w 1212946"/>
                  <a:gd name="connsiteY49" fmla="*/ 2597150 h 3111900"/>
                  <a:gd name="connsiteX50" fmla="*/ 1003396 w 1212946"/>
                  <a:gd name="connsiteY50" fmla="*/ 2616200 h 3111900"/>
                  <a:gd name="connsiteX51" fmla="*/ 927196 w 1212946"/>
                  <a:gd name="connsiteY51" fmla="*/ 2649270 h 3111900"/>
                  <a:gd name="connsiteX52" fmla="*/ 787496 w 1212946"/>
                  <a:gd name="connsiteY52" fmla="*/ 2662759 h 3111900"/>
                  <a:gd name="connsiteX53" fmla="*/ 662878 w 1212946"/>
                  <a:gd name="connsiteY53" fmla="*/ 2674932 h 3111900"/>
                  <a:gd name="connsiteX54" fmla="*/ 608109 w 1212946"/>
                  <a:gd name="connsiteY54" fmla="*/ 2707479 h 3111900"/>
                  <a:gd name="connsiteX55" fmla="*/ 546196 w 1212946"/>
                  <a:gd name="connsiteY55" fmla="*/ 2736850 h 3111900"/>
                  <a:gd name="connsiteX56" fmla="*/ 476346 w 1212946"/>
                  <a:gd name="connsiteY56" fmla="*/ 2802198 h 3111900"/>
                  <a:gd name="connsiteX57" fmla="*/ 404115 w 1212946"/>
                  <a:gd name="connsiteY57" fmla="*/ 2863584 h 3111900"/>
                  <a:gd name="connsiteX58" fmla="*/ 354108 w 1212946"/>
                  <a:gd name="connsiteY58" fmla="*/ 2951162 h 3111900"/>
                  <a:gd name="connsiteX59" fmla="*/ 298546 w 1212946"/>
                  <a:gd name="connsiteY59" fmla="*/ 2986084 h 3111900"/>
                  <a:gd name="connsiteX60" fmla="*/ 242190 w 1212946"/>
                  <a:gd name="connsiteY60" fmla="*/ 3049313 h 3111900"/>
                  <a:gd name="connsiteX61" fmla="*/ 154877 w 1212946"/>
                  <a:gd name="connsiteY61" fmla="*/ 3103018 h 3111900"/>
                  <a:gd name="connsiteX0" fmla="*/ 12796 w 1212946"/>
                  <a:gd name="connsiteY0" fmla="*/ 0 h 3111900"/>
                  <a:gd name="connsiteX1" fmla="*/ 37402 w 1212946"/>
                  <a:gd name="connsiteY1" fmla="*/ 120650 h 3111900"/>
                  <a:gd name="connsiteX2" fmla="*/ 19146 w 1212946"/>
                  <a:gd name="connsiteY2" fmla="*/ 158750 h 3111900"/>
                  <a:gd name="connsiteX3" fmla="*/ 41371 w 1212946"/>
                  <a:gd name="connsiteY3" fmla="*/ 209550 h 3111900"/>
                  <a:gd name="connsiteX4" fmla="*/ 38196 w 1212946"/>
                  <a:gd name="connsiteY4" fmla="*/ 234950 h 3111900"/>
                  <a:gd name="connsiteX5" fmla="*/ 50896 w 1212946"/>
                  <a:gd name="connsiteY5" fmla="*/ 273050 h 3111900"/>
                  <a:gd name="connsiteX6" fmla="*/ 17558 w 1212946"/>
                  <a:gd name="connsiteY6" fmla="*/ 312737 h 3111900"/>
                  <a:gd name="connsiteX7" fmla="*/ 50896 w 1212946"/>
                  <a:gd name="connsiteY7" fmla="*/ 372269 h 3111900"/>
                  <a:gd name="connsiteX8" fmla="*/ 31846 w 1212946"/>
                  <a:gd name="connsiteY8" fmla="*/ 463550 h 3111900"/>
                  <a:gd name="connsiteX9" fmla="*/ 890 w 1212946"/>
                  <a:gd name="connsiteY9" fmla="*/ 525462 h 3111900"/>
                  <a:gd name="connsiteX10" fmla="*/ 96 w 1212946"/>
                  <a:gd name="connsiteY10" fmla="*/ 546101 h 3111900"/>
                  <a:gd name="connsiteX11" fmla="*/ 6446 w 1212946"/>
                  <a:gd name="connsiteY11" fmla="*/ 603250 h 3111900"/>
                  <a:gd name="connsiteX12" fmla="*/ 50896 w 1212946"/>
                  <a:gd name="connsiteY12" fmla="*/ 647700 h 3111900"/>
                  <a:gd name="connsiteX13" fmla="*/ 95346 w 1212946"/>
                  <a:gd name="connsiteY13" fmla="*/ 692678 h 3111900"/>
                  <a:gd name="connsiteX14" fmla="*/ 120746 w 1212946"/>
                  <a:gd name="connsiteY14" fmla="*/ 749300 h 3111900"/>
                  <a:gd name="connsiteX15" fmla="*/ 170752 w 1212946"/>
                  <a:gd name="connsiteY15" fmla="*/ 763587 h 3111900"/>
                  <a:gd name="connsiteX16" fmla="*/ 241396 w 1212946"/>
                  <a:gd name="connsiteY16" fmla="*/ 806450 h 3111900"/>
                  <a:gd name="connsiteX17" fmla="*/ 276321 w 1212946"/>
                  <a:gd name="connsiteY17" fmla="*/ 842697 h 3111900"/>
                  <a:gd name="connsiteX18" fmla="*/ 273146 w 1212946"/>
                  <a:gd name="connsiteY18" fmla="*/ 901700 h 3111900"/>
                  <a:gd name="connsiteX19" fmla="*/ 376334 w 1212946"/>
                  <a:gd name="connsiteY19" fmla="*/ 981869 h 3111900"/>
                  <a:gd name="connsiteX20" fmla="*/ 425546 w 1212946"/>
                  <a:gd name="connsiteY20" fmla="*/ 1028700 h 3111900"/>
                  <a:gd name="connsiteX21" fmla="*/ 463646 w 1212946"/>
                  <a:gd name="connsiteY21" fmla="*/ 1098550 h 3111900"/>
                  <a:gd name="connsiteX22" fmla="*/ 565246 w 1212946"/>
                  <a:gd name="connsiteY22" fmla="*/ 1143000 h 3111900"/>
                  <a:gd name="connsiteX23" fmla="*/ 609696 w 1212946"/>
                  <a:gd name="connsiteY23" fmla="*/ 1162050 h 3111900"/>
                  <a:gd name="connsiteX24" fmla="*/ 635096 w 1212946"/>
                  <a:gd name="connsiteY24" fmla="*/ 1212850 h 3111900"/>
                  <a:gd name="connsiteX25" fmla="*/ 692246 w 1212946"/>
                  <a:gd name="connsiteY25" fmla="*/ 1237194 h 3111900"/>
                  <a:gd name="connsiteX26" fmla="*/ 722409 w 1212946"/>
                  <a:gd name="connsiteY26" fmla="*/ 1269475 h 3111900"/>
                  <a:gd name="connsiteX27" fmla="*/ 745427 w 1212946"/>
                  <a:gd name="connsiteY27" fmla="*/ 1280058 h 3111900"/>
                  <a:gd name="connsiteX28" fmla="*/ 788289 w 1212946"/>
                  <a:gd name="connsiteY28" fmla="*/ 1304925 h 3111900"/>
                  <a:gd name="connsiteX29" fmla="*/ 825596 w 1212946"/>
                  <a:gd name="connsiteY29" fmla="*/ 1352550 h 3111900"/>
                  <a:gd name="connsiteX30" fmla="*/ 866871 w 1212946"/>
                  <a:gd name="connsiteY30" fmla="*/ 1386682 h 3111900"/>
                  <a:gd name="connsiteX31" fmla="*/ 915290 w 1212946"/>
                  <a:gd name="connsiteY31" fmla="*/ 1406525 h 3111900"/>
                  <a:gd name="connsiteX32" fmla="*/ 952596 w 1212946"/>
                  <a:gd name="connsiteY32" fmla="*/ 1460500 h 3111900"/>
                  <a:gd name="connsiteX33" fmla="*/ 1028796 w 1212946"/>
                  <a:gd name="connsiteY33" fmla="*/ 1612900 h 3111900"/>
                  <a:gd name="connsiteX34" fmla="*/ 1022446 w 1212946"/>
                  <a:gd name="connsiteY34" fmla="*/ 1657350 h 3111900"/>
                  <a:gd name="connsiteX35" fmla="*/ 1066896 w 1212946"/>
                  <a:gd name="connsiteY35" fmla="*/ 1720850 h 3111900"/>
                  <a:gd name="connsiteX36" fmla="*/ 1111346 w 1212946"/>
                  <a:gd name="connsiteY36" fmla="*/ 1809750 h 3111900"/>
                  <a:gd name="connsiteX37" fmla="*/ 1154209 w 1212946"/>
                  <a:gd name="connsiteY37" fmla="*/ 1910557 h 3111900"/>
                  <a:gd name="connsiteX38" fmla="*/ 1143096 w 1212946"/>
                  <a:gd name="connsiteY38" fmla="*/ 1981200 h 3111900"/>
                  <a:gd name="connsiteX39" fmla="*/ 1174846 w 1212946"/>
                  <a:gd name="connsiteY39" fmla="*/ 2044700 h 3111900"/>
                  <a:gd name="connsiteX40" fmla="*/ 1193896 w 1212946"/>
                  <a:gd name="connsiteY40" fmla="*/ 2101586 h 3111900"/>
                  <a:gd name="connsiteX41" fmla="*/ 1200246 w 1212946"/>
                  <a:gd name="connsiteY41" fmla="*/ 2139950 h 3111900"/>
                  <a:gd name="connsiteX42" fmla="*/ 1193896 w 1212946"/>
                  <a:gd name="connsiteY42" fmla="*/ 2190750 h 3111900"/>
                  <a:gd name="connsiteX43" fmla="*/ 1193896 w 1212946"/>
                  <a:gd name="connsiteY43" fmla="*/ 2241550 h 3111900"/>
                  <a:gd name="connsiteX44" fmla="*/ 1212946 w 1212946"/>
                  <a:gd name="connsiteY44" fmla="*/ 2273300 h 3111900"/>
                  <a:gd name="connsiteX45" fmla="*/ 1193896 w 1212946"/>
                  <a:gd name="connsiteY45" fmla="*/ 2305050 h 3111900"/>
                  <a:gd name="connsiteX46" fmla="*/ 1187546 w 1212946"/>
                  <a:gd name="connsiteY46" fmla="*/ 2368550 h 3111900"/>
                  <a:gd name="connsiteX47" fmla="*/ 1168496 w 1212946"/>
                  <a:gd name="connsiteY47" fmla="*/ 2478612 h 3111900"/>
                  <a:gd name="connsiteX48" fmla="*/ 1092296 w 1212946"/>
                  <a:gd name="connsiteY48" fmla="*/ 2547142 h 3111900"/>
                  <a:gd name="connsiteX49" fmla="*/ 1079596 w 1212946"/>
                  <a:gd name="connsiteY49" fmla="*/ 2597150 h 3111900"/>
                  <a:gd name="connsiteX50" fmla="*/ 1003396 w 1212946"/>
                  <a:gd name="connsiteY50" fmla="*/ 2616200 h 3111900"/>
                  <a:gd name="connsiteX51" fmla="*/ 927196 w 1212946"/>
                  <a:gd name="connsiteY51" fmla="*/ 2649270 h 3111900"/>
                  <a:gd name="connsiteX52" fmla="*/ 787496 w 1212946"/>
                  <a:gd name="connsiteY52" fmla="*/ 2662759 h 3111900"/>
                  <a:gd name="connsiteX53" fmla="*/ 662878 w 1212946"/>
                  <a:gd name="connsiteY53" fmla="*/ 2674932 h 3111900"/>
                  <a:gd name="connsiteX54" fmla="*/ 608109 w 1212946"/>
                  <a:gd name="connsiteY54" fmla="*/ 2707479 h 3111900"/>
                  <a:gd name="connsiteX55" fmla="*/ 514446 w 1212946"/>
                  <a:gd name="connsiteY55" fmla="*/ 2730765 h 3111900"/>
                  <a:gd name="connsiteX56" fmla="*/ 476346 w 1212946"/>
                  <a:gd name="connsiteY56" fmla="*/ 2802198 h 3111900"/>
                  <a:gd name="connsiteX57" fmla="*/ 404115 w 1212946"/>
                  <a:gd name="connsiteY57" fmla="*/ 2863584 h 3111900"/>
                  <a:gd name="connsiteX58" fmla="*/ 354108 w 1212946"/>
                  <a:gd name="connsiteY58" fmla="*/ 2951162 h 3111900"/>
                  <a:gd name="connsiteX59" fmla="*/ 298546 w 1212946"/>
                  <a:gd name="connsiteY59" fmla="*/ 2986084 h 3111900"/>
                  <a:gd name="connsiteX60" fmla="*/ 242190 w 1212946"/>
                  <a:gd name="connsiteY60" fmla="*/ 3049313 h 3111900"/>
                  <a:gd name="connsiteX61" fmla="*/ 154877 w 1212946"/>
                  <a:gd name="connsiteY61" fmla="*/ 3103018 h 3111900"/>
                  <a:gd name="connsiteX0" fmla="*/ 12796 w 1212946"/>
                  <a:gd name="connsiteY0" fmla="*/ 0 h 3111900"/>
                  <a:gd name="connsiteX1" fmla="*/ 37402 w 1212946"/>
                  <a:gd name="connsiteY1" fmla="*/ 120650 h 3111900"/>
                  <a:gd name="connsiteX2" fmla="*/ 19146 w 1212946"/>
                  <a:gd name="connsiteY2" fmla="*/ 158750 h 3111900"/>
                  <a:gd name="connsiteX3" fmla="*/ 41371 w 1212946"/>
                  <a:gd name="connsiteY3" fmla="*/ 209550 h 3111900"/>
                  <a:gd name="connsiteX4" fmla="*/ 38196 w 1212946"/>
                  <a:gd name="connsiteY4" fmla="*/ 234950 h 3111900"/>
                  <a:gd name="connsiteX5" fmla="*/ 50896 w 1212946"/>
                  <a:gd name="connsiteY5" fmla="*/ 273050 h 3111900"/>
                  <a:gd name="connsiteX6" fmla="*/ 17558 w 1212946"/>
                  <a:gd name="connsiteY6" fmla="*/ 312737 h 3111900"/>
                  <a:gd name="connsiteX7" fmla="*/ 50896 w 1212946"/>
                  <a:gd name="connsiteY7" fmla="*/ 372269 h 3111900"/>
                  <a:gd name="connsiteX8" fmla="*/ 31846 w 1212946"/>
                  <a:gd name="connsiteY8" fmla="*/ 463550 h 3111900"/>
                  <a:gd name="connsiteX9" fmla="*/ 890 w 1212946"/>
                  <a:gd name="connsiteY9" fmla="*/ 525462 h 3111900"/>
                  <a:gd name="connsiteX10" fmla="*/ 96 w 1212946"/>
                  <a:gd name="connsiteY10" fmla="*/ 546101 h 3111900"/>
                  <a:gd name="connsiteX11" fmla="*/ 6446 w 1212946"/>
                  <a:gd name="connsiteY11" fmla="*/ 603250 h 3111900"/>
                  <a:gd name="connsiteX12" fmla="*/ 50896 w 1212946"/>
                  <a:gd name="connsiteY12" fmla="*/ 647700 h 3111900"/>
                  <a:gd name="connsiteX13" fmla="*/ 95346 w 1212946"/>
                  <a:gd name="connsiteY13" fmla="*/ 692678 h 3111900"/>
                  <a:gd name="connsiteX14" fmla="*/ 120746 w 1212946"/>
                  <a:gd name="connsiteY14" fmla="*/ 749300 h 3111900"/>
                  <a:gd name="connsiteX15" fmla="*/ 170752 w 1212946"/>
                  <a:gd name="connsiteY15" fmla="*/ 763587 h 3111900"/>
                  <a:gd name="connsiteX16" fmla="*/ 241396 w 1212946"/>
                  <a:gd name="connsiteY16" fmla="*/ 806450 h 3111900"/>
                  <a:gd name="connsiteX17" fmla="*/ 276321 w 1212946"/>
                  <a:gd name="connsiteY17" fmla="*/ 842697 h 3111900"/>
                  <a:gd name="connsiteX18" fmla="*/ 273146 w 1212946"/>
                  <a:gd name="connsiteY18" fmla="*/ 901700 h 3111900"/>
                  <a:gd name="connsiteX19" fmla="*/ 376334 w 1212946"/>
                  <a:gd name="connsiteY19" fmla="*/ 981869 h 3111900"/>
                  <a:gd name="connsiteX20" fmla="*/ 425546 w 1212946"/>
                  <a:gd name="connsiteY20" fmla="*/ 1028700 h 3111900"/>
                  <a:gd name="connsiteX21" fmla="*/ 463646 w 1212946"/>
                  <a:gd name="connsiteY21" fmla="*/ 1098550 h 3111900"/>
                  <a:gd name="connsiteX22" fmla="*/ 565246 w 1212946"/>
                  <a:gd name="connsiteY22" fmla="*/ 1143000 h 3111900"/>
                  <a:gd name="connsiteX23" fmla="*/ 609696 w 1212946"/>
                  <a:gd name="connsiteY23" fmla="*/ 1162050 h 3111900"/>
                  <a:gd name="connsiteX24" fmla="*/ 635096 w 1212946"/>
                  <a:gd name="connsiteY24" fmla="*/ 1212850 h 3111900"/>
                  <a:gd name="connsiteX25" fmla="*/ 692246 w 1212946"/>
                  <a:gd name="connsiteY25" fmla="*/ 1237194 h 3111900"/>
                  <a:gd name="connsiteX26" fmla="*/ 722409 w 1212946"/>
                  <a:gd name="connsiteY26" fmla="*/ 1269475 h 3111900"/>
                  <a:gd name="connsiteX27" fmla="*/ 745427 w 1212946"/>
                  <a:gd name="connsiteY27" fmla="*/ 1280058 h 3111900"/>
                  <a:gd name="connsiteX28" fmla="*/ 788289 w 1212946"/>
                  <a:gd name="connsiteY28" fmla="*/ 1304925 h 3111900"/>
                  <a:gd name="connsiteX29" fmla="*/ 825596 w 1212946"/>
                  <a:gd name="connsiteY29" fmla="*/ 1352550 h 3111900"/>
                  <a:gd name="connsiteX30" fmla="*/ 866871 w 1212946"/>
                  <a:gd name="connsiteY30" fmla="*/ 1386682 h 3111900"/>
                  <a:gd name="connsiteX31" fmla="*/ 915290 w 1212946"/>
                  <a:gd name="connsiteY31" fmla="*/ 1406525 h 3111900"/>
                  <a:gd name="connsiteX32" fmla="*/ 952596 w 1212946"/>
                  <a:gd name="connsiteY32" fmla="*/ 1460500 h 3111900"/>
                  <a:gd name="connsiteX33" fmla="*/ 1028796 w 1212946"/>
                  <a:gd name="connsiteY33" fmla="*/ 1612900 h 3111900"/>
                  <a:gd name="connsiteX34" fmla="*/ 1022446 w 1212946"/>
                  <a:gd name="connsiteY34" fmla="*/ 1657350 h 3111900"/>
                  <a:gd name="connsiteX35" fmla="*/ 1066896 w 1212946"/>
                  <a:gd name="connsiteY35" fmla="*/ 1720850 h 3111900"/>
                  <a:gd name="connsiteX36" fmla="*/ 1111346 w 1212946"/>
                  <a:gd name="connsiteY36" fmla="*/ 1809750 h 3111900"/>
                  <a:gd name="connsiteX37" fmla="*/ 1154209 w 1212946"/>
                  <a:gd name="connsiteY37" fmla="*/ 1910557 h 3111900"/>
                  <a:gd name="connsiteX38" fmla="*/ 1143096 w 1212946"/>
                  <a:gd name="connsiteY38" fmla="*/ 1981200 h 3111900"/>
                  <a:gd name="connsiteX39" fmla="*/ 1174846 w 1212946"/>
                  <a:gd name="connsiteY39" fmla="*/ 2044700 h 3111900"/>
                  <a:gd name="connsiteX40" fmla="*/ 1193896 w 1212946"/>
                  <a:gd name="connsiteY40" fmla="*/ 2101586 h 3111900"/>
                  <a:gd name="connsiteX41" fmla="*/ 1200246 w 1212946"/>
                  <a:gd name="connsiteY41" fmla="*/ 2139950 h 3111900"/>
                  <a:gd name="connsiteX42" fmla="*/ 1193896 w 1212946"/>
                  <a:gd name="connsiteY42" fmla="*/ 2190750 h 3111900"/>
                  <a:gd name="connsiteX43" fmla="*/ 1193896 w 1212946"/>
                  <a:gd name="connsiteY43" fmla="*/ 2241550 h 3111900"/>
                  <a:gd name="connsiteX44" fmla="*/ 1212946 w 1212946"/>
                  <a:gd name="connsiteY44" fmla="*/ 2273300 h 3111900"/>
                  <a:gd name="connsiteX45" fmla="*/ 1193896 w 1212946"/>
                  <a:gd name="connsiteY45" fmla="*/ 2305050 h 3111900"/>
                  <a:gd name="connsiteX46" fmla="*/ 1187546 w 1212946"/>
                  <a:gd name="connsiteY46" fmla="*/ 2368550 h 3111900"/>
                  <a:gd name="connsiteX47" fmla="*/ 1168496 w 1212946"/>
                  <a:gd name="connsiteY47" fmla="*/ 2478612 h 3111900"/>
                  <a:gd name="connsiteX48" fmla="*/ 1092296 w 1212946"/>
                  <a:gd name="connsiteY48" fmla="*/ 2547142 h 3111900"/>
                  <a:gd name="connsiteX49" fmla="*/ 1079596 w 1212946"/>
                  <a:gd name="connsiteY49" fmla="*/ 2597150 h 3111900"/>
                  <a:gd name="connsiteX50" fmla="*/ 1003396 w 1212946"/>
                  <a:gd name="connsiteY50" fmla="*/ 2616200 h 3111900"/>
                  <a:gd name="connsiteX51" fmla="*/ 927196 w 1212946"/>
                  <a:gd name="connsiteY51" fmla="*/ 2649270 h 3111900"/>
                  <a:gd name="connsiteX52" fmla="*/ 787496 w 1212946"/>
                  <a:gd name="connsiteY52" fmla="*/ 2662759 h 3111900"/>
                  <a:gd name="connsiteX53" fmla="*/ 593028 w 1212946"/>
                  <a:gd name="connsiteY53" fmla="*/ 2650588 h 3111900"/>
                  <a:gd name="connsiteX54" fmla="*/ 608109 w 1212946"/>
                  <a:gd name="connsiteY54" fmla="*/ 2707479 h 3111900"/>
                  <a:gd name="connsiteX55" fmla="*/ 514446 w 1212946"/>
                  <a:gd name="connsiteY55" fmla="*/ 2730765 h 3111900"/>
                  <a:gd name="connsiteX56" fmla="*/ 476346 w 1212946"/>
                  <a:gd name="connsiteY56" fmla="*/ 2802198 h 3111900"/>
                  <a:gd name="connsiteX57" fmla="*/ 404115 w 1212946"/>
                  <a:gd name="connsiteY57" fmla="*/ 2863584 h 3111900"/>
                  <a:gd name="connsiteX58" fmla="*/ 354108 w 1212946"/>
                  <a:gd name="connsiteY58" fmla="*/ 2951162 h 3111900"/>
                  <a:gd name="connsiteX59" fmla="*/ 298546 w 1212946"/>
                  <a:gd name="connsiteY59" fmla="*/ 2986084 h 3111900"/>
                  <a:gd name="connsiteX60" fmla="*/ 242190 w 1212946"/>
                  <a:gd name="connsiteY60" fmla="*/ 3049313 h 3111900"/>
                  <a:gd name="connsiteX61" fmla="*/ 154877 w 1212946"/>
                  <a:gd name="connsiteY61" fmla="*/ 3103018 h 3111900"/>
                  <a:gd name="connsiteX0" fmla="*/ 12796 w 1212946"/>
                  <a:gd name="connsiteY0" fmla="*/ 0 h 3111900"/>
                  <a:gd name="connsiteX1" fmla="*/ 37402 w 1212946"/>
                  <a:gd name="connsiteY1" fmla="*/ 120650 h 3111900"/>
                  <a:gd name="connsiteX2" fmla="*/ 19146 w 1212946"/>
                  <a:gd name="connsiteY2" fmla="*/ 158750 h 3111900"/>
                  <a:gd name="connsiteX3" fmla="*/ 41371 w 1212946"/>
                  <a:gd name="connsiteY3" fmla="*/ 209550 h 3111900"/>
                  <a:gd name="connsiteX4" fmla="*/ 38196 w 1212946"/>
                  <a:gd name="connsiteY4" fmla="*/ 234950 h 3111900"/>
                  <a:gd name="connsiteX5" fmla="*/ 50896 w 1212946"/>
                  <a:gd name="connsiteY5" fmla="*/ 273050 h 3111900"/>
                  <a:gd name="connsiteX6" fmla="*/ 17558 w 1212946"/>
                  <a:gd name="connsiteY6" fmla="*/ 312737 h 3111900"/>
                  <a:gd name="connsiteX7" fmla="*/ 50896 w 1212946"/>
                  <a:gd name="connsiteY7" fmla="*/ 372269 h 3111900"/>
                  <a:gd name="connsiteX8" fmla="*/ 31846 w 1212946"/>
                  <a:gd name="connsiteY8" fmla="*/ 463550 h 3111900"/>
                  <a:gd name="connsiteX9" fmla="*/ 890 w 1212946"/>
                  <a:gd name="connsiteY9" fmla="*/ 525462 h 3111900"/>
                  <a:gd name="connsiteX10" fmla="*/ 96 w 1212946"/>
                  <a:gd name="connsiteY10" fmla="*/ 546101 h 3111900"/>
                  <a:gd name="connsiteX11" fmla="*/ 6446 w 1212946"/>
                  <a:gd name="connsiteY11" fmla="*/ 603250 h 3111900"/>
                  <a:gd name="connsiteX12" fmla="*/ 50896 w 1212946"/>
                  <a:gd name="connsiteY12" fmla="*/ 647700 h 3111900"/>
                  <a:gd name="connsiteX13" fmla="*/ 95346 w 1212946"/>
                  <a:gd name="connsiteY13" fmla="*/ 692678 h 3111900"/>
                  <a:gd name="connsiteX14" fmla="*/ 120746 w 1212946"/>
                  <a:gd name="connsiteY14" fmla="*/ 749300 h 3111900"/>
                  <a:gd name="connsiteX15" fmla="*/ 170752 w 1212946"/>
                  <a:gd name="connsiteY15" fmla="*/ 763587 h 3111900"/>
                  <a:gd name="connsiteX16" fmla="*/ 241396 w 1212946"/>
                  <a:gd name="connsiteY16" fmla="*/ 806450 h 3111900"/>
                  <a:gd name="connsiteX17" fmla="*/ 276321 w 1212946"/>
                  <a:gd name="connsiteY17" fmla="*/ 842697 h 3111900"/>
                  <a:gd name="connsiteX18" fmla="*/ 273146 w 1212946"/>
                  <a:gd name="connsiteY18" fmla="*/ 901700 h 3111900"/>
                  <a:gd name="connsiteX19" fmla="*/ 376334 w 1212946"/>
                  <a:gd name="connsiteY19" fmla="*/ 981869 h 3111900"/>
                  <a:gd name="connsiteX20" fmla="*/ 425546 w 1212946"/>
                  <a:gd name="connsiteY20" fmla="*/ 1028700 h 3111900"/>
                  <a:gd name="connsiteX21" fmla="*/ 463646 w 1212946"/>
                  <a:gd name="connsiteY21" fmla="*/ 1098550 h 3111900"/>
                  <a:gd name="connsiteX22" fmla="*/ 565246 w 1212946"/>
                  <a:gd name="connsiteY22" fmla="*/ 1143000 h 3111900"/>
                  <a:gd name="connsiteX23" fmla="*/ 609696 w 1212946"/>
                  <a:gd name="connsiteY23" fmla="*/ 1162050 h 3111900"/>
                  <a:gd name="connsiteX24" fmla="*/ 635096 w 1212946"/>
                  <a:gd name="connsiteY24" fmla="*/ 1212850 h 3111900"/>
                  <a:gd name="connsiteX25" fmla="*/ 692246 w 1212946"/>
                  <a:gd name="connsiteY25" fmla="*/ 1237194 h 3111900"/>
                  <a:gd name="connsiteX26" fmla="*/ 722409 w 1212946"/>
                  <a:gd name="connsiteY26" fmla="*/ 1269475 h 3111900"/>
                  <a:gd name="connsiteX27" fmla="*/ 745427 w 1212946"/>
                  <a:gd name="connsiteY27" fmla="*/ 1280058 h 3111900"/>
                  <a:gd name="connsiteX28" fmla="*/ 788289 w 1212946"/>
                  <a:gd name="connsiteY28" fmla="*/ 1304925 h 3111900"/>
                  <a:gd name="connsiteX29" fmla="*/ 825596 w 1212946"/>
                  <a:gd name="connsiteY29" fmla="*/ 1352550 h 3111900"/>
                  <a:gd name="connsiteX30" fmla="*/ 866871 w 1212946"/>
                  <a:gd name="connsiteY30" fmla="*/ 1386682 h 3111900"/>
                  <a:gd name="connsiteX31" fmla="*/ 915290 w 1212946"/>
                  <a:gd name="connsiteY31" fmla="*/ 1406525 h 3111900"/>
                  <a:gd name="connsiteX32" fmla="*/ 952596 w 1212946"/>
                  <a:gd name="connsiteY32" fmla="*/ 1460500 h 3111900"/>
                  <a:gd name="connsiteX33" fmla="*/ 1028796 w 1212946"/>
                  <a:gd name="connsiteY33" fmla="*/ 1612900 h 3111900"/>
                  <a:gd name="connsiteX34" fmla="*/ 1022446 w 1212946"/>
                  <a:gd name="connsiteY34" fmla="*/ 1657350 h 3111900"/>
                  <a:gd name="connsiteX35" fmla="*/ 1066896 w 1212946"/>
                  <a:gd name="connsiteY35" fmla="*/ 1720850 h 3111900"/>
                  <a:gd name="connsiteX36" fmla="*/ 1111346 w 1212946"/>
                  <a:gd name="connsiteY36" fmla="*/ 1809750 h 3111900"/>
                  <a:gd name="connsiteX37" fmla="*/ 1154209 w 1212946"/>
                  <a:gd name="connsiteY37" fmla="*/ 1910557 h 3111900"/>
                  <a:gd name="connsiteX38" fmla="*/ 1143096 w 1212946"/>
                  <a:gd name="connsiteY38" fmla="*/ 1981200 h 3111900"/>
                  <a:gd name="connsiteX39" fmla="*/ 1174846 w 1212946"/>
                  <a:gd name="connsiteY39" fmla="*/ 2044700 h 3111900"/>
                  <a:gd name="connsiteX40" fmla="*/ 1193896 w 1212946"/>
                  <a:gd name="connsiteY40" fmla="*/ 2101586 h 3111900"/>
                  <a:gd name="connsiteX41" fmla="*/ 1200246 w 1212946"/>
                  <a:gd name="connsiteY41" fmla="*/ 2139950 h 3111900"/>
                  <a:gd name="connsiteX42" fmla="*/ 1193896 w 1212946"/>
                  <a:gd name="connsiteY42" fmla="*/ 2190750 h 3111900"/>
                  <a:gd name="connsiteX43" fmla="*/ 1193896 w 1212946"/>
                  <a:gd name="connsiteY43" fmla="*/ 2241550 h 3111900"/>
                  <a:gd name="connsiteX44" fmla="*/ 1212946 w 1212946"/>
                  <a:gd name="connsiteY44" fmla="*/ 2273300 h 3111900"/>
                  <a:gd name="connsiteX45" fmla="*/ 1193896 w 1212946"/>
                  <a:gd name="connsiteY45" fmla="*/ 2305050 h 3111900"/>
                  <a:gd name="connsiteX46" fmla="*/ 1187546 w 1212946"/>
                  <a:gd name="connsiteY46" fmla="*/ 2368550 h 3111900"/>
                  <a:gd name="connsiteX47" fmla="*/ 1168496 w 1212946"/>
                  <a:gd name="connsiteY47" fmla="*/ 2478612 h 3111900"/>
                  <a:gd name="connsiteX48" fmla="*/ 1092296 w 1212946"/>
                  <a:gd name="connsiteY48" fmla="*/ 2547142 h 3111900"/>
                  <a:gd name="connsiteX49" fmla="*/ 1079596 w 1212946"/>
                  <a:gd name="connsiteY49" fmla="*/ 2597150 h 3111900"/>
                  <a:gd name="connsiteX50" fmla="*/ 1003396 w 1212946"/>
                  <a:gd name="connsiteY50" fmla="*/ 2616200 h 3111900"/>
                  <a:gd name="connsiteX51" fmla="*/ 927196 w 1212946"/>
                  <a:gd name="connsiteY51" fmla="*/ 2649270 h 3111900"/>
                  <a:gd name="connsiteX52" fmla="*/ 787496 w 1212946"/>
                  <a:gd name="connsiteY52" fmla="*/ 2662759 h 3111900"/>
                  <a:gd name="connsiteX53" fmla="*/ 593028 w 1212946"/>
                  <a:gd name="connsiteY53" fmla="*/ 2650588 h 3111900"/>
                  <a:gd name="connsiteX54" fmla="*/ 550959 w 1212946"/>
                  <a:gd name="connsiteY54" fmla="*/ 2695307 h 3111900"/>
                  <a:gd name="connsiteX55" fmla="*/ 514446 w 1212946"/>
                  <a:gd name="connsiteY55" fmla="*/ 2730765 h 3111900"/>
                  <a:gd name="connsiteX56" fmla="*/ 476346 w 1212946"/>
                  <a:gd name="connsiteY56" fmla="*/ 2802198 h 3111900"/>
                  <a:gd name="connsiteX57" fmla="*/ 404115 w 1212946"/>
                  <a:gd name="connsiteY57" fmla="*/ 2863584 h 3111900"/>
                  <a:gd name="connsiteX58" fmla="*/ 354108 w 1212946"/>
                  <a:gd name="connsiteY58" fmla="*/ 2951162 h 3111900"/>
                  <a:gd name="connsiteX59" fmla="*/ 298546 w 1212946"/>
                  <a:gd name="connsiteY59" fmla="*/ 2986084 h 3111900"/>
                  <a:gd name="connsiteX60" fmla="*/ 242190 w 1212946"/>
                  <a:gd name="connsiteY60" fmla="*/ 3049313 h 3111900"/>
                  <a:gd name="connsiteX61" fmla="*/ 154877 w 1212946"/>
                  <a:gd name="connsiteY61" fmla="*/ 3103018 h 3111900"/>
                  <a:gd name="connsiteX0" fmla="*/ 12796 w 1212946"/>
                  <a:gd name="connsiteY0" fmla="*/ 0 h 3111900"/>
                  <a:gd name="connsiteX1" fmla="*/ 37402 w 1212946"/>
                  <a:gd name="connsiteY1" fmla="*/ 120650 h 3111900"/>
                  <a:gd name="connsiteX2" fmla="*/ 19146 w 1212946"/>
                  <a:gd name="connsiteY2" fmla="*/ 158750 h 3111900"/>
                  <a:gd name="connsiteX3" fmla="*/ 41371 w 1212946"/>
                  <a:gd name="connsiteY3" fmla="*/ 209550 h 3111900"/>
                  <a:gd name="connsiteX4" fmla="*/ 38196 w 1212946"/>
                  <a:gd name="connsiteY4" fmla="*/ 234950 h 3111900"/>
                  <a:gd name="connsiteX5" fmla="*/ 50896 w 1212946"/>
                  <a:gd name="connsiteY5" fmla="*/ 273050 h 3111900"/>
                  <a:gd name="connsiteX6" fmla="*/ 17558 w 1212946"/>
                  <a:gd name="connsiteY6" fmla="*/ 312737 h 3111900"/>
                  <a:gd name="connsiteX7" fmla="*/ 50896 w 1212946"/>
                  <a:gd name="connsiteY7" fmla="*/ 372269 h 3111900"/>
                  <a:gd name="connsiteX8" fmla="*/ 31846 w 1212946"/>
                  <a:gd name="connsiteY8" fmla="*/ 463550 h 3111900"/>
                  <a:gd name="connsiteX9" fmla="*/ 890 w 1212946"/>
                  <a:gd name="connsiteY9" fmla="*/ 525462 h 3111900"/>
                  <a:gd name="connsiteX10" fmla="*/ 96 w 1212946"/>
                  <a:gd name="connsiteY10" fmla="*/ 546101 h 3111900"/>
                  <a:gd name="connsiteX11" fmla="*/ 6446 w 1212946"/>
                  <a:gd name="connsiteY11" fmla="*/ 603250 h 3111900"/>
                  <a:gd name="connsiteX12" fmla="*/ 50896 w 1212946"/>
                  <a:gd name="connsiteY12" fmla="*/ 647700 h 3111900"/>
                  <a:gd name="connsiteX13" fmla="*/ 95346 w 1212946"/>
                  <a:gd name="connsiteY13" fmla="*/ 692678 h 3111900"/>
                  <a:gd name="connsiteX14" fmla="*/ 120746 w 1212946"/>
                  <a:gd name="connsiteY14" fmla="*/ 749300 h 3111900"/>
                  <a:gd name="connsiteX15" fmla="*/ 170752 w 1212946"/>
                  <a:gd name="connsiteY15" fmla="*/ 763587 h 3111900"/>
                  <a:gd name="connsiteX16" fmla="*/ 241396 w 1212946"/>
                  <a:gd name="connsiteY16" fmla="*/ 806450 h 3111900"/>
                  <a:gd name="connsiteX17" fmla="*/ 276321 w 1212946"/>
                  <a:gd name="connsiteY17" fmla="*/ 842697 h 3111900"/>
                  <a:gd name="connsiteX18" fmla="*/ 273146 w 1212946"/>
                  <a:gd name="connsiteY18" fmla="*/ 901700 h 3111900"/>
                  <a:gd name="connsiteX19" fmla="*/ 376334 w 1212946"/>
                  <a:gd name="connsiteY19" fmla="*/ 981869 h 3111900"/>
                  <a:gd name="connsiteX20" fmla="*/ 425546 w 1212946"/>
                  <a:gd name="connsiteY20" fmla="*/ 1028700 h 3111900"/>
                  <a:gd name="connsiteX21" fmla="*/ 463646 w 1212946"/>
                  <a:gd name="connsiteY21" fmla="*/ 1098550 h 3111900"/>
                  <a:gd name="connsiteX22" fmla="*/ 565246 w 1212946"/>
                  <a:gd name="connsiteY22" fmla="*/ 1143000 h 3111900"/>
                  <a:gd name="connsiteX23" fmla="*/ 609696 w 1212946"/>
                  <a:gd name="connsiteY23" fmla="*/ 1162050 h 3111900"/>
                  <a:gd name="connsiteX24" fmla="*/ 635096 w 1212946"/>
                  <a:gd name="connsiteY24" fmla="*/ 1212850 h 3111900"/>
                  <a:gd name="connsiteX25" fmla="*/ 692246 w 1212946"/>
                  <a:gd name="connsiteY25" fmla="*/ 1237194 h 3111900"/>
                  <a:gd name="connsiteX26" fmla="*/ 722409 w 1212946"/>
                  <a:gd name="connsiteY26" fmla="*/ 1269475 h 3111900"/>
                  <a:gd name="connsiteX27" fmla="*/ 745427 w 1212946"/>
                  <a:gd name="connsiteY27" fmla="*/ 1280058 h 3111900"/>
                  <a:gd name="connsiteX28" fmla="*/ 788289 w 1212946"/>
                  <a:gd name="connsiteY28" fmla="*/ 1304925 h 3111900"/>
                  <a:gd name="connsiteX29" fmla="*/ 825596 w 1212946"/>
                  <a:gd name="connsiteY29" fmla="*/ 1352550 h 3111900"/>
                  <a:gd name="connsiteX30" fmla="*/ 866871 w 1212946"/>
                  <a:gd name="connsiteY30" fmla="*/ 1386682 h 3111900"/>
                  <a:gd name="connsiteX31" fmla="*/ 915290 w 1212946"/>
                  <a:gd name="connsiteY31" fmla="*/ 1406525 h 3111900"/>
                  <a:gd name="connsiteX32" fmla="*/ 952596 w 1212946"/>
                  <a:gd name="connsiteY32" fmla="*/ 1460500 h 3111900"/>
                  <a:gd name="connsiteX33" fmla="*/ 1028796 w 1212946"/>
                  <a:gd name="connsiteY33" fmla="*/ 1612900 h 3111900"/>
                  <a:gd name="connsiteX34" fmla="*/ 1022446 w 1212946"/>
                  <a:gd name="connsiteY34" fmla="*/ 1657350 h 3111900"/>
                  <a:gd name="connsiteX35" fmla="*/ 1066896 w 1212946"/>
                  <a:gd name="connsiteY35" fmla="*/ 1720850 h 3111900"/>
                  <a:gd name="connsiteX36" fmla="*/ 1111346 w 1212946"/>
                  <a:gd name="connsiteY36" fmla="*/ 1809750 h 3111900"/>
                  <a:gd name="connsiteX37" fmla="*/ 1154209 w 1212946"/>
                  <a:gd name="connsiteY37" fmla="*/ 1910557 h 3111900"/>
                  <a:gd name="connsiteX38" fmla="*/ 1143096 w 1212946"/>
                  <a:gd name="connsiteY38" fmla="*/ 1981200 h 3111900"/>
                  <a:gd name="connsiteX39" fmla="*/ 1174846 w 1212946"/>
                  <a:gd name="connsiteY39" fmla="*/ 2044700 h 3111900"/>
                  <a:gd name="connsiteX40" fmla="*/ 1193896 w 1212946"/>
                  <a:gd name="connsiteY40" fmla="*/ 2101586 h 3111900"/>
                  <a:gd name="connsiteX41" fmla="*/ 1200246 w 1212946"/>
                  <a:gd name="connsiteY41" fmla="*/ 2139950 h 3111900"/>
                  <a:gd name="connsiteX42" fmla="*/ 1193896 w 1212946"/>
                  <a:gd name="connsiteY42" fmla="*/ 2190750 h 3111900"/>
                  <a:gd name="connsiteX43" fmla="*/ 1193896 w 1212946"/>
                  <a:gd name="connsiteY43" fmla="*/ 2241550 h 3111900"/>
                  <a:gd name="connsiteX44" fmla="*/ 1212946 w 1212946"/>
                  <a:gd name="connsiteY44" fmla="*/ 2273300 h 3111900"/>
                  <a:gd name="connsiteX45" fmla="*/ 1193896 w 1212946"/>
                  <a:gd name="connsiteY45" fmla="*/ 2305050 h 3111900"/>
                  <a:gd name="connsiteX46" fmla="*/ 1187546 w 1212946"/>
                  <a:gd name="connsiteY46" fmla="*/ 2368550 h 3111900"/>
                  <a:gd name="connsiteX47" fmla="*/ 1168496 w 1212946"/>
                  <a:gd name="connsiteY47" fmla="*/ 2478612 h 3111900"/>
                  <a:gd name="connsiteX48" fmla="*/ 1092296 w 1212946"/>
                  <a:gd name="connsiteY48" fmla="*/ 2547142 h 3111900"/>
                  <a:gd name="connsiteX49" fmla="*/ 1079596 w 1212946"/>
                  <a:gd name="connsiteY49" fmla="*/ 2597150 h 3111900"/>
                  <a:gd name="connsiteX50" fmla="*/ 1003396 w 1212946"/>
                  <a:gd name="connsiteY50" fmla="*/ 2616200 h 3111900"/>
                  <a:gd name="connsiteX51" fmla="*/ 927196 w 1212946"/>
                  <a:gd name="connsiteY51" fmla="*/ 2649270 h 3111900"/>
                  <a:gd name="connsiteX52" fmla="*/ 787496 w 1212946"/>
                  <a:gd name="connsiteY52" fmla="*/ 2662759 h 3111900"/>
                  <a:gd name="connsiteX53" fmla="*/ 612078 w 1212946"/>
                  <a:gd name="connsiteY53" fmla="*/ 2626244 h 3111900"/>
                  <a:gd name="connsiteX54" fmla="*/ 550959 w 1212946"/>
                  <a:gd name="connsiteY54" fmla="*/ 2695307 h 3111900"/>
                  <a:gd name="connsiteX55" fmla="*/ 514446 w 1212946"/>
                  <a:gd name="connsiteY55" fmla="*/ 2730765 h 3111900"/>
                  <a:gd name="connsiteX56" fmla="*/ 476346 w 1212946"/>
                  <a:gd name="connsiteY56" fmla="*/ 2802198 h 3111900"/>
                  <a:gd name="connsiteX57" fmla="*/ 404115 w 1212946"/>
                  <a:gd name="connsiteY57" fmla="*/ 2863584 h 3111900"/>
                  <a:gd name="connsiteX58" fmla="*/ 354108 w 1212946"/>
                  <a:gd name="connsiteY58" fmla="*/ 2951162 h 3111900"/>
                  <a:gd name="connsiteX59" fmla="*/ 298546 w 1212946"/>
                  <a:gd name="connsiteY59" fmla="*/ 2986084 h 3111900"/>
                  <a:gd name="connsiteX60" fmla="*/ 242190 w 1212946"/>
                  <a:gd name="connsiteY60" fmla="*/ 3049313 h 3111900"/>
                  <a:gd name="connsiteX61" fmla="*/ 154877 w 1212946"/>
                  <a:gd name="connsiteY61" fmla="*/ 3103018 h 3111900"/>
                  <a:gd name="connsiteX0" fmla="*/ 12796 w 1212946"/>
                  <a:gd name="connsiteY0" fmla="*/ 0 h 3111900"/>
                  <a:gd name="connsiteX1" fmla="*/ 37402 w 1212946"/>
                  <a:gd name="connsiteY1" fmla="*/ 120650 h 3111900"/>
                  <a:gd name="connsiteX2" fmla="*/ 19146 w 1212946"/>
                  <a:gd name="connsiteY2" fmla="*/ 158750 h 3111900"/>
                  <a:gd name="connsiteX3" fmla="*/ 41371 w 1212946"/>
                  <a:gd name="connsiteY3" fmla="*/ 209550 h 3111900"/>
                  <a:gd name="connsiteX4" fmla="*/ 38196 w 1212946"/>
                  <a:gd name="connsiteY4" fmla="*/ 234950 h 3111900"/>
                  <a:gd name="connsiteX5" fmla="*/ 50896 w 1212946"/>
                  <a:gd name="connsiteY5" fmla="*/ 273050 h 3111900"/>
                  <a:gd name="connsiteX6" fmla="*/ 17558 w 1212946"/>
                  <a:gd name="connsiteY6" fmla="*/ 312737 h 3111900"/>
                  <a:gd name="connsiteX7" fmla="*/ 50896 w 1212946"/>
                  <a:gd name="connsiteY7" fmla="*/ 372269 h 3111900"/>
                  <a:gd name="connsiteX8" fmla="*/ 31846 w 1212946"/>
                  <a:gd name="connsiteY8" fmla="*/ 463550 h 3111900"/>
                  <a:gd name="connsiteX9" fmla="*/ 890 w 1212946"/>
                  <a:gd name="connsiteY9" fmla="*/ 525462 h 3111900"/>
                  <a:gd name="connsiteX10" fmla="*/ 96 w 1212946"/>
                  <a:gd name="connsiteY10" fmla="*/ 546101 h 3111900"/>
                  <a:gd name="connsiteX11" fmla="*/ 6446 w 1212946"/>
                  <a:gd name="connsiteY11" fmla="*/ 603250 h 3111900"/>
                  <a:gd name="connsiteX12" fmla="*/ 50896 w 1212946"/>
                  <a:gd name="connsiteY12" fmla="*/ 647700 h 3111900"/>
                  <a:gd name="connsiteX13" fmla="*/ 95346 w 1212946"/>
                  <a:gd name="connsiteY13" fmla="*/ 692678 h 3111900"/>
                  <a:gd name="connsiteX14" fmla="*/ 120746 w 1212946"/>
                  <a:gd name="connsiteY14" fmla="*/ 749300 h 3111900"/>
                  <a:gd name="connsiteX15" fmla="*/ 170752 w 1212946"/>
                  <a:gd name="connsiteY15" fmla="*/ 763587 h 3111900"/>
                  <a:gd name="connsiteX16" fmla="*/ 241396 w 1212946"/>
                  <a:gd name="connsiteY16" fmla="*/ 806450 h 3111900"/>
                  <a:gd name="connsiteX17" fmla="*/ 276321 w 1212946"/>
                  <a:gd name="connsiteY17" fmla="*/ 842697 h 3111900"/>
                  <a:gd name="connsiteX18" fmla="*/ 273146 w 1212946"/>
                  <a:gd name="connsiteY18" fmla="*/ 901700 h 3111900"/>
                  <a:gd name="connsiteX19" fmla="*/ 376334 w 1212946"/>
                  <a:gd name="connsiteY19" fmla="*/ 981869 h 3111900"/>
                  <a:gd name="connsiteX20" fmla="*/ 425546 w 1212946"/>
                  <a:gd name="connsiteY20" fmla="*/ 1028700 h 3111900"/>
                  <a:gd name="connsiteX21" fmla="*/ 463646 w 1212946"/>
                  <a:gd name="connsiteY21" fmla="*/ 1098550 h 3111900"/>
                  <a:gd name="connsiteX22" fmla="*/ 565246 w 1212946"/>
                  <a:gd name="connsiteY22" fmla="*/ 1143000 h 3111900"/>
                  <a:gd name="connsiteX23" fmla="*/ 609696 w 1212946"/>
                  <a:gd name="connsiteY23" fmla="*/ 1162050 h 3111900"/>
                  <a:gd name="connsiteX24" fmla="*/ 635096 w 1212946"/>
                  <a:gd name="connsiteY24" fmla="*/ 1212850 h 3111900"/>
                  <a:gd name="connsiteX25" fmla="*/ 692246 w 1212946"/>
                  <a:gd name="connsiteY25" fmla="*/ 1237194 h 3111900"/>
                  <a:gd name="connsiteX26" fmla="*/ 722409 w 1212946"/>
                  <a:gd name="connsiteY26" fmla="*/ 1269475 h 3111900"/>
                  <a:gd name="connsiteX27" fmla="*/ 745427 w 1212946"/>
                  <a:gd name="connsiteY27" fmla="*/ 1280058 h 3111900"/>
                  <a:gd name="connsiteX28" fmla="*/ 788289 w 1212946"/>
                  <a:gd name="connsiteY28" fmla="*/ 1304925 h 3111900"/>
                  <a:gd name="connsiteX29" fmla="*/ 825596 w 1212946"/>
                  <a:gd name="connsiteY29" fmla="*/ 1352550 h 3111900"/>
                  <a:gd name="connsiteX30" fmla="*/ 866871 w 1212946"/>
                  <a:gd name="connsiteY30" fmla="*/ 1386682 h 3111900"/>
                  <a:gd name="connsiteX31" fmla="*/ 915290 w 1212946"/>
                  <a:gd name="connsiteY31" fmla="*/ 1406525 h 3111900"/>
                  <a:gd name="connsiteX32" fmla="*/ 952596 w 1212946"/>
                  <a:gd name="connsiteY32" fmla="*/ 1460500 h 3111900"/>
                  <a:gd name="connsiteX33" fmla="*/ 1028796 w 1212946"/>
                  <a:gd name="connsiteY33" fmla="*/ 1612900 h 3111900"/>
                  <a:gd name="connsiteX34" fmla="*/ 1022446 w 1212946"/>
                  <a:gd name="connsiteY34" fmla="*/ 1657350 h 3111900"/>
                  <a:gd name="connsiteX35" fmla="*/ 1066896 w 1212946"/>
                  <a:gd name="connsiteY35" fmla="*/ 1720850 h 3111900"/>
                  <a:gd name="connsiteX36" fmla="*/ 1111346 w 1212946"/>
                  <a:gd name="connsiteY36" fmla="*/ 1809750 h 3111900"/>
                  <a:gd name="connsiteX37" fmla="*/ 1154209 w 1212946"/>
                  <a:gd name="connsiteY37" fmla="*/ 1910557 h 3111900"/>
                  <a:gd name="connsiteX38" fmla="*/ 1143096 w 1212946"/>
                  <a:gd name="connsiteY38" fmla="*/ 1981200 h 3111900"/>
                  <a:gd name="connsiteX39" fmla="*/ 1174846 w 1212946"/>
                  <a:gd name="connsiteY39" fmla="*/ 2044700 h 3111900"/>
                  <a:gd name="connsiteX40" fmla="*/ 1193896 w 1212946"/>
                  <a:gd name="connsiteY40" fmla="*/ 2101586 h 3111900"/>
                  <a:gd name="connsiteX41" fmla="*/ 1200246 w 1212946"/>
                  <a:gd name="connsiteY41" fmla="*/ 2139950 h 3111900"/>
                  <a:gd name="connsiteX42" fmla="*/ 1193896 w 1212946"/>
                  <a:gd name="connsiteY42" fmla="*/ 2190750 h 3111900"/>
                  <a:gd name="connsiteX43" fmla="*/ 1193896 w 1212946"/>
                  <a:gd name="connsiteY43" fmla="*/ 2241550 h 3111900"/>
                  <a:gd name="connsiteX44" fmla="*/ 1212946 w 1212946"/>
                  <a:gd name="connsiteY44" fmla="*/ 2273300 h 3111900"/>
                  <a:gd name="connsiteX45" fmla="*/ 1193896 w 1212946"/>
                  <a:gd name="connsiteY45" fmla="*/ 2305050 h 3111900"/>
                  <a:gd name="connsiteX46" fmla="*/ 1187546 w 1212946"/>
                  <a:gd name="connsiteY46" fmla="*/ 2368550 h 3111900"/>
                  <a:gd name="connsiteX47" fmla="*/ 1168496 w 1212946"/>
                  <a:gd name="connsiteY47" fmla="*/ 2478612 h 3111900"/>
                  <a:gd name="connsiteX48" fmla="*/ 1092296 w 1212946"/>
                  <a:gd name="connsiteY48" fmla="*/ 2547142 h 3111900"/>
                  <a:gd name="connsiteX49" fmla="*/ 1079596 w 1212946"/>
                  <a:gd name="connsiteY49" fmla="*/ 2597150 h 3111900"/>
                  <a:gd name="connsiteX50" fmla="*/ 1003396 w 1212946"/>
                  <a:gd name="connsiteY50" fmla="*/ 2616200 h 3111900"/>
                  <a:gd name="connsiteX51" fmla="*/ 927196 w 1212946"/>
                  <a:gd name="connsiteY51" fmla="*/ 2649270 h 3111900"/>
                  <a:gd name="connsiteX52" fmla="*/ 755746 w 1212946"/>
                  <a:gd name="connsiteY52" fmla="*/ 2644501 h 3111900"/>
                  <a:gd name="connsiteX53" fmla="*/ 612078 w 1212946"/>
                  <a:gd name="connsiteY53" fmla="*/ 2626244 h 3111900"/>
                  <a:gd name="connsiteX54" fmla="*/ 550959 w 1212946"/>
                  <a:gd name="connsiteY54" fmla="*/ 2695307 h 3111900"/>
                  <a:gd name="connsiteX55" fmla="*/ 514446 w 1212946"/>
                  <a:gd name="connsiteY55" fmla="*/ 2730765 h 3111900"/>
                  <a:gd name="connsiteX56" fmla="*/ 476346 w 1212946"/>
                  <a:gd name="connsiteY56" fmla="*/ 2802198 h 3111900"/>
                  <a:gd name="connsiteX57" fmla="*/ 404115 w 1212946"/>
                  <a:gd name="connsiteY57" fmla="*/ 2863584 h 3111900"/>
                  <a:gd name="connsiteX58" fmla="*/ 354108 w 1212946"/>
                  <a:gd name="connsiteY58" fmla="*/ 2951162 h 3111900"/>
                  <a:gd name="connsiteX59" fmla="*/ 298546 w 1212946"/>
                  <a:gd name="connsiteY59" fmla="*/ 2986084 h 3111900"/>
                  <a:gd name="connsiteX60" fmla="*/ 242190 w 1212946"/>
                  <a:gd name="connsiteY60" fmla="*/ 3049313 h 3111900"/>
                  <a:gd name="connsiteX61" fmla="*/ 154877 w 1212946"/>
                  <a:gd name="connsiteY61" fmla="*/ 3103018 h 3111900"/>
                  <a:gd name="connsiteX0" fmla="*/ 12796 w 1212946"/>
                  <a:gd name="connsiteY0" fmla="*/ 0 h 3111900"/>
                  <a:gd name="connsiteX1" fmla="*/ 37402 w 1212946"/>
                  <a:gd name="connsiteY1" fmla="*/ 120650 h 3111900"/>
                  <a:gd name="connsiteX2" fmla="*/ 19146 w 1212946"/>
                  <a:gd name="connsiteY2" fmla="*/ 158750 h 3111900"/>
                  <a:gd name="connsiteX3" fmla="*/ 41371 w 1212946"/>
                  <a:gd name="connsiteY3" fmla="*/ 209550 h 3111900"/>
                  <a:gd name="connsiteX4" fmla="*/ 38196 w 1212946"/>
                  <a:gd name="connsiteY4" fmla="*/ 234950 h 3111900"/>
                  <a:gd name="connsiteX5" fmla="*/ 50896 w 1212946"/>
                  <a:gd name="connsiteY5" fmla="*/ 273050 h 3111900"/>
                  <a:gd name="connsiteX6" fmla="*/ 17558 w 1212946"/>
                  <a:gd name="connsiteY6" fmla="*/ 312737 h 3111900"/>
                  <a:gd name="connsiteX7" fmla="*/ 50896 w 1212946"/>
                  <a:gd name="connsiteY7" fmla="*/ 372269 h 3111900"/>
                  <a:gd name="connsiteX8" fmla="*/ 31846 w 1212946"/>
                  <a:gd name="connsiteY8" fmla="*/ 463550 h 3111900"/>
                  <a:gd name="connsiteX9" fmla="*/ 890 w 1212946"/>
                  <a:gd name="connsiteY9" fmla="*/ 525462 h 3111900"/>
                  <a:gd name="connsiteX10" fmla="*/ 96 w 1212946"/>
                  <a:gd name="connsiteY10" fmla="*/ 546101 h 3111900"/>
                  <a:gd name="connsiteX11" fmla="*/ 6446 w 1212946"/>
                  <a:gd name="connsiteY11" fmla="*/ 603250 h 3111900"/>
                  <a:gd name="connsiteX12" fmla="*/ 50896 w 1212946"/>
                  <a:gd name="connsiteY12" fmla="*/ 647700 h 3111900"/>
                  <a:gd name="connsiteX13" fmla="*/ 95346 w 1212946"/>
                  <a:gd name="connsiteY13" fmla="*/ 692678 h 3111900"/>
                  <a:gd name="connsiteX14" fmla="*/ 120746 w 1212946"/>
                  <a:gd name="connsiteY14" fmla="*/ 749300 h 3111900"/>
                  <a:gd name="connsiteX15" fmla="*/ 170752 w 1212946"/>
                  <a:gd name="connsiteY15" fmla="*/ 763587 h 3111900"/>
                  <a:gd name="connsiteX16" fmla="*/ 241396 w 1212946"/>
                  <a:gd name="connsiteY16" fmla="*/ 806450 h 3111900"/>
                  <a:gd name="connsiteX17" fmla="*/ 276321 w 1212946"/>
                  <a:gd name="connsiteY17" fmla="*/ 842697 h 3111900"/>
                  <a:gd name="connsiteX18" fmla="*/ 273146 w 1212946"/>
                  <a:gd name="connsiteY18" fmla="*/ 901700 h 3111900"/>
                  <a:gd name="connsiteX19" fmla="*/ 376334 w 1212946"/>
                  <a:gd name="connsiteY19" fmla="*/ 981869 h 3111900"/>
                  <a:gd name="connsiteX20" fmla="*/ 425546 w 1212946"/>
                  <a:gd name="connsiteY20" fmla="*/ 1028700 h 3111900"/>
                  <a:gd name="connsiteX21" fmla="*/ 463646 w 1212946"/>
                  <a:gd name="connsiteY21" fmla="*/ 1098550 h 3111900"/>
                  <a:gd name="connsiteX22" fmla="*/ 565246 w 1212946"/>
                  <a:gd name="connsiteY22" fmla="*/ 1143000 h 3111900"/>
                  <a:gd name="connsiteX23" fmla="*/ 609696 w 1212946"/>
                  <a:gd name="connsiteY23" fmla="*/ 1162050 h 3111900"/>
                  <a:gd name="connsiteX24" fmla="*/ 635096 w 1212946"/>
                  <a:gd name="connsiteY24" fmla="*/ 1212850 h 3111900"/>
                  <a:gd name="connsiteX25" fmla="*/ 692246 w 1212946"/>
                  <a:gd name="connsiteY25" fmla="*/ 1237194 h 3111900"/>
                  <a:gd name="connsiteX26" fmla="*/ 722409 w 1212946"/>
                  <a:gd name="connsiteY26" fmla="*/ 1269475 h 3111900"/>
                  <a:gd name="connsiteX27" fmla="*/ 745427 w 1212946"/>
                  <a:gd name="connsiteY27" fmla="*/ 1280058 h 3111900"/>
                  <a:gd name="connsiteX28" fmla="*/ 788289 w 1212946"/>
                  <a:gd name="connsiteY28" fmla="*/ 1304925 h 3111900"/>
                  <a:gd name="connsiteX29" fmla="*/ 825596 w 1212946"/>
                  <a:gd name="connsiteY29" fmla="*/ 1352550 h 3111900"/>
                  <a:gd name="connsiteX30" fmla="*/ 866871 w 1212946"/>
                  <a:gd name="connsiteY30" fmla="*/ 1386682 h 3111900"/>
                  <a:gd name="connsiteX31" fmla="*/ 915290 w 1212946"/>
                  <a:gd name="connsiteY31" fmla="*/ 1406525 h 3111900"/>
                  <a:gd name="connsiteX32" fmla="*/ 952596 w 1212946"/>
                  <a:gd name="connsiteY32" fmla="*/ 1460500 h 3111900"/>
                  <a:gd name="connsiteX33" fmla="*/ 1028796 w 1212946"/>
                  <a:gd name="connsiteY33" fmla="*/ 1612900 h 3111900"/>
                  <a:gd name="connsiteX34" fmla="*/ 1022446 w 1212946"/>
                  <a:gd name="connsiteY34" fmla="*/ 1657350 h 3111900"/>
                  <a:gd name="connsiteX35" fmla="*/ 1066896 w 1212946"/>
                  <a:gd name="connsiteY35" fmla="*/ 1720850 h 3111900"/>
                  <a:gd name="connsiteX36" fmla="*/ 1111346 w 1212946"/>
                  <a:gd name="connsiteY36" fmla="*/ 1809750 h 3111900"/>
                  <a:gd name="connsiteX37" fmla="*/ 1154209 w 1212946"/>
                  <a:gd name="connsiteY37" fmla="*/ 1910557 h 3111900"/>
                  <a:gd name="connsiteX38" fmla="*/ 1143096 w 1212946"/>
                  <a:gd name="connsiteY38" fmla="*/ 1981200 h 3111900"/>
                  <a:gd name="connsiteX39" fmla="*/ 1174846 w 1212946"/>
                  <a:gd name="connsiteY39" fmla="*/ 2044700 h 3111900"/>
                  <a:gd name="connsiteX40" fmla="*/ 1193896 w 1212946"/>
                  <a:gd name="connsiteY40" fmla="*/ 2101586 h 3111900"/>
                  <a:gd name="connsiteX41" fmla="*/ 1200246 w 1212946"/>
                  <a:gd name="connsiteY41" fmla="*/ 2139950 h 3111900"/>
                  <a:gd name="connsiteX42" fmla="*/ 1193896 w 1212946"/>
                  <a:gd name="connsiteY42" fmla="*/ 2190750 h 3111900"/>
                  <a:gd name="connsiteX43" fmla="*/ 1193896 w 1212946"/>
                  <a:gd name="connsiteY43" fmla="*/ 2241550 h 3111900"/>
                  <a:gd name="connsiteX44" fmla="*/ 1212946 w 1212946"/>
                  <a:gd name="connsiteY44" fmla="*/ 2273300 h 3111900"/>
                  <a:gd name="connsiteX45" fmla="*/ 1193896 w 1212946"/>
                  <a:gd name="connsiteY45" fmla="*/ 2305050 h 3111900"/>
                  <a:gd name="connsiteX46" fmla="*/ 1187546 w 1212946"/>
                  <a:gd name="connsiteY46" fmla="*/ 2368550 h 3111900"/>
                  <a:gd name="connsiteX47" fmla="*/ 1168496 w 1212946"/>
                  <a:gd name="connsiteY47" fmla="*/ 2478612 h 3111900"/>
                  <a:gd name="connsiteX48" fmla="*/ 1092296 w 1212946"/>
                  <a:gd name="connsiteY48" fmla="*/ 2547142 h 3111900"/>
                  <a:gd name="connsiteX49" fmla="*/ 1079596 w 1212946"/>
                  <a:gd name="connsiteY49" fmla="*/ 2597150 h 3111900"/>
                  <a:gd name="connsiteX50" fmla="*/ 1003396 w 1212946"/>
                  <a:gd name="connsiteY50" fmla="*/ 2616200 h 3111900"/>
                  <a:gd name="connsiteX51" fmla="*/ 927196 w 1212946"/>
                  <a:gd name="connsiteY51" fmla="*/ 2649270 h 3111900"/>
                  <a:gd name="connsiteX52" fmla="*/ 755746 w 1212946"/>
                  <a:gd name="connsiteY52" fmla="*/ 2644501 h 3111900"/>
                  <a:gd name="connsiteX53" fmla="*/ 643828 w 1212946"/>
                  <a:gd name="connsiteY53" fmla="*/ 2632330 h 3111900"/>
                  <a:gd name="connsiteX54" fmla="*/ 550959 w 1212946"/>
                  <a:gd name="connsiteY54" fmla="*/ 2695307 h 3111900"/>
                  <a:gd name="connsiteX55" fmla="*/ 514446 w 1212946"/>
                  <a:gd name="connsiteY55" fmla="*/ 2730765 h 3111900"/>
                  <a:gd name="connsiteX56" fmla="*/ 476346 w 1212946"/>
                  <a:gd name="connsiteY56" fmla="*/ 2802198 h 3111900"/>
                  <a:gd name="connsiteX57" fmla="*/ 404115 w 1212946"/>
                  <a:gd name="connsiteY57" fmla="*/ 2863584 h 3111900"/>
                  <a:gd name="connsiteX58" fmla="*/ 354108 w 1212946"/>
                  <a:gd name="connsiteY58" fmla="*/ 2951162 h 3111900"/>
                  <a:gd name="connsiteX59" fmla="*/ 298546 w 1212946"/>
                  <a:gd name="connsiteY59" fmla="*/ 2986084 h 3111900"/>
                  <a:gd name="connsiteX60" fmla="*/ 242190 w 1212946"/>
                  <a:gd name="connsiteY60" fmla="*/ 3049313 h 3111900"/>
                  <a:gd name="connsiteX61" fmla="*/ 154877 w 1212946"/>
                  <a:gd name="connsiteY61" fmla="*/ 3103018 h 3111900"/>
                  <a:gd name="connsiteX0" fmla="*/ 12796 w 1212946"/>
                  <a:gd name="connsiteY0" fmla="*/ 0 h 3111900"/>
                  <a:gd name="connsiteX1" fmla="*/ 37402 w 1212946"/>
                  <a:gd name="connsiteY1" fmla="*/ 120650 h 3111900"/>
                  <a:gd name="connsiteX2" fmla="*/ 19146 w 1212946"/>
                  <a:gd name="connsiteY2" fmla="*/ 158750 h 3111900"/>
                  <a:gd name="connsiteX3" fmla="*/ 41371 w 1212946"/>
                  <a:gd name="connsiteY3" fmla="*/ 209550 h 3111900"/>
                  <a:gd name="connsiteX4" fmla="*/ 38196 w 1212946"/>
                  <a:gd name="connsiteY4" fmla="*/ 234950 h 3111900"/>
                  <a:gd name="connsiteX5" fmla="*/ 50896 w 1212946"/>
                  <a:gd name="connsiteY5" fmla="*/ 273050 h 3111900"/>
                  <a:gd name="connsiteX6" fmla="*/ 17558 w 1212946"/>
                  <a:gd name="connsiteY6" fmla="*/ 312737 h 3111900"/>
                  <a:gd name="connsiteX7" fmla="*/ 50896 w 1212946"/>
                  <a:gd name="connsiteY7" fmla="*/ 372269 h 3111900"/>
                  <a:gd name="connsiteX8" fmla="*/ 31846 w 1212946"/>
                  <a:gd name="connsiteY8" fmla="*/ 463550 h 3111900"/>
                  <a:gd name="connsiteX9" fmla="*/ 890 w 1212946"/>
                  <a:gd name="connsiteY9" fmla="*/ 525462 h 3111900"/>
                  <a:gd name="connsiteX10" fmla="*/ 96 w 1212946"/>
                  <a:gd name="connsiteY10" fmla="*/ 546101 h 3111900"/>
                  <a:gd name="connsiteX11" fmla="*/ 6446 w 1212946"/>
                  <a:gd name="connsiteY11" fmla="*/ 603250 h 3111900"/>
                  <a:gd name="connsiteX12" fmla="*/ 50896 w 1212946"/>
                  <a:gd name="connsiteY12" fmla="*/ 647700 h 3111900"/>
                  <a:gd name="connsiteX13" fmla="*/ 95346 w 1212946"/>
                  <a:gd name="connsiteY13" fmla="*/ 692678 h 3111900"/>
                  <a:gd name="connsiteX14" fmla="*/ 120746 w 1212946"/>
                  <a:gd name="connsiteY14" fmla="*/ 749300 h 3111900"/>
                  <a:gd name="connsiteX15" fmla="*/ 170752 w 1212946"/>
                  <a:gd name="connsiteY15" fmla="*/ 763587 h 3111900"/>
                  <a:gd name="connsiteX16" fmla="*/ 241396 w 1212946"/>
                  <a:gd name="connsiteY16" fmla="*/ 806450 h 3111900"/>
                  <a:gd name="connsiteX17" fmla="*/ 276321 w 1212946"/>
                  <a:gd name="connsiteY17" fmla="*/ 842697 h 3111900"/>
                  <a:gd name="connsiteX18" fmla="*/ 273146 w 1212946"/>
                  <a:gd name="connsiteY18" fmla="*/ 901700 h 3111900"/>
                  <a:gd name="connsiteX19" fmla="*/ 376334 w 1212946"/>
                  <a:gd name="connsiteY19" fmla="*/ 981869 h 3111900"/>
                  <a:gd name="connsiteX20" fmla="*/ 425546 w 1212946"/>
                  <a:gd name="connsiteY20" fmla="*/ 1028700 h 3111900"/>
                  <a:gd name="connsiteX21" fmla="*/ 463646 w 1212946"/>
                  <a:gd name="connsiteY21" fmla="*/ 1098550 h 3111900"/>
                  <a:gd name="connsiteX22" fmla="*/ 565246 w 1212946"/>
                  <a:gd name="connsiteY22" fmla="*/ 1143000 h 3111900"/>
                  <a:gd name="connsiteX23" fmla="*/ 609696 w 1212946"/>
                  <a:gd name="connsiteY23" fmla="*/ 1162050 h 3111900"/>
                  <a:gd name="connsiteX24" fmla="*/ 635096 w 1212946"/>
                  <a:gd name="connsiteY24" fmla="*/ 1212850 h 3111900"/>
                  <a:gd name="connsiteX25" fmla="*/ 692246 w 1212946"/>
                  <a:gd name="connsiteY25" fmla="*/ 1237194 h 3111900"/>
                  <a:gd name="connsiteX26" fmla="*/ 722409 w 1212946"/>
                  <a:gd name="connsiteY26" fmla="*/ 1269475 h 3111900"/>
                  <a:gd name="connsiteX27" fmla="*/ 745427 w 1212946"/>
                  <a:gd name="connsiteY27" fmla="*/ 1280058 h 3111900"/>
                  <a:gd name="connsiteX28" fmla="*/ 788289 w 1212946"/>
                  <a:gd name="connsiteY28" fmla="*/ 1304925 h 3111900"/>
                  <a:gd name="connsiteX29" fmla="*/ 825596 w 1212946"/>
                  <a:gd name="connsiteY29" fmla="*/ 1352550 h 3111900"/>
                  <a:gd name="connsiteX30" fmla="*/ 866871 w 1212946"/>
                  <a:gd name="connsiteY30" fmla="*/ 1386682 h 3111900"/>
                  <a:gd name="connsiteX31" fmla="*/ 889890 w 1212946"/>
                  <a:gd name="connsiteY31" fmla="*/ 1430869 h 3111900"/>
                  <a:gd name="connsiteX32" fmla="*/ 952596 w 1212946"/>
                  <a:gd name="connsiteY32" fmla="*/ 1460500 h 3111900"/>
                  <a:gd name="connsiteX33" fmla="*/ 1028796 w 1212946"/>
                  <a:gd name="connsiteY33" fmla="*/ 1612900 h 3111900"/>
                  <a:gd name="connsiteX34" fmla="*/ 1022446 w 1212946"/>
                  <a:gd name="connsiteY34" fmla="*/ 1657350 h 3111900"/>
                  <a:gd name="connsiteX35" fmla="*/ 1066896 w 1212946"/>
                  <a:gd name="connsiteY35" fmla="*/ 1720850 h 3111900"/>
                  <a:gd name="connsiteX36" fmla="*/ 1111346 w 1212946"/>
                  <a:gd name="connsiteY36" fmla="*/ 1809750 h 3111900"/>
                  <a:gd name="connsiteX37" fmla="*/ 1154209 w 1212946"/>
                  <a:gd name="connsiteY37" fmla="*/ 1910557 h 3111900"/>
                  <a:gd name="connsiteX38" fmla="*/ 1143096 w 1212946"/>
                  <a:gd name="connsiteY38" fmla="*/ 1981200 h 3111900"/>
                  <a:gd name="connsiteX39" fmla="*/ 1174846 w 1212946"/>
                  <a:gd name="connsiteY39" fmla="*/ 2044700 h 3111900"/>
                  <a:gd name="connsiteX40" fmla="*/ 1193896 w 1212946"/>
                  <a:gd name="connsiteY40" fmla="*/ 2101586 h 3111900"/>
                  <a:gd name="connsiteX41" fmla="*/ 1200246 w 1212946"/>
                  <a:gd name="connsiteY41" fmla="*/ 2139950 h 3111900"/>
                  <a:gd name="connsiteX42" fmla="*/ 1193896 w 1212946"/>
                  <a:gd name="connsiteY42" fmla="*/ 2190750 h 3111900"/>
                  <a:gd name="connsiteX43" fmla="*/ 1193896 w 1212946"/>
                  <a:gd name="connsiteY43" fmla="*/ 2241550 h 3111900"/>
                  <a:gd name="connsiteX44" fmla="*/ 1212946 w 1212946"/>
                  <a:gd name="connsiteY44" fmla="*/ 2273300 h 3111900"/>
                  <a:gd name="connsiteX45" fmla="*/ 1193896 w 1212946"/>
                  <a:gd name="connsiteY45" fmla="*/ 2305050 h 3111900"/>
                  <a:gd name="connsiteX46" fmla="*/ 1187546 w 1212946"/>
                  <a:gd name="connsiteY46" fmla="*/ 2368550 h 3111900"/>
                  <a:gd name="connsiteX47" fmla="*/ 1168496 w 1212946"/>
                  <a:gd name="connsiteY47" fmla="*/ 2478612 h 3111900"/>
                  <a:gd name="connsiteX48" fmla="*/ 1092296 w 1212946"/>
                  <a:gd name="connsiteY48" fmla="*/ 2547142 h 3111900"/>
                  <a:gd name="connsiteX49" fmla="*/ 1079596 w 1212946"/>
                  <a:gd name="connsiteY49" fmla="*/ 2597150 h 3111900"/>
                  <a:gd name="connsiteX50" fmla="*/ 1003396 w 1212946"/>
                  <a:gd name="connsiteY50" fmla="*/ 2616200 h 3111900"/>
                  <a:gd name="connsiteX51" fmla="*/ 927196 w 1212946"/>
                  <a:gd name="connsiteY51" fmla="*/ 2649270 h 3111900"/>
                  <a:gd name="connsiteX52" fmla="*/ 755746 w 1212946"/>
                  <a:gd name="connsiteY52" fmla="*/ 2644501 h 3111900"/>
                  <a:gd name="connsiteX53" fmla="*/ 643828 w 1212946"/>
                  <a:gd name="connsiteY53" fmla="*/ 2632330 h 3111900"/>
                  <a:gd name="connsiteX54" fmla="*/ 550959 w 1212946"/>
                  <a:gd name="connsiteY54" fmla="*/ 2695307 h 3111900"/>
                  <a:gd name="connsiteX55" fmla="*/ 514446 w 1212946"/>
                  <a:gd name="connsiteY55" fmla="*/ 2730765 h 3111900"/>
                  <a:gd name="connsiteX56" fmla="*/ 476346 w 1212946"/>
                  <a:gd name="connsiteY56" fmla="*/ 2802198 h 3111900"/>
                  <a:gd name="connsiteX57" fmla="*/ 404115 w 1212946"/>
                  <a:gd name="connsiteY57" fmla="*/ 2863584 h 3111900"/>
                  <a:gd name="connsiteX58" fmla="*/ 354108 w 1212946"/>
                  <a:gd name="connsiteY58" fmla="*/ 2951162 h 3111900"/>
                  <a:gd name="connsiteX59" fmla="*/ 298546 w 1212946"/>
                  <a:gd name="connsiteY59" fmla="*/ 2986084 h 3111900"/>
                  <a:gd name="connsiteX60" fmla="*/ 242190 w 1212946"/>
                  <a:gd name="connsiteY60" fmla="*/ 3049313 h 3111900"/>
                  <a:gd name="connsiteX61" fmla="*/ 154877 w 1212946"/>
                  <a:gd name="connsiteY61" fmla="*/ 3103018 h 3111900"/>
                  <a:gd name="connsiteX0" fmla="*/ 12796 w 1212946"/>
                  <a:gd name="connsiteY0" fmla="*/ 0 h 3111900"/>
                  <a:gd name="connsiteX1" fmla="*/ 37402 w 1212946"/>
                  <a:gd name="connsiteY1" fmla="*/ 120650 h 3111900"/>
                  <a:gd name="connsiteX2" fmla="*/ 19146 w 1212946"/>
                  <a:gd name="connsiteY2" fmla="*/ 158750 h 3111900"/>
                  <a:gd name="connsiteX3" fmla="*/ 41371 w 1212946"/>
                  <a:gd name="connsiteY3" fmla="*/ 209550 h 3111900"/>
                  <a:gd name="connsiteX4" fmla="*/ 38196 w 1212946"/>
                  <a:gd name="connsiteY4" fmla="*/ 234950 h 3111900"/>
                  <a:gd name="connsiteX5" fmla="*/ 50896 w 1212946"/>
                  <a:gd name="connsiteY5" fmla="*/ 273050 h 3111900"/>
                  <a:gd name="connsiteX6" fmla="*/ 17558 w 1212946"/>
                  <a:gd name="connsiteY6" fmla="*/ 312737 h 3111900"/>
                  <a:gd name="connsiteX7" fmla="*/ 50896 w 1212946"/>
                  <a:gd name="connsiteY7" fmla="*/ 372269 h 3111900"/>
                  <a:gd name="connsiteX8" fmla="*/ 31846 w 1212946"/>
                  <a:gd name="connsiteY8" fmla="*/ 463550 h 3111900"/>
                  <a:gd name="connsiteX9" fmla="*/ 890 w 1212946"/>
                  <a:gd name="connsiteY9" fmla="*/ 525462 h 3111900"/>
                  <a:gd name="connsiteX10" fmla="*/ 96 w 1212946"/>
                  <a:gd name="connsiteY10" fmla="*/ 546101 h 3111900"/>
                  <a:gd name="connsiteX11" fmla="*/ 6446 w 1212946"/>
                  <a:gd name="connsiteY11" fmla="*/ 603250 h 3111900"/>
                  <a:gd name="connsiteX12" fmla="*/ 50896 w 1212946"/>
                  <a:gd name="connsiteY12" fmla="*/ 647700 h 3111900"/>
                  <a:gd name="connsiteX13" fmla="*/ 95346 w 1212946"/>
                  <a:gd name="connsiteY13" fmla="*/ 692678 h 3111900"/>
                  <a:gd name="connsiteX14" fmla="*/ 120746 w 1212946"/>
                  <a:gd name="connsiteY14" fmla="*/ 749300 h 3111900"/>
                  <a:gd name="connsiteX15" fmla="*/ 170752 w 1212946"/>
                  <a:gd name="connsiteY15" fmla="*/ 763587 h 3111900"/>
                  <a:gd name="connsiteX16" fmla="*/ 241396 w 1212946"/>
                  <a:gd name="connsiteY16" fmla="*/ 806450 h 3111900"/>
                  <a:gd name="connsiteX17" fmla="*/ 276321 w 1212946"/>
                  <a:gd name="connsiteY17" fmla="*/ 842697 h 3111900"/>
                  <a:gd name="connsiteX18" fmla="*/ 273146 w 1212946"/>
                  <a:gd name="connsiteY18" fmla="*/ 901700 h 3111900"/>
                  <a:gd name="connsiteX19" fmla="*/ 376334 w 1212946"/>
                  <a:gd name="connsiteY19" fmla="*/ 981869 h 3111900"/>
                  <a:gd name="connsiteX20" fmla="*/ 425546 w 1212946"/>
                  <a:gd name="connsiteY20" fmla="*/ 1028700 h 3111900"/>
                  <a:gd name="connsiteX21" fmla="*/ 463646 w 1212946"/>
                  <a:gd name="connsiteY21" fmla="*/ 1098550 h 3111900"/>
                  <a:gd name="connsiteX22" fmla="*/ 565246 w 1212946"/>
                  <a:gd name="connsiteY22" fmla="*/ 1143000 h 3111900"/>
                  <a:gd name="connsiteX23" fmla="*/ 609696 w 1212946"/>
                  <a:gd name="connsiteY23" fmla="*/ 1162050 h 3111900"/>
                  <a:gd name="connsiteX24" fmla="*/ 635096 w 1212946"/>
                  <a:gd name="connsiteY24" fmla="*/ 1212850 h 3111900"/>
                  <a:gd name="connsiteX25" fmla="*/ 692246 w 1212946"/>
                  <a:gd name="connsiteY25" fmla="*/ 1237194 h 3111900"/>
                  <a:gd name="connsiteX26" fmla="*/ 722409 w 1212946"/>
                  <a:gd name="connsiteY26" fmla="*/ 1269475 h 3111900"/>
                  <a:gd name="connsiteX27" fmla="*/ 745427 w 1212946"/>
                  <a:gd name="connsiteY27" fmla="*/ 1280058 h 3111900"/>
                  <a:gd name="connsiteX28" fmla="*/ 788289 w 1212946"/>
                  <a:gd name="connsiteY28" fmla="*/ 1304925 h 3111900"/>
                  <a:gd name="connsiteX29" fmla="*/ 825596 w 1212946"/>
                  <a:gd name="connsiteY29" fmla="*/ 1352550 h 3111900"/>
                  <a:gd name="connsiteX30" fmla="*/ 866871 w 1212946"/>
                  <a:gd name="connsiteY30" fmla="*/ 1386682 h 3111900"/>
                  <a:gd name="connsiteX31" fmla="*/ 889890 w 1212946"/>
                  <a:gd name="connsiteY31" fmla="*/ 1430869 h 3111900"/>
                  <a:gd name="connsiteX32" fmla="*/ 933546 w 1212946"/>
                  <a:gd name="connsiteY32" fmla="*/ 1478758 h 3111900"/>
                  <a:gd name="connsiteX33" fmla="*/ 1028796 w 1212946"/>
                  <a:gd name="connsiteY33" fmla="*/ 1612900 h 3111900"/>
                  <a:gd name="connsiteX34" fmla="*/ 1022446 w 1212946"/>
                  <a:gd name="connsiteY34" fmla="*/ 1657350 h 3111900"/>
                  <a:gd name="connsiteX35" fmla="*/ 1066896 w 1212946"/>
                  <a:gd name="connsiteY35" fmla="*/ 1720850 h 3111900"/>
                  <a:gd name="connsiteX36" fmla="*/ 1111346 w 1212946"/>
                  <a:gd name="connsiteY36" fmla="*/ 1809750 h 3111900"/>
                  <a:gd name="connsiteX37" fmla="*/ 1154209 w 1212946"/>
                  <a:gd name="connsiteY37" fmla="*/ 1910557 h 3111900"/>
                  <a:gd name="connsiteX38" fmla="*/ 1143096 w 1212946"/>
                  <a:gd name="connsiteY38" fmla="*/ 1981200 h 3111900"/>
                  <a:gd name="connsiteX39" fmla="*/ 1174846 w 1212946"/>
                  <a:gd name="connsiteY39" fmla="*/ 2044700 h 3111900"/>
                  <a:gd name="connsiteX40" fmla="*/ 1193896 w 1212946"/>
                  <a:gd name="connsiteY40" fmla="*/ 2101586 h 3111900"/>
                  <a:gd name="connsiteX41" fmla="*/ 1200246 w 1212946"/>
                  <a:gd name="connsiteY41" fmla="*/ 2139950 h 3111900"/>
                  <a:gd name="connsiteX42" fmla="*/ 1193896 w 1212946"/>
                  <a:gd name="connsiteY42" fmla="*/ 2190750 h 3111900"/>
                  <a:gd name="connsiteX43" fmla="*/ 1193896 w 1212946"/>
                  <a:gd name="connsiteY43" fmla="*/ 2241550 h 3111900"/>
                  <a:gd name="connsiteX44" fmla="*/ 1212946 w 1212946"/>
                  <a:gd name="connsiteY44" fmla="*/ 2273300 h 3111900"/>
                  <a:gd name="connsiteX45" fmla="*/ 1193896 w 1212946"/>
                  <a:gd name="connsiteY45" fmla="*/ 2305050 h 3111900"/>
                  <a:gd name="connsiteX46" fmla="*/ 1187546 w 1212946"/>
                  <a:gd name="connsiteY46" fmla="*/ 2368550 h 3111900"/>
                  <a:gd name="connsiteX47" fmla="*/ 1168496 w 1212946"/>
                  <a:gd name="connsiteY47" fmla="*/ 2478612 h 3111900"/>
                  <a:gd name="connsiteX48" fmla="*/ 1092296 w 1212946"/>
                  <a:gd name="connsiteY48" fmla="*/ 2547142 h 3111900"/>
                  <a:gd name="connsiteX49" fmla="*/ 1079596 w 1212946"/>
                  <a:gd name="connsiteY49" fmla="*/ 2597150 h 3111900"/>
                  <a:gd name="connsiteX50" fmla="*/ 1003396 w 1212946"/>
                  <a:gd name="connsiteY50" fmla="*/ 2616200 h 3111900"/>
                  <a:gd name="connsiteX51" fmla="*/ 927196 w 1212946"/>
                  <a:gd name="connsiteY51" fmla="*/ 2649270 h 3111900"/>
                  <a:gd name="connsiteX52" fmla="*/ 755746 w 1212946"/>
                  <a:gd name="connsiteY52" fmla="*/ 2644501 h 3111900"/>
                  <a:gd name="connsiteX53" fmla="*/ 643828 w 1212946"/>
                  <a:gd name="connsiteY53" fmla="*/ 2632330 h 3111900"/>
                  <a:gd name="connsiteX54" fmla="*/ 550959 w 1212946"/>
                  <a:gd name="connsiteY54" fmla="*/ 2695307 h 3111900"/>
                  <a:gd name="connsiteX55" fmla="*/ 514446 w 1212946"/>
                  <a:gd name="connsiteY55" fmla="*/ 2730765 h 3111900"/>
                  <a:gd name="connsiteX56" fmla="*/ 476346 w 1212946"/>
                  <a:gd name="connsiteY56" fmla="*/ 2802198 h 3111900"/>
                  <a:gd name="connsiteX57" fmla="*/ 404115 w 1212946"/>
                  <a:gd name="connsiteY57" fmla="*/ 2863584 h 3111900"/>
                  <a:gd name="connsiteX58" fmla="*/ 354108 w 1212946"/>
                  <a:gd name="connsiteY58" fmla="*/ 2951162 h 3111900"/>
                  <a:gd name="connsiteX59" fmla="*/ 298546 w 1212946"/>
                  <a:gd name="connsiteY59" fmla="*/ 2986084 h 3111900"/>
                  <a:gd name="connsiteX60" fmla="*/ 242190 w 1212946"/>
                  <a:gd name="connsiteY60" fmla="*/ 3049313 h 3111900"/>
                  <a:gd name="connsiteX61" fmla="*/ 154877 w 1212946"/>
                  <a:gd name="connsiteY61" fmla="*/ 3103018 h 3111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1212946" h="3111900">
                    <a:moveTo>
                      <a:pt x="12796" y="0"/>
                    </a:moveTo>
                    <a:lnTo>
                      <a:pt x="37402" y="120650"/>
                    </a:lnTo>
                    <a:cubicBezTo>
                      <a:pt x="40842" y="133350"/>
                      <a:pt x="25231" y="146050"/>
                      <a:pt x="19146" y="158750"/>
                    </a:cubicBezTo>
                    <a:cubicBezTo>
                      <a:pt x="17029" y="182827"/>
                      <a:pt x="33963" y="192617"/>
                      <a:pt x="41371" y="209550"/>
                    </a:cubicBezTo>
                    <a:lnTo>
                      <a:pt x="38196" y="234950"/>
                    </a:lnTo>
                    <a:lnTo>
                      <a:pt x="50896" y="273050"/>
                    </a:lnTo>
                    <a:cubicBezTo>
                      <a:pt x="39783" y="286279"/>
                      <a:pt x="21527" y="292364"/>
                      <a:pt x="17558" y="312737"/>
                    </a:cubicBezTo>
                    <a:cubicBezTo>
                      <a:pt x="14383" y="337343"/>
                      <a:pt x="39783" y="352425"/>
                      <a:pt x="50896" y="372269"/>
                    </a:cubicBezTo>
                    <a:lnTo>
                      <a:pt x="31846" y="463550"/>
                    </a:lnTo>
                    <a:cubicBezTo>
                      <a:pt x="31052" y="486569"/>
                      <a:pt x="8828" y="507207"/>
                      <a:pt x="890" y="525462"/>
                    </a:cubicBezTo>
                    <a:cubicBezTo>
                      <a:pt x="1419" y="529167"/>
                      <a:pt x="-433" y="542396"/>
                      <a:pt x="96" y="546101"/>
                    </a:cubicBezTo>
                    <a:lnTo>
                      <a:pt x="6446" y="603250"/>
                    </a:lnTo>
                    <a:cubicBezTo>
                      <a:pt x="21263" y="618067"/>
                      <a:pt x="47986" y="623358"/>
                      <a:pt x="50896" y="647700"/>
                    </a:cubicBezTo>
                    <a:lnTo>
                      <a:pt x="95346" y="692678"/>
                    </a:lnTo>
                    <a:lnTo>
                      <a:pt x="120746" y="749300"/>
                    </a:lnTo>
                    <a:cubicBezTo>
                      <a:pt x="136621" y="750094"/>
                      <a:pt x="154877" y="750887"/>
                      <a:pt x="170752" y="763587"/>
                    </a:cubicBezTo>
                    <a:lnTo>
                      <a:pt x="241396" y="806450"/>
                    </a:lnTo>
                    <a:cubicBezTo>
                      <a:pt x="251450" y="837671"/>
                      <a:pt x="268648" y="823383"/>
                      <a:pt x="276321" y="842697"/>
                    </a:cubicBezTo>
                    <a:cubicBezTo>
                      <a:pt x="283994" y="864657"/>
                      <a:pt x="258329" y="886883"/>
                      <a:pt x="273146" y="901700"/>
                    </a:cubicBezTo>
                    <a:lnTo>
                      <a:pt x="376334" y="981869"/>
                    </a:lnTo>
                    <a:lnTo>
                      <a:pt x="425546" y="1028700"/>
                    </a:lnTo>
                    <a:cubicBezTo>
                      <a:pt x="454915" y="1049601"/>
                      <a:pt x="439040" y="1080029"/>
                      <a:pt x="463646" y="1098550"/>
                    </a:cubicBezTo>
                    <a:lnTo>
                      <a:pt x="565246" y="1143000"/>
                    </a:lnTo>
                    <a:lnTo>
                      <a:pt x="609696" y="1162050"/>
                    </a:lnTo>
                    <a:cubicBezTo>
                      <a:pt x="632450" y="1174220"/>
                      <a:pt x="626629" y="1195917"/>
                      <a:pt x="635096" y="1212850"/>
                    </a:cubicBezTo>
                    <a:cubicBezTo>
                      <a:pt x="660496" y="1222375"/>
                      <a:pt x="666846" y="1220525"/>
                      <a:pt x="692246" y="1237194"/>
                    </a:cubicBezTo>
                    <a:cubicBezTo>
                      <a:pt x="709444" y="1239972"/>
                      <a:pt x="713546" y="1262331"/>
                      <a:pt x="722409" y="1269475"/>
                    </a:cubicBezTo>
                    <a:cubicBezTo>
                      <a:pt x="731272" y="1276619"/>
                      <a:pt x="738283" y="1269078"/>
                      <a:pt x="745427" y="1280058"/>
                    </a:cubicBezTo>
                    <a:lnTo>
                      <a:pt x="788289" y="1304925"/>
                    </a:lnTo>
                    <a:lnTo>
                      <a:pt x="825596" y="1352550"/>
                    </a:lnTo>
                    <a:cubicBezTo>
                      <a:pt x="839354" y="1359959"/>
                      <a:pt x="853113" y="1379273"/>
                      <a:pt x="866871" y="1386682"/>
                    </a:cubicBezTo>
                    <a:lnTo>
                      <a:pt x="889890" y="1430869"/>
                    </a:lnTo>
                    <a:lnTo>
                      <a:pt x="933546" y="1478758"/>
                    </a:lnTo>
                    <a:cubicBezTo>
                      <a:pt x="958946" y="1529558"/>
                      <a:pt x="1031971" y="1588293"/>
                      <a:pt x="1028796" y="1612900"/>
                    </a:cubicBezTo>
                    <a:lnTo>
                      <a:pt x="1022446" y="1657350"/>
                    </a:lnTo>
                    <a:cubicBezTo>
                      <a:pt x="1037263" y="1678517"/>
                      <a:pt x="1068747" y="1692539"/>
                      <a:pt x="1066896" y="1720850"/>
                    </a:cubicBezTo>
                    <a:lnTo>
                      <a:pt x="1111346" y="1809750"/>
                    </a:lnTo>
                    <a:cubicBezTo>
                      <a:pt x="1121665" y="1843352"/>
                      <a:pt x="1143890" y="1876955"/>
                      <a:pt x="1154209" y="1910557"/>
                    </a:cubicBezTo>
                    <a:lnTo>
                      <a:pt x="1143096" y="1981200"/>
                    </a:lnTo>
                    <a:lnTo>
                      <a:pt x="1174846" y="2044700"/>
                    </a:lnTo>
                    <a:cubicBezTo>
                      <a:pt x="1196013" y="2061633"/>
                      <a:pt x="1179873" y="2077509"/>
                      <a:pt x="1193896" y="2101586"/>
                    </a:cubicBezTo>
                    <a:cubicBezTo>
                      <a:pt x="1195483" y="2121165"/>
                      <a:pt x="1212946" y="2125133"/>
                      <a:pt x="1200246" y="2139950"/>
                    </a:cubicBezTo>
                    <a:lnTo>
                      <a:pt x="1193896" y="2190750"/>
                    </a:lnTo>
                    <a:lnTo>
                      <a:pt x="1193896" y="2241550"/>
                    </a:lnTo>
                    <a:lnTo>
                      <a:pt x="1212946" y="2273300"/>
                    </a:lnTo>
                    <a:lnTo>
                      <a:pt x="1193896" y="2305050"/>
                    </a:lnTo>
                    <a:lnTo>
                      <a:pt x="1187546" y="2368550"/>
                    </a:lnTo>
                    <a:lnTo>
                      <a:pt x="1168496" y="2478612"/>
                    </a:lnTo>
                    <a:lnTo>
                      <a:pt x="1092296" y="2547142"/>
                    </a:lnTo>
                    <a:lnTo>
                      <a:pt x="1079596" y="2597150"/>
                    </a:lnTo>
                    <a:lnTo>
                      <a:pt x="1003396" y="2616200"/>
                    </a:lnTo>
                    <a:lnTo>
                      <a:pt x="927196" y="2649270"/>
                    </a:lnTo>
                    <a:cubicBezTo>
                      <a:pt x="887245" y="2695837"/>
                      <a:pt x="802974" y="2647324"/>
                      <a:pt x="755746" y="2644501"/>
                    </a:cubicBezTo>
                    <a:cubicBezTo>
                      <a:pt x="708518" y="2641678"/>
                      <a:pt x="679811" y="2655085"/>
                      <a:pt x="643828" y="2632330"/>
                    </a:cubicBezTo>
                    <a:lnTo>
                      <a:pt x="550959" y="2695307"/>
                    </a:lnTo>
                    <a:lnTo>
                      <a:pt x="514446" y="2730765"/>
                    </a:lnTo>
                    <a:lnTo>
                      <a:pt x="476346" y="2802198"/>
                    </a:lnTo>
                    <a:cubicBezTo>
                      <a:pt x="458619" y="2818602"/>
                      <a:pt x="436129" y="2859086"/>
                      <a:pt x="404115" y="2863584"/>
                    </a:cubicBezTo>
                    <a:cubicBezTo>
                      <a:pt x="380832" y="2876284"/>
                      <a:pt x="377391" y="2924174"/>
                      <a:pt x="354108" y="2951162"/>
                    </a:cubicBezTo>
                    <a:lnTo>
                      <a:pt x="298546" y="2986084"/>
                    </a:lnTo>
                    <a:cubicBezTo>
                      <a:pt x="271029" y="3032651"/>
                      <a:pt x="269707" y="3002746"/>
                      <a:pt x="242190" y="3049313"/>
                    </a:cubicBezTo>
                    <a:cubicBezTo>
                      <a:pt x="218642" y="3102230"/>
                      <a:pt x="291932" y="3126301"/>
                      <a:pt x="154877" y="3103018"/>
                    </a:cubicBezTo>
                  </a:path>
                </a:pathLst>
              </a:custGeom>
              <a:noFill/>
              <a:ln w="15875" cmpd="sng">
                <a:solidFill>
                  <a:schemeClr val="accent6"/>
                </a:solidFill>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37" name="Freeform 36"/>
              <p:cNvSpPr/>
              <p:nvPr/>
            </p:nvSpPr>
            <p:spPr>
              <a:xfrm>
                <a:off x="2880024" y="4954572"/>
                <a:ext cx="867935" cy="537608"/>
              </a:xfrm>
              <a:custGeom>
                <a:avLst/>
                <a:gdLst>
                  <a:gd name="connsiteX0" fmla="*/ 1269283 w 1269283"/>
                  <a:gd name="connsiteY0" fmla="*/ 786207 h 786207"/>
                  <a:gd name="connsiteX1" fmla="*/ 1226420 w 1269283"/>
                  <a:gd name="connsiteY1" fmla="*/ 740963 h 786207"/>
                  <a:gd name="connsiteX2" fmla="*/ 1174033 w 1269283"/>
                  <a:gd name="connsiteY2" fmla="*/ 690957 h 786207"/>
                  <a:gd name="connsiteX3" fmla="*/ 1128789 w 1269283"/>
                  <a:gd name="connsiteY3" fmla="*/ 712388 h 786207"/>
                  <a:gd name="connsiteX4" fmla="*/ 1074020 w 1269283"/>
                  <a:gd name="connsiteY4" fmla="*/ 705244 h 786207"/>
                  <a:gd name="connsiteX5" fmla="*/ 981151 w 1269283"/>
                  <a:gd name="connsiteY5" fmla="*/ 645713 h 786207"/>
                  <a:gd name="connsiteX6" fmla="*/ 947814 w 1269283"/>
                  <a:gd name="connsiteY6" fmla="*/ 640950 h 786207"/>
                  <a:gd name="connsiteX7" fmla="*/ 881139 w 1269283"/>
                  <a:gd name="connsiteY7" fmla="*/ 655238 h 786207"/>
                  <a:gd name="connsiteX8" fmla="*/ 828751 w 1269283"/>
                  <a:gd name="connsiteY8" fmla="*/ 636188 h 786207"/>
                  <a:gd name="connsiteX9" fmla="*/ 759695 w 1269283"/>
                  <a:gd name="connsiteY9" fmla="*/ 638569 h 786207"/>
                  <a:gd name="connsiteX10" fmla="*/ 719214 w 1269283"/>
                  <a:gd name="connsiteY10" fmla="*/ 609994 h 786207"/>
                  <a:gd name="connsiteX11" fmla="*/ 666826 w 1269283"/>
                  <a:gd name="connsiteY11" fmla="*/ 576657 h 786207"/>
                  <a:gd name="connsiteX12" fmla="*/ 643014 w 1269283"/>
                  <a:gd name="connsiteY12" fmla="*/ 543319 h 786207"/>
                  <a:gd name="connsiteX13" fmla="*/ 578720 w 1269283"/>
                  <a:gd name="connsiteY13" fmla="*/ 529032 h 786207"/>
                  <a:gd name="connsiteX14" fmla="*/ 557289 w 1269283"/>
                  <a:gd name="connsiteY14" fmla="*/ 493313 h 786207"/>
                  <a:gd name="connsiteX15" fmla="*/ 523951 w 1269283"/>
                  <a:gd name="connsiteY15" fmla="*/ 419494 h 786207"/>
                  <a:gd name="connsiteX16" fmla="*/ 500139 w 1269283"/>
                  <a:gd name="connsiteY16" fmla="*/ 374250 h 786207"/>
                  <a:gd name="connsiteX17" fmla="*/ 483470 w 1269283"/>
                  <a:gd name="connsiteY17" fmla="*/ 336150 h 786207"/>
                  <a:gd name="connsiteX18" fmla="*/ 445370 w 1269283"/>
                  <a:gd name="connsiteY18" fmla="*/ 314719 h 786207"/>
                  <a:gd name="connsiteX19" fmla="*/ 423939 w 1269283"/>
                  <a:gd name="connsiteY19" fmla="*/ 274238 h 786207"/>
                  <a:gd name="connsiteX20" fmla="*/ 347739 w 1269283"/>
                  <a:gd name="connsiteY20" fmla="*/ 262332 h 786207"/>
                  <a:gd name="connsiteX21" fmla="*/ 285826 w 1269283"/>
                  <a:gd name="connsiteY21" fmla="*/ 274238 h 786207"/>
                  <a:gd name="connsiteX22" fmla="*/ 192958 w 1269283"/>
                  <a:gd name="connsiteY22" fmla="*/ 238519 h 786207"/>
                  <a:gd name="connsiteX23" fmla="*/ 147714 w 1269283"/>
                  <a:gd name="connsiteY23" fmla="*/ 221850 h 786207"/>
                  <a:gd name="connsiteX24" fmla="*/ 104851 w 1269283"/>
                  <a:gd name="connsiteY24" fmla="*/ 140888 h 786207"/>
                  <a:gd name="connsiteX25" fmla="*/ 57226 w 1269283"/>
                  <a:gd name="connsiteY25" fmla="*/ 124219 h 786207"/>
                  <a:gd name="connsiteX26" fmla="*/ 31033 w 1269283"/>
                  <a:gd name="connsiteY26" fmla="*/ 67069 h 786207"/>
                  <a:gd name="connsiteX27" fmla="*/ 4839 w 1269283"/>
                  <a:gd name="connsiteY27" fmla="*/ 7538 h 786207"/>
                  <a:gd name="connsiteX28" fmla="*/ 76 w 1269283"/>
                  <a:gd name="connsiteY28" fmla="*/ 2775 h 7862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269283" h="786207">
                    <a:moveTo>
                      <a:pt x="1269283" y="786207"/>
                    </a:moveTo>
                    <a:cubicBezTo>
                      <a:pt x="1255789" y="771522"/>
                      <a:pt x="1242295" y="756838"/>
                      <a:pt x="1226420" y="740963"/>
                    </a:cubicBezTo>
                    <a:cubicBezTo>
                      <a:pt x="1210545" y="725088"/>
                      <a:pt x="1190305" y="695719"/>
                      <a:pt x="1174033" y="690957"/>
                    </a:cubicBezTo>
                    <a:cubicBezTo>
                      <a:pt x="1157761" y="686195"/>
                      <a:pt x="1145458" y="710007"/>
                      <a:pt x="1128789" y="712388"/>
                    </a:cubicBezTo>
                    <a:cubicBezTo>
                      <a:pt x="1112120" y="714769"/>
                      <a:pt x="1098626" y="716356"/>
                      <a:pt x="1074020" y="705244"/>
                    </a:cubicBezTo>
                    <a:cubicBezTo>
                      <a:pt x="1049414" y="694131"/>
                      <a:pt x="1002185" y="656429"/>
                      <a:pt x="981151" y="645713"/>
                    </a:cubicBezTo>
                    <a:cubicBezTo>
                      <a:pt x="960117" y="634997"/>
                      <a:pt x="964483" y="639363"/>
                      <a:pt x="947814" y="640950"/>
                    </a:cubicBezTo>
                    <a:cubicBezTo>
                      <a:pt x="931145" y="642537"/>
                      <a:pt x="900983" y="656032"/>
                      <a:pt x="881139" y="655238"/>
                    </a:cubicBezTo>
                    <a:cubicBezTo>
                      <a:pt x="861295" y="654444"/>
                      <a:pt x="848992" y="638966"/>
                      <a:pt x="828751" y="636188"/>
                    </a:cubicBezTo>
                    <a:cubicBezTo>
                      <a:pt x="808510" y="633410"/>
                      <a:pt x="777951" y="642935"/>
                      <a:pt x="759695" y="638569"/>
                    </a:cubicBezTo>
                    <a:cubicBezTo>
                      <a:pt x="741439" y="634203"/>
                      <a:pt x="734692" y="620313"/>
                      <a:pt x="719214" y="609994"/>
                    </a:cubicBezTo>
                    <a:cubicBezTo>
                      <a:pt x="703736" y="599675"/>
                      <a:pt x="679526" y="587769"/>
                      <a:pt x="666826" y="576657"/>
                    </a:cubicBezTo>
                    <a:cubicBezTo>
                      <a:pt x="654126" y="565545"/>
                      <a:pt x="657698" y="551256"/>
                      <a:pt x="643014" y="543319"/>
                    </a:cubicBezTo>
                    <a:cubicBezTo>
                      <a:pt x="628330" y="535381"/>
                      <a:pt x="593007" y="537366"/>
                      <a:pt x="578720" y="529032"/>
                    </a:cubicBezTo>
                    <a:cubicBezTo>
                      <a:pt x="564433" y="520698"/>
                      <a:pt x="566417" y="511569"/>
                      <a:pt x="557289" y="493313"/>
                    </a:cubicBezTo>
                    <a:cubicBezTo>
                      <a:pt x="548161" y="475057"/>
                      <a:pt x="533476" y="439338"/>
                      <a:pt x="523951" y="419494"/>
                    </a:cubicBezTo>
                    <a:cubicBezTo>
                      <a:pt x="514426" y="399650"/>
                      <a:pt x="506886" y="388141"/>
                      <a:pt x="500139" y="374250"/>
                    </a:cubicBezTo>
                    <a:cubicBezTo>
                      <a:pt x="493392" y="360359"/>
                      <a:pt x="492598" y="346072"/>
                      <a:pt x="483470" y="336150"/>
                    </a:cubicBezTo>
                    <a:cubicBezTo>
                      <a:pt x="474342" y="326228"/>
                      <a:pt x="455292" y="325038"/>
                      <a:pt x="445370" y="314719"/>
                    </a:cubicBezTo>
                    <a:cubicBezTo>
                      <a:pt x="435448" y="304400"/>
                      <a:pt x="440211" y="282969"/>
                      <a:pt x="423939" y="274238"/>
                    </a:cubicBezTo>
                    <a:cubicBezTo>
                      <a:pt x="407667" y="265507"/>
                      <a:pt x="370758" y="262332"/>
                      <a:pt x="347739" y="262332"/>
                    </a:cubicBezTo>
                    <a:cubicBezTo>
                      <a:pt x="324720" y="262332"/>
                      <a:pt x="311623" y="278207"/>
                      <a:pt x="285826" y="274238"/>
                    </a:cubicBezTo>
                    <a:cubicBezTo>
                      <a:pt x="260029" y="270269"/>
                      <a:pt x="215977" y="247250"/>
                      <a:pt x="192958" y="238519"/>
                    </a:cubicBezTo>
                    <a:cubicBezTo>
                      <a:pt x="169939" y="229788"/>
                      <a:pt x="162399" y="238122"/>
                      <a:pt x="147714" y="221850"/>
                    </a:cubicBezTo>
                    <a:cubicBezTo>
                      <a:pt x="133029" y="205578"/>
                      <a:pt x="119932" y="157160"/>
                      <a:pt x="104851" y="140888"/>
                    </a:cubicBezTo>
                    <a:cubicBezTo>
                      <a:pt x="89770" y="124616"/>
                      <a:pt x="69529" y="136522"/>
                      <a:pt x="57226" y="124219"/>
                    </a:cubicBezTo>
                    <a:cubicBezTo>
                      <a:pt x="44923" y="111916"/>
                      <a:pt x="39764" y="86516"/>
                      <a:pt x="31033" y="67069"/>
                    </a:cubicBezTo>
                    <a:cubicBezTo>
                      <a:pt x="22302" y="47622"/>
                      <a:pt x="9998" y="18254"/>
                      <a:pt x="4839" y="7538"/>
                    </a:cubicBezTo>
                    <a:cubicBezTo>
                      <a:pt x="-320" y="-3178"/>
                      <a:pt x="-122" y="-202"/>
                      <a:pt x="76" y="2775"/>
                    </a:cubicBezTo>
                  </a:path>
                </a:pathLst>
              </a:custGeom>
              <a:noFill/>
              <a:ln w="15875" cmpd="sng">
                <a:solidFill>
                  <a:schemeClr val="accent3"/>
                </a:solidFill>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38" name="Freeform 37"/>
              <p:cNvSpPr/>
              <p:nvPr/>
            </p:nvSpPr>
            <p:spPr>
              <a:xfrm>
                <a:off x="1994283" y="4755097"/>
                <a:ext cx="2023973" cy="221100"/>
              </a:xfrm>
              <a:custGeom>
                <a:avLst/>
                <a:gdLst>
                  <a:gd name="connsiteX0" fmla="*/ 0 w 2959894"/>
                  <a:gd name="connsiteY0" fmla="*/ 201623 h 323340"/>
                  <a:gd name="connsiteX1" fmla="*/ 64294 w 2959894"/>
                  <a:gd name="connsiteY1" fmla="*/ 180191 h 323340"/>
                  <a:gd name="connsiteX2" fmla="*/ 126207 w 2959894"/>
                  <a:gd name="connsiteY2" fmla="*/ 213529 h 323340"/>
                  <a:gd name="connsiteX3" fmla="*/ 169069 w 2959894"/>
                  <a:gd name="connsiteY3" fmla="*/ 215910 h 323340"/>
                  <a:gd name="connsiteX4" fmla="*/ 226219 w 2959894"/>
                  <a:gd name="connsiteY4" fmla="*/ 206385 h 323340"/>
                  <a:gd name="connsiteX5" fmla="*/ 342900 w 2959894"/>
                  <a:gd name="connsiteY5" fmla="*/ 211148 h 323340"/>
                  <a:gd name="connsiteX6" fmla="*/ 428625 w 2959894"/>
                  <a:gd name="connsiteY6" fmla="*/ 256391 h 323340"/>
                  <a:gd name="connsiteX7" fmla="*/ 528638 w 2959894"/>
                  <a:gd name="connsiteY7" fmla="*/ 287348 h 323340"/>
                  <a:gd name="connsiteX8" fmla="*/ 633413 w 2959894"/>
                  <a:gd name="connsiteY8" fmla="*/ 287348 h 323340"/>
                  <a:gd name="connsiteX9" fmla="*/ 716757 w 2959894"/>
                  <a:gd name="connsiteY9" fmla="*/ 261154 h 323340"/>
                  <a:gd name="connsiteX10" fmla="*/ 840582 w 2959894"/>
                  <a:gd name="connsiteY10" fmla="*/ 263535 h 323340"/>
                  <a:gd name="connsiteX11" fmla="*/ 890588 w 2959894"/>
                  <a:gd name="connsiteY11" fmla="*/ 246866 h 323340"/>
                  <a:gd name="connsiteX12" fmla="*/ 976313 w 2959894"/>
                  <a:gd name="connsiteY12" fmla="*/ 251629 h 323340"/>
                  <a:gd name="connsiteX13" fmla="*/ 1042988 w 2959894"/>
                  <a:gd name="connsiteY13" fmla="*/ 234960 h 323340"/>
                  <a:gd name="connsiteX14" fmla="*/ 1119188 w 2959894"/>
                  <a:gd name="connsiteY14" fmla="*/ 246866 h 323340"/>
                  <a:gd name="connsiteX15" fmla="*/ 1169194 w 2959894"/>
                  <a:gd name="connsiteY15" fmla="*/ 254010 h 323340"/>
                  <a:gd name="connsiteX16" fmla="*/ 1214438 w 2959894"/>
                  <a:gd name="connsiteY16" fmla="*/ 280204 h 323340"/>
                  <a:gd name="connsiteX17" fmla="*/ 1266825 w 2959894"/>
                  <a:gd name="connsiteY17" fmla="*/ 292110 h 323340"/>
                  <a:gd name="connsiteX18" fmla="*/ 1307307 w 2959894"/>
                  <a:gd name="connsiteY18" fmla="*/ 292110 h 323340"/>
                  <a:gd name="connsiteX19" fmla="*/ 1345407 w 2959894"/>
                  <a:gd name="connsiteY19" fmla="*/ 280204 h 323340"/>
                  <a:gd name="connsiteX20" fmla="*/ 1447800 w 2959894"/>
                  <a:gd name="connsiteY20" fmla="*/ 287348 h 323340"/>
                  <a:gd name="connsiteX21" fmla="*/ 1509713 w 2959894"/>
                  <a:gd name="connsiteY21" fmla="*/ 320685 h 323340"/>
                  <a:gd name="connsiteX22" fmla="*/ 1590675 w 2959894"/>
                  <a:gd name="connsiteY22" fmla="*/ 320685 h 323340"/>
                  <a:gd name="connsiteX23" fmla="*/ 1683544 w 2959894"/>
                  <a:gd name="connsiteY23" fmla="*/ 315923 h 323340"/>
                  <a:gd name="connsiteX24" fmla="*/ 1750219 w 2959894"/>
                  <a:gd name="connsiteY24" fmla="*/ 296873 h 323340"/>
                  <a:gd name="connsiteX25" fmla="*/ 1804988 w 2959894"/>
                  <a:gd name="connsiteY25" fmla="*/ 296873 h 323340"/>
                  <a:gd name="connsiteX26" fmla="*/ 1905000 w 2959894"/>
                  <a:gd name="connsiteY26" fmla="*/ 275441 h 323340"/>
                  <a:gd name="connsiteX27" fmla="*/ 1950244 w 2959894"/>
                  <a:gd name="connsiteY27" fmla="*/ 263535 h 323340"/>
                  <a:gd name="connsiteX28" fmla="*/ 2031207 w 2959894"/>
                  <a:gd name="connsiteY28" fmla="*/ 254010 h 323340"/>
                  <a:gd name="connsiteX29" fmla="*/ 2107407 w 2959894"/>
                  <a:gd name="connsiteY29" fmla="*/ 254010 h 323340"/>
                  <a:gd name="connsiteX30" fmla="*/ 2166938 w 2959894"/>
                  <a:gd name="connsiteY30" fmla="*/ 275441 h 323340"/>
                  <a:gd name="connsiteX31" fmla="*/ 2205038 w 2959894"/>
                  <a:gd name="connsiteY31" fmla="*/ 230198 h 323340"/>
                  <a:gd name="connsiteX32" fmla="*/ 2245519 w 2959894"/>
                  <a:gd name="connsiteY32" fmla="*/ 211148 h 323340"/>
                  <a:gd name="connsiteX33" fmla="*/ 2295525 w 2959894"/>
                  <a:gd name="connsiteY33" fmla="*/ 220673 h 323340"/>
                  <a:gd name="connsiteX34" fmla="*/ 2338388 w 2959894"/>
                  <a:gd name="connsiteY34" fmla="*/ 175429 h 323340"/>
                  <a:gd name="connsiteX35" fmla="*/ 2374107 w 2959894"/>
                  <a:gd name="connsiteY35" fmla="*/ 173048 h 323340"/>
                  <a:gd name="connsiteX36" fmla="*/ 2436019 w 2959894"/>
                  <a:gd name="connsiteY36" fmla="*/ 180191 h 323340"/>
                  <a:gd name="connsiteX37" fmla="*/ 2493169 w 2959894"/>
                  <a:gd name="connsiteY37" fmla="*/ 127804 h 323340"/>
                  <a:gd name="connsiteX38" fmla="*/ 2533650 w 2959894"/>
                  <a:gd name="connsiteY38" fmla="*/ 125423 h 323340"/>
                  <a:gd name="connsiteX39" fmla="*/ 2578894 w 2959894"/>
                  <a:gd name="connsiteY39" fmla="*/ 89704 h 323340"/>
                  <a:gd name="connsiteX40" fmla="*/ 2626519 w 2959894"/>
                  <a:gd name="connsiteY40" fmla="*/ 89704 h 323340"/>
                  <a:gd name="connsiteX41" fmla="*/ 2662238 w 2959894"/>
                  <a:gd name="connsiteY41" fmla="*/ 53985 h 323340"/>
                  <a:gd name="connsiteX42" fmla="*/ 2728913 w 2959894"/>
                  <a:gd name="connsiteY42" fmla="*/ 1598 h 323340"/>
                  <a:gd name="connsiteX43" fmla="*/ 2809875 w 2959894"/>
                  <a:gd name="connsiteY43" fmla="*/ 13504 h 323340"/>
                  <a:gd name="connsiteX44" fmla="*/ 2862263 w 2959894"/>
                  <a:gd name="connsiteY44" fmla="*/ 13504 h 323340"/>
                  <a:gd name="connsiteX45" fmla="*/ 2888457 w 2959894"/>
                  <a:gd name="connsiteY45" fmla="*/ 30173 h 323340"/>
                  <a:gd name="connsiteX46" fmla="*/ 2959894 w 2959894"/>
                  <a:gd name="connsiteY46" fmla="*/ 34935 h 323340"/>
                  <a:gd name="connsiteX0" fmla="*/ 0 w 2959894"/>
                  <a:gd name="connsiteY0" fmla="*/ 201623 h 323340"/>
                  <a:gd name="connsiteX1" fmla="*/ 64294 w 2959894"/>
                  <a:gd name="connsiteY1" fmla="*/ 180191 h 323340"/>
                  <a:gd name="connsiteX2" fmla="*/ 126207 w 2959894"/>
                  <a:gd name="connsiteY2" fmla="*/ 213529 h 323340"/>
                  <a:gd name="connsiteX3" fmla="*/ 169069 w 2959894"/>
                  <a:gd name="connsiteY3" fmla="*/ 215910 h 323340"/>
                  <a:gd name="connsiteX4" fmla="*/ 226219 w 2959894"/>
                  <a:gd name="connsiteY4" fmla="*/ 206385 h 323340"/>
                  <a:gd name="connsiteX5" fmla="*/ 342900 w 2959894"/>
                  <a:gd name="connsiteY5" fmla="*/ 211148 h 323340"/>
                  <a:gd name="connsiteX6" fmla="*/ 428625 w 2959894"/>
                  <a:gd name="connsiteY6" fmla="*/ 256391 h 323340"/>
                  <a:gd name="connsiteX7" fmla="*/ 528638 w 2959894"/>
                  <a:gd name="connsiteY7" fmla="*/ 287348 h 323340"/>
                  <a:gd name="connsiteX8" fmla="*/ 638175 w 2959894"/>
                  <a:gd name="connsiteY8" fmla="*/ 249248 h 323340"/>
                  <a:gd name="connsiteX9" fmla="*/ 716757 w 2959894"/>
                  <a:gd name="connsiteY9" fmla="*/ 261154 h 323340"/>
                  <a:gd name="connsiteX10" fmla="*/ 840582 w 2959894"/>
                  <a:gd name="connsiteY10" fmla="*/ 263535 h 323340"/>
                  <a:gd name="connsiteX11" fmla="*/ 890588 w 2959894"/>
                  <a:gd name="connsiteY11" fmla="*/ 246866 h 323340"/>
                  <a:gd name="connsiteX12" fmla="*/ 976313 w 2959894"/>
                  <a:gd name="connsiteY12" fmla="*/ 251629 h 323340"/>
                  <a:gd name="connsiteX13" fmla="*/ 1042988 w 2959894"/>
                  <a:gd name="connsiteY13" fmla="*/ 234960 h 323340"/>
                  <a:gd name="connsiteX14" fmla="*/ 1119188 w 2959894"/>
                  <a:gd name="connsiteY14" fmla="*/ 246866 h 323340"/>
                  <a:gd name="connsiteX15" fmla="*/ 1169194 w 2959894"/>
                  <a:gd name="connsiteY15" fmla="*/ 254010 h 323340"/>
                  <a:gd name="connsiteX16" fmla="*/ 1214438 w 2959894"/>
                  <a:gd name="connsiteY16" fmla="*/ 280204 h 323340"/>
                  <a:gd name="connsiteX17" fmla="*/ 1266825 w 2959894"/>
                  <a:gd name="connsiteY17" fmla="*/ 292110 h 323340"/>
                  <a:gd name="connsiteX18" fmla="*/ 1307307 w 2959894"/>
                  <a:gd name="connsiteY18" fmla="*/ 292110 h 323340"/>
                  <a:gd name="connsiteX19" fmla="*/ 1345407 w 2959894"/>
                  <a:gd name="connsiteY19" fmla="*/ 280204 h 323340"/>
                  <a:gd name="connsiteX20" fmla="*/ 1447800 w 2959894"/>
                  <a:gd name="connsiteY20" fmla="*/ 287348 h 323340"/>
                  <a:gd name="connsiteX21" fmla="*/ 1509713 w 2959894"/>
                  <a:gd name="connsiteY21" fmla="*/ 320685 h 323340"/>
                  <a:gd name="connsiteX22" fmla="*/ 1590675 w 2959894"/>
                  <a:gd name="connsiteY22" fmla="*/ 320685 h 323340"/>
                  <a:gd name="connsiteX23" fmla="*/ 1683544 w 2959894"/>
                  <a:gd name="connsiteY23" fmla="*/ 315923 h 323340"/>
                  <a:gd name="connsiteX24" fmla="*/ 1750219 w 2959894"/>
                  <a:gd name="connsiteY24" fmla="*/ 296873 h 323340"/>
                  <a:gd name="connsiteX25" fmla="*/ 1804988 w 2959894"/>
                  <a:gd name="connsiteY25" fmla="*/ 296873 h 323340"/>
                  <a:gd name="connsiteX26" fmla="*/ 1905000 w 2959894"/>
                  <a:gd name="connsiteY26" fmla="*/ 275441 h 323340"/>
                  <a:gd name="connsiteX27" fmla="*/ 1950244 w 2959894"/>
                  <a:gd name="connsiteY27" fmla="*/ 263535 h 323340"/>
                  <a:gd name="connsiteX28" fmla="*/ 2031207 w 2959894"/>
                  <a:gd name="connsiteY28" fmla="*/ 254010 h 323340"/>
                  <a:gd name="connsiteX29" fmla="*/ 2107407 w 2959894"/>
                  <a:gd name="connsiteY29" fmla="*/ 254010 h 323340"/>
                  <a:gd name="connsiteX30" fmla="*/ 2166938 w 2959894"/>
                  <a:gd name="connsiteY30" fmla="*/ 275441 h 323340"/>
                  <a:gd name="connsiteX31" fmla="*/ 2205038 w 2959894"/>
                  <a:gd name="connsiteY31" fmla="*/ 230198 h 323340"/>
                  <a:gd name="connsiteX32" fmla="*/ 2245519 w 2959894"/>
                  <a:gd name="connsiteY32" fmla="*/ 211148 h 323340"/>
                  <a:gd name="connsiteX33" fmla="*/ 2295525 w 2959894"/>
                  <a:gd name="connsiteY33" fmla="*/ 220673 h 323340"/>
                  <a:gd name="connsiteX34" fmla="*/ 2338388 w 2959894"/>
                  <a:gd name="connsiteY34" fmla="*/ 175429 h 323340"/>
                  <a:gd name="connsiteX35" fmla="*/ 2374107 w 2959894"/>
                  <a:gd name="connsiteY35" fmla="*/ 173048 h 323340"/>
                  <a:gd name="connsiteX36" fmla="*/ 2436019 w 2959894"/>
                  <a:gd name="connsiteY36" fmla="*/ 180191 h 323340"/>
                  <a:gd name="connsiteX37" fmla="*/ 2493169 w 2959894"/>
                  <a:gd name="connsiteY37" fmla="*/ 127804 h 323340"/>
                  <a:gd name="connsiteX38" fmla="*/ 2533650 w 2959894"/>
                  <a:gd name="connsiteY38" fmla="*/ 125423 h 323340"/>
                  <a:gd name="connsiteX39" fmla="*/ 2578894 w 2959894"/>
                  <a:gd name="connsiteY39" fmla="*/ 89704 h 323340"/>
                  <a:gd name="connsiteX40" fmla="*/ 2626519 w 2959894"/>
                  <a:gd name="connsiteY40" fmla="*/ 89704 h 323340"/>
                  <a:gd name="connsiteX41" fmla="*/ 2662238 w 2959894"/>
                  <a:gd name="connsiteY41" fmla="*/ 53985 h 323340"/>
                  <a:gd name="connsiteX42" fmla="*/ 2728913 w 2959894"/>
                  <a:gd name="connsiteY42" fmla="*/ 1598 h 323340"/>
                  <a:gd name="connsiteX43" fmla="*/ 2809875 w 2959894"/>
                  <a:gd name="connsiteY43" fmla="*/ 13504 h 323340"/>
                  <a:gd name="connsiteX44" fmla="*/ 2862263 w 2959894"/>
                  <a:gd name="connsiteY44" fmla="*/ 13504 h 323340"/>
                  <a:gd name="connsiteX45" fmla="*/ 2888457 w 2959894"/>
                  <a:gd name="connsiteY45" fmla="*/ 30173 h 323340"/>
                  <a:gd name="connsiteX46" fmla="*/ 2959894 w 2959894"/>
                  <a:gd name="connsiteY46" fmla="*/ 34935 h 323340"/>
                  <a:gd name="connsiteX0" fmla="*/ 0 w 2959894"/>
                  <a:gd name="connsiteY0" fmla="*/ 201623 h 323340"/>
                  <a:gd name="connsiteX1" fmla="*/ 64294 w 2959894"/>
                  <a:gd name="connsiteY1" fmla="*/ 180191 h 323340"/>
                  <a:gd name="connsiteX2" fmla="*/ 126207 w 2959894"/>
                  <a:gd name="connsiteY2" fmla="*/ 213529 h 323340"/>
                  <a:gd name="connsiteX3" fmla="*/ 169069 w 2959894"/>
                  <a:gd name="connsiteY3" fmla="*/ 215910 h 323340"/>
                  <a:gd name="connsiteX4" fmla="*/ 226219 w 2959894"/>
                  <a:gd name="connsiteY4" fmla="*/ 206385 h 323340"/>
                  <a:gd name="connsiteX5" fmla="*/ 342900 w 2959894"/>
                  <a:gd name="connsiteY5" fmla="*/ 211148 h 323340"/>
                  <a:gd name="connsiteX6" fmla="*/ 428625 w 2959894"/>
                  <a:gd name="connsiteY6" fmla="*/ 256391 h 323340"/>
                  <a:gd name="connsiteX7" fmla="*/ 528638 w 2959894"/>
                  <a:gd name="connsiteY7" fmla="*/ 249248 h 323340"/>
                  <a:gd name="connsiteX8" fmla="*/ 638175 w 2959894"/>
                  <a:gd name="connsiteY8" fmla="*/ 249248 h 323340"/>
                  <a:gd name="connsiteX9" fmla="*/ 716757 w 2959894"/>
                  <a:gd name="connsiteY9" fmla="*/ 261154 h 323340"/>
                  <a:gd name="connsiteX10" fmla="*/ 840582 w 2959894"/>
                  <a:gd name="connsiteY10" fmla="*/ 263535 h 323340"/>
                  <a:gd name="connsiteX11" fmla="*/ 890588 w 2959894"/>
                  <a:gd name="connsiteY11" fmla="*/ 246866 h 323340"/>
                  <a:gd name="connsiteX12" fmla="*/ 976313 w 2959894"/>
                  <a:gd name="connsiteY12" fmla="*/ 251629 h 323340"/>
                  <a:gd name="connsiteX13" fmla="*/ 1042988 w 2959894"/>
                  <a:gd name="connsiteY13" fmla="*/ 234960 h 323340"/>
                  <a:gd name="connsiteX14" fmla="*/ 1119188 w 2959894"/>
                  <a:gd name="connsiteY14" fmla="*/ 246866 h 323340"/>
                  <a:gd name="connsiteX15" fmla="*/ 1169194 w 2959894"/>
                  <a:gd name="connsiteY15" fmla="*/ 254010 h 323340"/>
                  <a:gd name="connsiteX16" fmla="*/ 1214438 w 2959894"/>
                  <a:gd name="connsiteY16" fmla="*/ 280204 h 323340"/>
                  <a:gd name="connsiteX17" fmla="*/ 1266825 w 2959894"/>
                  <a:gd name="connsiteY17" fmla="*/ 292110 h 323340"/>
                  <a:gd name="connsiteX18" fmla="*/ 1307307 w 2959894"/>
                  <a:gd name="connsiteY18" fmla="*/ 292110 h 323340"/>
                  <a:gd name="connsiteX19" fmla="*/ 1345407 w 2959894"/>
                  <a:gd name="connsiteY19" fmla="*/ 280204 h 323340"/>
                  <a:gd name="connsiteX20" fmla="*/ 1447800 w 2959894"/>
                  <a:gd name="connsiteY20" fmla="*/ 287348 h 323340"/>
                  <a:gd name="connsiteX21" fmla="*/ 1509713 w 2959894"/>
                  <a:gd name="connsiteY21" fmla="*/ 320685 h 323340"/>
                  <a:gd name="connsiteX22" fmla="*/ 1590675 w 2959894"/>
                  <a:gd name="connsiteY22" fmla="*/ 320685 h 323340"/>
                  <a:gd name="connsiteX23" fmla="*/ 1683544 w 2959894"/>
                  <a:gd name="connsiteY23" fmla="*/ 315923 h 323340"/>
                  <a:gd name="connsiteX24" fmla="*/ 1750219 w 2959894"/>
                  <a:gd name="connsiteY24" fmla="*/ 296873 h 323340"/>
                  <a:gd name="connsiteX25" fmla="*/ 1804988 w 2959894"/>
                  <a:gd name="connsiteY25" fmla="*/ 296873 h 323340"/>
                  <a:gd name="connsiteX26" fmla="*/ 1905000 w 2959894"/>
                  <a:gd name="connsiteY26" fmla="*/ 275441 h 323340"/>
                  <a:gd name="connsiteX27" fmla="*/ 1950244 w 2959894"/>
                  <a:gd name="connsiteY27" fmla="*/ 263535 h 323340"/>
                  <a:gd name="connsiteX28" fmla="*/ 2031207 w 2959894"/>
                  <a:gd name="connsiteY28" fmla="*/ 254010 h 323340"/>
                  <a:gd name="connsiteX29" fmla="*/ 2107407 w 2959894"/>
                  <a:gd name="connsiteY29" fmla="*/ 254010 h 323340"/>
                  <a:gd name="connsiteX30" fmla="*/ 2166938 w 2959894"/>
                  <a:gd name="connsiteY30" fmla="*/ 275441 h 323340"/>
                  <a:gd name="connsiteX31" fmla="*/ 2205038 w 2959894"/>
                  <a:gd name="connsiteY31" fmla="*/ 230198 h 323340"/>
                  <a:gd name="connsiteX32" fmla="*/ 2245519 w 2959894"/>
                  <a:gd name="connsiteY32" fmla="*/ 211148 h 323340"/>
                  <a:gd name="connsiteX33" fmla="*/ 2295525 w 2959894"/>
                  <a:gd name="connsiteY33" fmla="*/ 220673 h 323340"/>
                  <a:gd name="connsiteX34" fmla="*/ 2338388 w 2959894"/>
                  <a:gd name="connsiteY34" fmla="*/ 175429 h 323340"/>
                  <a:gd name="connsiteX35" fmla="*/ 2374107 w 2959894"/>
                  <a:gd name="connsiteY35" fmla="*/ 173048 h 323340"/>
                  <a:gd name="connsiteX36" fmla="*/ 2436019 w 2959894"/>
                  <a:gd name="connsiteY36" fmla="*/ 180191 h 323340"/>
                  <a:gd name="connsiteX37" fmla="*/ 2493169 w 2959894"/>
                  <a:gd name="connsiteY37" fmla="*/ 127804 h 323340"/>
                  <a:gd name="connsiteX38" fmla="*/ 2533650 w 2959894"/>
                  <a:gd name="connsiteY38" fmla="*/ 125423 h 323340"/>
                  <a:gd name="connsiteX39" fmla="*/ 2578894 w 2959894"/>
                  <a:gd name="connsiteY39" fmla="*/ 89704 h 323340"/>
                  <a:gd name="connsiteX40" fmla="*/ 2626519 w 2959894"/>
                  <a:gd name="connsiteY40" fmla="*/ 89704 h 323340"/>
                  <a:gd name="connsiteX41" fmla="*/ 2662238 w 2959894"/>
                  <a:gd name="connsiteY41" fmla="*/ 53985 h 323340"/>
                  <a:gd name="connsiteX42" fmla="*/ 2728913 w 2959894"/>
                  <a:gd name="connsiteY42" fmla="*/ 1598 h 323340"/>
                  <a:gd name="connsiteX43" fmla="*/ 2809875 w 2959894"/>
                  <a:gd name="connsiteY43" fmla="*/ 13504 h 323340"/>
                  <a:gd name="connsiteX44" fmla="*/ 2862263 w 2959894"/>
                  <a:gd name="connsiteY44" fmla="*/ 13504 h 323340"/>
                  <a:gd name="connsiteX45" fmla="*/ 2888457 w 2959894"/>
                  <a:gd name="connsiteY45" fmla="*/ 30173 h 323340"/>
                  <a:gd name="connsiteX46" fmla="*/ 2959894 w 2959894"/>
                  <a:gd name="connsiteY46" fmla="*/ 34935 h 3233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2959894" h="323340">
                    <a:moveTo>
                      <a:pt x="0" y="201623"/>
                    </a:moveTo>
                    <a:cubicBezTo>
                      <a:pt x="21630" y="189915"/>
                      <a:pt x="43260" y="178207"/>
                      <a:pt x="64294" y="180191"/>
                    </a:cubicBezTo>
                    <a:cubicBezTo>
                      <a:pt x="85328" y="182175"/>
                      <a:pt x="108745" y="207576"/>
                      <a:pt x="126207" y="213529"/>
                    </a:cubicBezTo>
                    <a:cubicBezTo>
                      <a:pt x="143670" y="219482"/>
                      <a:pt x="152400" y="217101"/>
                      <a:pt x="169069" y="215910"/>
                    </a:cubicBezTo>
                    <a:cubicBezTo>
                      <a:pt x="185738" y="214719"/>
                      <a:pt x="197247" y="207179"/>
                      <a:pt x="226219" y="206385"/>
                    </a:cubicBezTo>
                    <a:cubicBezTo>
                      <a:pt x="255191" y="205591"/>
                      <a:pt x="309166" y="202814"/>
                      <a:pt x="342900" y="211148"/>
                    </a:cubicBezTo>
                    <a:cubicBezTo>
                      <a:pt x="376634" y="219482"/>
                      <a:pt x="397669" y="250041"/>
                      <a:pt x="428625" y="256391"/>
                    </a:cubicBezTo>
                    <a:cubicBezTo>
                      <a:pt x="459581" y="262741"/>
                      <a:pt x="493713" y="250438"/>
                      <a:pt x="528638" y="249248"/>
                    </a:cubicBezTo>
                    <a:cubicBezTo>
                      <a:pt x="563563" y="248058"/>
                      <a:pt x="606822" y="247264"/>
                      <a:pt x="638175" y="249248"/>
                    </a:cubicBezTo>
                    <a:cubicBezTo>
                      <a:pt x="669528" y="251232"/>
                      <a:pt x="683023" y="258773"/>
                      <a:pt x="716757" y="261154"/>
                    </a:cubicBezTo>
                    <a:cubicBezTo>
                      <a:pt x="750491" y="263535"/>
                      <a:pt x="811610" y="265916"/>
                      <a:pt x="840582" y="263535"/>
                    </a:cubicBezTo>
                    <a:cubicBezTo>
                      <a:pt x="869554" y="261154"/>
                      <a:pt x="867966" y="248850"/>
                      <a:pt x="890588" y="246866"/>
                    </a:cubicBezTo>
                    <a:cubicBezTo>
                      <a:pt x="913210" y="244882"/>
                      <a:pt x="950913" y="253613"/>
                      <a:pt x="976313" y="251629"/>
                    </a:cubicBezTo>
                    <a:cubicBezTo>
                      <a:pt x="1001713" y="249645"/>
                      <a:pt x="1019176" y="235754"/>
                      <a:pt x="1042988" y="234960"/>
                    </a:cubicBezTo>
                    <a:cubicBezTo>
                      <a:pt x="1066800" y="234166"/>
                      <a:pt x="1119188" y="246866"/>
                      <a:pt x="1119188" y="246866"/>
                    </a:cubicBezTo>
                    <a:cubicBezTo>
                      <a:pt x="1140222" y="250041"/>
                      <a:pt x="1153319" y="248454"/>
                      <a:pt x="1169194" y="254010"/>
                    </a:cubicBezTo>
                    <a:cubicBezTo>
                      <a:pt x="1185069" y="259566"/>
                      <a:pt x="1198166" y="273854"/>
                      <a:pt x="1214438" y="280204"/>
                    </a:cubicBezTo>
                    <a:cubicBezTo>
                      <a:pt x="1230710" y="286554"/>
                      <a:pt x="1251347" y="290126"/>
                      <a:pt x="1266825" y="292110"/>
                    </a:cubicBezTo>
                    <a:cubicBezTo>
                      <a:pt x="1282303" y="294094"/>
                      <a:pt x="1294210" y="294094"/>
                      <a:pt x="1307307" y="292110"/>
                    </a:cubicBezTo>
                    <a:cubicBezTo>
                      <a:pt x="1320404" y="290126"/>
                      <a:pt x="1321992" y="280998"/>
                      <a:pt x="1345407" y="280204"/>
                    </a:cubicBezTo>
                    <a:cubicBezTo>
                      <a:pt x="1368822" y="279410"/>
                      <a:pt x="1420416" y="280601"/>
                      <a:pt x="1447800" y="287348"/>
                    </a:cubicBezTo>
                    <a:cubicBezTo>
                      <a:pt x="1475184" y="294095"/>
                      <a:pt x="1485901" y="315129"/>
                      <a:pt x="1509713" y="320685"/>
                    </a:cubicBezTo>
                    <a:cubicBezTo>
                      <a:pt x="1533525" y="326241"/>
                      <a:pt x="1561703" y="321479"/>
                      <a:pt x="1590675" y="320685"/>
                    </a:cubicBezTo>
                    <a:cubicBezTo>
                      <a:pt x="1619647" y="319891"/>
                      <a:pt x="1656953" y="319892"/>
                      <a:pt x="1683544" y="315923"/>
                    </a:cubicBezTo>
                    <a:cubicBezTo>
                      <a:pt x="1710135" y="311954"/>
                      <a:pt x="1729978" y="300048"/>
                      <a:pt x="1750219" y="296873"/>
                    </a:cubicBezTo>
                    <a:cubicBezTo>
                      <a:pt x="1770460" y="293698"/>
                      <a:pt x="1779191" y="300445"/>
                      <a:pt x="1804988" y="296873"/>
                    </a:cubicBezTo>
                    <a:cubicBezTo>
                      <a:pt x="1830785" y="293301"/>
                      <a:pt x="1880791" y="280997"/>
                      <a:pt x="1905000" y="275441"/>
                    </a:cubicBezTo>
                    <a:cubicBezTo>
                      <a:pt x="1929209" y="269885"/>
                      <a:pt x="1929210" y="267107"/>
                      <a:pt x="1950244" y="263535"/>
                    </a:cubicBezTo>
                    <a:cubicBezTo>
                      <a:pt x="1971278" y="259963"/>
                      <a:pt x="2005013" y="255598"/>
                      <a:pt x="2031207" y="254010"/>
                    </a:cubicBezTo>
                    <a:cubicBezTo>
                      <a:pt x="2057401" y="252423"/>
                      <a:pt x="2084785" y="250438"/>
                      <a:pt x="2107407" y="254010"/>
                    </a:cubicBezTo>
                    <a:cubicBezTo>
                      <a:pt x="2130029" y="257582"/>
                      <a:pt x="2150666" y="279410"/>
                      <a:pt x="2166938" y="275441"/>
                    </a:cubicBezTo>
                    <a:cubicBezTo>
                      <a:pt x="2183210" y="271472"/>
                      <a:pt x="2191941" y="240914"/>
                      <a:pt x="2205038" y="230198"/>
                    </a:cubicBezTo>
                    <a:cubicBezTo>
                      <a:pt x="2218135" y="219483"/>
                      <a:pt x="2230438" y="212735"/>
                      <a:pt x="2245519" y="211148"/>
                    </a:cubicBezTo>
                    <a:cubicBezTo>
                      <a:pt x="2260600" y="209561"/>
                      <a:pt x="2280047" y="226626"/>
                      <a:pt x="2295525" y="220673"/>
                    </a:cubicBezTo>
                    <a:cubicBezTo>
                      <a:pt x="2311003" y="214720"/>
                      <a:pt x="2325291" y="183366"/>
                      <a:pt x="2338388" y="175429"/>
                    </a:cubicBezTo>
                    <a:cubicBezTo>
                      <a:pt x="2351485" y="167492"/>
                      <a:pt x="2357835" y="172254"/>
                      <a:pt x="2374107" y="173048"/>
                    </a:cubicBezTo>
                    <a:cubicBezTo>
                      <a:pt x="2390379" y="173842"/>
                      <a:pt x="2416175" y="187732"/>
                      <a:pt x="2436019" y="180191"/>
                    </a:cubicBezTo>
                    <a:cubicBezTo>
                      <a:pt x="2455863" y="172650"/>
                      <a:pt x="2476897" y="136932"/>
                      <a:pt x="2493169" y="127804"/>
                    </a:cubicBezTo>
                    <a:cubicBezTo>
                      <a:pt x="2509441" y="118676"/>
                      <a:pt x="2519362" y="131773"/>
                      <a:pt x="2533650" y="125423"/>
                    </a:cubicBezTo>
                    <a:cubicBezTo>
                      <a:pt x="2547938" y="119073"/>
                      <a:pt x="2563416" y="95657"/>
                      <a:pt x="2578894" y="89704"/>
                    </a:cubicBezTo>
                    <a:cubicBezTo>
                      <a:pt x="2594372" y="83751"/>
                      <a:pt x="2612628" y="95657"/>
                      <a:pt x="2626519" y="89704"/>
                    </a:cubicBezTo>
                    <a:cubicBezTo>
                      <a:pt x="2640410" y="83751"/>
                      <a:pt x="2645172" y="68669"/>
                      <a:pt x="2662238" y="53985"/>
                    </a:cubicBezTo>
                    <a:cubicBezTo>
                      <a:pt x="2679304" y="39301"/>
                      <a:pt x="2704307" y="8345"/>
                      <a:pt x="2728913" y="1598"/>
                    </a:cubicBezTo>
                    <a:cubicBezTo>
                      <a:pt x="2753519" y="-5149"/>
                      <a:pt x="2787650" y="11520"/>
                      <a:pt x="2809875" y="13504"/>
                    </a:cubicBezTo>
                    <a:cubicBezTo>
                      <a:pt x="2832100" y="15488"/>
                      <a:pt x="2849166" y="10726"/>
                      <a:pt x="2862263" y="13504"/>
                    </a:cubicBezTo>
                    <a:cubicBezTo>
                      <a:pt x="2875360" y="16282"/>
                      <a:pt x="2872185" y="26601"/>
                      <a:pt x="2888457" y="30173"/>
                    </a:cubicBezTo>
                    <a:cubicBezTo>
                      <a:pt x="2904729" y="33745"/>
                      <a:pt x="2932311" y="34340"/>
                      <a:pt x="2959894" y="34935"/>
                    </a:cubicBezTo>
                  </a:path>
                </a:pathLst>
              </a:custGeom>
              <a:noFill/>
              <a:ln w="15875" cmpd="sng">
                <a:solidFill>
                  <a:schemeClr val="accent3"/>
                </a:solidFill>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39" name="Freeform 38"/>
              <p:cNvSpPr/>
              <p:nvPr/>
            </p:nvSpPr>
            <p:spPr>
              <a:xfrm>
                <a:off x="1102916" y="2609112"/>
                <a:ext cx="2656749" cy="819839"/>
              </a:xfrm>
              <a:custGeom>
                <a:avLst/>
                <a:gdLst>
                  <a:gd name="connsiteX0" fmla="*/ 18187 w 3390037"/>
                  <a:gd name="connsiteY0" fmla="*/ 262741 h 937659"/>
                  <a:gd name="connsiteX1" fmla="*/ 40412 w 3390037"/>
                  <a:gd name="connsiteY1" fmla="*/ 319891 h 937659"/>
                  <a:gd name="connsiteX2" fmla="*/ 11837 w 3390037"/>
                  <a:gd name="connsiteY2" fmla="*/ 472291 h 937659"/>
                  <a:gd name="connsiteX3" fmla="*/ 2312 w 3390037"/>
                  <a:gd name="connsiteY3" fmla="*/ 564366 h 937659"/>
                  <a:gd name="connsiteX4" fmla="*/ 53112 w 3390037"/>
                  <a:gd name="connsiteY4" fmla="*/ 577066 h 937659"/>
                  <a:gd name="connsiteX5" fmla="*/ 84862 w 3390037"/>
                  <a:gd name="connsiteY5" fmla="*/ 570716 h 937659"/>
                  <a:gd name="connsiteX6" fmla="*/ 154712 w 3390037"/>
                  <a:gd name="connsiteY6" fmla="*/ 611991 h 937659"/>
                  <a:gd name="connsiteX7" fmla="*/ 205512 w 3390037"/>
                  <a:gd name="connsiteY7" fmla="*/ 602466 h 937659"/>
                  <a:gd name="connsiteX8" fmla="*/ 262662 w 3390037"/>
                  <a:gd name="connsiteY8" fmla="*/ 621516 h 937659"/>
                  <a:gd name="connsiteX9" fmla="*/ 269012 w 3390037"/>
                  <a:gd name="connsiteY9" fmla="*/ 659616 h 937659"/>
                  <a:gd name="connsiteX10" fmla="*/ 310287 w 3390037"/>
                  <a:gd name="connsiteY10" fmla="*/ 665966 h 937659"/>
                  <a:gd name="connsiteX11" fmla="*/ 332512 w 3390037"/>
                  <a:gd name="connsiteY11" fmla="*/ 719941 h 937659"/>
                  <a:gd name="connsiteX12" fmla="*/ 322987 w 3390037"/>
                  <a:gd name="connsiteY12" fmla="*/ 786616 h 937659"/>
                  <a:gd name="connsiteX13" fmla="*/ 342037 w 3390037"/>
                  <a:gd name="connsiteY13" fmla="*/ 843766 h 937659"/>
                  <a:gd name="connsiteX14" fmla="*/ 351562 w 3390037"/>
                  <a:gd name="connsiteY14" fmla="*/ 891391 h 937659"/>
                  <a:gd name="connsiteX15" fmla="*/ 389662 w 3390037"/>
                  <a:gd name="connsiteY15" fmla="*/ 932666 h 937659"/>
                  <a:gd name="connsiteX16" fmla="*/ 434112 w 3390037"/>
                  <a:gd name="connsiteY16" fmla="*/ 919966 h 937659"/>
                  <a:gd name="connsiteX17" fmla="*/ 465862 w 3390037"/>
                  <a:gd name="connsiteY17" fmla="*/ 935841 h 937659"/>
                  <a:gd name="connsiteX18" fmla="*/ 532537 w 3390037"/>
                  <a:gd name="connsiteY18" fmla="*/ 869166 h 937659"/>
                  <a:gd name="connsiteX19" fmla="*/ 583337 w 3390037"/>
                  <a:gd name="connsiteY19" fmla="*/ 805666 h 937659"/>
                  <a:gd name="connsiteX20" fmla="*/ 637312 w 3390037"/>
                  <a:gd name="connsiteY20" fmla="*/ 802491 h 937659"/>
                  <a:gd name="connsiteX21" fmla="*/ 656362 w 3390037"/>
                  <a:gd name="connsiteY21" fmla="*/ 767566 h 937659"/>
                  <a:gd name="connsiteX22" fmla="*/ 767487 w 3390037"/>
                  <a:gd name="connsiteY22" fmla="*/ 716766 h 937659"/>
                  <a:gd name="connsiteX23" fmla="*/ 875437 w 3390037"/>
                  <a:gd name="connsiteY23" fmla="*/ 542141 h 937659"/>
                  <a:gd name="connsiteX24" fmla="*/ 850037 w 3390037"/>
                  <a:gd name="connsiteY24" fmla="*/ 472291 h 937659"/>
                  <a:gd name="connsiteX25" fmla="*/ 888137 w 3390037"/>
                  <a:gd name="connsiteY25" fmla="*/ 402441 h 937659"/>
                  <a:gd name="connsiteX26" fmla="*/ 878612 w 3390037"/>
                  <a:gd name="connsiteY26" fmla="*/ 361166 h 937659"/>
                  <a:gd name="connsiteX27" fmla="*/ 932587 w 3390037"/>
                  <a:gd name="connsiteY27" fmla="*/ 329416 h 937659"/>
                  <a:gd name="connsiteX28" fmla="*/ 989737 w 3390037"/>
                  <a:gd name="connsiteY28" fmla="*/ 284966 h 937659"/>
                  <a:gd name="connsiteX29" fmla="*/ 1088162 w 3390037"/>
                  <a:gd name="connsiteY29" fmla="*/ 265916 h 937659"/>
                  <a:gd name="connsiteX30" fmla="*/ 1129437 w 3390037"/>
                  <a:gd name="connsiteY30" fmla="*/ 183366 h 937659"/>
                  <a:gd name="connsiteX31" fmla="*/ 1148487 w 3390037"/>
                  <a:gd name="connsiteY31" fmla="*/ 97641 h 937659"/>
                  <a:gd name="connsiteX32" fmla="*/ 1148487 w 3390037"/>
                  <a:gd name="connsiteY32" fmla="*/ 53191 h 937659"/>
                  <a:gd name="connsiteX33" fmla="*/ 1211987 w 3390037"/>
                  <a:gd name="connsiteY33" fmla="*/ 50016 h 937659"/>
                  <a:gd name="connsiteX34" fmla="*/ 1259612 w 3390037"/>
                  <a:gd name="connsiteY34" fmla="*/ 27791 h 937659"/>
                  <a:gd name="connsiteX35" fmla="*/ 1304062 w 3390037"/>
                  <a:gd name="connsiteY35" fmla="*/ 21441 h 937659"/>
                  <a:gd name="connsiteX36" fmla="*/ 1358037 w 3390037"/>
                  <a:gd name="connsiteY36" fmla="*/ 2391 h 937659"/>
                  <a:gd name="connsiteX37" fmla="*/ 1402487 w 3390037"/>
                  <a:gd name="connsiteY37" fmla="*/ 5566 h 937659"/>
                  <a:gd name="connsiteX38" fmla="*/ 1491387 w 3390037"/>
                  <a:gd name="connsiteY38" fmla="*/ 50016 h 937659"/>
                  <a:gd name="connsiteX39" fmla="*/ 1542187 w 3390037"/>
                  <a:gd name="connsiteY39" fmla="*/ 40491 h 937659"/>
                  <a:gd name="connsiteX40" fmla="*/ 1580287 w 3390037"/>
                  <a:gd name="connsiteY40" fmla="*/ 62716 h 937659"/>
                  <a:gd name="connsiteX41" fmla="*/ 1634262 w 3390037"/>
                  <a:gd name="connsiteY41" fmla="*/ 94466 h 937659"/>
                  <a:gd name="connsiteX42" fmla="*/ 1713637 w 3390037"/>
                  <a:gd name="connsiteY42" fmla="*/ 116691 h 937659"/>
                  <a:gd name="connsiteX43" fmla="*/ 1764437 w 3390037"/>
                  <a:gd name="connsiteY43" fmla="*/ 91291 h 937659"/>
                  <a:gd name="connsiteX44" fmla="*/ 1815237 w 3390037"/>
                  <a:gd name="connsiteY44" fmla="*/ 97641 h 937659"/>
                  <a:gd name="connsiteX45" fmla="*/ 1859687 w 3390037"/>
                  <a:gd name="connsiteY45" fmla="*/ 123041 h 937659"/>
                  <a:gd name="connsiteX46" fmla="*/ 1973987 w 3390037"/>
                  <a:gd name="connsiteY46" fmla="*/ 103991 h 937659"/>
                  <a:gd name="connsiteX47" fmla="*/ 2024787 w 3390037"/>
                  <a:gd name="connsiteY47" fmla="*/ 119866 h 937659"/>
                  <a:gd name="connsiteX48" fmla="*/ 2145437 w 3390037"/>
                  <a:gd name="connsiteY48" fmla="*/ 145266 h 937659"/>
                  <a:gd name="connsiteX49" fmla="*/ 2224812 w 3390037"/>
                  <a:gd name="connsiteY49" fmla="*/ 129391 h 937659"/>
                  <a:gd name="connsiteX50" fmla="*/ 2389912 w 3390037"/>
                  <a:gd name="connsiteY50" fmla="*/ 183366 h 937659"/>
                  <a:gd name="connsiteX51" fmla="*/ 2488337 w 3390037"/>
                  <a:gd name="connsiteY51" fmla="*/ 234166 h 937659"/>
                  <a:gd name="connsiteX52" fmla="*/ 2618512 w 3390037"/>
                  <a:gd name="connsiteY52" fmla="*/ 259566 h 937659"/>
                  <a:gd name="connsiteX53" fmla="*/ 2742337 w 3390037"/>
                  <a:gd name="connsiteY53" fmla="*/ 250041 h 937659"/>
                  <a:gd name="connsiteX54" fmla="*/ 2824887 w 3390037"/>
                  <a:gd name="connsiteY54" fmla="*/ 256391 h 937659"/>
                  <a:gd name="connsiteX55" fmla="*/ 2920137 w 3390037"/>
                  <a:gd name="connsiteY55" fmla="*/ 284966 h 937659"/>
                  <a:gd name="connsiteX56" fmla="*/ 2980462 w 3390037"/>
                  <a:gd name="connsiteY56" fmla="*/ 313541 h 937659"/>
                  <a:gd name="connsiteX57" fmla="*/ 3012212 w 3390037"/>
                  <a:gd name="connsiteY57" fmla="*/ 313541 h 937659"/>
                  <a:gd name="connsiteX58" fmla="*/ 3040787 w 3390037"/>
                  <a:gd name="connsiteY58" fmla="*/ 338941 h 937659"/>
                  <a:gd name="connsiteX59" fmla="*/ 3091587 w 3390037"/>
                  <a:gd name="connsiteY59" fmla="*/ 335766 h 937659"/>
                  <a:gd name="connsiteX60" fmla="*/ 3155087 w 3390037"/>
                  <a:gd name="connsiteY60" fmla="*/ 383391 h 937659"/>
                  <a:gd name="connsiteX61" fmla="*/ 3202712 w 3390037"/>
                  <a:gd name="connsiteY61" fmla="*/ 377041 h 937659"/>
                  <a:gd name="connsiteX62" fmla="*/ 3240812 w 3390037"/>
                  <a:gd name="connsiteY62" fmla="*/ 399266 h 937659"/>
                  <a:gd name="connsiteX63" fmla="*/ 3291612 w 3390037"/>
                  <a:gd name="connsiteY63" fmla="*/ 431016 h 937659"/>
                  <a:gd name="connsiteX64" fmla="*/ 3275737 w 3390037"/>
                  <a:gd name="connsiteY64" fmla="*/ 465941 h 937659"/>
                  <a:gd name="connsiteX65" fmla="*/ 3278912 w 3390037"/>
                  <a:gd name="connsiteY65" fmla="*/ 513566 h 937659"/>
                  <a:gd name="connsiteX66" fmla="*/ 3326537 w 3390037"/>
                  <a:gd name="connsiteY66" fmla="*/ 523091 h 937659"/>
                  <a:gd name="connsiteX67" fmla="*/ 3351937 w 3390037"/>
                  <a:gd name="connsiteY67" fmla="*/ 567541 h 937659"/>
                  <a:gd name="connsiteX68" fmla="*/ 3348762 w 3390037"/>
                  <a:gd name="connsiteY68" fmla="*/ 624691 h 937659"/>
                  <a:gd name="connsiteX69" fmla="*/ 3377337 w 3390037"/>
                  <a:gd name="connsiteY69" fmla="*/ 653266 h 937659"/>
                  <a:gd name="connsiteX70" fmla="*/ 3380512 w 3390037"/>
                  <a:gd name="connsiteY70" fmla="*/ 697716 h 937659"/>
                  <a:gd name="connsiteX71" fmla="*/ 3370987 w 3390037"/>
                  <a:gd name="connsiteY71" fmla="*/ 761216 h 937659"/>
                  <a:gd name="connsiteX72" fmla="*/ 3390037 w 3390037"/>
                  <a:gd name="connsiteY72" fmla="*/ 812016 h 937659"/>
                  <a:gd name="connsiteX0" fmla="*/ 18187 w 3383478"/>
                  <a:gd name="connsiteY0" fmla="*/ 262741 h 981523"/>
                  <a:gd name="connsiteX1" fmla="*/ 40412 w 3383478"/>
                  <a:gd name="connsiteY1" fmla="*/ 319891 h 981523"/>
                  <a:gd name="connsiteX2" fmla="*/ 11837 w 3383478"/>
                  <a:gd name="connsiteY2" fmla="*/ 472291 h 981523"/>
                  <a:gd name="connsiteX3" fmla="*/ 2312 w 3383478"/>
                  <a:gd name="connsiteY3" fmla="*/ 564366 h 981523"/>
                  <a:gd name="connsiteX4" fmla="*/ 53112 w 3383478"/>
                  <a:gd name="connsiteY4" fmla="*/ 577066 h 981523"/>
                  <a:gd name="connsiteX5" fmla="*/ 84862 w 3383478"/>
                  <a:gd name="connsiteY5" fmla="*/ 570716 h 981523"/>
                  <a:gd name="connsiteX6" fmla="*/ 154712 w 3383478"/>
                  <a:gd name="connsiteY6" fmla="*/ 611991 h 981523"/>
                  <a:gd name="connsiteX7" fmla="*/ 205512 w 3383478"/>
                  <a:gd name="connsiteY7" fmla="*/ 602466 h 981523"/>
                  <a:gd name="connsiteX8" fmla="*/ 262662 w 3383478"/>
                  <a:gd name="connsiteY8" fmla="*/ 621516 h 981523"/>
                  <a:gd name="connsiteX9" fmla="*/ 269012 w 3383478"/>
                  <a:gd name="connsiteY9" fmla="*/ 659616 h 981523"/>
                  <a:gd name="connsiteX10" fmla="*/ 310287 w 3383478"/>
                  <a:gd name="connsiteY10" fmla="*/ 665966 h 981523"/>
                  <a:gd name="connsiteX11" fmla="*/ 332512 w 3383478"/>
                  <a:gd name="connsiteY11" fmla="*/ 719941 h 981523"/>
                  <a:gd name="connsiteX12" fmla="*/ 322987 w 3383478"/>
                  <a:gd name="connsiteY12" fmla="*/ 786616 h 981523"/>
                  <a:gd name="connsiteX13" fmla="*/ 342037 w 3383478"/>
                  <a:gd name="connsiteY13" fmla="*/ 843766 h 981523"/>
                  <a:gd name="connsiteX14" fmla="*/ 351562 w 3383478"/>
                  <a:gd name="connsiteY14" fmla="*/ 891391 h 981523"/>
                  <a:gd name="connsiteX15" fmla="*/ 389662 w 3383478"/>
                  <a:gd name="connsiteY15" fmla="*/ 932666 h 981523"/>
                  <a:gd name="connsiteX16" fmla="*/ 434112 w 3383478"/>
                  <a:gd name="connsiteY16" fmla="*/ 919966 h 981523"/>
                  <a:gd name="connsiteX17" fmla="*/ 465862 w 3383478"/>
                  <a:gd name="connsiteY17" fmla="*/ 935841 h 981523"/>
                  <a:gd name="connsiteX18" fmla="*/ 532537 w 3383478"/>
                  <a:gd name="connsiteY18" fmla="*/ 869166 h 981523"/>
                  <a:gd name="connsiteX19" fmla="*/ 583337 w 3383478"/>
                  <a:gd name="connsiteY19" fmla="*/ 805666 h 981523"/>
                  <a:gd name="connsiteX20" fmla="*/ 637312 w 3383478"/>
                  <a:gd name="connsiteY20" fmla="*/ 802491 h 981523"/>
                  <a:gd name="connsiteX21" fmla="*/ 656362 w 3383478"/>
                  <a:gd name="connsiteY21" fmla="*/ 767566 h 981523"/>
                  <a:gd name="connsiteX22" fmla="*/ 767487 w 3383478"/>
                  <a:gd name="connsiteY22" fmla="*/ 716766 h 981523"/>
                  <a:gd name="connsiteX23" fmla="*/ 875437 w 3383478"/>
                  <a:gd name="connsiteY23" fmla="*/ 542141 h 981523"/>
                  <a:gd name="connsiteX24" fmla="*/ 850037 w 3383478"/>
                  <a:gd name="connsiteY24" fmla="*/ 472291 h 981523"/>
                  <a:gd name="connsiteX25" fmla="*/ 888137 w 3383478"/>
                  <a:gd name="connsiteY25" fmla="*/ 402441 h 981523"/>
                  <a:gd name="connsiteX26" fmla="*/ 878612 w 3383478"/>
                  <a:gd name="connsiteY26" fmla="*/ 361166 h 981523"/>
                  <a:gd name="connsiteX27" fmla="*/ 932587 w 3383478"/>
                  <a:gd name="connsiteY27" fmla="*/ 329416 h 981523"/>
                  <a:gd name="connsiteX28" fmla="*/ 989737 w 3383478"/>
                  <a:gd name="connsiteY28" fmla="*/ 284966 h 981523"/>
                  <a:gd name="connsiteX29" fmla="*/ 1088162 w 3383478"/>
                  <a:gd name="connsiteY29" fmla="*/ 265916 h 981523"/>
                  <a:gd name="connsiteX30" fmla="*/ 1129437 w 3383478"/>
                  <a:gd name="connsiteY30" fmla="*/ 183366 h 981523"/>
                  <a:gd name="connsiteX31" fmla="*/ 1148487 w 3383478"/>
                  <a:gd name="connsiteY31" fmla="*/ 97641 h 981523"/>
                  <a:gd name="connsiteX32" fmla="*/ 1148487 w 3383478"/>
                  <a:gd name="connsiteY32" fmla="*/ 53191 h 981523"/>
                  <a:gd name="connsiteX33" fmla="*/ 1211987 w 3383478"/>
                  <a:gd name="connsiteY33" fmla="*/ 50016 h 981523"/>
                  <a:gd name="connsiteX34" fmla="*/ 1259612 w 3383478"/>
                  <a:gd name="connsiteY34" fmla="*/ 27791 h 981523"/>
                  <a:gd name="connsiteX35" fmla="*/ 1304062 w 3383478"/>
                  <a:gd name="connsiteY35" fmla="*/ 21441 h 981523"/>
                  <a:gd name="connsiteX36" fmla="*/ 1358037 w 3383478"/>
                  <a:gd name="connsiteY36" fmla="*/ 2391 h 981523"/>
                  <a:gd name="connsiteX37" fmla="*/ 1402487 w 3383478"/>
                  <a:gd name="connsiteY37" fmla="*/ 5566 h 981523"/>
                  <a:gd name="connsiteX38" fmla="*/ 1491387 w 3383478"/>
                  <a:gd name="connsiteY38" fmla="*/ 50016 h 981523"/>
                  <a:gd name="connsiteX39" fmla="*/ 1542187 w 3383478"/>
                  <a:gd name="connsiteY39" fmla="*/ 40491 h 981523"/>
                  <a:gd name="connsiteX40" fmla="*/ 1580287 w 3383478"/>
                  <a:gd name="connsiteY40" fmla="*/ 62716 h 981523"/>
                  <a:gd name="connsiteX41" fmla="*/ 1634262 w 3383478"/>
                  <a:gd name="connsiteY41" fmla="*/ 94466 h 981523"/>
                  <a:gd name="connsiteX42" fmla="*/ 1713637 w 3383478"/>
                  <a:gd name="connsiteY42" fmla="*/ 116691 h 981523"/>
                  <a:gd name="connsiteX43" fmla="*/ 1764437 w 3383478"/>
                  <a:gd name="connsiteY43" fmla="*/ 91291 h 981523"/>
                  <a:gd name="connsiteX44" fmla="*/ 1815237 w 3383478"/>
                  <a:gd name="connsiteY44" fmla="*/ 97641 h 981523"/>
                  <a:gd name="connsiteX45" fmla="*/ 1859687 w 3383478"/>
                  <a:gd name="connsiteY45" fmla="*/ 123041 h 981523"/>
                  <a:gd name="connsiteX46" fmla="*/ 1973987 w 3383478"/>
                  <a:gd name="connsiteY46" fmla="*/ 103991 h 981523"/>
                  <a:gd name="connsiteX47" fmla="*/ 2024787 w 3383478"/>
                  <a:gd name="connsiteY47" fmla="*/ 119866 h 981523"/>
                  <a:gd name="connsiteX48" fmla="*/ 2145437 w 3383478"/>
                  <a:gd name="connsiteY48" fmla="*/ 145266 h 981523"/>
                  <a:gd name="connsiteX49" fmla="*/ 2224812 w 3383478"/>
                  <a:gd name="connsiteY49" fmla="*/ 129391 h 981523"/>
                  <a:gd name="connsiteX50" fmla="*/ 2389912 w 3383478"/>
                  <a:gd name="connsiteY50" fmla="*/ 183366 h 981523"/>
                  <a:gd name="connsiteX51" fmla="*/ 2488337 w 3383478"/>
                  <a:gd name="connsiteY51" fmla="*/ 234166 h 981523"/>
                  <a:gd name="connsiteX52" fmla="*/ 2618512 w 3383478"/>
                  <a:gd name="connsiteY52" fmla="*/ 259566 h 981523"/>
                  <a:gd name="connsiteX53" fmla="*/ 2742337 w 3383478"/>
                  <a:gd name="connsiteY53" fmla="*/ 250041 h 981523"/>
                  <a:gd name="connsiteX54" fmla="*/ 2824887 w 3383478"/>
                  <a:gd name="connsiteY54" fmla="*/ 256391 h 981523"/>
                  <a:gd name="connsiteX55" fmla="*/ 2920137 w 3383478"/>
                  <a:gd name="connsiteY55" fmla="*/ 284966 h 981523"/>
                  <a:gd name="connsiteX56" fmla="*/ 2980462 w 3383478"/>
                  <a:gd name="connsiteY56" fmla="*/ 313541 h 981523"/>
                  <a:gd name="connsiteX57" fmla="*/ 3012212 w 3383478"/>
                  <a:gd name="connsiteY57" fmla="*/ 313541 h 981523"/>
                  <a:gd name="connsiteX58" fmla="*/ 3040787 w 3383478"/>
                  <a:gd name="connsiteY58" fmla="*/ 338941 h 981523"/>
                  <a:gd name="connsiteX59" fmla="*/ 3091587 w 3383478"/>
                  <a:gd name="connsiteY59" fmla="*/ 335766 h 981523"/>
                  <a:gd name="connsiteX60" fmla="*/ 3155087 w 3383478"/>
                  <a:gd name="connsiteY60" fmla="*/ 383391 h 981523"/>
                  <a:gd name="connsiteX61" fmla="*/ 3202712 w 3383478"/>
                  <a:gd name="connsiteY61" fmla="*/ 377041 h 981523"/>
                  <a:gd name="connsiteX62" fmla="*/ 3240812 w 3383478"/>
                  <a:gd name="connsiteY62" fmla="*/ 399266 h 981523"/>
                  <a:gd name="connsiteX63" fmla="*/ 3291612 w 3383478"/>
                  <a:gd name="connsiteY63" fmla="*/ 431016 h 981523"/>
                  <a:gd name="connsiteX64" fmla="*/ 3275737 w 3383478"/>
                  <a:gd name="connsiteY64" fmla="*/ 465941 h 981523"/>
                  <a:gd name="connsiteX65" fmla="*/ 3278912 w 3383478"/>
                  <a:gd name="connsiteY65" fmla="*/ 513566 h 981523"/>
                  <a:gd name="connsiteX66" fmla="*/ 3326537 w 3383478"/>
                  <a:gd name="connsiteY66" fmla="*/ 523091 h 981523"/>
                  <a:gd name="connsiteX67" fmla="*/ 3351937 w 3383478"/>
                  <a:gd name="connsiteY67" fmla="*/ 567541 h 981523"/>
                  <a:gd name="connsiteX68" fmla="*/ 3348762 w 3383478"/>
                  <a:gd name="connsiteY68" fmla="*/ 624691 h 981523"/>
                  <a:gd name="connsiteX69" fmla="*/ 3377337 w 3383478"/>
                  <a:gd name="connsiteY69" fmla="*/ 653266 h 981523"/>
                  <a:gd name="connsiteX70" fmla="*/ 3380512 w 3383478"/>
                  <a:gd name="connsiteY70" fmla="*/ 697716 h 981523"/>
                  <a:gd name="connsiteX71" fmla="*/ 3370987 w 3383478"/>
                  <a:gd name="connsiteY71" fmla="*/ 761216 h 981523"/>
                  <a:gd name="connsiteX72" fmla="*/ 3383478 w 3383478"/>
                  <a:gd name="connsiteY72" fmla="*/ 981523 h 981523"/>
                  <a:gd name="connsiteX0" fmla="*/ 18187 w 3381376"/>
                  <a:gd name="connsiteY0" fmla="*/ 262741 h 987801"/>
                  <a:gd name="connsiteX1" fmla="*/ 40412 w 3381376"/>
                  <a:gd name="connsiteY1" fmla="*/ 319891 h 987801"/>
                  <a:gd name="connsiteX2" fmla="*/ 11837 w 3381376"/>
                  <a:gd name="connsiteY2" fmla="*/ 472291 h 987801"/>
                  <a:gd name="connsiteX3" fmla="*/ 2312 w 3381376"/>
                  <a:gd name="connsiteY3" fmla="*/ 564366 h 987801"/>
                  <a:gd name="connsiteX4" fmla="*/ 53112 w 3381376"/>
                  <a:gd name="connsiteY4" fmla="*/ 577066 h 987801"/>
                  <a:gd name="connsiteX5" fmla="*/ 84862 w 3381376"/>
                  <a:gd name="connsiteY5" fmla="*/ 570716 h 987801"/>
                  <a:gd name="connsiteX6" fmla="*/ 154712 w 3381376"/>
                  <a:gd name="connsiteY6" fmla="*/ 611991 h 987801"/>
                  <a:gd name="connsiteX7" fmla="*/ 205512 w 3381376"/>
                  <a:gd name="connsiteY7" fmla="*/ 602466 h 987801"/>
                  <a:gd name="connsiteX8" fmla="*/ 262662 w 3381376"/>
                  <a:gd name="connsiteY8" fmla="*/ 621516 h 987801"/>
                  <a:gd name="connsiteX9" fmla="*/ 269012 w 3381376"/>
                  <a:gd name="connsiteY9" fmla="*/ 659616 h 987801"/>
                  <a:gd name="connsiteX10" fmla="*/ 310287 w 3381376"/>
                  <a:gd name="connsiteY10" fmla="*/ 665966 h 987801"/>
                  <a:gd name="connsiteX11" fmla="*/ 332512 w 3381376"/>
                  <a:gd name="connsiteY11" fmla="*/ 719941 h 987801"/>
                  <a:gd name="connsiteX12" fmla="*/ 322987 w 3381376"/>
                  <a:gd name="connsiteY12" fmla="*/ 786616 h 987801"/>
                  <a:gd name="connsiteX13" fmla="*/ 342037 w 3381376"/>
                  <a:gd name="connsiteY13" fmla="*/ 843766 h 987801"/>
                  <a:gd name="connsiteX14" fmla="*/ 351562 w 3381376"/>
                  <a:gd name="connsiteY14" fmla="*/ 891391 h 987801"/>
                  <a:gd name="connsiteX15" fmla="*/ 389662 w 3381376"/>
                  <a:gd name="connsiteY15" fmla="*/ 932666 h 987801"/>
                  <a:gd name="connsiteX16" fmla="*/ 434112 w 3381376"/>
                  <a:gd name="connsiteY16" fmla="*/ 919966 h 987801"/>
                  <a:gd name="connsiteX17" fmla="*/ 465862 w 3381376"/>
                  <a:gd name="connsiteY17" fmla="*/ 935841 h 987801"/>
                  <a:gd name="connsiteX18" fmla="*/ 532537 w 3381376"/>
                  <a:gd name="connsiteY18" fmla="*/ 869166 h 987801"/>
                  <a:gd name="connsiteX19" fmla="*/ 583337 w 3381376"/>
                  <a:gd name="connsiteY19" fmla="*/ 805666 h 987801"/>
                  <a:gd name="connsiteX20" fmla="*/ 637312 w 3381376"/>
                  <a:gd name="connsiteY20" fmla="*/ 802491 h 987801"/>
                  <a:gd name="connsiteX21" fmla="*/ 656362 w 3381376"/>
                  <a:gd name="connsiteY21" fmla="*/ 767566 h 987801"/>
                  <a:gd name="connsiteX22" fmla="*/ 767487 w 3381376"/>
                  <a:gd name="connsiteY22" fmla="*/ 716766 h 987801"/>
                  <a:gd name="connsiteX23" fmla="*/ 875437 w 3381376"/>
                  <a:gd name="connsiteY23" fmla="*/ 542141 h 987801"/>
                  <a:gd name="connsiteX24" fmla="*/ 850037 w 3381376"/>
                  <a:gd name="connsiteY24" fmla="*/ 472291 h 987801"/>
                  <a:gd name="connsiteX25" fmla="*/ 888137 w 3381376"/>
                  <a:gd name="connsiteY25" fmla="*/ 402441 h 987801"/>
                  <a:gd name="connsiteX26" fmla="*/ 878612 w 3381376"/>
                  <a:gd name="connsiteY26" fmla="*/ 361166 h 987801"/>
                  <a:gd name="connsiteX27" fmla="*/ 932587 w 3381376"/>
                  <a:gd name="connsiteY27" fmla="*/ 329416 h 987801"/>
                  <a:gd name="connsiteX28" fmla="*/ 989737 w 3381376"/>
                  <a:gd name="connsiteY28" fmla="*/ 284966 h 987801"/>
                  <a:gd name="connsiteX29" fmla="*/ 1088162 w 3381376"/>
                  <a:gd name="connsiteY29" fmla="*/ 265916 h 987801"/>
                  <a:gd name="connsiteX30" fmla="*/ 1129437 w 3381376"/>
                  <a:gd name="connsiteY30" fmla="*/ 183366 h 987801"/>
                  <a:gd name="connsiteX31" fmla="*/ 1148487 w 3381376"/>
                  <a:gd name="connsiteY31" fmla="*/ 97641 h 987801"/>
                  <a:gd name="connsiteX32" fmla="*/ 1148487 w 3381376"/>
                  <a:gd name="connsiteY32" fmla="*/ 53191 h 987801"/>
                  <a:gd name="connsiteX33" fmla="*/ 1211987 w 3381376"/>
                  <a:gd name="connsiteY33" fmla="*/ 50016 h 987801"/>
                  <a:gd name="connsiteX34" fmla="*/ 1259612 w 3381376"/>
                  <a:gd name="connsiteY34" fmla="*/ 27791 h 987801"/>
                  <a:gd name="connsiteX35" fmla="*/ 1304062 w 3381376"/>
                  <a:gd name="connsiteY35" fmla="*/ 21441 h 987801"/>
                  <a:gd name="connsiteX36" fmla="*/ 1358037 w 3381376"/>
                  <a:gd name="connsiteY36" fmla="*/ 2391 h 987801"/>
                  <a:gd name="connsiteX37" fmla="*/ 1402487 w 3381376"/>
                  <a:gd name="connsiteY37" fmla="*/ 5566 h 987801"/>
                  <a:gd name="connsiteX38" fmla="*/ 1491387 w 3381376"/>
                  <a:gd name="connsiteY38" fmla="*/ 50016 h 987801"/>
                  <a:gd name="connsiteX39" fmla="*/ 1542187 w 3381376"/>
                  <a:gd name="connsiteY39" fmla="*/ 40491 h 987801"/>
                  <a:gd name="connsiteX40" fmla="*/ 1580287 w 3381376"/>
                  <a:gd name="connsiteY40" fmla="*/ 62716 h 987801"/>
                  <a:gd name="connsiteX41" fmla="*/ 1634262 w 3381376"/>
                  <a:gd name="connsiteY41" fmla="*/ 94466 h 987801"/>
                  <a:gd name="connsiteX42" fmla="*/ 1713637 w 3381376"/>
                  <a:gd name="connsiteY42" fmla="*/ 116691 h 987801"/>
                  <a:gd name="connsiteX43" fmla="*/ 1764437 w 3381376"/>
                  <a:gd name="connsiteY43" fmla="*/ 91291 h 987801"/>
                  <a:gd name="connsiteX44" fmla="*/ 1815237 w 3381376"/>
                  <a:gd name="connsiteY44" fmla="*/ 97641 h 987801"/>
                  <a:gd name="connsiteX45" fmla="*/ 1859687 w 3381376"/>
                  <a:gd name="connsiteY45" fmla="*/ 123041 h 987801"/>
                  <a:gd name="connsiteX46" fmla="*/ 1973987 w 3381376"/>
                  <a:gd name="connsiteY46" fmla="*/ 103991 h 987801"/>
                  <a:gd name="connsiteX47" fmla="*/ 2024787 w 3381376"/>
                  <a:gd name="connsiteY47" fmla="*/ 119866 h 987801"/>
                  <a:gd name="connsiteX48" fmla="*/ 2145437 w 3381376"/>
                  <a:gd name="connsiteY48" fmla="*/ 145266 h 987801"/>
                  <a:gd name="connsiteX49" fmla="*/ 2224812 w 3381376"/>
                  <a:gd name="connsiteY49" fmla="*/ 129391 h 987801"/>
                  <a:gd name="connsiteX50" fmla="*/ 2389912 w 3381376"/>
                  <a:gd name="connsiteY50" fmla="*/ 183366 h 987801"/>
                  <a:gd name="connsiteX51" fmla="*/ 2488337 w 3381376"/>
                  <a:gd name="connsiteY51" fmla="*/ 234166 h 987801"/>
                  <a:gd name="connsiteX52" fmla="*/ 2618512 w 3381376"/>
                  <a:gd name="connsiteY52" fmla="*/ 259566 h 987801"/>
                  <a:gd name="connsiteX53" fmla="*/ 2742337 w 3381376"/>
                  <a:gd name="connsiteY53" fmla="*/ 250041 h 987801"/>
                  <a:gd name="connsiteX54" fmla="*/ 2824887 w 3381376"/>
                  <a:gd name="connsiteY54" fmla="*/ 256391 h 987801"/>
                  <a:gd name="connsiteX55" fmla="*/ 2920137 w 3381376"/>
                  <a:gd name="connsiteY55" fmla="*/ 284966 h 987801"/>
                  <a:gd name="connsiteX56" fmla="*/ 2980462 w 3381376"/>
                  <a:gd name="connsiteY56" fmla="*/ 313541 h 987801"/>
                  <a:gd name="connsiteX57" fmla="*/ 3012212 w 3381376"/>
                  <a:gd name="connsiteY57" fmla="*/ 313541 h 987801"/>
                  <a:gd name="connsiteX58" fmla="*/ 3040787 w 3381376"/>
                  <a:gd name="connsiteY58" fmla="*/ 338941 h 987801"/>
                  <a:gd name="connsiteX59" fmla="*/ 3091587 w 3381376"/>
                  <a:gd name="connsiteY59" fmla="*/ 335766 h 987801"/>
                  <a:gd name="connsiteX60" fmla="*/ 3155087 w 3381376"/>
                  <a:gd name="connsiteY60" fmla="*/ 383391 h 987801"/>
                  <a:gd name="connsiteX61" fmla="*/ 3202712 w 3381376"/>
                  <a:gd name="connsiteY61" fmla="*/ 377041 h 987801"/>
                  <a:gd name="connsiteX62" fmla="*/ 3240812 w 3381376"/>
                  <a:gd name="connsiteY62" fmla="*/ 399266 h 987801"/>
                  <a:gd name="connsiteX63" fmla="*/ 3291612 w 3381376"/>
                  <a:gd name="connsiteY63" fmla="*/ 431016 h 987801"/>
                  <a:gd name="connsiteX64" fmla="*/ 3275737 w 3381376"/>
                  <a:gd name="connsiteY64" fmla="*/ 465941 h 987801"/>
                  <a:gd name="connsiteX65" fmla="*/ 3278912 w 3381376"/>
                  <a:gd name="connsiteY65" fmla="*/ 513566 h 987801"/>
                  <a:gd name="connsiteX66" fmla="*/ 3326537 w 3381376"/>
                  <a:gd name="connsiteY66" fmla="*/ 523091 h 987801"/>
                  <a:gd name="connsiteX67" fmla="*/ 3351937 w 3381376"/>
                  <a:gd name="connsiteY67" fmla="*/ 567541 h 987801"/>
                  <a:gd name="connsiteX68" fmla="*/ 3348762 w 3381376"/>
                  <a:gd name="connsiteY68" fmla="*/ 624691 h 987801"/>
                  <a:gd name="connsiteX69" fmla="*/ 3377337 w 3381376"/>
                  <a:gd name="connsiteY69" fmla="*/ 653266 h 987801"/>
                  <a:gd name="connsiteX70" fmla="*/ 3380512 w 3381376"/>
                  <a:gd name="connsiteY70" fmla="*/ 697716 h 987801"/>
                  <a:gd name="connsiteX71" fmla="*/ 3370987 w 3381376"/>
                  <a:gd name="connsiteY71" fmla="*/ 761216 h 987801"/>
                  <a:gd name="connsiteX72" fmla="*/ 3344126 w 3381376"/>
                  <a:gd name="connsiteY72" fmla="*/ 987801 h 987801"/>
                  <a:gd name="connsiteX0" fmla="*/ 18187 w 3386200"/>
                  <a:gd name="connsiteY0" fmla="*/ 262741 h 987801"/>
                  <a:gd name="connsiteX1" fmla="*/ 40412 w 3386200"/>
                  <a:gd name="connsiteY1" fmla="*/ 319891 h 987801"/>
                  <a:gd name="connsiteX2" fmla="*/ 11837 w 3386200"/>
                  <a:gd name="connsiteY2" fmla="*/ 472291 h 987801"/>
                  <a:gd name="connsiteX3" fmla="*/ 2312 w 3386200"/>
                  <a:gd name="connsiteY3" fmla="*/ 564366 h 987801"/>
                  <a:gd name="connsiteX4" fmla="*/ 53112 w 3386200"/>
                  <a:gd name="connsiteY4" fmla="*/ 577066 h 987801"/>
                  <a:gd name="connsiteX5" fmla="*/ 84862 w 3386200"/>
                  <a:gd name="connsiteY5" fmla="*/ 570716 h 987801"/>
                  <a:gd name="connsiteX6" fmla="*/ 154712 w 3386200"/>
                  <a:gd name="connsiteY6" fmla="*/ 611991 h 987801"/>
                  <a:gd name="connsiteX7" fmla="*/ 205512 w 3386200"/>
                  <a:gd name="connsiteY7" fmla="*/ 602466 h 987801"/>
                  <a:gd name="connsiteX8" fmla="*/ 262662 w 3386200"/>
                  <a:gd name="connsiteY8" fmla="*/ 621516 h 987801"/>
                  <a:gd name="connsiteX9" fmla="*/ 269012 w 3386200"/>
                  <a:gd name="connsiteY9" fmla="*/ 659616 h 987801"/>
                  <a:gd name="connsiteX10" fmla="*/ 310287 w 3386200"/>
                  <a:gd name="connsiteY10" fmla="*/ 665966 h 987801"/>
                  <a:gd name="connsiteX11" fmla="*/ 332512 w 3386200"/>
                  <a:gd name="connsiteY11" fmla="*/ 719941 h 987801"/>
                  <a:gd name="connsiteX12" fmla="*/ 322987 w 3386200"/>
                  <a:gd name="connsiteY12" fmla="*/ 786616 h 987801"/>
                  <a:gd name="connsiteX13" fmla="*/ 342037 w 3386200"/>
                  <a:gd name="connsiteY13" fmla="*/ 843766 h 987801"/>
                  <a:gd name="connsiteX14" fmla="*/ 351562 w 3386200"/>
                  <a:gd name="connsiteY14" fmla="*/ 891391 h 987801"/>
                  <a:gd name="connsiteX15" fmla="*/ 389662 w 3386200"/>
                  <a:gd name="connsiteY15" fmla="*/ 932666 h 987801"/>
                  <a:gd name="connsiteX16" fmla="*/ 434112 w 3386200"/>
                  <a:gd name="connsiteY16" fmla="*/ 919966 h 987801"/>
                  <a:gd name="connsiteX17" fmla="*/ 465862 w 3386200"/>
                  <a:gd name="connsiteY17" fmla="*/ 935841 h 987801"/>
                  <a:gd name="connsiteX18" fmla="*/ 532537 w 3386200"/>
                  <a:gd name="connsiteY18" fmla="*/ 869166 h 987801"/>
                  <a:gd name="connsiteX19" fmla="*/ 583337 w 3386200"/>
                  <a:gd name="connsiteY19" fmla="*/ 805666 h 987801"/>
                  <a:gd name="connsiteX20" fmla="*/ 637312 w 3386200"/>
                  <a:gd name="connsiteY20" fmla="*/ 802491 h 987801"/>
                  <a:gd name="connsiteX21" fmla="*/ 656362 w 3386200"/>
                  <a:gd name="connsiteY21" fmla="*/ 767566 h 987801"/>
                  <a:gd name="connsiteX22" fmla="*/ 767487 w 3386200"/>
                  <a:gd name="connsiteY22" fmla="*/ 716766 h 987801"/>
                  <a:gd name="connsiteX23" fmla="*/ 875437 w 3386200"/>
                  <a:gd name="connsiteY23" fmla="*/ 542141 h 987801"/>
                  <a:gd name="connsiteX24" fmla="*/ 850037 w 3386200"/>
                  <a:gd name="connsiteY24" fmla="*/ 472291 h 987801"/>
                  <a:gd name="connsiteX25" fmla="*/ 888137 w 3386200"/>
                  <a:gd name="connsiteY25" fmla="*/ 402441 h 987801"/>
                  <a:gd name="connsiteX26" fmla="*/ 878612 w 3386200"/>
                  <a:gd name="connsiteY26" fmla="*/ 361166 h 987801"/>
                  <a:gd name="connsiteX27" fmla="*/ 932587 w 3386200"/>
                  <a:gd name="connsiteY27" fmla="*/ 329416 h 987801"/>
                  <a:gd name="connsiteX28" fmla="*/ 989737 w 3386200"/>
                  <a:gd name="connsiteY28" fmla="*/ 284966 h 987801"/>
                  <a:gd name="connsiteX29" fmla="*/ 1088162 w 3386200"/>
                  <a:gd name="connsiteY29" fmla="*/ 265916 h 987801"/>
                  <a:gd name="connsiteX30" fmla="*/ 1129437 w 3386200"/>
                  <a:gd name="connsiteY30" fmla="*/ 183366 h 987801"/>
                  <a:gd name="connsiteX31" fmla="*/ 1148487 w 3386200"/>
                  <a:gd name="connsiteY31" fmla="*/ 97641 h 987801"/>
                  <a:gd name="connsiteX32" fmla="*/ 1148487 w 3386200"/>
                  <a:gd name="connsiteY32" fmla="*/ 53191 h 987801"/>
                  <a:gd name="connsiteX33" fmla="*/ 1211987 w 3386200"/>
                  <a:gd name="connsiteY33" fmla="*/ 50016 h 987801"/>
                  <a:gd name="connsiteX34" fmla="*/ 1259612 w 3386200"/>
                  <a:gd name="connsiteY34" fmla="*/ 27791 h 987801"/>
                  <a:gd name="connsiteX35" fmla="*/ 1304062 w 3386200"/>
                  <a:gd name="connsiteY35" fmla="*/ 21441 h 987801"/>
                  <a:gd name="connsiteX36" fmla="*/ 1358037 w 3386200"/>
                  <a:gd name="connsiteY36" fmla="*/ 2391 h 987801"/>
                  <a:gd name="connsiteX37" fmla="*/ 1402487 w 3386200"/>
                  <a:gd name="connsiteY37" fmla="*/ 5566 h 987801"/>
                  <a:gd name="connsiteX38" fmla="*/ 1491387 w 3386200"/>
                  <a:gd name="connsiteY38" fmla="*/ 50016 h 987801"/>
                  <a:gd name="connsiteX39" fmla="*/ 1542187 w 3386200"/>
                  <a:gd name="connsiteY39" fmla="*/ 40491 h 987801"/>
                  <a:gd name="connsiteX40" fmla="*/ 1580287 w 3386200"/>
                  <a:gd name="connsiteY40" fmla="*/ 62716 h 987801"/>
                  <a:gd name="connsiteX41" fmla="*/ 1634262 w 3386200"/>
                  <a:gd name="connsiteY41" fmla="*/ 94466 h 987801"/>
                  <a:gd name="connsiteX42" fmla="*/ 1713637 w 3386200"/>
                  <a:gd name="connsiteY42" fmla="*/ 116691 h 987801"/>
                  <a:gd name="connsiteX43" fmla="*/ 1764437 w 3386200"/>
                  <a:gd name="connsiteY43" fmla="*/ 91291 h 987801"/>
                  <a:gd name="connsiteX44" fmla="*/ 1815237 w 3386200"/>
                  <a:gd name="connsiteY44" fmla="*/ 97641 h 987801"/>
                  <a:gd name="connsiteX45" fmla="*/ 1859687 w 3386200"/>
                  <a:gd name="connsiteY45" fmla="*/ 123041 h 987801"/>
                  <a:gd name="connsiteX46" fmla="*/ 1973987 w 3386200"/>
                  <a:gd name="connsiteY46" fmla="*/ 103991 h 987801"/>
                  <a:gd name="connsiteX47" fmla="*/ 2024787 w 3386200"/>
                  <a:gd name="connsiteY47" fmla="*/ 119866 h 987801"/>
                  <a:gd name="connsiteX48" fmla="*/ 2145437 w 3386200"/>
                  <a:gd name="connsiteY48" fmla="*/ 145266 h 987801"/>
                  <a:gd name="connsiteX49" fmla="*/ 2224812 w 3386200"/>
                  <a:gd name="connsiteY49" fmla="*/ 129391 h 987801"/>
                  <a:gd name="connsiteX50" fmla="*/ 2389912 w 3386200"/>
                  <a:gd name="connsiteY50" fmla="*/ 183366 h 987801"/>
                  <a:gd name="connsiteX51" fmla="*/ 2488337 w 3386200"/>
                  <a:gd name="connsiteY51" fmla="*/ 234166 h 987801"/>
                  <a:gd name="connsiteX52" fmla="*/ 2618512 w 3386200"/>
                  <a:gd name="connsiteY52" fmla="*/ 259566 h 987801"/>
                  <a:gd name="connsiteX53" fmla="*/ 2742337 w 3386200"/>
                  <a:gd name="connsiteY53" fmla="*/ 250041 h 987801"/>
                  <a:gd name="connsiteX54" fmla="*/ 2824887 w 3386200"/>
                  <a:gd name="connsiteY54" fmla="*/ 256391 h 987801"/>
                  <a:gd name="connsiteX55" fmla="*/ 2920137 w 3386200"/>
                  <a:gd name="connsiteY55" fmla="*/ 284966 h 987801"/>
                  <a:gd name="connsiteX56" fmla="*/ 2980462 w 3386200"/>
                  <a:gd name="connsiteY56" fmla="*/ 313541 h 987801"/>
                  <a:gd name="connsiteX57" fmla="*/ 3012212 w 3386200"/>
                  <a:gd name="connsiteY57" fmla="*/ 313541 h 987801"/>
                  <a:gd name="connsiteX58" fmla="*/ 3040787 w 3386200"/>
                  <a:gd name="connsiteY58" fmla="*/ 338941 h 987801"/>
                  <a:gd name="connsiteX59" fmla="*/ 3091587 w 3386200"/>
                  <a:gd name="connsiteY59" fmla="*/ 335766 h 987801"/>
                  <a:gd name="connsiteX60" fmla="*/ 3155087 w 3386200"/>
                  <a:gd name="connsiteY60" fmla="*/ 383391 h 987801"/>
                  <a:gd name="connsiteX61" fmla="*/ 3202712 w 3386200"/>
                  <a:gd name="connsiteY61" fmla="*/ 377041 h 987801"/>
                  <a:gd name="connsiteX62" fmla="*/ 3240812 w 3386200"/>
                  <a:gd name="connsiteY62" fmla="*/ 399266 h 987801"/>
                  <a:gd name="connsiteX63" fmla="*/ 3291612 w 3386200"/>
                  <a:gd name="connsiteY63" fmla="*/ 431016 h 987801"/>
                  <a:gd name="connsiteX64" fmla="*/ 3275737 w 3386200"/>
                  <a:gd name="connsiteY64" fmla="*/ 465941 h 987801"/>
                  <a:gd name="connsiteX65" fmla="*/ 3278912 w 3386200"/>
                  <a:gd name="connsiteY65" fmla="*/ 513566 h 987801"/>
                  <a:gd name="connsiteX66" fmla="*/ 3326537 w 3386200"/>
                  <a:gd name="connsiteY66" fmla="*/ 523091 h 987801"/>
                  <a:gd name="connsiteX67" fmla="*/ 3351937 w 3386200"/>
                  <a:gd name="connsiteY67" fmla="*/ 567541 h 987801"/>
                  <a:gd name="connsiteX68" fmla="*/ 3348762 w 3386200"/>
                  <a:gd name="connsiteY68" fmla="*/ 624691 h 987801"/>
                  <a:gd name="connsiteX69" fmla="*/ 3377337 w 3386200"/>
                  <a:gd name="connsiteY69" fmla="*/ 653266 h 987801"/>
                  <a:gd name="connsiteX70" fmla="*/ 3380512 w 3386200"/>
                  <a:gd name="connsiteY70" fmla="*/ 697716 h 987801"/>
                  <a:gd name="connsiteX71" fmla="*/ 3305400 w 3386200"/>
                  <a:gd name="connsiteY71" fmla="*/ 780050 h 987801"/>
                  <a:gd name="connsiteX72" fmla="*/ 3344126 w 3386200"/>
                  <a:gd name="connsiteY72" fmla="*/ 987801 h 987801"/>
                  <a:gd name="connsiteX0" fmla="*/ 18187 w 3380891"/>
                  <a:gd name="connsiteY0" fmla="*/ 262741 h 987801"/>
                  <a:gd name="connsiteX1" fmla="*/ 40412 w 3380891"/>
                  <a:gd name="connsiteY1" fmla="*/ 319891 h 987801"/>
                  <a:gd name="connsiteX2" fmla="*/ 11837 w 3380891"/>
                  <a:gd name="connsiteY2" fmla="*/ 472291 h 987801"/>
                  <a:gd name="connsiteX3" fmla="*/ 2312 w 3380891"/>
                  <a:gd name="connsiteY3" fmla="*/ 564366 h 987801"/>
                  <a:gd name="connsiteX4" fmla="*/ 53112 w 3380891"/>
                  <a:gd name="connsiteY4" fmla="*/ 577066 h 987801"/>
                  <a:gd name="connsiteX5" fmla="*/ 84862 w 3380891"/>
                  <a:gd name="connsiteY5" fmla="*/ 570716 h 987801"/>
                  <a:gd name="connsiteX6" fmla="*/ 154712 w 3380891"/>
                  <a:gd name="connsiteY6" fmla="*/ 611991 h 987801"/>
                  <a:gd name="connsiteX7" fmla="*/ 205512 w 3380891"/>
                  <a:gd name="connsiteY7" fmla="*/ 602466 h 987801"/>
                  <a:gd name="connsiteX8" fmla="*/ 262662 w 3380891"/>
                  <a:gd name="connsiteY8" fmla="*/ 621516 h 987801"/>
                  <a:gd name="connsiteX9" fmla="*/ 269012 w 3380891"/>
                  <a:gd name="connsiteY9" fmla="*/ 659616 h 987801"/>
                  <a:gd name="connsiteX10" fmla="*/ 310287 w 3380891"/>
                  <a:gd name="connsiteY10" fmla="*/ 665966 h 987801"/>
                  <a:gd name="connsiteX11" fmla="*/ 332512 w 3380891"/>
                  <a:gd name="connsiteY11" fmla="*/ 719941 h 987801"/>
                  <a:gd name="connsiteX12" fmla="*/ 322987 w 3380891"/>
                  <a:gd name="connsiteY12" fmla="*/ 786616 h 987801"/>
                  <a:gd name="connsiteX13" fmla="*/ 342037 w 3380891"/>
                  <a:gd name="connsiteY13" fmla="*/ 843766 h 987801"/>
                  <a:gd name="connsiteX14" fmla="*/ 351562 w 3380891"/>
                  <a:gd name="connsiteY14" fmla="*/ 891391 h 987801"/>
                  <a:gd name="connsiteX15" fmla="*/ 389662 w 3380891"/>
                  <a:gd name="connsiteY15" fmla="*/ 932666 h 987801"/>
                  <a:gd name="connsiteX16" fmla="*/ 434112 w 3380891"/>
                  <a:gd name="connsiteY16" fmla="*/ 919966 h 987801"/>
                  <a:gd name="connsiteX17" fmla="*/ 465862 w 3380891"/>
                  <a:gd name="connsiteY17" fmla="*/ 935841 h 987801"/>
                  <a:gd name="connsiteX18" fmla="*/ 532537 w 3380891"/>
                  <a:gd name="connsiteY18" fmla="*/ 869166 h 987801"/>
                  <a:gd name="connsiteX19" fmla="*/ 583337 w 3380891"/>
                  <a:gd name="connsiteY19" fmla="*/ 805666 h 987801"/>
                  <a:gd name="connsiteX20" fmla="*/ 637312 w 3380891"/>
                  <a:gd name="connsiteY20" fmla="*/ 802491 h 987801"/>
                  <a:gd name="connsiteX21" fmla="*/ 656362 w 3380891"/>
                  <a:gd name="connsiteY21" fmla="*/ 767566 h 987801"/>
                  <a:gd name="connsiteX22" fmla="*/ 767487 w 3380891"/>
                  <a:gd name="connsiteY22" fmla="*/ 716766 h 987801"/>
                  <a:gd name="connsiteX23" fmla="*/ 875437 w 3380891"/>
                  <a:gd name="connsiteY23" fmla="*/ 542141 h 987801"/>
                  <a:gd name="connsiteX24" fmla="*/ 850037 w 3380891"/>
                  <a:gd name="connsiteY24" fmla="*/ 472291 h 987801"/>
                  <a:gd name="connsiteX25" fmla="*/ 888137 w 3380891"/>
                  <a:gd name="connsiteY25" fmla="*/ 402441 h 987801"/>
                  <a:gd name="connsiteX26" fmla="*/ 878612 w 3380891"/>
                  <a:gd name="connsiteY26" fmla="*/ 361166 h 987801"/>
                  <a:gd name="connsiteX27" fmla="*/ 932587 w 3380891"/>
                  <a:gd name="connsiteY27" fmla="*/ 329416 h 987801"/>
                  <a:gd name="connsiteX28" fmla="*/ 989737 w 3380891"/>
                  <a:gd name="connsiteY28" fmla="*/ 284966 h 987801"/>
                  <a:gd name="connsiteX29" fmla="*/ 1088162 w 3380891"/>
                  <a:gd name="connsiteY29" fmla="*/ 265916 h 987801"/>
                  <a:gd name="connsiteX30" fmla="*/ 1129437 w 3380891"/>
                  <a:gd name="connsiteY30" fmla="*/ 183366 h 987801"/>
                  <a:gd name="connsiteX31" fmla="*/ 1148487 w 3380891"/>
                  <a:gd name="connsiteY31" fmla="*/ 97641 h 987801"/>
                  <a:gd name="connsiteX32" fmla="*/ 1148487 w 3380891"/>
                  <a:gd name="connsiteY32" fmla="*/ 53191 h 987801"/>
                  <a:gd name="connsiteX33" fmla="*/ 1211987 w 3380891"/>
                  <a:gd name="connsiteY33" fmla="*/ 50016 h 987801"/>
                  <a:gd name="connsiteX34" fmla="*/ 1259612 w 3380891"/>
                  <a:gd name="connsiteY34" fmla="*/ 27791 h 987801"/>
                  <a:gd name="connsiteX35" fmla="*/ 1304062 w 3380891"/>
                  <a:gd name="connsiteY35" fmla="*/ 21441 h 987801"/>
                  <a:gd name="connsiteX36" fmla="*/ 1358037 w 3380891"/>
                  <a:gd name="connsiteY36" fmla="*/ 2391 h 987801"/>
                  <a:gd name="connsiteX37" fmla="*/ 1402487 w 3380891"/>
                  <a:gd name="connsiteY37" fmla="*/ 5566 h 987801"/>
                  <a:gd name="connsiteX38" fmla="*/ 1491387 w 3380891"/>
                  <a:gd name="connsiteY38" fmla="*/ 50016 h 987801"/>
                  <a:gd name="connsiteX39" fmla="*/ 1542187 w 3380891"/>
                  <a:gd name="connsiteY39" fmla="*/ 40491 h 987801"/>
                  <a:gd name="connsiteX40" fmla="*/ 1580287 w 3380891"/>
                  <a:gd name="connsiteY40" fmla="*/ 62716 h 987801"/>
                  <a:gd name="connsiteX41" fmla="*/ 1634262 w 3380891"/>
                  <a:gd name="connsiteY41" fmla="*/ 94466 h 987801"/>
                  <a:gd name="connsiteX42" fmla="*/ 1713637 w 3380891"/>
                  <a:gd name="connsiteY42" fmla="*/ 116691 h 987801"/>
                  <a:gd name="connsiteX43" fmla="*/ 1764437 w 3380891"/>
                  <a:gd name="connsiteY43" fmla="*/ 91291 h 987801"/>
                  <a:gd name="connsiteX44" fmla="*/ 1815237 w 3380891"/>
                  <a:gd name="connsiteY44" fmla="*/ 97641 h 987801"/>
                  <a:gd name="connsiteX45" fmla="*/ 1859687 w 3380891"/>
                  <a:gd name="connsiteY45" fmla="*/ 123041 h 987801"/>
                  <a:gd name="connsiteX46" fmla="*/ 1973987 w 3380891"/>
                  <a:gd name="connsiteY46" fmla="*/ 103991 h 987801"/>
                  <a:gd name="connsiteX47" fmla="*/ 2024787 w 3380891"/>
                  <a:gd name="connsiteY47" fmla="*/ 119866 h 987801"/>
                  <a:gd name="connsiteX48" fmla="*/ 2145437 w 3380891"/>
                  <a:gd name="connsiteY48" fmla="*/ 145266 h 987801"/>
                  <a:gd name="connsiteX49" fmla="*/ 2224812 w 3380891"/>
                  <a:gd name="connsiteY49" fmla="*/ 129391 h 987801"/>
                  <a:gd name="connsiteX50" fmla="*/ 2389912 w 3380891"/>
                  <a:gd name="connsiteY50" fmla="*/ 183366 h 987801"/>
                  <a:gd name="connsiteX51" fmla="*/ 2488337 w 3380891"/>
                  <a:gd name="connsiteY51" fmla="*/ 234166 h 987801"/>
                  <a:gd name="connsiteX52" fmla="*/ 2618512 w 3380891"/>
                  <a:gd name="connsiteY52" fmla="*/ 259566 h 987801"/>
                  <a:gd name="connsiteX53" fmla="*/ 2742337 w 3380891"/>
                  <a:gd name="connsiteY53" fmla="*/ 250041 h 987801"/>
                  <a:gd name="connsiteX54" fmla="*/ 2824887 w 3380891"/>
                  <a:gd name="connsiteY54" fmla="*/ 256391 h 987801"/>
                  <a:gd name="connsiteX55" fmla="*/ 2920137 w 3380891"/>
                  <a:gd name="connsiteY55" fmla="*/ 284966 h 987801"/>
                  <a:gd name="connsiteX56" fmla="*/ 2980462 w 3380891"/>
                  <a:gd name="connsiteY56" fmla="*/ 313541 h 987801"/>
                  <a:gd name="connsiteX57" fmla="*/ 3012212 w 3380891"/>
                  <a:gd name="connsiteY57" fmla="*/ 313541 h 987801"/>
                  <a:gd name="connsiteX58" fmla="*/ 3040787 w 3380891"/>
                  <a:gd name="connsiteY58" fmla="*/ 338941 h 987801"/>
                  <a:gd name="connsiteX59" fmla="*/ 3091587 w 3380891"/>
                  <a:gd name="connsiteY59" fmla="*/ 335766 h 987801"/>
                  <a:gd name="connsiteX60" fmla="*/ 3155087 w 3380891"/>
                  <a:gd name="connsiteY60" fmla="*/ 383391 h 987801"/>
                  <a:gd name="connsiteX61" fmla="*/ 3202712 w 3380891"/>
                  <a:gd name="connsiteY61" fmla="*/ 377041 h 987801"/>
                  <a:gd name="connsiteX62" fmla="*/ 3240812 w 3380891"/>
                  <a:gd name="connsiteY62" fmla="*/ 399266 h 987801"/>
                  <a:gd name="connsiteX63" fmla="*/ 3291612 w 3380891"/>
                  <a:gd name="connsiteY63" fmla="*/ 431016 h 987801"/>
                  <a:gd name="connsiteX64" fmla="*/ 3275737 w 3380891"/>
                  <a:gd name="connsiteY64" fmla="*/ 465941 h 987801"/>
                  <a:gd name="connsiteX65" fmla="*/ 3278912 w 3380891"/>
                  <a:gd name="connsiteY65" fmla="*/ 513566 h 987801"/>
                  <a:gd name="connsiteX66" fmla="*/ 3326537 w 3380891"/>
                  <a:gd name="connsiteY66" fmla="*/ 523091 h 987801"/>
                  <a:gd name="connsiteX67" fmla="*/ 3351937 w 3380891"/>
                  <a:gd name="connsiteY67" fmla="*/ 567541 h 987801"/>
                  <a:gd name="connsiteX68" fmla="*/ 3348762 w 3380891"/>
                  <a:gd name="connsiteY68" fmla="*/ 624691 h 987801"/>
                  <a:gd name="connsiteX69" fmla="*/ 3377337 w 3380891"/>
                  <a:gd name="connsiteY69" fmla="*/ 653266 h 987801"/>
                  <a:gd name="connsiteX70" fmla="*/ 3255898 w 3380891"/>
                  <a:gd name="connsiteY70" fmla="*/ 710272 h 987801"/>
                  <a:gd name="connsiteX71" fmla="*/ 3305400 w 3380891"/>
                  <a:gd name="connsiteY71" fmla="*/ 780050 h 987801"/>
                  <a:gd name="connsiteX72" fmla="*/ 3344126 w 3380891"/>
                  <a:gd name="connsiteY72" fmla="*/ 987801 h 987801"/>
                  <a:gd name="connsiteX0" fmla="*/ 18187 w 3358120"/>
                  <a:gd name="connsiteY0" fmla="*/ 262741 h 987801"/>
                  <a:gd name="connsiteX1" fmla="*/ 40412 w 3358120"/>
                  <a:gd name="connsiteY1" fmla="*/ 319891 h 987801"/>
                  <a:gd name="connsiteX2" fmla="*/ 11837 w 3358120"/>
                  <a:gd name="connsiteY2" fmla="*/ 472291 h 987801"/>
                  <a:gd name="connsiteX3" fmla="*/ 2312 w 3358120"/>
                  <a:gd name="connsiteY3" fmla="*/ 564366 h 987801"/>
                  <a:gd name="connsiteX4" fmla="*/ 53112 w 3358120"/>
                  <a:gd name="connsiteY4" fmla="*/ 577066 h 987801"/>
                  <a:gd name="connsiteX5" fmla="*/ 84862 w 3358120"/>
                  <a:gd name="connsiteY5" fmla="*/ 570716 h 987801"/>
                  <a:gd name="connsiteX6" fmla="*/ 154712 w 3358120"/>
                  <a:gd name="connsiteY6" fmla="*/ 611991 h 987801"/>
                  <a:gd name="connsiteX7" fmla="*/ 205512 w 3358120"/>
                  <a:gd name="connsiteY7" fmla="*/ 602466 h 987801"/>
                  <a:gd name="connsiteX8" fmla="*/ 262662 w 3358120"/>
                  <a:gd name="connsiteY8" fmla="*/ 621516 h 987801"/>
                  <a:gd name="connsiteX9" fmla="*/ 269012 w 3358120"/>
                  <a:gd name="connsiteY9" fmla="*/ 659616 h 987801"/>
                  <a:gd name="connsiteX10" fmla="*/ 310287 w 3358120"/>
                  <a:gd name="connsiteY10" fmla="*/ 665966 h 987801"/>
                  <a:gd name="connsiteX11" fmla="*/ 332512 w 3358120"/>
                  <a:gd name="connsiteY11" fmla="*/ 719941 h 987801"/>
                  <a:gd name="connsiteX12" fmla="*/ 322987 w 3358120"/>
                  <a:gd name="connsiteY12" fmla="*/ 786616 h 987801"/>
                  <a:gd name="connsiteX13" fmla="*/ 342037 w 3358120"/>
                  <a:gd name="connsiteY13" fmla="*/ 843766 h 987801"/>
                  <a:gd name="connsiteX14" fmla="*/ 351562 w 3358120"/>
                  <a:gd name="connsiteY14" fmla="*/ 891391 h 987801"/>
                  <a:gd name="connsiteX15" fmla="*/ 389662 w 3358120"/>
                  <a:gd name="connsiteY15" fmla="*/ 932666 h 987801"/>
                  <a:gd name="connsiteX16" fmla="*/ 434112 w 3358120"/>
                  <a:gd name="connsiteY16" fmla="*/ 919966 h 987801"/>
                  <a:gd name="connsiteX17" fmla="*/ 465862 w 3358120"/>
                  <a:gd name="connsiteY17" fmla="*/ 935841 h 987801"/>
                  <a:gd name="connsiteX18" fmla="*/ 532537 w 3358120"/>
                  <a:gd name="connsiteY18" fmla="*/ 869166 h 987801"/>
                  <a:gd name="connsiteX19" fmla="*/ 583337 w 3358120"/>
                  <a:gd name="connsiteY19" fmla="*/ 805666 h 987801"/>
                  <a:gd name="connsiteX20" fmla="*/ 637312 w 3358120"/>
                  <a:gd name="connsiteY20" fmla="*/ 802491 h 987801"/>
                  <a:gd name="connsiteX21" fmla="*/ 656362 w 3358120"/>
                  <a:gd name="connsiteY21" fmla="*/ 767566 h 987801"/>
                  <a:gd name="connsiteX22" fmla="*/ 767487 w 3358120"/>
                  <a:gd name="connsiteY22" fmla="*/ 716766 h 987801"/>
                  <a:gd name="connsiteX23" fmla="*/ 875437 w 3358120"/>
                  <a:gd name="connsiteY23" fmla="*/ 542141 h 987801"/>
                  <a:gd name="connsiteX24" fmla="*/ 850037 w 3358120"/>
                  <a:gd name="connsiteY24" fmla="*/ 472291 h 987801"/>
                  <a:gd name="connsiteX25" fmla="*/ 888137 w 3358120"/>
                  <a:gd name="connsiteY25" fmla="*/ 402441 h 987801"/>
                  <a:gd name="connsiteX26" fmla="*/ 878612 w 3358120"/>
                  <a:gd name="connsiteY26" fmla="*/ 361166 h 987801"/>
                  <a:gd name="connsiteX27" fmla="*/ 932587 w 3358120"/>
                  <a:gd name="connsiteY27" fmla="*/ 329416 h 987801"/>
                  <a:gd name="connsiteX28" fmla="*/ 989737 w 3358120"/>
                  <a:gd name="connsiteY28" fmla="*/ 284966 h 987801"/>
                  <a:gd name="connsiteX29" fmla="*/ 1088162 w 3358120"/>
                  <a:gd name="connsiteY29" fmla="*/ 265916 h 987801"/>
                  <a:gd name="connsiteX30" fmla="*/ 1129437 w 3358120"/>
                  <a:gd name="connsiteY30" fmla="*/ 183366 h 987801"/>
                  <a:gd name="connsiteX31" fmla="*/ 1148487 w 3358120"/>
                  <a:gd name="connsiteY31" fmla="*/ 97641 h 987801"/>
                  <a:gd name="connsiteX32" fmla="*/ 1148487 w 3358120"/>
                  <a:gd name="connsiteY32" fmla="*/ 53191 h 987801"/>
                  <a:gd name="connsiteX33" fmla="*/ 1211987 w 3358120"/>
                  <a:gd name="connsiteY33" fmla="*/ 50016 h 987801"/>
                  <a:gd name="connsiteX34" fmla="*/ 1259612 w 3358120"/>
                  <a:gd name="connsiteY34" fmla="*/ 27791 h 987801"/>
                  <a:gd name="connsiteX35" fmla="*/ 1304062 w 3358120"/>
                  <a:gd name="connsiteY35" fmla="*/ 21441 h 987801"/>
                  <a:gd name="connsiteX36" fmla="*/ 1358037 w 3358120"/>
                  <a:gd name="connsiteY36" fmla="*/ 2391 h 987801"/>
                  <a:gd name="connsiteX37" fmla="*/ 1402487 w 3358120"/>
                  <a:gd name="connsiteY37" fmla="*/ 5566 h 987801"/>
                  <a:gd name="connsiteX38" fmla="*/ 1491387 w 3358120"/>
                  <a:gd name="connsiteY38" fmla="*/ 50016 h 987801"/>
                  <a:gd name="connsiteX39" fmla="*/ 1542187 w 3358120"/>
                  <a:gd name="connsiteY39" fmla="*/ 40491 h 987801"/>
                  <a:gd name="connsiteX40" fmla="*/ 1580287 w 3358120"/>
                  <a:gd name="connsiteY40" fmla="*/ 62716 h 987801"/>
                  <a:gd name="connsiteX41" fmla="*/ 1634262 w 3358120"/>
                  <a:gd name="connsiteY41" fmla="*/ 94466 h 987801"/>
                  <a:gd name="connsiteX42" fmla="*/ 1713637 w 3358120"/>
                  <a:gd name="connsiteY42" fmla="*/ 116691 h 987801"/>
                  <a:gd name="connsiteX43" fmla="*/ 1764437 w 3358120"/>
                  <a:gd name="connsiteY43" fmla="*/ 91291 h 987801"/>
                  <a:gd name="connsiteX44" fmla="*/ 1815237 w 3358120"/>
                  <a:gd name="connsiteY44" fmla="*/ 97641 h 987801"/>
                  <a:gd name="connsiteX45" fmla="*/ 1859687 w 3358120"/>
                  <a:gd name="connsiteY45" fmla="*/ 123041 h 987801"/>
                  <a:gd name="connsiteX46" fmla="*/ 1973987 w 3358120"/>
                  <a:gd name="connsiteY46" fmla="*/ 103991 h 987801"/>
                  <a:gd name="connsiteX47" fmla="*/ 2024787 w 3358120"/>
                  <a:gd name="connsiteY47" fmla="*/ 119866 h 987801"/>
                  <a:gd name="connsiteX48" fmla="*/ 2145437 w 3358120"/>
                  <a:gd name="connsiteY48" fmla="*/ 145266 h 987801"/>
                  <a:gd name="connsiteX49" fmla="*/ 2224812 w 3358120"/>
                  <a:gd name="connsiteY49" fmla="*/ 129391 h 987801"/>
                  <a:gd name="connsiteX50" fmla="*/ 2389912 w 3358120"/>
                  <a:gd name="connsiteY50" fmla="*/ 183366 h 987801"/>
                  <a:gd name="connsiteX51" fmla="*/ 2488337 w 3358120"/>
                  <a:gd name="connsiteY51" fmla="*/ 234166 h 987801"/>
                  <a:gd name="connsiteX52" fmla="*/ 2618512 w 3358120"/>
                  <a:gd name="connsiteY52" fmla="*/ 259566 h 987801"/>
                  <a:gd name="connsiteX53" fmla="*/ 2742337 w 3358120"/>
                  <a:gd name="connsiteY53" fmla="*/ 250041 h 987801"/>
                  <a:gd name="connsiteX54" fmla="*/ 2824887 w 3358120"/>
                  <a:gd name="connsiteY54" fmla="*/ 256391 h 987801"/>
                  <a:gd name="connsiteX55" fmla="*/ 2920137 w 3358120"/>
                  <a:gd name="connsiteY55" fmla="*/ 284966 h 987801"/>
                  <a:gd name="connsiteX56" fmla="*/ 2980462 w 3358120"/>
                  <a:gd name="connsiteY56" fmla="*/ 313541 h 987801"/>
                  <a:gd name="connsiteX57" fmla="*/ 3012212 w 3358120"/>
                  <a:gd name="connsiteY57" fmla="*/ 313541 h 987801"/>
                  <a:gd name="connsiteX58" fmla="*/ 3040787 w 3358120"/>
                  <a:gd name="connsiteY58" fmla="*/ 338941 h 987801"/>
                  <a:gd name="connsiteX59" fmla="*/ 3091587 w 3358120"/>
                  <a:gd name="connsiteY59" fmla="*/ 335766 h 987801"/>
                  <a:gd name="connsiteX60" fmla="*/ 3155087 w 3358120"/>
                  <a:gd name="connsiteY60" fmla="*/ 383391 h 987801"/>
                  <a:gd name="connsiteX61" fmla="*/ 3202712 w 3358120"/>
                  <a:gd name="connsiteY61" fmla="*/ 377041 h 987801"/>
                  <a:gd name="connsiteX62" fmla="*/ 3240812 w 3358120"/>
                  <a:gd name="connsiteY62" fmla="*/ 399266 h 987801"/>
                  <a:gd name="connsiteX63" fmla="*/ 3291612 w 3358120"/>
                  <a:gd name="connsiteY63" fmla="*/ 431016 h 987801"/>
                  <a:gd name="connsiteX64" fmla="*/ 3275737 w 3358120"/>
                  <a:gd name="connsiteY64" fmla="*/ 465941 h 987801"/>
                  <a:gd name="connsiteX65" fmla="*/ 3278912 w 3358120"/>
                  <a:gd name="connsiteY65" fmla="*/ 513566 h 987801"/>
                  <a:gd name="connsiteX66" fmla="*/ 3326537 w 3358120"/>
                  <a:gd name="connsiteY66" fmla="*/ 523091 h 987801"/>
                  <a:gd name="connsiteX67" fmla="*/ 3351937 w 3358120"/>
                  <a:gd name="connsiteY67" fmla="*/ 567541 h 987801"/>
                  <a:gd name="connsiteX68" fmla="*/ 3348762 w 3358120"/>
                  <a:gd name="connsiteY68" fmla="*/ 624691 h 987801"/>
                  <a:gd name="connsiteX69" fmla="*/ 3252722 w 3358120"/>
                  <a:gd name="connsiteY69" fmla="*/ 646988 h 987801"/>
                  <a:gd name="connsiteX70" fmla="*/ 3255898 w 3358120"/>
                  <a:gd name="connsiteY70" fmla="*/ 710272 h 987801"/>
                  <a:gd name="connsiteX71" fmla="*/ 3305400 w 3358120"/>
                  <a:gd name="connsiteY71" fmla="*/ 780050 h 987801"/>
                  <a:gd name="connsiteX72" fmla="*/ 3344126 w 3358120"/>
                  <a:gd name="connsiteY72" fmla="*/ 987801 h 987801"/>
                  <a:gd name="connsiteX0" fmla="*/ 18187 w 3358782"/>
                  <a:gd name="connsiteY0" fmla="*/ 262741 h 987801"/>
                  <a:gd name="connsiteX1" fmla="*/ 40412 w 3358782"/>
                  <a:gd name="connsiteY1" fmla="*/ 319891 h 987801"/>
                  <a:gd name="connsiteX2" fmla="*/ 11837 w 3358782"/>
                  <a:gd name="connsiteY2" fmla="*/ 472291 h 987801"/>
                  <a:gd name="connsiteX3" fmla="*/ 2312 w 3358782"/>
                  <a:gd name="connsiteY3" fmla="*/ 564366 h 987801"/>
                  <a:gd name="connsiteX4" fmla="*/ 53112 w 3358782"/>
                  <a:gd name="connsiteY4" fmla="*/ 577066 h 987801"/>
                  <a:gd name="connsiteX5" fmla="*/ 84862 w 3358782"/>
                  <a:gd name="connsiteY5" fmla="*/ 570716 h 987801"/>
                  <a:gd name="connsiteX6" fmla="*/ 154712 w 3358782"/>
                  <a:gd name="connsiteY6" fmla="*/ 611991 h 987801"/>
                  <a:gd name="connsiteX7" fmla="*/ 205512 w 3358782"/>
                  <a:gd name="connsiteY7" fmla="*/ 602466 h 987801"/>
                  <a:gd name="connsiteX8" fmla="*/ 262662 w 3358782"/>
                  <a:gd name="connsiteY8" fmla="*/ 621516 h 987801"/>
                  <a:gd name="connsiteX9" fmla="*/ 269012 w 3358782"/>
                  <a:gd name="connsiteY9" fmla="*/ 659616 h 987801"/>
                  <a:gd name="connsiteX10" fmla="*/ 310287 w 3358782"/>
                  <a:gd name="connsiteY10" fmla="*/ 665966 h 987801"/>
                  <a:gd name="connsiteX11" fmla="*/ 332512 w 3358782"/>
                  <a:gd name="connsiteY11" fmla="*/ 719941 h 987801"/>
                  <a:gd name="connsiteX12" fmla="*/ 322987 w 3358782"/>
                  <a:gd name="connsiteY12" fmla="*/ 786616 h 987801"/>
                  <a:gd name="connsiteX13" fmla="*/ 342037 w 3358782"/>
                  <a:gd name="connsiteY13" fmla="*/ 843766 h 987801"/>
                  <a:gd name="connsiteX14" fmla="*/ 351562 w 3358782"/>
                  <a:gd name="connsiteY14" fmla="*/ 891391 h 987801"/>
                  <a:gd name="connsiteX15" fmla="*/ 389662 w 3358782"/>
                  <a:gd name="connsiteY15" fmla="*/ 932666 h 987801"/>
                  <a:gd name="connsiteX16" fmla="*/ 434112 w 3358782"/>
                  <a:gd name="connsiteY16" fmla="*/ 919966 h 987801"/>
                  <a:gd name="connsiteX17" fmla="*/ 465862 w 3358782"/>
                  <a:gd name="connsiteY17" fmla="*/ 935841 h 987801"/>
                  <a:gd name="connsiteX18" fmla="*/ 532537 w 3358782"/>
                  <a:gd name="connsiteY18" fmla="*/ 869166 h 987801"/>
                  <a:gd name="connsiteX19" fmla="*/ 583337 w 3358782"/>
                  <a:gd name="connsiteY19" fmla="*/ 805666 h 987801"/>
                  <a:gd name="connsiteX20" fmla="*/ 637312 w 3358782"/>
                  <a:gd name="connsiteY20" fmla="*/ 802491 h 987801"/>
                  <a:gd name="connsiteX21" fmla="*/ 656362 w 3358782"/>
                  <a:gd name="connsiteY21" fmla="*/ 767566 h 987801"/>
                  <a:gd name="connsiteX22" fmla="*/ 767487 w 3358782"/>
                  <a:gd name="connsiteY22" fmla="*/ 716766 h 987801"/>
                  <a:gd name="connsiteX23" fmla="*/ 875437 w 3358782"/>
                  <a:gd name="connsiteY23" fmla="*/ 542141 h 987801"/>
                  <a:gd name="connsiteX24" fmla="*/ 850037 w 3358782"/>
                  <a:gd name="connsiteY24" fmla="*/ 472291 h 987801"/>
                  <a:gd name="connsiteX25" fmla="*/ 888137 w 3358782"/>
                  <a:gd name="connsiteY25" fmla="*/ 402441 h 987801"/>
                  <a:gd name="connsiteX26" fmla="*/ 878612 w 3358782"/>
                  <a:gd name="connsiteY26" fmla="*/ 361166 h 987801"/>
                  <a:gd name="connsiteX27" fmla="*/ 932587 w 3358782"/>
                  <a:gd name="connsiteY27" fmla="*/ 329416 h 987801"/>
                  <a:gd name="connsiteX28" fmla="*/ 989737 w 3358782"/>
                  <a:gd name="connsiteY28" fmla="*/ 284966 h 987801"/>
                  <a:gd name="connsiteX29" fmla="*/ 1088162 w 3358782"/>
                  <a:gd name="connsiteY29" fmla="*/ 265916 h 987801"/>
                  <a:gd name="connsiteX30" fmla="*/ 1129437 w 3358782"/>
                  <a:gd name="connsiteY30" fmla="*/ 183366 h 987801"/>
                  <a:gd name="connsiteX31" fmla="*/ 1148487 w 3358782"/>
                  <a:gd name="connsiteY31" fmla="*/ 97641 h 987801"/>
                  <a:gd name="connsiteX32" fmla="*/ 1148487 w 3358782"/>
                  <a:gd name="connsiteY32" fmla="*/ 53191 h 987801"/>
                  <a:gd name="connsiteX33" fmla="*/ 1211987 w 3358782"/>
                  <a:gd name="connsiteY33" fmla="*/ 50016 h 987801"/>
                  <a:gd name="connsiteX34" fmla="*/ 1259612 w 3358782"/>
                  <a:gd name="connsiteY34" fmla="*/ 27791 h 987801"/>
                  <a:gd name="connsiteX35" fmla="*/ 1304062 w 3358782"/>
                  <a:gd name="connsiteY35" fmla="*/ 21441 h 987801"/>
                  <a:gd name="connsiteX36" fmla="*/ 1358037 w 3358782"/>
                  <a:gd name="connsiteY36" fmla="*/ 2391 h 987801"/>
                  <a:gd name="connsiteX37" fmla="*/ 1402487 w 3358782"/>
                  <a:gd name="connsiteY37" fmla="*/ 5566 h 987801"/>
                  <a:gd name="connsiteX38" fmla="*/ 1491387 w 3358782"/>
                  <a:gd name="connsiteY38" fmla="*/ 50016 h 987801"/>
                  <a:gd name="connsiteX39" fmla="*/ 1542187 w 3358782"/>
                  <a:gd name="connsiteY39" fmla="*/ 40491 h 987801"/>
                  <a:gd name="connsiteX40" fmla="*/ 1580287 w 3358782"/>
                  <a:gd name="connsiteY40" fmla="*/ 62716 h 987801"/>
                  <a:gd name="connsiteX41" fmla="*/ 1634262 w 3358782"/>
                  <a:gd name="connsiteY41" fmla="*/ 94466 h 987801"/>
                  <a:gd name="connsiteX42" fmla="*/ 1713637 w 3358782"/>
                  <a:gd name="connsiteY42" fmla="*/ 116691 h 987801"/>
                  <a:gd name="connsiteX43" fmla="*/ 1764437 w 3358782"/>
                  <a:gd name="connsiteY43" fmla="*/ 91291 h 987801"/>
                  <a:gd name="connsiteX44" fmla="*/ 1815237 w 3358782"/>
                  <a:gd name="connsiteY44" fmla="*/ 97641 h 987801"/>
                  <a:gd name="connsiteX45" fmla="*/ 1859687 w 3358782"/>
                  <a:gd name="connsiteY45" fmla="*/ 123041 h 987801"/>
                  <a:gd name="connsiteX46" fmla="*/ 1973987 w 3358782"/>
                  <a:gd name="connsiteY46" fmla="*/ 103991 h 987801"/>
                  <a:gd name="connsiteX47" fmla="*/ 2024787 w 3358782"/>
                  <a:gd name="connsiteY47" fmla="*/ 119866 h 987801"/>
                  <a:gd name="connsiteX48" fmla="*/ 2145437 w 3358782"/>
                  <a:gd name="connsiteY48" fmla="*/ 145266 h 987801"/>
                  <a:gd name="connsiteX49" fmla="*/ 2224812 w 3358782"/>
                  <a:gd name="connsiteY49" fmla="*/ 129391 h 987801"/>
                  <a:gd name="connsiteX50" fmla="*/ 2389912 w 3358782"/>
                  <a:gd name="connsiteY50" fmla="*/ 183366 h 987801"/>
                  <a:gd name="connsiteX51" fmla="*/ 2488337 w 3358782"/>
                  <a:gd name="connsiteY51" fmla="*/ 234166 h 987801"/>
                  <a:gd name="connsiteX52" fmla="*/ 2618512 w 3358782"/>
                  <a:gd name="connsiteY52" fmla="*/ 259566 h 987801"/>
                  <a:gd name="connsiteX53" fmla="*/ 2742337 w 3358782"/>
                  <a:gd name="connsiteY53" fmla="*/ 250041 h 987801"/>
                  <a:gd name="connsiteX54" fmla="*/ 2824887 w 3358782"/>
                  <a:gd name="connsiteY54" fmla="*/ 256391 h 987801"/>
                  <a:gd name="connsiteX55" fmla="*/ 2920137 w 3358782"/>
                  <a:gd name="connsiteY55" fmla="*/ 284966 h 987801"/>
                  <a:gd name="connsiteX56" fmla="*/ 2980462 w 3358782"/>
                  <a:gd name="connsiteY56" fmla="*/ 313541 h 987801"/>
                  <a:gd name="connsiteX57" fmla="*/ 3012212 w 3358782"/>
                  <a:gd name="connsiteY57" fmla="*/ 313541 h 987801"/>
                  <a:gd name="connsiteX58" fmla="*/ 3040787 w 3358782"/>
                  <a:gd name="connsiteY58" fmla="*/ 338941 h 987801"/>
                  <a:gd name="connsiteX59" fmla="*/ 3091587 w 3358782"/>
                  <a:gd name="connsiteY59" fmla="*/ 335766 h 987801"/>
                  <a:gd name="connsiteX60" fmla="*/ 3155087 w 3358782"/>
                  <a:gd name="connsiteY60" fmla="*/ 383391 h 987801"/>
                  <a:gd name="connsiteX61" fmla="*/ 3202712 w 3358782"/>
                  <a:gd name="connsiteY61" fmla="*/ 377041 h 987801"/>
                  <a:gd name="connsiteX62" fmla="*/ 3240812 w 3358782"/>
                  <a:gd name="connsiteY62" fmla="*/ 399266 h 987801"/>
                  <a:gd name="connsiteX63" fmla="*/ 3291612 w 3358782"/>
                  <a:gd name="connsiteY63" fmla="*/ 431016 h 987801"/>
                  <a:gd name="connsiteX64" fmla="*/ 3275737 w 3358782"/>
                  <a:gd name="connsiteY64" fmla="*/ 465941 h 987801"/>
                  <a:gd name="connsiteX65" fmla="*/ 3278912 w 3358782"/>
                  <a:gd name="connsiteY65" fmla="*/ 513566 h 987801"/>
                  <a:gd name="connsiteX66" fmla="*/ 3326537 w 3358782"/>
                  <a:gd name="connsiteY66" fmla="*/ 523091 h 987801"/>
                  <a:gd name="connsiteX67" fmla="*/ 3351937 w 3358782"/>
                  <a:gd name="connsiteY67" fmla="*/ 567541 h 987801"/>
                  <a:gd name="connsiteX68" fmla="*/ 3197913 w 3358782"/>
                  <a:gd name="connsiteY68" fmla="*/ 624691 h 987801"/>
                  <a:gd name="connsiteX69" fmla="*/ 3252722 w 3358782"/>
                  <a:gd name="connsiteY69" fmla="*/ 646988 h 987801"/>
                  <a:gd name="connsiteX70" fmla="*/ 3255898 w 3358782"/>
                  <a:gd name="connsiteY70" fmla="*/ 710272 h 987801"/>
                  <a:gd name="connsiteX71" fmla="*/ 3305400 w 3358782"/>
                  <a:gd name="connsiteY71" fmla="*/ 780050 h 987801"/>
                  <a:gd name="connsiteX72" fmla="*/ 3344126 w 3358782"/>
                  <a:gd name="connsiteY72" fmla="*/ 987801 h 987801"/>
                  <a:gd name="connsiteX0" fmla="*/ 18187 w 3344126"/>
                  <a:gd name="connsiteY0" fmla="*/ 262741 h 987801"/>
                  <a:gd name="connsiteX1" fmla="*/ 40412 w 3344126"/>
                  <a:gd name="connsiteY1" fmla="*/ 319891 h 987801"/>
                  <a:gd name="connsiteX2" fmla="*/ 11837 w 3344126"/>
                  <a:gd name="connsiteY2" fmla="*/ 472291 h 987801"/>
                  <a:gd name="connsiteX3" fmla="*/ 2312 w 3344126"/>
                  <a:gd name="connsiteY3" fmla="*/ 564366 h 987801"/>
                  <a:gd name="connsiteX4" fmla="*/ 53112 w 3344126"/>
                  <a:gd name="connsiteY4" fmla="*/ 577066 h 987801"/>
                  <a:gd name="connsiteX5" fmla="*/ 84862 w 3344126"/>
                  <a:gd name="connsiteY5" fmla="*/ 570716 h 987801"/>
                  <a:gd name="connsiteX6" fmla="*/ 154712 w 3344126"/>
                  <a:gd name="connsiteY6" fmla="*/ 611991 h 987801"/>
                  <a:gd name="connsiteX7" fmla="*/ 205512 w 3344126"/>
                  <a:gd name="connsiteY7" fmla="*/ 602466 h 987801"/>
                  <a:gd name="connsiteX8" fmla="*/ 262662 w 3344126"/>
                  <a:gd name="connsiteY8" fmla="*/ 621516 h 987801"/>
                  <a:gd name="connsiteX9" fmla="*/ 269012 w 3344126"/>
                  <a:gd name="connsiteY9" fmla="*/ 659616 h 987801"/>
                  <a:gd name="connsiteX10" fmla="*/ 310287 w 3344126"/>
                  <a:gd name="connsiteY10" fmla="*/ 665966 h 987801"/>
                  <a:gd name="connsiteX11" fmla="*/ 332512 w 3344126"/>
                  <a:gd name="connsiteY11" fmla="*/ 719941 h 987801"/>
                  <a:gd name="connsiteX12" fmla="*/ 322987 w 3344126"/>
                  <a:gd name="connsiteY12" fmla="*/ 786616 h 987801"/>
                  <a:gd name="connsiteX13" fmla="*/ 342037 w 3344126"/>
                  <a:gd name="connsiteY13" fmla="*/ 843766 h 987801"/>
                  <a:gd name="connsiteX14" fmla="*/ 351562 w 3344126"/>
                  <a:gd name="connsiteY14" fmla="*/ 891391 h 987801"/>
                  <a:gd name="connsiteX15" fmla="*/ 389662 w 3344126"/>
                  <a:gd name="connsiteY15" fmla="*/ 932666 h 987801"/>
                  <a:gd name="connsiteX16" fmla="*/ 434112 w 3344126"/>
                  <a:gd name="connsiteY16" fmla="*/ 919966 h 987801"/>
                  <a:gd name="connsiteX17" fmla="*/ 465862 w 3344126"/>
                  <a:gd name="connsiteY17" fmla="*/ 935841 h 987801"/>
                  <a:gd name="connsiteX18" fmla="*/ 532537 w 3344126"/>
                  <a:gd name="connsiteY18" fmla="*/ 869166 h 987801"/>
                  <a:gd name="connsiteX19" fmla="*/ 583337 w 3344126"/>
                  <a:gd name="connsiteY19" fmla="*/ 805666 h 987801"/>
                  <a:gd name="connsiteX20" fmla="*/ 637312 w 3344126"/>
                  <a:gd name="connsiteY20" fmla="*/ 802491 h 987801"/>
                  <a:gd name="connsiteX21" fmla="*/ 656362 w 3344126"/>
                  <a:gd name="connsiteY21" fmla="*/ 767566 h 987801"/>
                  <a:gd name="connsiteX22" fmla="*/ 767487 w 3344126"/>
                  <a:gd name="connsiteY22" fmla="*/ 716766 h 987801"/>
                  <a:gd name="connsiteX23" fmla="*/ 875437 w 3344126"/>
                  <a:gd name="connsiteY23" fmla="*/ 542141 h 987801"/>
                  <a:gd name="connsiteX24" fmla="*/ 850037 w 3344126"/>
                  <a:gd name="connsiteY24" fmla="*/ 472291 h 987801"/>
                  <a:gd name="connsiteX25" fmla="*/ 888137 w 3344126"/>
                  <a:gd name="connsiteY25" fmla="*/ 402441 h 987801"/>
                  <a:gd name="connsiteX26" fmla="*/ 878612 w 3344126"/>
                  <a:gd name="connsiteY26" fmla="*/ 361166 h 987801"/>
                  <a:gd name="connsiteX27" fmla="*/ 932587 w 3344126"/>
                  <a:gd name="connsiteY27" fmla="*/ 329416 h 987801"/>
                  <a:gd name="connsiteX28" fmla="*/ 989737 w 3344126"/>
                  <a:gd name="connsiteY28" fmla="*/ 284966 h 987801"/>
                  <a:gd name="connsiteX29" fmla="*/ 1088162 w 3344126"/>
                  <a:gd name="connsiteY29" fmla="*/ 265916 h 987801"/>
                  <a:gd name="connsiteX30" fmla="*/ 1129437 w 3344126"/>
                  <a:gd name="connsiteY30" fmla="*/ 183366 h 987801"/>
                  <a:gd name="connsiteX31" fmla="*/ 1148487 w 3344126"/>
                  <a:gd name="connsiteY31" fmla="*/ 97641 h 987801"/>
                  <a:gd name="connsiteX32" fmla="*/ 1148487 w 3344126"/>
                  <a:gd name="connsiteY32" fmla="*/ 53191 h 987801"/>
                  <a:gd name="connsiteX33" fmla="*/ 1211987 w 3344126"/>
                  <a:gd name="connsiteY33" fmla="*/ 50016 h 987801"/>
                  <a:gd name="connsiteX34" fmla="*/ 1259612 w 3344126"/>
                  <a:gd name="connsiteY34" fmla="*/ 27791 h 987801"/>
                  <a:gd name="connsiteX35" fmla="*/ 1304062 w 3344126"/>
                  <a:gd name="connsiteY35" fmla="*/ 21441 h 987801"/>
                  <a:gd name="connsiteX36" fmla="*/ 1358037 w 3344126"/>
                  <a:gd name="connsiteY36" fmla="*/ 2391 h 987801"/>
                  <a:gd name="connsiteX37" fmla="*/ 1402487 w 3344126"/>
                  <a:gd name="connsiteY37" fmla="*/ 5566 h 987801"/>
                  <a:gd name="connsiteX38" fmla="*/ 1491387 w 3344126"/>
                  <a:gd name="connsiteY38" fmla="*/ 50016 h 987801"/>
                  <a:gd name="connsiteX39" fmla="*/ 1542187 w 3344126"/>
                  <a:gd name="connsiteY39" fmla="*/ 40491 h 987801"/>
                  <a:gd name="connsiteX40" fmla="*/ 1580287 w 3344126"/>
                  <a:gd name="connsiteY40" fmla="*/ 62716 h 987801"/>
                  <a:gd name="connsiteX41" fmla="*/ 1634262 w 3344126"/>
                  <a:gd name="connsiteY41" fmla="*/ 94466 h 987801"/>
                  <a:gd name="connsiteX42" fmla="*/ 1713637 w 3344126"/>
                  <a:gd name="connsiteY42" fmla="*/ 116691 h 987801"/>
                  <a:gd name="connsiteX43" fmla="*/ 1764437 w 3344126"/>
                  <a:gd name="connsiteY43" fmla="*/ 91291 h 987801"/>
                  <a:gd name="connsiteX44" fmla="*/ 1815237 w 3344126"/>
                  <a:gd name="connsiteY44" fmla="*/ 97641 h 987801"/>
                  <a:gd name="connsiteX45" fmla="*/ 1859687 w 3344126"/>
                  <a:gd name="connsiteY45" fmla="*/ 123041 h 987801"/>
                  <a:gd name="connsiteX46" fmla="*/ 1973987 w 3344126"/>
                  <a:gd name="connsiteY46" fmla="*/ 103991 h 987801"/>
                  <a:gd name="connsiteX47" fmla="*/ 2024787 w 3344126"/>
                  <a:gd name="connsiteY47" fmla="*/ 119866 h 987801"/>
                  <a:gd name="connsiteX48" fmla="*/ 2145437 w 3344126"/>
                  <a:gd name="connsiteY48" fmla="*/ 145266 h 987801"/>
                  <a:gd name="connsiteX49" fmla="*/ 2224812 w 3344126"/>
                  <a:gd name="connsiteY49" fmla="*/ 129391 h 987801"/>
                  <a:gd name="connsiteX50" fmla="*/ 2389912 w 3344126"/>
                  <a:gd name="connsiteY50" fmla="*/ 183366 h 987801"/>
                  <a:gd name="connsiteX51" fmla="*/ 2488337 w 3344126"/>
                  <a:gd name="connsiteY51" fmla="*/ 234166 h 987801"/>
                  <a:gd name="connsiteX52" fmla="*/ 2618512 w 3344126"/>
                  <a:gd name="connsiteY52" fmla="*/ 259566 h 987801"/>
                  <a:gd name="connsiteX53" fmla="*/ 2742337 w 3344126"/>
                  <a:gd name="connsiteY53" fmla="*/ 250041 h 987801"/>
                  <a:gd name="connsiteX54" fmla="*/ 2824887 w 3344126"/>
                  <a:gd name="connsiteY54" fmla="*/ 256391 h 987801"/>
                  <a:gd name="connsiteX55" fmla="*/ 2920137 w 3344126"/>
                  <a:gd name="connsiteY55" fmla="*/ 284966 h 987801"/>
                  <a:gd name="connsiteX56" fmla="*/ 2980462 w 3344126"/>
                  <a:gd name="connsiteY56" fmla="*/ 313541 h 987801"/>
                  <a:gd name="connsiteX57" fmla="*/ 3012212 w 3344126"/>
                  <a:gd name="connsiteY57" fmla="*/ 313541 h 987801"/>
                  <a:gd name="connsiteX58" fmla="*/ 3040787 w 3344126"/>
                  <a:gd name="connsiteY58" fmla="*/ 338941 h 987801"/>
                  <a:gd name="connsiteX59" fmla="*/ 3091587 w 3344126"/>
                  <a:gd name="connsiteY59" fmla="*/ 335766 h 987801"/>
                  <a:gd name="connsiteX60" fmla="*/ 3155087 w 3344126"/>
                  <a:gd name="connsiteY60" fmla="*/ 383391 h 987801"/>
                  <a:gd name="connsiteX61" fmla="*/ 3202712 w 3344126"/>
                  <a:gd name="connsiteY61" fmla="*/ 377041 h 987801"/>
                  <a:gd name="connsiteX62" fmla="*/ 3240812 w 3344126"/>
                  <a:gd name="connsiteY62" fmla="*/ 399266 h 987801"/>
                  <a:gd name="connsiteX63" fmla="*/ 3291612 w 3344126"/>
                  <a:gd name="connsiteY63" fmla="*/ 431016 h 987801"/>
                  <a:gd name="connsiteX64" fmla="*/ 3275737 w 3344126"/>
                  <a:gd name="connsiteY64" fmla="*/ 465941 h 987801"/>
                  <a:gd name="connsiteX65" fmla="*/ 3278912 w 3344126"/>
                  <a:gd name="connsiteY65" fmla="*/ 513566 h 987801"/>
                  <a:gd name="connsiteX66" fmla="*/ 3326537 w 3344126"/>
                  <a:gd name="connsiteY66" fmla="*/ 523091 h 987801"/>
                  <a:gd name="connsiteX67" fmla="*/ 3161736 w 3344126"/>
                  <a:gd name="connsiteY67" fmla="*/ 567541 h 987801"/>
                  <a:gd name="connsiteX68" fmla="*/ 3197913 w 3344126"/>
                  <a:gd name="connsiteY68" fmla="*/ 624691 h 987801"/>
                  <a:gd name="connsiteX69" fmla="*/ 3252722 w 3344126"/>
                  <a:gd name="connsiteY69" fmla="*/ 646988 h 987801"/>
                  <a:gd name="connsiteX70" fmla="*/ 3255898 w 3344126"/>
                  <a:gd name="connsiteY70" fmla="*/ 710272 h 987801"/>
                  <a:gd name="connsiteX71" fmla="*/ 3305400 w 3344126"/>
                  <a:gd name="connsiteY71" fmla="*/ 780050 h 987801"/>
                  <a:gd name="connsiteX72" fmla="*/ 3344126 w 3344126"/>
                  <a:gd name="connsiteY72" fmla="*/ 987801 h 987801"/>
                  <a:gd name="connsiteX0" fmla="*/ 18187 w 3344126"/>
                  <a:gd name="connsiteY0" fmla="*/ 262741 h 987801"/>
                  <a:gd name="connsiteX1" fmla="*/ 40412 w 3344126"/>
                  <a:gd name="connsiteY1" fmla="*/ 319891 h 987801"/>
                  <a:gd name="connsiteX2" fmla="*/ 11837 w 3344126"/>
                  <a:gd name="connsiteY2" fmla="*/ 472291 h 987801"/>
                  <a:gd name="connsiteX3" fmla="*/ 2312 w 3344126"/>
                  <a:gd name="connsiteY3" fmla="*/ 564366 h 987801"/>
                  <a:gd name="connsiteX4" fmla="*/ 53112 w 3344126"/>
                  <a:gd name="connsiteY4" fmla="*/ 577066 h 987801"/>
                  <a:gd name="connsiteX5" fmla="*/ 84862 w 3344126"/>
                  <a:gd name="connsiteY5" fmla="*/ 570716 h 987801"/>
                  <a:gd name="connsiteX6" fmla="*/ 154712 w 3344126"/>
                  <a:gd name="connsiteY6" fmla="*/ 611991 h 987801"/>
                  <a:gd name="connsiteX7" fmla="*/ 205512 w 3344126"/>
                  <a:gd name="connsiteY7" fmla="*/ 602466 h 987801"/>
                  <a:gd name="connsiteX8" fmla="*/ 262662 w 3344126"/>
                  <a:gd name="connsiteY8" fmla="*/ 621516 h 987801"/>
                  <a:gd name="connsiteX9" fmla="*/ 269012 w 3344126"/>
                  <a:gd name="connsiteY9" fmla="*/ 659616 h 987801"/>
                  <a:gd name="connsiteX10" fmla="*/ 310287 w 3344126"/>
                  <a:gd name="connsiteY10" fmla="*/ 665966 h 987801"/>
                  <a:gd name="connsiteX11" fmla="*/ 332512 w 3344126"/>
                  <a:gd name="connsiteY11" fmla="*/ 719941 h 987801"/>
                  <a:gd name="connsiteX12" fmla="*/ 322987 w 3344126"/>
                  <a:gd name="connsiteY12" fmla="*/ 786616 h 987801"/>
                  <a:gd name="connsiteX13" fmla="*/ 342037 w 3344126"/>
                  <a:gd name="connsiteY13" fmla="*/ 843766 h 987801"/>
                  <a:gd name="connsiteX14" fmla="*/ 351562 w 3344126"/>
                  <a:gd name="connsiteY14" fmla="*/ 891391 h 987801"/>
                  <a:gd name="connsiteX15" fmla="*/ 389662 w 3344126"/>
                  <a:gd name="connsiteY15" fmla="*/ 932666 h 987801"/>
                  <a:gd name="connsiteX16" fmla="*/ 434112 w 3344126"/>
                  <a:gd name="connsiteY16" fmla="*/ 919966 h 987801"/>
                  <a:gd name="connsiteX17" fmla="*/ 465862 w 3344126"/>
                  <a:gd name="connsiteY17" fmla="*/ 935841 h 987801"/>
                  <a:gd name="connsiteX18" fmla="*/ 532537 w 3344126"/>
                  <a:gd name="connsiteY18" fmla="*/ 869166 h 987801"/>
                  <a:gd name="connsiteX19" fmla="*/ 583337 w 3344126"/>
                  <a:gd name="connsiteY19" fmla="*/ 805666 h 987801"/>
                  <a:gd name="connsiteX20" fmla="*/ 637312 w 3344126"/>
                  <a:gd name="connsiteY20" fmla="*/ 802491 h 987801"/>
                  <a:gd name="connsiteX21" fmla="*/ 656362 w 3344126"/>
                  <a:gd name="connsiteY21" fmla="*/ 767566 h 987801"/>
                  <a:gd name="connsiteX22" fmla="*/ 767487 w 3344126"/>
                  <a:gd name="connsiteY22" fmla="*/ 716766 h 987801"/>
                  <a:gd name="connsiteX23" fmla="*/ 875437 w 3344126"/>
                  <a:gd name="connsiteY23" fmla="*/ 542141 h 987801"/>
                  <a:gd name="connsiteX24" fmla="*/ 850037 w 3344126"/>
                  <a:gd name="connsiteY24" fmla="*/ 472291 h 987801"/>
                  <a:gd name="connsiteX25" fmla="*/ 888137 w 3344126"/>
                  <a:gd name="connsiteY25" fmla="*/ 402441 h 987801"/>
                  <a:gd name="connsiteX26" fmla="*/ 878612 w 3344126"/>
                  <a:gd name="connsiteY26" fmla="*/ 361166 h 987801"/>
                  <a:gd name="connsiteX27" fmla="*/ 932587 w 3344126"/>
                  <a:gd name="connsiteY27" fmla="*/ 329416 h 987801"/>
                  <a:gd name="connsiteX28" fmla="*/ 989737 w 3344126"/>
                  <a:gd name="connsiteY28" fmla="*/ 284966 h 987801"/>
                  <a:gd name="connsiteX29" fmla="*/ 1088162 w 3344126"/>
                  <a:gd name="connsiteY29" fmla="*/ 265916 h 987801"/>
                  <a:gd name="connsiteX30" fmla="*/ 1129437 w 3344126"/>
                  <a:gd name="connsiteY30" fmla="*/ 183366 h 987801"/>
                  <a:gd name="connsiteX31" fmla="*/ 1148487 w 3344126"/>
                  <a:gd name="connsiteY31" fmla="*/ 97641 h 987801"/>
                  <a:gd name="connsiteX32" fmla="*/ 1148487 w 3344126"/>
                  <a:gd name="connsiteY32" fmla="*/ 53191 h 987801"/>
                  <a:gd name="connsiteX33" fmla="*/ 1211987 w 3344126"/>
                  <a:gd name="connsiteY33" fmla="*/ 50016 h 987801"/>
                  <a:gd name="connsiteX34" fmla="*/ 1259612 w 3344126"/>
                  <a:gd name="connsiteY34" fmla="*/ 27791 h 987801"/>
                  <a:gd name="connsiteX35" fmla="*/ 1304062 w 3344126"/>
                  <a:gd name="connsiteY35" fmla="*/ 21441 h 987801"/>
                  <a:gd name="connsiteX36" fmla="*/ 1358037 w 3344126"/>
                  <a:gd name="connsiteY36" fmla="*/ 2391 h 987801"/>
                  <a:gd name="connsiteX37" fmla="*/ 1402487 w 3344126"/>
                  <a:gd name="connsiteY37" fmla="*/ 5566 h 987801"/>
                  <a:gd name="connsiteX38" fmla="*/ 1491387 w 3344126"/>
                  <a:gd name="connsiteY38" fmla="*/ 50016 h 987801"/>
                  <a:gd name="connsiteX39" fmla="*/ 1542187 w 3344126"/>
                  <a:gd name="connsiteY39" fmla="*/ 40491 h 987801"/>
                  <a:gd name="connsiteX40" fmla="*/ 1580287 w 3344126"/>
                  <a:gd name="connsiteY40" fmla="*/ 62716 h 987801"/>
                  <a:gd name="connsiteX41" fmla="*/ 1634262 w 3344126"/>
                  <a:gd name="connsiteY41" fmla="*/ 94466 h 987801"/>
                  <a:gd name="connsiteX42" fmla="*/ 1713637 w 3344126"/>
                  <a:gd name="connsiteY42" fmla="*/ 116691 h 987801"/>
                  <a:gd name="connsiteX43" fmla="*/ 1764437 w 3344126"/>
                  <a:gd name="connsiteY43" fmla="*/ 91291 h 987801"/>
                  <a:gd name="connsiteX44" fmla="*/ 1815237 w 3344126"/>
                  <a:gd name="connsiteY44" fmla="*/ 97641 h 987801"/>
                  <a:gd name="connsiteX45" fmla="*/ 1859687 w 3344126"/>
                  <a:gd name="connsiteY45" fmla="*/ 123041 h 987801"/>
                  <a:gd name="connsiteX46" fmla="*/ 1973987 w 3344126"/>
                  <a:gd name="connsiteY46" fmla="*/ 103991 h 987801"/>
                  <a:gd name="connsiteX47" fmla="*/ 2024787 w 3344126"/>
                  <a:gd name="connsiteY47" fmla="*/ 119866 h 987801"/>
                  <a:gd name="connsiteX48" fmla="*/ 2145437 w 3344126"/>
                  <a:gd name="connsiteY48" fmla="*/ 145266 h 987801"/>
                  <a:gd name="connsiteX49" fmla="*/ 2224812 w 3344126"/>
                  <a:gd name="connsiteY49" fmla="*/ 129391 h 987801"/>
                  <a:gd name="connsiteX50" fmla="*/ 2389912 w 3344126"/>
                  <a:gd name="connsiteY50" fmla="*/ 183366 h 987801"/>
                  <a:gd name="connsiteX51" fmla="*/ 2488337 w 3344126"/>
                  <a:gd name="connsiteY51" fmla="*/ 234166 h 987801"/>
                  <a:gd name="connsiteX52" fmla="*/ 2618512 w 3344126"/>
                  <a:gd name="connsiteY52" fmla="*/ 259566 h 987801"/>
                  <a:gd name="connsiteX53" fmla="*/ 2742337 w 3344126"/>
                  <a:gd name="connsiteY53" fmla="*/ 250041 h 987801"/>
                  <a:gd name="connsiteX54" fmla="*/ 2824887 w 3344126"/>
                  <a:gd name="connsiteY54" fmla="*/ 256391 h 987801"/>
                  <a:gd name="connsiteX55" fmla="*/ 2920137 w 3344126"/>
                  <a:gd name="connsiteY55" fmla="*/ 284966 h 987801"/>
                  <a:gd name="connsiteX56" fmla="*/ 2980462 w 3344126"/>
                  <a:gd name="connsiteY56" fmla="*/ 313541 h 987801"/>
                  <a:gd name="connsiteX57" fmla="*/ 3012212 w 3344126"/>
                  <a:gd name="connsiteY57" fmla="*/ 313541 h 987801"/>
                  <a:gd name="connsiteX58" fmla="*/ 3040787 w 3344126"/>
                  <a:gd name="connsiteY58" fmla="*/ 338941 h 987801"/>
                  <a:gd name="connsiteX59" fmla="*/ 3091587 w 3344126"/>
                  <a:gd name="connsiteY59" fmla="*/ 335766 h 987801"/>
                  <a:gd name="connsiteX60" fmla="*/ 3155087 w 3344126"/>
                  <a:gd name="connsiteY60" fmla="*/ 383391 h 987801"/>
                  <a:gd name="connsiteX61" fmla="*/ 3202712 w 3344126"/>
                  <a:gd name="connsiteY61" fmla="*/ 377041 h 987801"/>
                  <a:gd name="connsiteX62" fmla="*/ 3240812 w 3344126"/>
                  <a:gd name="connsiteY62" fmla="*/ 399266 h 987801"/>
                  <a:gd name="connsiteX63" fmla="*/ 3291612 w 3344126"/>
                  <a:gd name="connsiteY63" fmla="*/ 431016 h 987801"/>
                  <a:gd name="connsiteX64" fmla="*/ 3275737 w 3344126"/>
                  <a:gd name="connsiteY64" fmla="*/ 465941 h 987801"/>
                  <a:gd name="connsiteX65" fmla="*/ 3278912 w 3344126"/>
                  <a:gd name="connsiteY65" fmla="*/ 513566 h 987801"/>
                  <a:gd name="connsiteX66" fmla="*/ 3169129 w 3344126"/>
                  <a:gd name="connsiteY66" fmla="*/ 523091 h 987801"/>
                  <a:gd name="connsiteX67" fmla="*/ 3161736 w 3344126"/>
                  <a:gd name="connsiteY67" fmla="*/ 567541 h 987801"/>
                  <a:gd name="connsiteX68" fmla="*/ 3197913 w 3344126"/>
                  <a:gd name="connsiteY68" fmla="*/ 624691 h 987801"/>
                  <a:gd name="connsiteX69" fmla="*/ 3252722 w 3344126"/>
                  <a:gd name="connsiteY69" fmla="*/ 646988 h 987801"/>
                  <a:gd name="connsiteX70" fmla="*/ 3255898 w 3344126"/>
                  <a:gd name="connsiteY70" fmla="*/ 710272 h 987801"/>
                  <a:gd name="connsiteX71" fmla="*/ 3305400 w 3344126"/>
                  <a:gd name="connsiteY71" fmla="*/ 780050 h 987801"/>
                  <a:gd name="connsiteX72" fmla="*/ 3344126 w 3344126"/>
                  <a:gd name="connsiteY72" fmla="*/ 987801 h 987801"/>
                  <a:gd name="connsiteX0" fmla="*/ 18187 w 3344126"/>
                  <a:gd name="connsiteY0" fmla="*/ 262741 h 987801"/>
                  <a:gd name="connsiteX1" fmla="*/ 40412 w 3344126"/>
                  <a:gd name="connsiteY1" fmla="*/ 319891 h 987801"/>
                  <a:gd name="connsiteX2" fmla="*/ 11837 w 3344126"/>
                  <a:gd name="connsiteY2" fmla="*/ 472291 h 987801"/>
                  <a:gd name="connsiteX3" fmla="*/ 2312 w 3344126"/>
                  <a:gd name="connsiteY3" fmla="*/ 564366 h 987801"/>
                  <a:gd name="connsiteX4" fmla="*/ 53112 w 3344126"/>
                  <a:gd name="connsiteY4" fmla="*/ 577066 h 987801"/>
                  <a:gd name="connsiteX5" fmla="*/ 84862 w 3344126"/>
                  <a:gd name="connsiteY5" fmla="*/ 570716 h 987801"/>
                  <a:gd name="connsiteX6" fmla="*/ 154712 w 3344126"/>
                  <a:gd name="connsiteY6" fmla="*/ 611991 h 987801"/>
                  <a:gd name="connsiteX7" fmla="*/ 205512 w 3344126"/>
                  <a:gd name="connsiteY7" fmla="*/ 602466 h 987801"/>
                  <a:gd name="connsiteX8" fmla="*/ 262662 w 3344126"/>
                  <a:gd name="connsiteY8" fmla="*/ 621516 h 987801"/>
                  <a:gd name="connsiteX9" fmla="*/ 269012 w 3344126"/>
                  <a:gd name="connsiteY9" fmla="*/ 659616 h 987801"/>
                  <a:gd name="connsiteX10" fmla="*/ 310287 w 3344126"/>
                  <a:gd name="connsiteY10" fmla="*/ 665966 h 987801"/>
                  <a:gd name="connsiteX11" fmla="*/ 332512 w 3344126"/>
                  <a:gd name="connsiteY11" fmla="*/ 719941 h 987801"/>
                  <a:gd name="connsiteX12" fmla="*/ 322987 w 3344126"/>
                  <a:gd name="connsiteY12" fmla="*/ 786616 h 987801"/>
                  <a:gd name="connsiteX13" fmla="*/ 342037 w 3344126"/>
                  <a:gd name="connsiteY13" fmla="*/ 843766 h 987801"/>
                  <a:gd name="connsiteX14" fmla="*/ 351562 w 3344126"/>
                  <a:gd name="connsiteY14" fmla="*/ 891391 h 987801"/>
                  <a:gd name="connsiteX15" fmla="*/ 389662 w 3344126"/>
                  <a:gd name="connsiteY15" fmla="*/ 932666 h 987801"/>
                  <a:gd name="connsiteX16" fmla="*/ 434112 w 3344126"/>
                  <a:gd name="connsiteY16" fmla="*/ 919966 h 987801"/>
                  <a:gd name="connsiteX17" fmla="*/ 465862 w 3344126"/>
                  <a:gd name="connsiteY17" fmla="*/ 935841 h 987801"/>
                  <a:gd name="connsiteX18" fmla="*/ 532537 w 3344126"/>
                  <a:gd name="connsiteY18" fmla="*/ 869166 h 987801"/>
                  <a:gd name="connsiteX19" fmla="*/ 583337 w 3344126"/>
                  <a:gd name="connsiteY19" fmla="*/ 805666 h 987801"/>
                  <a:gd name="connsiteX20" fmla="*/ 637312 w 3344126"/>
                  <a:gd name="connsiteY20" fmla="*/ 802491 h 987801"/>
                  <a:gd name="connsiteX21" fmla="*/ 656362 w 3344126"/>
                  <a:gd name="connsiteY21" fmla="*/ 767566 h 987801"/>
                  <a:gd name="connsiteX22" fmla="*/ 767487 w 3344126"/>
                  <a:gd name="connsiteY22" fmla="*/ 716766 h 987801"/>
                  <a:gd name="connsiteX23" fmla="*/ 875437 w 3344126"/>
                  <a:gd name="connsiteY23" fmla="*/ 542141 h 987801"/>
                  <a:gd name="connsiteX24" fmla="*/ 850037 w 3344126"/>
                  <a:gd name="connsiteY24" fmla="*/ 472291 h 987801"/>
                  <a:gd name="connsiteX25" fmla="*/ 888137 w 3344126"/>
                  <a:gd name="connsiteY25" fmla="*/ 402441 h 987801"/>
                  <a:gd name="connsiteX26" fmla="*/ 878612 w 3344126"/>
                  <a:gd name="connsiteY26" fmla="*/ 361166 h 987801"/>
                  <a:gd name="connsiteX27" fmla="*/ 932587 w 3344126"/>
                  <a:gd name="connsiteY27" fmla="*/ 329416 h 987801"/>
                  <a:gd name="connsiteX28" fmla="*/ 989737 w 3344126"/>
                  <a:gd name="connsiteY28" fmla="*/ 284966 h 987801"/>
                  <a:gd name="connsiteX29" fmla="*/ 1088162 w 3344126"/>
                  <a:gd name="connsiteY29" fmla="*/ 265916 h 987801"/>
                  <a:gd name="connsiteX30" fmla="*/ 1129437 w 3344126"/>
                  <a:gd name="connsiteY30" fmla="*/ 183366 h 987801"/>
                  <a:gd name="connsiteX31" fmla="*/ 1148487 w 3344126"/>
                  <a:gd name="connsiteY31" fmla="*/ 97641 h 987801"/>
                  <a:gd name="connsiteX32" fmla="*/ 1148487 w 3344126"/>
                  <a:gd name="connsiteY32" fmla="*/ 53191 h 987801"/>
                  <a:gd name="connsiteX33" fmla="*/ 1211987 w 3344126"/>
                  <a:gd name="connsiteY33" fmla="*/ 50016 h 987801"/>
                  <a:gd name="connsiteX34" fmla="*/ 1259612 w 3344126"/>
                  <a:gd name="connsiteY34" fmla="*/ 27791 h 987801"/>
                  <a:gd name="connsiteX35" fmla="*/ 1304062 w 3344126"/>
                  <a:gd name="connsiteY35" fmla="*/ 21441 h 987801"/>
                  <a:gd name="connsiteX36" fmla="*/ 1358037 w 3344126"/>
                  <a:gd name="connsiteY36" fmla="*/ 2391 h 987801"/>
                  <a:gd name="connsiteX37" fmla="*/ 1402487 w 3344126"/>
                  <a:gd name="connsiteY37" fmla="*/ 5566 h 987801"/>
                  <a:gd name="connsiteX38" fmla="*/ 1491387 w 3344126"/>
                  <a:gd name="connsiteY38" fmla="*/ 50016 h 987801"/>
                  <a:gd name="connsiteX39" fmla="*/ 1542187 w 3344126"/>
                  <a:gd name="connsiteY39" fmla="*/ 40491 h 987801"/>
                  <a:gd name="connsiteX40" fmla="*/ 1580287 w 3344126"/>
                  <a:gd name="connsiteY40" fmla="*/ 62716 h 987801"/>
                  <a:gd name="connsiteX41" fmla="*/ 1634262 w 3344126"/>
                  <a:gd name="connsiteY41" fmla="*/ 94466 h 987801"/>
                  <a:gd name="connsiteX42" fmla="*/ 1713637 w 3344126"/>
                  <a:gd name="connsiteY42" fmla="*/ 116691 h 987801"/>
                  <a:gd name="connsiteX43" fmla="*/ 1764437 w 3344126"/>
                  <a:gd name="connsiteY43" fmla="*/ 91291 h 987801"/>
                  <a:gd name="connsiteX44" fmla="*/ 1815237 w 3344126"/>
                  <a:gd name="connsiteY44" fmla="*/ 97641 h 987801"/>
                  <a:gd name="connsiteX45" fmla="*/ 1859687 w 3344126"/>
                  <a:gd name="connsiteY45" fmla="*/ 123041 h 987801"/>
                  <a:gd name="connsiteX46" fmla="*/ 1973987 w 3344126"/>
                  <a:gd name="connsiteY46" fmla="*/ 103991 h 987801"/>
                  <a:gd name="connsiteX47" fmla="*/ 2024787 w 3344126"/>
                  <a:gd name="connsiteY47" fmla="*/ 119866 h 987801"/>
                  <a:gd name="connsiteX48" fmla="*/ 2145437 w 3344126"/>
                  <a:gd name="connsiteY48" fmla="*/ 145266 h 987801"/>
                  <a:gd name="connsiteX49" fmla="*/ 2224812 w 3344126"/>
                  <a:gd name="connsiteY49" fmla="*/ 129391 h 987801"/>
                  <a:gd name="connsiteX50" fmla="*/ 2389912 w 3344126"/>
                  <a:gd name="connsiteY50" fmla="*/ 183366 h 987801"/>
                  <a:gd name="connsiteX51" fmla="*/ 2488337 w 3344126"/>
                  <a:gd name="connsiteY51" fmla="*/ 234166 h 987801"/>
                  <a:gd name="connsiteX52" fmla="*/ 2618512 w 3344126"/>
                  <a:gd name="connsiteY52" fmla="*/ 259566 h 987801"/>
                  <a:gd name="connsiteX53" fmla="*/ 2742337 w 3344126"/>
                  <a:gd name="connsiteY53" fmla="*/ 250041 h 987801"/>
                  <a:gd name="connsiteX54" fmla="*/ 2824887 w 3344126"/>
                  <a:gd name="connsiteY54" fmla="*/ 256391 h 987801"/>
                  <a:gd name="connsiteX55" fmla="*/ 2920137 w 3344126"/>
                  <a:gd name="connsiteY55" fmla="*/ 284966 h 987801"/>
                  <a:gd name="connsiteX56" fmla="*/ 2980462 w 3344126"/>
                  <a:gd name="connsiteY56" fmla="*/ 313541 h 987801"/>
                  <a:gd name="connsiteX57" fmla="*/ 3012212 w 3344126"/>
                  <a:gd name="connsiteY57" fmla="*/ 313541 h 987801"/>
                  <a:gd name="connsiteX58" fmla="*/ 3040787 w 3344126"/>
                  <a:gd name="connsiteY58" fmla="*/ 338941 h 987801"/>
                  <a:gd name="connsiteX59" fmla="*/ 3091587 w 3344126"/>
                  <a:gd name="connsiteY59" fmla="*/ 335766 h 987801"/>
                  <a:gd name="connsiteX60" fmla="*/ 3155087 w 3344126"/>
                  <a:gd name="connsiteY60" fmla="*/ 383391 h 987801"/>
                  <a:gd name="connsiteX61" fmla="*/ 3202712 w 3344126"/>
                  <a:gd name="connsiteY61" fmla="*/ 377041 h 987801"/>
                  <a:gd name="connsiteX62" fmla="*/ 3240812 w 3344126"/>
                  <a:gd name="connsiteY62" fmla="*/ 399266 h 987801"/>
                  <a:gd name="connsiteX63" fmla="*/ 3291612 w 3344126"/>
                  <a:gd name="connsiteY63" fmla="*/ 431016 h 987801"/>
                  <a:gd name="connsiteX64" fmla="*/ 3275737 w 3344126"/>
                  <a:gd name="connsiteY64" fmla="*/ 465941 h 987801"/>
                  <a:gd name="connsiteX65" fmla="*/ 3169129 w 3344126"/>
                  <a:gd name="connsiteY65" fmla="*/ 523091 h 987801"/>
                  <a:gd name="connsiteX66" fmla="*/ 3161736 w 3344126"/>
                  <a:gd name="connsiteY66" fmla="*/ 567541 h 987801"/>
                  <a:gd name="connsiteX67" fmla="*/ 3197913 w 3344126"/>
                  <a:gd name="connsiteY67" fmla="*/ 624691 h 987801"/>
                  <a:gd name="connsiteX68" fmla="*/ 3252722 w 3344126"/>
                  <a:gd name="connsiteY68" fmla="*/ 646988 h 987801"/>
                  <a:gd name="connsiteX69" fmla="*/ 3255898 w 3344126"/>
                  <a:gd name="connsiteY69" fmla="*/ 710272 h 987801"/>
                  <a:gd name="connsiteX70" fmla="*/ 3305400 w 3344126"/>
                  <a:gd name="connsiteY70" fmla="*/ 780050 h 987801"/>
                  <a:gd name="connsiteX71" fmla="*/ 3344126 w 3344126"/>
                  <a:gd name="connsiteY71" fmla="*/ 987801 h 987801"/>
                  <a:gd name="connsiteX0" fmla="*/ 18187 w 3344126"/>
                  <a:gd name="connsiteY0" fmla="*/ 262741 h 987801"/>
                  <a:gd name="connsiteX1" fmla="*/ 40412 w 3344126"/>
                  <a:gd name="connsiteY1" fmla="*/ 319891 h 987801"/>
                  <a:gd name="connsiteX2" fmla="*/ 11837 w 3344126"/>
                  <a:gd name="connsiteY2" fmla="*/ 472291 h 987801"/>
                  <a:gd name="connsiteX3" fmla="*/ 2312 w 3344126"/>
                  <a:gd name="connsiteY3" fmla="*/ 564366 h 987801"/>
                  <a:gd name="connsiteX4" fmla="*/ 53112 w 3344126"/>
                  <a:gd name="connsiteY4" fmla="*/ 577066 h 987801"/>
                  <a:gd name="connsiteX5" fmla="*/ 84862 w 3344126"/>
                  <a:gd name="connsiteY5" fmla="*/ 570716 h 987801"/>
                  <a:gd name="connsiteX6" fmla="*/ 154712 w 3344126"/>
                  <a:gd name="connsiteY6" fmla="*/ 611991 h 987801"/>
                  <a:gd name="connsiteX7" fmla="*/ 205512 w 3344126"/>
                  <a:gd name="connsiteY7" fmla="*/ 602466 h 987801"/>
                  <a:gd name="connsiteX8" fmla="*/ 262662 w 3344126"/>
                  <a:gd name="connsiteY8" fmla="*/ 621516 h 987801"/>
                  <a:gd name="connsiteX9" fmla="*/ 269012 w 3344126"/>
                  <a:gd name="connsiteY9" fmla="*/ 659616 h 987801"/>
                  <a:gd name="connsiteX10" fmla="*/ 310287 w 3344126"/>
                  <a:gd name="connsiteY10" fmla="*/ 665966 h 987801"/>
                  <a:gd name="connsiteX11" fmla="*/ 332512 w 3344126"/>
                  <a:gd name="connsiteY11" fmla="*/ 719941 h 987801"/>
                  <a:gd name="connsiteX12" fmla="*/ 322987 w 3344126"/>
                  <a:gd name="connsiteY12" fmla="*/ 786616 h 987801"/>
                  <a:gd name="connsiteX13" fmla="*/ 342037 w 3344126"/>
                  <a:gd name="connsiteY13" fmla="*/ 843766 h 987801"/>
                  <a:gd name="connsiteX14" fmla="*/ 351562 w 3344126"/>
                  <a:gd name="connsiteY14" fmla="*/ 891391 h 987801"/>
                  <a:gd name="connsiteX15" fmla="*/ 389662 w 3344126"/>
                  <a:gd name="connsiteY15" fmla="*/ 932666 h 987801"/>
                  <a:gd name="connsiteX16" fmla="*/ 434112 w 3344126"/>
                  <a:gd name="connsiteY16" fmla="*/ 919966 h 987801"/>
                  <a:gd name="connsiteX17" fmla="*/ 465862 w 3344126"/>
                  <a:gd name="connsiteY17" fmla="*/ 935841 h 987801"/>
                  <a:gd name="connsiteX18" fmla="*/ 532537 w 3344126"/>
                  <a:gd name="connsiteY18" fmla="*/ 869166 h 987801"/>
                  <a:gd name="connsiteX19" fmla="*/ 583337 w 3344126"/>
                  <a:gd name="connsiteY19" fmla="*/ 805666 h 987801"/>
                  <a:gd name="connsiteX20" fmla="*/ 637312 w 3344126"/>
                  <a:gd name="connsiteY20" fmla="*/ 802491 h 987801"/>
                  <a:gd name="connsiteX21" fmla="*/ 656362 w 3344126"/>
                  <a:gd name="connsiteY21" fmla="*/ 767566 h 987801"/>
                  <a:gd name="connsiteX22" fmla="*/ 767487 w 3344126"/>
                  <a:gd name="connsiteY22" fmla="*/ 716766 h 987801"/>
                  <a:gd name="connsiteX23" fmla="*/ 875437 w 3344126"/>
                  <a:gd name="connsiteY23" fmla="*/ 542141 h 987801"/>
                  <a:gd name="connsiteX24" fmla="*/ 850037 w 3344126"/>
                  <a:gd name="connsiteY24" fmla="*/ 472291 h 987801"/>
                  <a:gd name="connsiteX25" fmla="*/ 888137 w 3344126"/>
                  <a:gd name="connsiteY25" fmla="*/ 402441 h 987801"/>
                  <a:gd name="connsiteX26" fmla="*/ 878612 w 3344126"/>
                  <a:gd name="connsiteY26" fmla="*/ 361166 h 987801"/>
                  <a:gd name="connsiteX27" fmla="*/ 932587 w 3344126"/>
                  <a:gd name="connsiteY27" fmla="*/ 329416 h 987801"/>
                  <a:gd name="connsiteX28" fmla="*/ 989737 w 3344126"/>
                  <a:gd name="connsiteY28" fmla="*/ 284966 h 987801"/>
                  <a:gd name="connsiteX29" fmla="*/ 1088162 w 3344126"/>
                  <a:gd name="connsiteY29" fmla="*/ 265916 h 987801"/>
                  <a:gd name="connsiteX30" fmla="*/ 1129437 w 3344126"/>
                  <a:gd name="connsiteY30" fmla="*/ 183366 h 987801"/>
                  <a:gd name="connsiteX31" fmla="*/ 1148487 w 3344126"/>
                  <a:gd name="connsiteY31" fmla="*/ 97641 h 987801"/>
                  <a:gd name="connsiteX32" fmla="*/ 1148487 w 3344126"/>
                  <a:gd name="connsiteY32" fmla="*/ 53191 h 987801"/>
                  <a:gd name="connsiteX33" fmla="*/ 1211987 w 3344126"/>
                  <a:gd name="connsiteY33" fmla="*/ 50016 h 987801"/>
                  <a:gd name="connsiteX34" fmla="*/ 1259612 w 3344126"/>
                  <a:gd name="connsiteY34" fmla="*/ 27791 h 987801"/>
                  <a:gd name="connsiteX35" fmla="*/ 1304062 w 3344126"/>
                  <a:gd name="connsiteY35" fmla="*/ 21441 h 987801"/>
                  <a:gd name="connsiteX36" fmla="*/ 1358037 w 3344126"/>
                  <a:gd name="connsiteY36" fmla="*/ 2391 h 987801"/>
                  <a:gd name="connsiteX37" fmla="*/ 1402487 w 3344126"/>
                  <a:gd name="connsiteY37" fmla="*/ 5566 h 987801"/>
                  <a:gd name="connsiteX38" fmla="*/ 1491387 w 3344126"/>
                  <a:gd name="connsiteY38" fmla="*/ 50016 h 987801"/>
                  <a:gd name="connsiteX39" fmla="*/ 1542187 w 3344126"/>
                  <a:gd name="connsiteY39" fmla="*/ 40491 h 987801"/>
                  <a:gd name="connsiteX40" fmla="*/ 1580287 w 3344126"/>
                  <a:gd name="connsiteY40" fmla="*/ 62716 h 987801"/>
                  <a:gd name="connsiteX41" fmla="*/ 1634262 w 3344126"/>
                  <a:gd name="connsiteY41" fmla="*/ 94466 h 987801"/>
                  <a:gd name="connsiteX42" fmla="*/ 1713637 w 3344126"/>
                  <a:gd name="connsiteY42" fmla="*/ 116691 h 987801"/>
                  <a:gd name="connsiteX43" fmla="*/ 1764437 w 3344126"/>
                  <a:gd name="connsiteY43" fmla="*/ 91291 h 987801"/>
                  <a:gd name="connsiteX44" fmla="*/ 1815237 w 3344126"/>
                  <a:gd name="connsiteY44" fmla="*/ 97641 h 987801"/>
                  <a:gd name="connsiteX45" fmla="*/ 1859687 w 3344126"/>
                  <a:gd name="connsiteY45" fmla="*/ 123041 h 987801"/>
                  <a:gd name="connsiteX46" fmla="*/ 1973987 w 3344126"/>
                  <a:gd name="connsiteY46" fmla="*/ 103991 h 987801"/>
                  <a:gd name="connsiteX47" fmla="*/ 2024787 w 3344126"/>
                  <a:gd name="connsiteY47" fmla="*/ 119866 h 987801"/>
                  <a:gd name="connsiteX48" fmla="*/ 2145437 w 3344126"/>
                  <a:gd name="connsiteY48" fmla="*/ 145266 h 987801"/>
                  <a:gd name="connsiteX49" fmla="*/ 2224812 w 3344126"/>
                  <a:gd name="connsiteY49" fmla="*/ 129391 h 987801"/>
                  <a:gd name="connsiteX50" fmla="*/ 2389912 w 3344126"/>
                  <a:gd name="connsiteY50" fmla="*/ 183366 h 987801"/>
                  <a:gd name="connsiteX51" fmla="*/ 2488337 w 3344126"/>
                  <a:gd name="connsiteY51" fmla="*/ 234166 h 987801"/>
                  <a:gd name="connsiteX52" fmla="*/ 2618512 w 3344126"/>
                  <a:gd name="connsiteY52" fmla="*/ 259566 h 987801"/>
                  <a:gd name="connsiteX53" fmla="*/ 2742337 w 3344126"/>
                  <a:gd name="connsiteY53" fmla="*/ 250041 h 987801"/>
                  <a:gd name="connsiteX54" fmla="*/ 2824887 w 3344126"/>
                  <a:gd name="connsiteY54" fmla="*/ 256391 h 987801"/>
                  <a:gd name="connsiteX55" fmla="*/ 2920137 w 3344126"/>
                  <a:gd name="connsiteY55" fmla="*/ 284966 h 987801"/>
                  <a:gd name="connsiteX56" fmla="*/ 2980462 w 3344126"/>
                  <a:gd name="connsiteY56" fmla="*/ 313541 h 987801"/>
                  <a:gd name="connsiteX57" fmla="*/ 3012212 w 3344126"/>
                  <a:gd name="connsiteY57" fmla="*/ 313541 h 987801"/>
                  <a:gd name="connsiteX58" fmla="*/ 3040787 w 3344126"/>
                  <a:gd name="connsiteY58" fmla="*/ 338941 h 987801"/>
                  <a:gd name="connsiteX59" fmla="*/ 3091587 w 3344126"/>
                  <a:gd name="connsiteY59" fmla="*/ 335766 h 987801"/>
                  <a:gd name="connsiteX60" fmla="*/ 3155087 w 3344126"/>
                  <a:gd name="connsiteY60" fmla="*/ 383391 h 987801"/>
                  <a:gd name="connsiteX61" fmla="*/ 3202712 w 3344126"/>
                  <a:gd name="connsiteY61" fmla="*/ 377041 h 987801"/>
                  <a:gd name="connsiteX62" fmla="*/ 3240812 w 3344126"/>
                  <a:gd name="connsiteY62" fmla="*/ 399266 h 987801"/>
                  <a:gd name="connsiteX63" fmla="*/ 3291612 w 3344126"/>
                  <a:gd name="connsiteY63" fmla="*/ 431016 h 987801"/>
                  <a:gd name="connsiteX64" fmla="*/ 3169129 w 3344126"/>
                  <a:gd name="connsiteY64" fmla="*/ 523091 h 987801"/>
                  <a:gd name="connsiteX65" fmla="*/ 3161736 w 3344126"/>
                  <a:gd name="connsiteY65" fmla="*/ 567541 h 987801"/>
                  <a:gd name="connsiteX66" fmla="*/ 3197913 w 3344126"/>
                  <a:gd name="connsiteY66" fmla="*/ 624691 h 987801"/>
                  <a:gd name="connsiteX67" fmla="*/ 3252722 w 3344126"/>
                  <a:gd name="connsiteY67" fmla="*/ 646988 h 987801"/>
                  <a:gd name="connsiteX68" fmla="*/ 3255898 w 3344126"/>
                  <a:gd name="connsiteY68" fmla="*/ 710272 h 987801"/>
                  <a:gd name="connsiteX69" fmla="*/ 3305400 w 3344126"/>
                  <a:gd name="connsiteY69" fmla="*/ 780050 h 987801"/>
                  <a:gd name="connsiteX70" fmla="*/ 3344126 w 3344126"/>
                  <a:gd name="connsiteY70" fmla="*/ 987801 h 987801"/>
                  <a:gd name="connsiteX0" fmla="*/ 18187 w 3344126"/>
                  <a:gd name="connsiteY0" fmla="*/ 262741 h 987801"/>
                  <a:gd name="connsiteX1" fmla="*/ 40412 w 3344126"/>
                  <a:gd name="connsiteY1" fmla="*/ 319891 h 987801"/>
                  <a:gd name="connsiteX2" fmla="*/ 11837 w 3344126"/>
                  <a:gd name="connsiteY2" fmla="*/ 472291 h 987801"/>
                  <a:gd name="connsiteX3" fmla="*/ 2312 w 3344126"/>
                  <a:gd name="connsiteY3" fmla="*/ 564366 h 987801"/>
                  <a:gd name="connsiteX4" fmla="*/ 53112 w 3344126"/>
                  <a:gd name="connsiteY4" fmla="*/ 577066 h 987801"/>
                  <a:gd name="connsiteX5" fmla="*/ 84862 w 3344126"/>
                  <a:gd name="connsiteY5" fmla="*/ 570716 h 987801"/>
                  <a:gd name="connsiteX6" fmla="*/ 154712 w 3344126"/>
                  <a:gd name="connsiteY6" fmla="*/ 611991 h 987801"/>
                  <a:gd name="connsiteX7" fmla="*/ 205512 w 3344126"/>
                  <a:gd name="connsiteY7" fmla="*/ 602466 h 987801"/>
                  <a:gd name="connsiteX8" fmla="*/ 262662 w 3344126"/>
                  <a:gd name="connsiteY8" fmla="*/ 621516 h 987801"/>
                  <a:gd name="connsiteX9" fmla="*/ 269012 w 3344126"/>
                  <a:gd name="connsiteY9" fmla="*/ 659616 h 987801"/>
                  <a:gd name="connsiteX10" fmla="*/ 310287 w 3344126"/>
                  <a:gd name="connsiteY10" fmla="*/ 665966 h 987801"/>
                  <a:gd name="connsiteX11" fmla="*/ 332512 w 3344126"/>
                  <a:gd name="connsiteY11" fmla="*/ 719941 h 987801"/>
                  <a:gd name="connsiteX12" fmla="*/ 322987 w 3344126"/>
                  <a:gd name="connsiteY12" fmla="*/ 786616 h 987801"/>
                  <a:gd name="connsiteX13" fmla="*/ 342037 w 3344126"/>
                  <a:gd name="connsiteY13" fmla="*/ 843766 h 987801"/>
                  <a:gd name="connsiteX14" fmla="*/ 351562 w 3344126"/>
                  <a:gd name="connsiteY14" fmla="*/ 891391 h 987801"/>
                  <a:gd name="connsiteX15" fmla="*/ 389662 w 3344126"/>
                  <a:gd name="connsiteY15" fmla="*/ 932666 h 987801"/>
                  <a:gd name="connsiteX16" fmla="*/ 434112 w 3344126"/>
                  <a:gd name="connsiteY16" fmla="*/ 919966 h 987801"/>
                  <a:gd name="connsiteX17" fmla="*/ 465862 w 3344126"/>
                  <a:gd name="connsiteY17" fmla="*/ 935841 h 987801"/>
                  <a:gd name="connsiteX18" fmla="*/ 532537 w 3344126"/>
                  <a:gd name="connsiteY18" fmla="*/ 869166 h 987801"/>
                  <a:gd name="connsiteX19" fmla="*/ 583337 w 3344126"/>
                  <a:gd name="connsiteY19" fmla="*/ 805666 h 987801"/>
                  <a:gd name="connsiteX20" fmla="*/ 637312 w 3344126"/>
                  <a:gd name="connsiteY20" fmla="*/ 802491 h 987801"/>
                  <a:gd name="connsiteX21" fmla="*/ 656362 w 3344126"/>
                  <a:gd name="connsiteY21" fmla="*/ 767566 h 987801"/>
                  <a:gd name="connsiteX22" fmla="*/ 767487 w 3344126"/>
                  <a:gd name="connsiteY22" fmla="*/ 716766 h 987801"/>
                  <a:gd name="connsiteX23" fmla="*/ 875437 w 3344126"/>
                  <a:gd name="connsiteY23" fmla="*/ 542141 h 987801"/>
                  <a:gd name="connsiteX24" fmla="*/ 850037 w 3344126"/>
                  <a:gd name="connsiteY24" fmla="*/ 472291 h 987801"/>
                  <a:gd name="connsiteX25" fmla="*/ 888137 w 3344126"/>
                  <a:gd name="connsiteY25" fmla="*/ 402441 h 987801"/>
                  <a:gd name="connsiteX26" fmla="*/ 878612 w 3344126"/>
                  <a:gd name="connsiteY26" fmla="*/ 361166 h 987801"/>
                  <a:gd name="connsiteX27" fmla="*/ 932587 w 3344126"/>
                  <a:gd name="connsiteY27" fmla="*/ 329416 h 987801"/>
                  <a:gd name="connsiteX28" fmla="*/ 989737 w 3344126"/>
                  <a:gd name="connsiteY28" fmla="*/ 284966 h 987801"/>
                  <a:gd name="connsiteX29" fmla="*/ 1088162 w 3344126"/>
                  <a:gd name="connsiteY29" fmla="*/ 265916 h 987801"/>
                  <a:gd name="connsiteX30" fmla="*/ 1129437 w 3344126"/>
                  <a:gd name="connsiteY30" fmla="*/ 183366 h 987801"/>
                  <a:gd name="connsiteX31" fmla="*/ 1148487 w 3344126"/>
                  <a:gd name="connsiteY31" fmla="*/ 97641 h 987801"/>
                  <a:gd name="connsiteX32" fmla="*/ 1148487 w 3344126"/>
                  <a:gd name="connsiteY32" fmla="*/ 53191 h 987801"/>
                  <a:gd name="connsiteX33" fmla="*/ 1211987 w 3344126"/>
                  <a:gd name="connsiteY33" fmla="*/ 50016 h 987801"/>
                  <a:gd name="connsiteX34" fmla="*/ 1259612 w 3344126"/>
                  <a:gd name="connsiteY34" fmla="*/ 27791 h 987801"/>
                  <a:gd name="connsiteX35" fmla="*/ 1304062 w 3344126"/>
                  <a:gd name="connsiteY35" fmla="*/ 21441 h 987801"/>
                  <a:gd name="connsiteX36" fmla="*/ 1358037 w 3344126"/>
                  <a:gd name="connsiteY36" fmla="*/ 2391 h 987801"/>
                  <a:gd name="connsiteX37" fmla="*/ 1402487 w 3344126"/>
                  <a:gd name="connsiteY37" fmla="*/ 5566 h 987801"/>
                  <a:gd name="connsiteX38" fmla="*/ 1491387 w 3344126"/>
                  <a:gd name="connsiteY38" fmla="*/ 50016 h 987801"/>
                  <a:gd name="connsiteX39" fmla="*/ 1542187 w 3344126"/>
                  <a:gd name="connsiteY39" fmla="*/ 40491 h 987801"/>
                  <a:gd name="connsiteX40" fmla="*/ 1580287 w 3344126"/>
                  <a:gd name="connsiteY40" fmla="*/ 62716 h 987801"/>
                  <a:gd name="connsiteX41" fmla="*/ 1634262 w 3344126"/>
                  <a:gd name="connsiteY41" fmla="*/ 94466 h 987801"/>
                  <a:gd name="connsiteX42" fmla="*/ 1713637 w 3344126"/>
                  <a:gd name="connsiteY42" fmla="*/ 116691 h 987801"/>
                  <a:gd name="connsiteX43" fmla="*/ 1764437 w 3344126"/>
                  <a:gd name="connsiteY43" fmla="*/ 91291 h 987801"/>
                  <a:gd name="connsiteX44" fmla="*/ 1815237 w 3344126"/>
                  <a:gd name="connsiteY44" fmla="*/ 97641 h 987801"/>
                  <a:gd name="connsiteX45" fmla="*/ 1859687 w 3344126"/>
                  <a:gd name="connsiteY45" fmla="*/ 123041 h 987801"/>
                  <a:gd name="connsiteX46" fmla="*/ 1973987 w 3344126"/>
                  <a:gd name="connsiteY46" fmla="*/ 103991 h 987801"/>
                  <a:gd name="connsiteX47" fmla="*/ 2024787 w 3344126"/>
                  <a:gd name="connsiteY47" fmla="*/ 119866 h 987801"/>
                  <a:gd name="connsiteX48" fmla="*/ 2145437 w 3344126"/>
                  <a:gd name="connsiteY48" fmla="*/ 145266 h 987801"/>
                  <a:gd name="connsiteX49" fmla="*/ 2224812 w 3344126"/>
                  <a:gd name="connsiteY49" fmla="*/ 129391 h 987801"/>
                  <a:gd name="connsiteX50" fmla="*/ 2389912 w 3344126"/>
                  <a:gd name="connsiteY50" fmla="*/ 183366 h 987801"/>
                  <a:gd name="connsiteX51" fmla="*/ 2488337 w 3344126"/>
                  <a:gd name="connsiteY51" fmla="*/ 234166 h 987801"/>
                  <a:gd name="connsiteX52" fmla="*/ 2618512 w 3344126"/>
                  <a:gd name="connsiteY52" fmla="*/ 259566 h 987801"/>
                  <a:gd name="connsiteX53" fmla="*/ 2742337 w 3344126"/>
                  <a:gd name="connsiteY53" fmla="*/ 250041 h 987801"/>
                  <a:gd name="connsiteX54" fmla="*/ 2824887 w 3344126"/>
                  <a:gd name="connsiteY54" fmla="*/ 256391 h 987801"/>
                  <a:gd name="connsiteX55" fmla="*/ 2920137 w 3344126"/>
                  <a:gd name="connsiteY55" fmla="*/ 284966 h 987801"/>
                  <a:gd name="connsiteX56" fmla="*/ 2980462 w 3344126"/>
                  <a:gd name="connsiteY56" fmla="*/ 313541 h 987801"/>
                  <a:gd name="connsiteX57" fmla="*/ 3012212 w 3344126"/>
                  <a:gd name="connsiteY57" fmla="*/ 313541 h 987801"/>
                  <a:gd name="connsiteX58" fmla="*/ 3040787 w 3344126"/>
                  <a:gd name="connsiteY58" fmla="*/ 338941 h 987801"/>
                  <a:gd name="connsiteX59" fmla="*/ 3091587 w 3344126"/>
                  <a:gd name="connsiteY59" fmla="*/ 335766 h 987801"/>
                  <a:gd name="connsiteX60" fmla="*/ 3155087 w 3344126"/>
                  <a:gd name="connsiteY60" fmla="*/ 383391 h 987801"/>
                  <a:gd name="connsiteX61" fmla="*/ 3202712 w 3344126"/>
                  <a:gd name="connsiteY61" fmla="*/ 377041 h 987801"/>
                  <a:gd name="connsiteX62" fmla="*/ 3240812 w 3344126"/>
                  <a:gd name="connsiteY62" fmla="*/ 399266 h 987801"/>
                  <a:gd name="connsiteX63" fmla="*/ 3169129 w 3344126"/>
                  <a:gd name="connsiteY63" fmla="*/ 523091 h 987801"/>
                  <a:gd name="connsiteX64" fmla="*/ 3161736 w 3344126"/>
                  <a:gd name="connsiteY64" fmla="*/ 567541 h 987801"/>
                  <a:gd name="connsiteX65" fmla="*/ 3197913 w 3344126"/>
                  <a:gd name="connsiteY65" fmla="*/ 624691 h 987801"/>
                  <a:gd name="connsiteX66" fmla="*/ 3252722 w 3344126"/>
                  <a:gd name="connsiteY66" fmla="*/ 646988 h 987801"/>
                  <a:gd name="connsiteX67" fmla="*/ 3255898 w 3344126"/>
                  <a:gd name="connsiteY67" fmla="*/ 710272 h 987801"/>
                  <a:gd name="connsiteX68" fmla="*/ 3305400 w 3344126"/>
                  <a:gd name="connsiteY68" fmla="*/ 780050 h 987801"/>
                  <a:gd name="connsiteX69" fmla="*/ 3344126 w 3344126"/>
                  <a:gd name="connsiteY69" fmla="*/ 987801 h 987801"/>
                  <a:gd name="connsiteX0" fmla="*/ 18187 w 3344126"/>
                  <a:gd name="connsiteY0" fmla="*/ 262741 h 987801"/>
                  <a:gd name="connsiteX1" fmla="*/ 40412 w 3344126"/>
                  <a:gd name="connsiteY1" fmla="*/ 319891 h 987801"/>
                  <a:gd name="connsiteX2" fmla="*/ 11837 w 3344126"/>
                  <a:gd name="connsiteY2" fmla="*/ 472291 h 987801"/>
                  <a:gd name="connsiteX3" fmla="*/ 2312 w 3344126"/>
                  <a:gd name="connsiteY3" fmla="*/ 564366 h 987801"/>
                  <a:gd name="connsiteX4" fmla="*/ 53112 w 3344126"/>
                  <a:gd name="connsiteY4" fmla="*/ 577066 h 987801"/>
                  <a:gd name="connsiteX5" fmla="*/ 84862 w 3344126"/>
                  <a:gd name="connsiteY5" fmla="*/ 570716 h 987801"/>
                  <a:gd name="connsiteX6" fmla="*/ 154712 w 3344126"/>
                  <a:gd name="connsiteY6" fmla="*/ 611991 h 987801"/>
                  <a:gd name="connsiteX7" fmla="*/ 205512 w 3344126"/>
                  <a:gd name="connsiteY7" fmla="*/ 602466 h 987801"/>
                  <a:gd name="connsiteX8" fmla="*/ 262662 w 3344126"/>
                  <a:gd name="connsiteY8" fmla="*/ 621516 h 987801"/>
                  <a:gd name="connsiteX9" fmla="*/ 269012 w 3344126"/>
                  <a:gd name="connsiteY9" fmla="*/ 659616 h 987801"/>
                  <a:gd name="connsiteX10" fmla="*/ 310287 w 3344126"/>
                  <a:gd name="connsiteY10" fmla="*/ 665966 h 987801"/>
                  <a:gd name="connsiteX11" fmla="*/ 332512 w 3344126"/>
                  <a:gd name="connsiteY11" fmla="*/ 719941 h 987801"/>
                  <a:gd name="connsiteX12" fmla="*/ 322987 w 3344126"/>
                  <a:gd name="connsiteY12" fmla="*/ 786616 h 987801"/>
                  <a:gd name="connsiteX13" fmla="*/ 342037 w 3344126"/>
                  <a:gd name="connsiteY13" fmla="*/ 843766 h 987801"/>
                  <a:gd name="connsiteX14" fmla="*/ 351562 w 3344126"/>
                  <a:gd name="connsiteY14" fmla="*/ 891391 h 987801"/>
                  <a:gd name="connsiteX15" fmla="*/ 389662 w 3344126"/>
                  <a:gd name="connsiteY15" fmla="*/ 932666 h 987801"/>
                  <a:gd name="connsiteX16" fmla="*/ 434112 w 3344126"/>
                  <a:gd name="connsiteY16" fmla="*/ 919966 h 987801"/>
                  <a:gd name="connsiteX17" fmla="*/ 465862 w 3344126"/>
                  <a:gd name="connsiteY17" fmla="*/ 935841 h 987801"/>
                  <a:gd name="connsiteX18" fmla="*/ 532537 w 3344126"/>
                  <a:gd name="connsiteY18" fmla="*/ 869166 h 987801"/>
                  <a:gd name="connsiteX19" fmla="*/ 583337 w 3344126"/>
                  <a:gd name="connsiteY19" fmla="*/ 805666 h 987801"/>
                  <a:gd name="connsiteX20" fmla="*/ 637312 w 3344126"/>
                  <a:gd name="connsiteY20" fmla="*/ 802491 h 987801"/>
                  <a:gd name="connsiteX21" fmla="*/ 656362 w 3344126"/>
                  <a:gd name="connsiteY21" fmla="*/ 767566 h 987801"/>
                  <a:gd name="connsiteX22" fmla="*/ 767487 w 3344126"/>
                  <a:gd name="connsiteY22" fmla="*/ 716766 h 987801"/>
                  <a:gd name="connsiteX23" fmla="*/ 875437 w 3344126"/>
                  <a:gd name="connsiteY23" fmla="*/ 542141 h 987801"/>
                  <a:gd name="connsiteX24" fmla="*/ 850037 w 3344126"/>
                  <a:gd name="connsiteY24" fmla="*/ 472291 h 987801"/>
                  <a:gd name="connsiteX25" fmla="*/ 888137 w 3344126"/>
                  <a:gd name="connsiteY25" fmla="*/ 402441 h 987801"/>
                  <a:gd name="connsiteX26" fmla="*/ 878612 w 3344126"/>
                  <a:gd name="connsiteY26" fmla="*/ 361166 h 987801"/>
                  <a:gd name="connsiteX27" fmla="*/ 932587 w 3344126"/>
                  <a:gd name="connsiteY27" fmla="*/ 329416 h 987801"/>
                  <a:gd name="connsiteX28" fmla="*/ 989737 w 3344126"/>
                  <a:gd name="connsiteY28" fmla="*/ 284966 h 987801"/>
                  <a:gd name="connsiteX29" fmla="*/ 1088162 w 3344126"/>
                  <a:gd name="connsiteY29" fmla="*/ 265916 h 987801"/>
                  <a:gd name="connsiteX30" fmla="*/ 1129437 w 3344126"/>
                  <a:gd name="connsiteY30" fmla="*/ 183366 h 987801"/>
                  <a:gd name="connsiteX31" fmla="*/ 1148487 w 3344126"/>
                  <a:gd name="connsiteY31" fmla="*/ 97641 h 987801"/>
                  <a:gd name="connsiteX32" fmla="*/ 1148487 w 3344126"/>
                  <a:gd name="connsiteY32" fmla="*/ 53191 h 987801"/>
                  <a:gd name="connsiteX33" fmla="*/ 1211987 w 3344126"/>
                  <a:gd name="connsiteY33" fmla="*/ 50016 h 987801"/>
                  <a:gd name="connsiteX34" fmla="*/ 1259612 w 3344126"/>
                  <a:gd name="connsiteY34" fmla="*/ 27791 h 987801"/>
                  <a:gd name="connsiteX35" fmla="*/ 1304062 w 3344126"/>
                  <a:gd name="connsiteY35" fmla="*/ 21441 h 987801"/>
                  <a:gd name="connsiteX36" fmla="*/ 1358037 w 3344126"/>
                  <a:gd name="connsiteY36" fmla="*/ 2391 h 987801"/>
                  <a:gd name="connsiteX37" fmla="*/ 1402487 w 3344126"/>
                  <a:gd name="connsiteY37" fmla="*/ 5566 h 987801"/>
                  <a:gd name="connsiteX38" fmla="*/ 1491387 w 3344126"/>
                  <a:gd name="connsiteY38" fmla="*/ 50016 h 987801"/>
                  <a:gd name="connsiteX39" fmla="*/ 1542187 w 3344126"/>
                  <a:gd name="connsiteY39" fmla="*/ 40491 h 987801"/>
                  <a:gd name="connsiteX40" fmla="*/ 1580287 w 3344126"/>
                  <a:gd name="connsiteY40" fmla="*/ 62716 h 987801"/>
                  <a:gd name="connsiteX41" fmla="*/ 1634262 w 3344126"/>
                  <a:gd name="connsiteY41" fmla="*/ 94466 h 987801"/>
                  <a:gd name="connsiteX42" fmla="*/ 1713637 w 3344126"/>
                  <a:gd name="connsiteY42" fmla="*/ 116691 h 987801"/>
                  <a:gd name="connsiteX43" fmla="*/ 1764437 w 3344126"/>
                  <a:gd name="connsiteY43" fmla="*/ 91291 h 987801"/>
                  <a:gd name="connsiteX44" fmla="*/ 1815237 w 3344126"/>
                  <a:gd name="connsiteY44" fmla="*/ 97641 h 987801"/>
                  <a:gd name="connsiteX45" fmla="*/ 1859687 w 3344126"/>
                  <a:gd name="connsiteY45" fmla="*/ 123041 h 987801"/>
                  <a:gd name="connsiteX46" fmla="*/ 1973987 w 3344126"/>
                  <a:gd name="connsiteY46" fmla="*/ 103991 h 987801"/>
                  <a:gd name="connsiteX47" fmla="*/ 2024787 w 3344126"/>
                  <a:gd name="connsiteY47" fmla="*/ 119866 h 987801"/>
                  <a:gd name="connsiteX48" fmla="*/ 2145437 w 3344126"/>
                  <a:gd name="connsiteY48" fmla="*/ 145266 h 987801"/>
                  <a:gd name="connsiteX49" fmla="*/ 2224812 w 3344126"/>
                  <a:gd name="connsiteY49" fmla="*/ 129391 h 987801"/>
                  <a:gd name="connsiteX50" fmla="*/ 2389912 w 3344126"/>
                  <a:gd name="connsiteY50" fmla="*/ 183366 h 987801"/>
                  <a:gd name="connsiteX51" fmla="*/ 2488337 w 3344126"/>
                  <a:gd name="connsiteY51" fmla="*/ 234166 h 987801"/>
                  <a:gd name="connsiteX52" fmla="*/ 2618512 w 3344126"/>
                  <a:gd name="connsiteY52" fmla="*/ 259566 h 987801"/>
                  <a:gd name="connsiteX53" fmla="*/ 2742337 w 3344126"/>
                  <a:gd name="connsiteY53" fmla="*/ 250041 h 987801"/>
                  <a:gd name="connsiteX54" fmla="*/ 2824887 w 3344126"/>
                  <a:gd name="connsiteY54" fmla="*/ 256391 h 987801"/>
                  <a:gd name="connsiteX55" fmla="*/ 2920137 w 3344126"/>
                  <a:gd name="connsiteY55" fmla="*/ 284966 h 987801"/>
                  <a:gd name="connsiteX56" fmla="*/ 2980462 w 3344126"/>
                  <a:gd name="connsiteY56" fmla="*/ 313541 h 987801"/>
                  <a:gd name="connsiteX57" fmla="*/ 3012212 w 3344126"/>
                  <a:gd name="connsiteY57" fmla="*/ 313541 h 987801"/>
                  <a:gd name="connsiteX58" fmla="*/ 3040787 w 3344126"/>
                  <a:gd name="connsiteY58" fmla="*/ 338941 h 987801"/>
                  <a:gd name="connsiteX59" fmla="*/ 3091587 w 3344126"/>
                  <a:gd name="connsiteY59" fmla="*/ 335766 h 987801"/>
                  <a:gd name="connsiteX60" fmla="*/ 3155087 w 3344126"/>
                  <a:gd name="connsiteY60" fmla="*/ 383391 h 987801"/>
                  <a:gd name="connsiteX61" fmla="*/ 3240812 w 3344126"/>
                  <a:gd name="connsiteY61" fmla="*/ 399266 h 987801"/>
                  <a:gd name="connsiteX62" fmla="*/ 3169129 w 3344126"/>
                  <a:gd name="connsiteY62" fmla="*/ 523091 h 987801"/>
                  <a:gd name="connsiteX63" fmla="*/ 3161736 w 3344126"/>
                  <a:gd name="connsiteY63" fmla="*/ 567541 h 987801"/>
                  <a:gd name="connsiteX64" fmla="*/ 3197913 w 3344126"/>
                  <a:gd name="connsiteY64" fmla="*/ 624691 h 987801"/>
                  <a:gd name="connsiteX65" fmla="*/ 3252722 w 3344126"/>
                  <a:gd name="connsiteY65" fmla="*/ 646988 h 987801"/>
                  <a:gd name="connsiteX66" fmla="*/ 3255898 w 3344126"/>
                  <a:gd name="connsiteY66" fmla="*/ 710272 h 987801"/>
                  <a:gd name="connsiteX67" fmla="*/ 3305400 w 3344126"/>
                  <a:gd name="connsiteY67" fmla="*/ 780050 h 987801"/>
                  <a:gd name="connsiteX68" fmla="*/ 3344126 w 3344126"/>
                  <a:gd name="connsiteY68" fmla="*/ 987801 h 987801"/>
                  <a:gd name="connsiteX0" fmla="*/ 18187 w 3344126"/>
                  <a:gd name="connsiteY0" fmla="*/ 262741 h 987801"/>
                  <a:gd name="connsiteX1" fmla="*/ 40412 w 3344126"/>
                  <a:gd name="connsiteY1" fmla="*/ 319891 h 987801"/>
                  <a:gd name="connsiteX2" fmla="*/ 11837 w 3344126"/>
                  <a:gd name="connsiteY2" fmla="*/ 472291 h 987801"/>
                  <a:gd name="connsiteX3" fmla="*/ 2312 w 3344126"/>
                  <a:gd name="connsiteY3" fmla="*/ 564366 h 987801"/>
                  <a:gd name="connsiteX4" fmla="*/ 53112 w 3344126"/>
                  <a:gd name="connsiteY4" fmla="*/ 577066 h 987801"/>
                  <a:gd name="connsiteX5" fmla="*/ 84862 w 3344126"/>
                  <a:gd name="connsiteY5" fmla="*/ 570716 h 987801"/>
                  <a:gd name="connsiteX6" fmla="*/ 154712 w 3344126"/>
                  <a:gd name="connsiteY6" fmla="*/ 611991 h 987801"/>
                  <a:gd name="connsiteX7" fmla="*/ 205512 w 3344126"/>
                  <a:gd name="connsiteY7" fmla="*/ 602466 h 987801"/>
                  <a:gd name="connsiteX8" fmla="*/ 262662 w 3344126"/>
                  <a:gd name="connsiteY8" fmla="*/ 621516 h 987801"/>
                  <a:gd name="connsiteX9" fmla="*/ 269012 w 3344126"/>
                  <a:gd name="connsiteY9" fmla="*/ 659616 h 987801"/>
                  <a:gd name="connsiteX10" fmla="*/ 310287 w 3344126"/>
                  <a:gd name="connsiteY10" fmla="*/ 665966 h 987801"/>
                  <a:gd name="connsiteX11" fmla="*/ 332512 w 3344126"/>
                  <a:gd name="connsiteY11" fmla="*/ 719941 h 987801"/>
                  <a:gd name="connsiteX12" fmla="*/ 322987 w 3344126"/>
                  <a:gd name="connsiteY12" fmla="*/ 786616 h 987801"/>
                  <a:gd name="connsiteX13" fmla="*/ 342037 w 3344126"/>
                  <a:gd name="connsiteY13" fmla="*/ 843766 h 987801"/>
                  <a:gd name="connsiteX14" fmla="*/ 351562 w 3344126"/>
                  <a:gd name="connsiteY14" fmla="*/ 891391 h 987801"/>
                  <a:gd name="connsiteX15" fmla="*/ 389662 w 3344126"/>
                  <a:gd name="connsiteY15" fmla="*/ 932666 h 987801"/>
                  <a:gd name="connsiteX16" fmla="*/ 434112 w 3344126"/>
                  <a:gd name="connsiteY16" fmla="*/ 919966 h 987801"/>
                  <a:gd name="connsiteX17" fmla="*/ 465862 w 3344126"/>
                  <a:gd name="connsiteY17" fmla="*/ 935841 h 987801"/>
                  <a:gd name="connsiteX18" fmla="*/ 532537 w 3344126"/>
                  <a:gd name="connsiteY18" fmla="*/ 869166 h 987801"/>
                  <a:gd name="connsiteX19" fmla="*/ 583337 w 3344126"/>
                  <a:gd name="connsiteY19" fmla="*/ 805666 h 987801"/>
                  <a:gd name="connsiteX20" fmla="*/ 637312 w 3344126"/>
                  <a:gd name="connsiteY20" fmla="*/ 802491 h 987801"/>
                  <a:gd name="connsiteX21" fmla="*/ 656362 w 3344126"/>
                  <a:gd name="connsiteY21" fmla="*/ 767566 h 987801"/>
                  <a:gd name="connsiteX22" fmla="*/ 767487 w 3344126"/>
                  <a:gd name="connsiteY22" fmla="*/ 716766 h 987801"/>
                  <a:gd name="connsiteX23" fmla="*/ 875437 w 3344126"/>
                  <a:gd name="connsiteY23" fmla="*/ 542141 h 987801"/>
                  <a:gd name="connsiteX24" fmla="*/ 850037 w 3344126"/>
                  <a:gd name="connsiteY24" fmla="*/ 472291 h 987801"/>
                  <a:gd name="connsiteX25" fmla="*/ 888137 w 3344126"/>
                  <a:gd name="connsiteY25" fmla="*/ 402441 h 987801"/>
                  <a:gd name="connsiteX26" fmla="*/ 878612 w 3344126"/>
                  <a:gd name="connsiteY26" fmla="*/ 361166 h 987801"/>
                  <a:gd name="connsiteX27" fmla="*/ 932587 w 3344126"/>
                  <a:gd name="connsiteY27" fmla="*/ 329416 h 987801"/>
                  <a:gd name="connsiteX28" fmla="*/ 989737 w 3344126"/>
                  <a:gd name="connsiteY28" fmla="*/ 284966 h 987801"/>
                  <a:gd name="connsiteX29" fmla="*/ 1088162 w 3344126"/>
                  <a:gd name="connsiteY29" fmla="*/ 265916 h 987801"/>
                  <a:gd name="connsiteX30" fmla="*/ 1129437 w 3344126"/>
                  <a:gd name="connsiteY30" fmla="*/ 183366 h 987801"/>
                  <a:gd name="connsiteX31" fmla="*/ 1148487 w 3344126"/>
                  <a:gd name="connsiteY31" fmla="*/ 97641 h 987801"/>
                  <a:gd name="connsiteX32" fmla="*/ 1148487 w 3344126"/>
                  <a:gd name="connsiteY32" fmla="*/ 53191 h 987801"/>
                  <a:gd name="connsiteX33" fmla="*/ 1211987 w 3344126"/>
                  <a:gd name="connsiteY33" fmla="*/ 50016 h 987801"/>
                  <a:gd name="connsiteX34" fmla="*/ 1259612 w 3344126"/>
                  <a:gd name="connsiteY34" fmla="*/ 27791 h 987801"/>
                  <a:gd name="connsiteX35" fmla="*/ 1304062 w 3344126"/>
                  <a:gd name="connsiteY35" fmla="*/ 21441 h 987801"/>
                  <a:gd name="connsiteX36" fmla="*/ 1358037 w 3344126"/>
                  <a:gd name="connsiteY36" fmla="*/ 2391 h 987801"/>
                  <a:gd name="connsiteX37" fmla="*/ 1402487 w 3344126"/>
                  <a:gd name="connsiteY37" fmla="*/ 5566 h 987801"/>
                  <a:gd name="connsiteX38" fmla="*/ 1491387 w 3344126"/>
                  <a:gd name="connsiteY38" fmla="*/ 50016 h 987801"/>
                  <a:gd name="connsiteX39" fmla="*/ 1542187 w 3344126"/>
                  <a:gd name="connsiteY39" fmla="*/ 40491 h 987801"/>
                  <a:gd name="connsiteX40" fmla="*/ 1580287 w 3344126"/>
                  <a:gd name="connsiteY40" fmla="*/ 62716 h 987801"/>
                  <a:gd name="connsiteX41" fmla="*/ 1634262 w 3344126"/>
                  <a:gd name="connsiteY41" fmla="*/ 94466 h 987801"/>
                  <a:gd name="connsiteX42" fmla="*/ 1713637 w 3344126"/>
                  <a:gd name="connsiteY42" fmla="*/ 116691 h 987801"/>
                  <a:gd name="connsiteX43" fmla="*/ 1764437 w 3344126"/>
                  <a:gd name="connsiteY43" fmla="*/ 91291 h 987801"/>
                  <a:gd name="connsiteX44" fmla="*/ 1815237 w 3344126"/>
                  <a:gd name="connsiteY44" fmla="*/ 97641 h 987801"/>
                  <a:gd name="connsiteX45" fmla="*/ 1859687 w 3344126"/>
                  <a:gd name="connsiteY45" fmla="*/ 123041 h 987801"/>
                  <a:gd name="connsiteX46" fmla="*/ 1973987 w 3344126"/>
                  <a:gd name="connsiteY46" fmla="*/ 103991 h 987801"/>
                  <a:gd name="connsiteX47" fmla="*/ 2024787 w 3344126"/>
                  <a:gd name="connsiteY47" fmla="*/ 119866 h 987801"/>
                  <a:gd name="connsiteX48" fmla="*/ 2145437 w 3344126"/>
                  <a:gd name="connsiteY48" fmla="*/ 145266 h 987801"/>
                  <a:gd name="connsiteX49" fmla="*/ 2224812 w 3344126"/>
                  <a:gd name="connsiteY49" fmla="*/ 129391 h 987801"/>
                  <a:gd name="connsiteX50" fmla="*/ 2389912 w 3344126"/>
                  <a:gd name="connsiteY50" fmla="*/ 183366 h 987801"/>
                  <a:gd name="connsiteX51" fmla="*/ 2488337 w 3344126"/>
                  <a:gd name="connsiteY51" fmla="*/ 234166 h 987801"/>
                  <a:gd name="connsiteX52" fmla="*/ 2618512 w 3344126"/>
                  <a:gd name="connsiteY52" fmla="*/ 259566 h 987801"/>
                  <a:gd name="connsiteX53" fmla="*/ 2742337 w 3344126"/>
                  <a:gd name="connsiteY53" fmla="*/ 250041 h 987801"/>
                  <a:gd name="connsiteX54" fmla="*/ 2824887 w 3344126"/>
                  <a:gd name="connsiteY54" fmla="*/ 256391 h 987801"/>
                  <a:gd name="connsiteX55" fmla="*/ 2920137 w 3344126"/>
                  <a:gd name="connsiteY55" fmla="*/ 284966 h 987801"/>
                  <a:gd name="connsiteX56" fmla="*/ 2980462 w 3344126"/>
                  <a:gd name="connsiteY56" fmla="*/ 313541 h 987801"/>
                  <a:gd name="connsiteX57" fmla="*/ 3012212 w 3344126"/>
                  <a:gd name="connsiteY57" fmla="*/ 313541 h 987801"/>
                  <a:gd name="connsiteX58" fmla="*/ 3040787 w 3344126"/>
                  <a:gd name="connsiteY58" fmla="*/ 338941 h 987801"/>
                  <a:gd name="connsiteX59" fmla="*/ 3091587 w 3344126"/>
                  <a:gd name="connsiteY59" fmla="*/ 335766 h 987801"/>
                  <a:gd name="connsiteX60" fmla="*/ 3155087 w 3344126"/>
                  <a:gd name="connsiteY60" fmla="*/ 383391 h 987801"/>
                  <a:gd name="connsiteX61" fmla="*/ 3169129 w 3344126"/>
                  <a:gd name="connsiteY61" fmla="*/ 523091 h 987801"/>
                  <a:gd name="connsiteX62" fmla="*/ 3161736 w 3344126"/>
                  <a:gd name="connsiteY62" fmla="*/ 567541 h 987801"/>
                  <a:gd name="connsiteX63" fmla="*/ 3197913 w 3344126"/>
                  <a:gd name="connsiteY63" fmla="*/ 624691 h 987801"/>
                  <a:gd name="connsiteX64" fmla="*/ 3252722 w 3344126"/>
                  <a:gd name="connsiteY64" fmla="*/ 646988 h 987801"/>
                  <a:gd name="connsiteX65" fmla="*/ 3255898 w 3344126"/>
                  <a:gd name="connsiteY65" fmla="*/ 710272 h 987801"/>
                  <a:gd name="connsiteX66" fmla="*/ 3305400 w 3344126"/>
                  <a:gd name="connsiteY66" fmla="*/ 780050 h 987801"/>
                  <a:gd name="connsiteX67" fmla="*/ 3344126 w 3344126"/>
                  <a:gd name="connsiteY67" fmla="*/ 987801 h 987801"/>
                  <a:gd name="connsiteX0" fmla="*/ 18187 w 3344126"/>
                  <a:gd name="connsiteY0" fmla="*/ 262741 h 987801"/>
                  <a:gd name="connsiteX1" fmla="*/ 40412 w 3344126"/>
                  <a:gd name="connsiteY1" fmla="*/ 319891 h 987801"/>
                  <a:gd name="connsiteX2" fmla="*/ 11837 w 3344126"/>
                  <a:gd name="connsiteY2" fmla="*/ 472291 h 987801"/>
                  <a:gd name="connsiteX3" fmla="*/ 2312 w 3344126"/>
                  <a:gd name="connsiteY3" fmla="*/ 564366 h 987801"/>
                  <a:gd name="connsiteX4" fmla="*/ 53112 w 3344126"/>
                  <a:gd name="connsiteY4" fmla="*/ 577066 h 987801"/>
                  <a:gd name="connsiteX5" fmla="*/ 84862 w 3344126"/>
                  <a:gd name="connsiteY5" fmla="*/ 570716 h 987801"/>
                  <a:gd name="connsiteX6" fmla="*/ 154712 w 3344126"/>
                  <a:gd name="connsiteY6" fmla="*/ 611991 h 987801"/>
                  <a:gd name="connsiteX7" fmla="*/ 205512 w 3344126"/>
                  <a:gd name="connsiteY7" fmla="*/ 602466 h 987801"/>
                  <a:gd name="connsiteX8" fmla="*/ 262662 w 3344126"/>
                  <a:gd name="connsiteY8" fmla="*/ 621516 h 987801"/>
                  <a:gd name="connsiteX9" fmla="*/ 269012 w 3344126"/>
                  <a:gd name="connsiteY9" fmla="*/ 659616 h 987801"/>
                  <a:gd name="connsiteX10" fmla="*/ 310287 w 3344126"/>
                  <a:gd name="connsiteY10" fmla="*/ 665966 h 987801"/>
                  <a:gd name="connsiteX11" fmla="*/ 332512 w 3344126"/>
                  <a:gd name="connsiteY11" fmla="*/ 719941 h 987801"/>
                  <a:gd name="connsiteX12" fmla="*/ 322987 w 3344126"/>
                  <a:gd name="connsiteY12" fmla="*/ 786616 h 987801"/>
                  <a:gd name="connsiteX13" fmla="*/ 342037 w 3344126"/>
                  <a:gd name="connsiteY13" fmla="*/ 843766 h 987801"/>
                  <a:gd name="connsiteX14" fmla="*/ 351562 w 3344126"/>
                  <a:gd name="connsiteY14" fmla="*/ 891391 h 987801"/>
                  <a:gd name="connsiteX15" fmla="*/ 389662 w 3344126"/>
                  <a:gd name="connsiteY15" fmla="*/ 932666 h 987801"/>
                  <a:gd name="connsiteX16" fmla="*/ 434112 w 3344126"/>
                  <a:gd name="connsiteY16" fmla="*/ 919966 h 987801"/>
                  <a:gd name="connsiteX17" fmla="*/ 465862 w 3344126"/>
                  <a:gd name="connsiteY17" fmla="*/ 935841 h 987801"/>
                  <a:gd name="connsiteX18" fmla="*/ 532537 w 3344126"/>
                  <a:gd name="connsiteY18" fmla="*/ 869166 h 987801"/>
                  <a:gd name="connsiteX19" fmla="*/ 583337 w 3344126"/>
                  <a:gd name="connsiteY19" fmla="*/ 805666 h 987801"/>
                  <a:gd name="connsiteX20" fmla="*/ 637312 w 3344126"/>
                  <a:gd name="connsiteY20" fmla="*/ 802491 h 987801"/>
                  <a:gd name="connsiteX21" fmla="*/ 656362 w 3344126"/>
                  <a:gd name="connsiteY21" fmla="*/ 767566 h 987801"/>
                  <a:gd name="connsiteX22" fmla="*/ 767487 w 3344126"/>
                  <a:gd name="connsiteY22" fmla="*/ 716766 h 987801"/>
                  <a:gd name="connsiteX23" fmla="*/ 875437 w 3344126"/>
                  <a:gd name="connsiteY23" fmla="*/ 542141 h 987801"/>
                  <a:gd name="connsiteX24" fmla="*/ 850037 w 3344126"/>
                  <a:gd name="connsiteY24" fmla="*/ 472291 h 987801"/>
                  <a:gd name="connsiteX25" fmla="*/ 888137 w 3344126"/>
                  <a:gd name="connsiteY25" fmla="*/ 402441 h 987801"/>
                  <a:gd name="connsiteX26" fmla="*/ 878612 w 3344126"/>
                  <a:gd name="connsiteY26" fmla="*/ 361166 h 987801"/>
                  <a:gd name="connsiteX27" fmla="*/ 932587 w 3344126"/>
                  <a:gd name="connsiteY27" fmla="*/ 329416 h 987801"/>
                  <a:gd name="connsiteX28" fmla="*/ 989737 w 3344126"/>
                  <a:gd name="connsiteY28" fmla="*/ 284966 h 987801"/>
                  <a:gd name="connsiteX29" fmla="*/ 1088162 w 3344126"/>
                  <a:gd name="connsiteY29" fmla="*/ 265916 h 987801"/>
                  <a:gd name="connsiteX30" fmla="*/ 1129437 w 3344126"/>
                  <a:gd name="connsiteY30" fmla="*/ 183366 h 987801"/>
                  <a:gd name="connsiteX31" fmla="*/ 1148487 w 3344126"/>
                  <a:gd name="connsiteY31" fmla="*/ 97641 h 987801"/>
                  <a:gd name="connsiteX32" fmla="*/ 1148487 w 3344126"/>
                  <a:gd name="connsiteY32" fmla="*/ 53191 h 987801"/>
                  <a:gd name="connsiteX33" fmla="*/ 1211987 w 3344126"/>
                  <a:gd name="connsiteY33" fmla="*/ 50016 h 987801"/>
                  <a:gd name="connsiteX34" fmla="*/ 1259612 w 3344126"/>
                  <a:gd name="connsiteY34" fmla="*/ 27791 h 987801"/>
                  <a:gd name="connsiteX35" fmla="*/ 1304062 w 3344126"/>
                  <a:gd name="connsiteY35" fmla="*/ 21441 h 987801"/>
                  <a:gd name="connsiteX36" fmla="*/ 1358037 w 3344126"/>
                  <a:gd name="connsiteY36" fmla="*/ 2391 h 987801"/>
                  <a:gd name="connsiteX37" fmla="*/ 1402487 w 3344126"/>
                  <a:gd name="connsiteY37" fmla="*/ 5566 h 987801"/>
                  <a:gd name="connsiteX38" fmla="*/ 1491387 w 3344126"/>
                  <a:gd name="connsiteY38" fmla="*/ 50016 h 987801"/>
                  <a:gd name="connsiteX39" fmla="*/ 1542187 w 3344126"/>
                  <a:gd name="connsiteY39" fmla="*/ 40491 h 987801"/>
                  <a:gd name="connsiteX40" fmla="*/ 1580287 w 3344126"/>
                  <a:gd name="connsiteY40" fmla="*/ 62716 h 987801"/>
                  <a:gd name="connsiteX41" fmla="*/ 1634262 w 3344126"/>
                  <a:gd name="connsiteY41" fmla="*/ 94466 h 987801"/>
                  <a:gd name="connsiteX42" fmla="*/ 1713637 w 3344126"/>
                  <a:gd name="connsiteY42" fmla="*/ 116691 h 987801"/>
                  <a:gd name="connsiteX43" fmla="*/ 1764437 w 3344126"/>
                  <a:gd name="connsiteY43" fmla="*/ 91291 h 987801"/>
                  <a:gd name="connsiteX44" fmla="*/ 1815237 w 3344126"/>
                  <a:gd name="connsiteY44" fmla="*/ 97641 h 987801"/>
                  <a:gd name="connsiteX45" fmla="*/ 1859687 w 3344126"/>
                  <a:gd name="connsiteY45" fmla="*/ 123041 h 987801"/>
                  <a:gd name="connsiteX46" fmla="*/ 1973987 w 3344126"/>
                  <a:gd name="connsiteY46" fmla="*/ 103991 h 987801"/>
                  <a:gd name="connsiteX47" fmla="*/ 2024787 w 3344126"/>
                  <a:gd name="connsiteY47" fmla="*/ 119866 h 987801"/>
                  <a:gd name="connsiteX48" fmla="*/ 2145437 w 3344126"/>
                  <a:gd name="connsiteY48" fmla="*/ 145266 h 987801"/>
                  <a:gd name="connsiteX49" fmla="*/ 2224812 w 3344126"/>
                  <a:gd name="connsiteY49" fmla="*/ 129391 h 987801"/>
                  <a:gd name="connsiteX50" fmla="*/ 2389912 w 3344126"/>
                  <a:gd name="connsiteY50" fmla="*/ 183366 h 987801"/>
                  <a:gd name="connsiteX51" fmla="*/ 2488337 w 3344126"/>
                  <a:gd name="connsiteY51" fmla="*/ 234166 h 987801"/>
                  <a:gd name="connsiteX52" fmla="*/ 2618512 w 3344126"/>
                  <a:gd name="connsiteY52" fmla="*/ 259566 h 987801"/>
                  <a:gd name="connsiteX53" fmla="*/ 2742337 w 3344126"/>
                  <a:gd name="connsiteY53" fmla="*/ 250041 h 987801"/>
                  <a:gd name="connsiteX54" fmla="*/ 2824887 w 3344126"/>
                  <a:gd name="connsiteY54" fmla="*/ 256391 h 987801"/>
                  <a:gd name="connsiteX55" fmla="*/ 2920137 w 3344126"/>
                  <a:gd name="connsiteY55" fmla="*/ 284966 h 987801"/>
                  <a:gd name="connsiteX56" fmla="*/ 2980462 w 3344126"/>
                  <a:gd name="connsiteY56" fmla="*/ 313541 h 987801"/>
                  <a:gd name="connsiteX57" fmla="*/ 3012212 w 3344126"/>
                  <a:gd name="connsiteY57" fmla="*/ 313541 h 987801"/>
                  <a:gd name="connsiteX58" fmla="*/ 3040787 w 3344126"/>
                  <a:gd name="connsiteY58" fmla="*/ 338941 h 987801"/>
                  <a:gd name="connsiteX59" fmla="*/ 3091587 w 3344126"/>
                  <a:gd name="connsiteY59" fmla="*/ 335766 h 987801"/>
                  <a:gd name="connsiteX60" fmla="*/ 3169129 w 3344126"/>
                  <a:gd name="connsiteY60" fmla="*/ 523091 h 987801"/>
                  <a:gd name="connsiteX61" fmla="*/ 3161736 w 3344126"/>
                  <a:gd name="connsiteY61" fmla="*/ 567541 h 987801"/>
                  <a:gd name="connsiteX62" fmla="*/ 3197913 w 3344126"/>
                  <a:gd name="connsiteY62" fmla="*/ 624691 h 987801"/>
                  <a:gd name="connsiteX63" fmla="*/ 3252722 w 3344126"/>
                  <a:gd name="connsiteY63" fmla="*/ 646988 h 987801"/>
                  <a:gd name="connsiteX64" fmla="*/ 3255898 w 3344126"/>
                  <a:gd name="connsiteY64" fmla="*/ 710272 h 987801"/>
                  <a:gd name="connsiteX65" fmla="*/ 3305400 w 3344126"/>
                  <a:gd name="connsiteY65" fmla="*/ 780050 h 987801"/>
                  <a:gd name="connsiteX66" fmla="*/ 3344126 w 3344126"/>
                  <a:gd name="connsiteY66" fmla="*/ 987801 h 987801"/>
                  <a:gd name="connsiteX0" fmla="*/ 18187 w 3344126"/>
                  <a:gd name="connsiteY0" fmla="*/ 262741 h 987801"/>
                  <a:gd name="connsiteX1" fmla="*/ 40412 w 3344126"/>
                  <a:gd name="connsiteY1" fmla="*/ 319891 h 987801"/>
                  <a:gd name="connsiteX2" fmla="*/ 11837 w 3344126"/>
                  <a:gd name="connsiteY2" fmla="*/ 472291 h 987801"/>
                  <a:gd name="connsiteX3" fmla="*/ 2312 w 3344126"/>
                  <a:gd name="connsiteY3" fmla="*/ 564366 h 987801"/>
                  <a:gd name="connsiteX4" fmla="*/ 53112 w 3344126"/>
                  <a:gd name="connsiteY4" fmla="*/ 577066 h 987801"/>
                  <a:gd name="connsiteX5" fmla="*/ 84862 w 3344126"/>
                  <a:gd name="connsiteY5" fmla="*/ 570716 h 987801"/>
                  <a:gd name="connsiteX6" fmla="*/ 154712 w 3344126"/>
                  <a:gd name="connsiteY6" fmla="*/ 611991 h 987801"/>
                  <a:gd name="connsiteX7" fmla="*/ 205512 w 3344126"/>
                  <a:gd name="connsiteY7" fmla="*/ 602466 h 987801"/>
                  <a:gd name="connsiteX8" fmla="*/ 262662 w 3344126"/>
                  <a:gd name="connsiteY8" fmla="*/ 621516 h 987801"/>
                  <a:gd name="connsiteX9" fmla="*/ 269012 w 3344126"/>
                  <a:gd name="connsiteY9" fmla="*/ 659616 h 987801"/>
                  <a:gd name="connsiteX10" fmla="*/ 310287 w 3344126"/>
                  <a:gd name="connsiteY10" fmla="*/ 665966 h 987801"/>
                  <a:gd name="connsiteX11" fmla="*/ 332512 w 3344126"/>
                  <a:gd name="connsiteY11" fmla="*/ 719941 h 987801"/>
                  <a:gd name="connsiteX12" fmla="*/ 322987 w 3344126"/>
                  <a:gd name="connsiteY12" fmla="*/ 786616 h 987801"/>
                  <a:gd name="connsiteX13" fmla="*/ 342037 w 3344126"/>
                  <a:gd name="connsiteY13" fmla="*/ 843766 h 987801"/>
                  <a:gd name="connsiteX14" fmla="*/ 351562 w 3344126"/>
                  <a:gd name="connsiteY14" fmla="*/ 891391 h 987801"/>
                  <a:gd name="connsiteX15" fmla="*/ 389662 w 3344126"/>
                  <a:gd name="connsiteY15" fmla="*/ 932666 h 987801"/>
                  <a:gd name="connsiteX16" fmla="*/ 434112 w 3344126"/>
                  <a:gd name="connsiteY16" fmla="*/ 919966 h 987801"/>
                  <a:gd name="connsiteX17" fmla="*/ 465862 w 3344126"/>
                  <a:gd name="connsiteY17" fmla="*/ 935841 h 987801"/>
                  <a:gd name="connsiteX18" fmla="*/ 532537 w 3344126"/>
                  <a:gd name="connsiteY18" fmla="*/ 869166 h 987801"/>
                  <a:gd name="connsiteX19" fmla="*/ 583337 w 3344126"/>
                  <a:gd name="connsiteY19" fmla="*/ 805666 h 987801"/>
                  <a:gd name="connsiteX20" fmla="*/ 637312 w 3344126"/>
                  <a:gd name="connsiteY20" fmla="*/ 802491 h 987801"/>
                  <a:gd name="connsiteX21" fmla="*/ 656362 w 3344126"/>
                  <a:gd name="connsiteY21" fmla="*/ 767566 h 987801"/>
                  <a:gd name="connsiteX22" fmla="*/ 767487 w 3344126"/>
                  <a:gd name="connsiteY22" fmla="*/ 716766 h 987801"/>
                  <a:gd name="connsiteX23" fmla="*/ 875437 w 3344126"/>
                  <a:gd name="connsiteY23" fmla="*/ 542141 h 987801"/>
                  <a:gd name="connsiteX24" fmla="*/ 850037 w 3344126"/>
                  <a:gd name="connsiteY24" fmla="*/ 472291 h 987801"/>
                  <a:gd name="connsiteX25" fmla="*/ 888137 w 3344126"/>
                  <a:gd name="connsiteY25" fmla="*/ 402441 h 987801"/>
                  <a:gd name="connsiteX26" fmla="*/ 878612 w 3344126"/>
                  <a:gd name="connsiteY26" fmla="*/ 361166 h 987801"/>
                  <a:gd name="connsiteX27" fmla="*/ 932587 w 3344126"/>
                  <a:gd name="connsiteY27" fmla="*/ 329416 h 987801"/>
                  <a:gd name="connsiteX28" fmla="*/ 989737 w 3344126"/>
                  <a:gd name="connsiteY28" fmla="*/ 284966 h 987801"/>
                  <a:gd name="connsiteX29" fmla="*/ 1088162 w 3344126"/>
                  <a:gd name="connsiteY29" fmla="*/ 265916 h 987801"/>
                  <a:gd name="connsiteX30" fmla="*/ 1129437 w 3344126"/>
                  <a:gd name="connsiteY30" fmla="*/ 183366 h 987801"/>
                  <a:gd name="connsiteX31" fmla="*/ 1148487 w 3344126"/>
                  <a:gd name="connsiteY31" fmla="*/ 97641 h 987801"/>
                  <a:gd name="connsiteX32" fmla="*/ 1148487 w 3344126"/>
                  <a:gd name="connsiteY32" fmla="*/ 53191 h 987801"/>
                  <a:gd name="connsiteX33" fmla="*/ 1211987 w 3344126"/>
                  <a:gd name="connsiteY33" fmla="*/ 50016 h 987801"/>
                  <a:gd name="connsiteX34" fmla="*/ 1259612 w 3344126"/>
                  <a:gd name="connsiteY34" fmla="*/ 27791 h 987801"/>
                  <a:gd name="connsiteX35" fmla="*/ 1304062 w 3344126"/>
                  <a:gd name="connsiteY35" fmla="*/ 21441 h 987801"/>
                  <a:gd name="connsiteX36" fmla="*/ 1358037 w 3344126"/>
                  <a:gd name="connsiteY36" fmla="*/ 2391 h 987801"/>
                  <a:gd name="connsiteX37" fmla="*/ 1402487 w 3344126"/>
                  <a:gd name="connsiteY37" fmla="*/ 5566 h 987801"/>
                  <a:gd name="connsiteX38" fmla="*/ 1491387 w 3344126"/>
                  <a:gd name="connsiteY38" fmla="*/ 50016 h 987801"/>
                  <a:gd name="connsiteX39" fmla="*/ 1542187 w 3344126"/>
                  <a:gd name="connsiteY39" fmla="*/ 40491 h 987801"/>
                  <a:gd name="connsiteX40" fmla="*/ 1580287 w 3344126"/>
                  <a:gd name="connsiteY40" fmla="*/ 62716 h 987801"/>
                  <a:gd name="connsiteX41" fmla="*/ 1634262 w 3344126"/>
                  <a:gd name="connsiteY41" fmla="*/ 94466 h 987801"/>
                  <a:gd name="connsiteX42" fmla="*/ 1713637 w 3344126"/>
                  <a:gd name="connsiteY42" fmla="*/ 116691 h 987801"/>
                  <a:gd name="connsiteX43" fmla="*/ 1764437 w 3344126"/>
                  <a:gd name="connsiteY43" fmla="*/ 91291 h 987801"/>
                  <a:gd name="connsiteX44" fmla="*/ 1815237 w 3344126"/>
                  <a:gd name="connsiteY44" fmla="*/ 97641 h 987801"/>
                  <a:gd name="connsiteX45" fmla="*/ 1859687 w 3344126"/>
                  <a:gd name="connsiteY45" fmla="*/ 123041 h 987801"/>
                  <a:gd name="connsiteX46" fmla="*/ 1973987 w 3344126"/>
                  <a:gd name="connsiteY46" fmla="*/ 103991 h 987801"/>
                  <a:gd name="connsiteX47" fmla="*/ 2024787 w 3344126"/>
                  <a:gd name="connsiteY47" fmla="*/ 119866 h 987801"/>
                  <a:gd name="connsiteX48" fmla="*/ 2145437 w 3344126"/>
                  <a:gd name="connsiteY48" fmla="*/ 145266 h 987801"/>
                  <a:gd name="connsiteX49" fmla="*/ 2224812 w 3344126"/>
                  <a:gd name="connsiteY49" fmla="*/ 129391 h 987801"/>
                  <a:gd name="connsiteX50" fmla="*/ 2389912 w 3344126"/>
                  <a:gd name="connsiteY50" fmla="*/ 183366 h 987801"/>
                  <a:gd name="connsiteX51" fmla="*/ 2488337 w 3344126"/>
                  <a:gd name="connsiteY51" fmla="*/ 234166 h 987801"/>
                  <a:gd name="connsiteX52" fmla="*/ 2618512 w 3344126"/>
                  <a:gd name="connsiteY52" fmla="*/ 259566 h 987801"/>
                  <a:gd name="connsiteX53" fmla="*/ 2742337 w 3344126"/>
                  <a:gd name="connsiteY53" fmla="*/ 250041 h 987801"/>
                  <a:gd name="connsiteX54" fmla="*/ 2824887 w 3344126"/>
                  <a:gd name="connsiteY54" fmla="*/ 256391 h 987801"/>
                  <a:gd name="connsiteX55" fmla="*/ 2920137 w 3344126"/>
                  <a:gd name="connsiteY55" fmla="*/ 284966 h 987801"/>
                  <a:gd name="connsiteX56" fmla="*/ 2980462 w 3344126"/>
                  <a:gd name="connsiteY56" fmla="*/ 313541 h 987801"/>
                  <a:gd name="connsiteX57" fmla="*/ 3012212 w 3344126"/>
                  <a:gd name="connsiteY57" fmla="*/ 313541 h 987801"/>
                  <a:gd name="connsiteX58" fmla="*/ 3040787 w 3344126"/>
                  <a:gd name="connsiteY58" fmla="*/ 338941 h 987801"/>
                  <a:gd name="connsiteX59" fmla="*/ 3150615 w 3344126"/>
                  <a:gd name="connsiteY59" fmla="*/ 461327 h 987801"/>
                  <a:gd name="connsiteX60" fmla="*/ 3169129 w 3344126"/>
                  <a:gd name="connsiteY60" fmla="*/ 523091 h 987801"/>
                  <a:gd name="connsiteX61" fmla="*/ 3161736 w 3344126"/>
                  <a:gd name="connsiteY61" fmla="*/ 567541 h 987801"/>
                  <a:gd name="connsiteX62" fmla="*/ 3197913 w 3344126"/>
                  <a:gd name="connsiteY62" fmla="*/ 624691 h 987801"/>
                  <a:gd name="connsiteX63" fmla="*/ 3252722 w 3344126"/>
                  <a:gd name="connsiteY63" fmla="*/ 646988 h 987801"/>
                  <a:gd name="connsiteX64" fmla="*/ 3255898 w 3344126"/>
                  <a:gd name="connsiteY64" fmla="*/ 710272 h 987801"/>
                  <a:gd name="connsiteX65" fmla="*/ 3305400 w 3344126"/>
                  <a:gd name="connsiteY65" fmla="*/ 780050 h 987801"/>
                  <a:gd name="connsiteX66" fmla="*/ 3344126 w 3344126"/>
                  <a:gd name="connsiteY66" fmla="*/ 987801 h 987801"/>
                  <a:gd name="connsiteX0" fmla="*/ 18187 w 3344126"/>
                  <a:gd name="connsiteY0" fmla="*/ 262741 h 987801"/>
                  <a:gd name="connsiteX1" fmla="*/ 40412 w 3344126"/>
                  <a:gd name="connsiteY1" fmla="*/ 319891 h 987801"/>
                  <a:gd name="connsiteX2" fmla="*/ 11837 w 3344126"/>
                  <a:gd name="connsiteY2" fmla="*/ 472291 h 987801"/>
                  <a:gd name="connsiteX3" fmla="*/ 2312 w 3344126"/>
                  <a:gd name="connsiteY3" fmla="*/ 564366 h 987801"/>
                  <a:gd name="connsiteX4" fmla="*/ 53112 w 3344126"/>
                  <a:gd name="connsiteY4" fmla="*/ 577066 h 987801"/>
                  <a:gd name="connsiteX5" fmla="*/ 84862 w 3344126"/>
                  <a:gd name="connsiteY5" fmla="*/ 570716 h 987801"/>
                  <a:gd name="connsiteX6" fmla="*/ 154712 w 3344126"/>
                  <a:gd name="connsiteY6" fmla="*/ 611991 h 987801"/>
                  <a:gd name="connsiteX7" fmla="*/ 205512 w 3344126"/>
                  <a:gd name="connsiteY7" fmla="*/ 602466 h 987801"/>
                  <a:gd name="connsiteX8" fmla="*/ 262662 w 3344126"/>
                  <a:gd name="connsiteY8" fmla="*/ 621516 h 987801"/>
                  <a:gd name="connsiteX9" fmla="*/ 269012 w 3344126"/>
                  <a:gd name="connsiteY9" fmla="*/ 659616 h 987801"/>
                  <a:gd name="connsiteX10" fmla="*/ 310287 w 3344126"/>
                  <a:gd name="connsiteY10" fmla="*/ 665966 h 987801"/>
                  <a:gd name="connsiteX11" fmla="*/ 332512 w 3344126"/>
                  <a:gd name="connsiteY11" fmla="*/ 719941 h 987801"/>
                  <a:gd name="connsiteX12" fmla="*/ 322987 w 3344126"/>
                  <a:gd name="connsiteY12" fmla="*/ 786616 h 987801"/>
                  <a:gd name="connsiteX13" fmla="*/ 342037 w 3344126"/>
                  <a:gd name="connsiteY13" fmla="*/ 843766 h 987801"/>
                  <a:gd name="connsiteX14" fmla="*/ 351562 w 3344126"/>
                  <a:gd name="connsiteY14" fmla="*/ 891391 h 987801"/>
                  <a:gd name="connsiteX15" fmla="*/ 389662 w 3344126"/>
                  <a:gd name="connsiteY15" fmla="*/ 932666 h 987801"/>
                  <a:gd name="connsiteX16" fmla="*/ 434112 w 3344126"/>
                  <a:gd name="connsiteY16" fmla="*/ 919966 h 987801"/>
                  <a:gd name="connsiteX17" fmla="*/ 465862 w 3344126"/>
                  <a:gd name="connsiteY17" fmla="*/ 935841 h 987801"/>
                  <a:gd name="connsiteX18" fmla="*/ 532537 w 3344126"/>
                  <a:gd name="connsiteY18" fmla="*/ 869166 h 987801"/>
                  <a:gd name="connsiteX19" fmla="*/ 583337 w 3344126"/>
                  <a:gd name="connsiteY19" fmla="*/ 805666 h 987801"/>
                  <a:gd name="connsiteX20" fmla="*/ 637312 w 3344126"/>
                  <a:gd name="connsiteY20" fmla="*/ 802491 h 987801"/>
                  <a:gd name="connsiteX21" fmla="*/ 656362 w 3344126"/>
                  <a:gd name="connsiteY21" fmla="*/ 767566 h 987801"/>
                  <a:gd name="connsiteX22" fmla="*/ 767487 w 3344126"/>
                  <a:gd name="connsiteY22" fmla="*/ 716766 h 987801"/>
                  <a:gd name="connsiteX23" fmla="*/ 875437 w 3344126"/>
                  <a:gd name="connsiteY23" fmla="*/ 542141 h 987801"/>
                  <a:gd name="connsiteX24" fmla="*/ 850037 w 3344126"/>
                  <a:gd name="connsiteY24" fmla="*/ 472291 h 987801"/>
                  <a:gd name="connsiteX25" fmla="*/ 888137 w 3344126"/>
                  <a:gd name="connsiteY25" fmla="*/ 402441 h 987801"/>
                  <a:gd name="connsiteX26" fmla="*/ 878612 w 3344126"/>
                  <a:gd name="connsiteY26" fmla="*/ 361166 h 987801"/>
                  <a:gd name="connsiteX27" fmla="*/ 932587 w 3344126"/>
                  <a:gd name="connsiteY27" fmla="*/ 329416 h 987801"/>
                  <a:gd name="connsiteX28" fmla="*/ 989737 w 3344126"/>
                  <a:gd name="connsiteY28" fmla="*/ 284966 h 987801"/>
                  <a:gd name="connsiteX29" fmla="*/ 1088162 w 3344126"/>
                  <a:gd name="connsiteY29" fmla="*/ 265916 h 987801"/>
                  <a:gd name="connsiteX30" fmla="*/ 1129437 w 3344126"/>
                  <a:gd name="connsiteY30" fmla="*/ 183366 h 987801"/>
                  <a:gd name="connsiteX31" fmla="*/ 1148487 w 3344126"/>
                  <a:gd name="connsiteY31" fmla="*/ 97641 h 987801"/>
                  <a:gd name="connsiteX32" fmla="*/ 1148487 w 3344126"/>
                  <a:gd name="connsiteY32" fmla="*/ 53191 h 987801"/>
                  <a:gd name="connsiteX33" fmla="*/ 1211987 w 3344126"/>
                  <a:gd name="connsiteY33" fmla="*/ 50016 h 987801"/>
                  <a:gd name="connsiteX34" fmla="*/ 1259612 w 3344126"/>
                  <a:gd name="connsiteY34" fmla="*/ 27791 h 987801"/>
                  <a:gd name="connsiteX35" fmla="*/ 1304062 w 3344126"/>
                  <a:gd name="connsiteY35" fmla="*/ 21441 h 987801"/>
                  <a:gd name="connsiteX36" fmla="*/ 1358037 w 3344126"/>
                  <a:gd name="connsiteY36" fmla="*/ 2391 h 987801"/>
                  <a:gd name="connsiteX37" fmla="*/ 1402487 w 3344126"/>
                  <a:gd name="connsiteY37" fmla="*/ 5566 h 987801"/>
                  <a:gd name="connsiteX38" fmla="*/ 1491387 w 3344126"/>
                  <a:gd name="connsiteY38" fmla="*/ 50016 h 987801"/>
                  <a:gd name="connsiteX39" fmla="*/ 1542187 w 3344126"/>
                  <a:gd name="connsiteY39" fmla="*/ 40491 h 987801"/>
                  <a:gd name="connsiteX40" fmla="*/ 1580287 w 3344126"/>
                  <a:gd name="connsiteY40" fmla="*/ 62716 h 987801"/>
                  <a:gd name="connsiteX41" fmla="*/ 1634262 w 3344126"/>
                  <a:gd name="connsiteY41" fmla="*/ 94466 h 987801"/>
                  <a:gd name="connsiteX42" fmla="*/ 1713637 w 3344126"/>
                  <a:gd name="connsiteY42" fmla="*/ 116691 h 987801"/>
                  <a:gd name="connsiteX43" fmla="*/ 1764437 w 3344126"/>
                  <a:gd name="connsiteY43" fmla="*/ 91291 h 987801"/>
                  <a:gd name="connsiteX44" fmla="*/ 1815237 w 3344126"/>
                  <a:gd name="connsiteY44" fmla="*/ 97641 h 987801"/>
                  <a:gd name="connsiteX45" fmla="*/ 1859687 w 3344126"/>
                  <a:gd name="connsiteY45" fmla="*/ 123041 h 987801"/>
                  <a:gd name="connsiteX46" fmla="*/ 1973987 w 3344126"/>
                  <a:gd name="connsiteY46" fmla="*/ 103991 h 987801"/>
                  <a:gd name="connsiteX47" fmla="*/ 2024787 w 3344126"/>
                  <a:gd name="connsiteY47" fmla="*/ 119866 h 987801"/>
                  <a:gd name="connsiteX48" fmla="*/ 2145437 w 3344126"/>
                  <a:gd name="connsiteY48" fmla="*/ 145266 h 987801"/>
                  <a:gd name="connsiteX49" fmla="*/ 2224812 w 3344126"/>
                  <a:gd name="connsiteY49" fmla="*/ 129391 h 987801"/>
                  <a:gd name="connsiteX50" fmla="*/ 2389912 w 3344126"/>
                  <a:gd name="connsiteY50" fmla="*/ 183366 h 987801"/>
                  <a:gd name="connsiteX51" fmla="*/ 2488337 w 3344126"/>
                  <a:gd name="connsiteY51" fmla="*/ 234166 h 987801"/>
                  <a:gd name="connsiteX52" fmla="*/ 2618512 w 3344126"/>
                  <a:gd name="connsiteY52" fmla="*/ 259566 h 987801"/>
                  <a:gd name="connsiteX53" fmla="*/ 2742337 w 3344126"/>
                  <a:gd name="connsiteY53" fmla="*/ 250041 h 987801"/>
                  <a:gd name="connsiteX54" fmla="*/ 2824887 w 3344126"/>
                  <a:gd name="connsiteY54" fmla="*/ 256391 h 987801"/>
                  <a:gd name="connsiteX55" fmla="*/ 2920137 w 3344126"/>
                  <a:gd name="connsiteY55" fmla="*/ 284966 h 987801"/>
                  <a:gd name="connsiteX56" fmla="*/ 2980462 w 3344126"/>
                  <a:gd name="connsiteY56" fmla="*/ 313541 h 987801"/>
                  <a:gd name="connsiteX57" fmla="*/ 3012212 w 3344126"/>
                  <a:gd name="connsiteY57" fmla="*/ 313541 h 987801"/>
                  <a:gd name="connsiteX58" fmla="*/ 3067021 w 3344126"/>
                  <a:gd name="connsiteY58" fmla="*/ 414277 h 987801"/>
                  <a:gd name="connsiteX59" fmla="*/ 3150615 w 3344126"/>
                  <a:gd name="connsiteY59" fmla="*/ 461327 h 987801"/>
                  <a:gd name="connsiteX60" fmla="*/ 3169129 w 3344126"/>
                  <a:gd name="connsiteY60" fmla="*/ 523091 h 987801"/>
                  <a:gd name="connsiteX61" fmla="*/ 3161736 w 3344126"/>
                  <a:gd name="connsiteY61" fmla="*/ 567541 h 987801"/>
                  <a:gd name="connsiteX62" fmla="*/ 3197913 w 3344126"/>
                  <a:gd name="connsiteY62" fmla="*/ 624691 h 987801"/>
                  <a:gd name="connsiteX63" fmla="*/ 3252722 w 3344126"/>
                  <a:gd name="connsiteY63" fmla="*/ 646988 h 987801"/>
                  <a:gd name="connsiteX64" fmla="*/ 3255898 w 3344126"/>
                  <a:gd name="connsiteY64" fmla="*/ 710272 h 987801"/>
                  <a:gd name="connsiteX65" fmla="*/ 3305400 w 3344126"/>
                  <a:gd name="connsiteY65" fmla="*/ 780050 h 987801"/>
                  <a:gd name="connsiteX66" fmla="*/ 3344126 w 3344126"/>
                  <a:gd name="connsiteY66" fmla="*/ 987801 h 987801"/>
                  <a:gd name="connsiteX0" fmla="*/ 18187 w 3344126"/>
                  <a:gd name="connsiteY0" fmla="*/ 262741 h 987801"/>
                  <a:gd name="connsiteX1" fmla="*/ 40412 w 3344126"/>
                  <a:gd name="connsiteY1" fmla="*/ 319891 h 987801"/>
                  <a:gd name="connsiteX2" fmla="*/ 11837 w 3344126"/>
                  <a:gd name="connsiteY2" fmla="*/ 472291 h 987801"/>
                  <a:gd name="connsiteX3" fmla="*/ 2312 w 3344126"/>
                  <a:gd name="connsiteY3" fmla="*/ 564366 h 987801"/>
                  <a:gd name="connsiteX4" fmla="*/ 53112 w 3344126"/>
                  <a:gd name="connsiteY4" fmla="*/ 577066 h 987801"/>
                  <a:gd name="connsiteX5" fmla="*/ 84862 w 3344126"/>
                  <a:gd name="connsiteY5" fmla="*/ 570716 h 987801"/>
                  <a:gd name="connsiteX6" fmla="*/ 154712 w 3344126"/>
                  <a:gd name="connsiteY6" fmla="*/ 611991 h 987801"/>
                  <a:gd name="connsiteX7" fmla="*/ 205512 w 3344126"/>
                  <a:gd name="connsiteY7" fmla="*/ 602466 h 987801"/>
                  <a:gd name="connsiteX8" fmla="*/ 262662 w 3344126"/>
                  <a:gd name="connsiteY8" fmla="*/ 621516 h 987801"/>
                  <a:gd name="connsiteX9" fmla="*/ 269012 w 3344126"/>
                  <a:gd name="connsiteY9" fmla="*/ 659616 h 987801"/>
                  <a:gd name="connsiteX10" fmla="*/ 310287 w 3344126"/>
                  <a:gd name="connsiteY10" fmla="*/ 665966 h 987801"/>
                  <a:gd name="connsiteX11" fmla="*/ 332512 w 3344126"/>
                  <a:gd name="connsiteY11" fmla="*/ 719941 h 987801"/>
                  <a:gd name="connsiteX12" fmla="*/ 322987 w 3344126"/>
                  <a:gd name="connsiteY12" fmla="*/ 786616 h 987801"/>
                  <a:gd name="connsiteX13" fmla="*/ 342037 w 3344126"/>
                  <a:gd name="connsiteY13" fmla="*/ 843766 h 987801"/>
                  <a:gd name="connsiteX14" fmla="*/ 351562 w 3344126"/>
                  <a:gd name="connsiteY14" fmla="*/ 891391 h 987801"/>
                  <a:gd name="connsiteX15" fmla="*/ 389662 w 3344126"/>
                  <a:gd name="connsiteY15" fmla="*/ 932666 h 987801"/>
                  <a:gd name="connsiteX16" fmla="*/ 434112 w 3344126"/>
                  <a:gd name="connsiteY16" fmla="*/ 919966 h 987801"/>
                  <a:gd name="connsiteX17" fmla="*/ 465862 w 3344126"/>
                  <a:gd name="connsiteY17" fmla="*/ 935841 h 987801"/>
                  <a:gd name="connsiteX18" fmla="*/ 532537 w 3344126"/>
                  <a:gd name="connsiteY18" fmla="*/ 869166 h 987801"/>
                  <a:gd name="connsiteX19" fmla="*/ 583337 w 3344126"/>
                  <a:gd name="connsiteY19" fmla="*/ 805666 h 987801"/>
                  <a:gd name="connsiteX20" fmla="*/ 637312 w 3344126"/>
                  <a:gd name="connsiteY20" fmla="*/ 802491 h 987801"/>
                  <a:gd name="connsiteX21" fmla="*/ 656362 w 3344126"/>
                  <a:gd name="connsiteY21" fmla="*/ 767566 h 987801"/>
                  <a:gd name="connsiteX22" fmla="*/ 767487 w 3344126"/>
                  <a:gd name="connsiteY22" fmla="*/ 716766 h 987801"/>
                  <a:gd name="connsiteX23" fmla="*/ 875437 w 3344126"/>
                  <a:gd name="connsiteY23" fmla="*/ 542141 h 987801"/>
                  <a:gd name="connsiteX24" fmla="*/ 850037 w 3344126"/>
                  <a:gd name="connsiteY24" fmla="*/ 472291 h 987801"/>
                  <a:gd name="connsiteX25" fmla="*/ 888137 w 3344126"/>
                  <a:gd name="connsiteY25" fmla="*/ 402441 h 987801"/>
                  <a:gd name="connsiteX26" fmla="*/ 878612 w 3344126"/>
                  <a:gd name="connsiteY26" fmla="*/ 361166 h 987801"/>
                  <a:gd name="connsiteX27" fmla="*/ 932587 w 3344126"/>
                  <a:gd name="connsiteY27" fmla="*/ 329416 h 987801"/>
                  <a:gd name="connsiteX28" fmla="*/ 989737 w 3344126"/>
                  <a:gd name="connsiteY28" fmla="*/ 284966 h 987801"/>
                  <a:gd name="connsiteX29" fmla="*/ 1088162 w 3344126"/>
                  <a:gd name="connsiteY29" fmla="*/ 265916 h 987801"/>
                  <a:gd name="connsiteX30" fmla="*/ 1129437 w 3344126"/>
                  <a:gd name="connsiteY30" fmla="*/ 183366 h 987801"/>
                  <a:gd name="connsiteX31" fmla="*/ 1148487 w 3344126"/>
                  <a:gd name="connsiteY31" fmla="*/ 97641 h 987801"/>
                  <a:gd name="connsiteX32" fmla="*/ 1148487 w 3344126"/>
                  <a:gd name="connsiteY32" fmla="*/ 53191 h 987801"/>
                  <a:gd name="connsiteX33" fmla="*/ 1211987 w 3344126"/>
                  <a:gd name="connsiteY33" fmla="*/ 50016 h 987801"/>
                  <a:gd name="connsiteX34" fmla="*/ 1259612 w 3344126"/>
                  <a:gd name="connsiteY34" fmla="*/ 27791 h 987801"/>
                  <a:gd name="connsiteX35" fmla="*/ 1304062 w 3344126"/>
                  <a:gd name="connsiteY35" fmla="*/ 21441 h 987801"/>
                  <a:gd name="connsiteX36" fmla="*/ 1358037 w 3344126"/>
                  <a:gd name="connsiteY36" fmla="*/ 2391 h 987801"/>
                  <a:gd name="connsiteX37" fmla="*/ 1402487 w 3344126"/>
                  <a:gd name="connsiteY37" fmla="*/ 5566 h 987801"/>
                  <a:gd name="connsiteX38" fmla="*/ 1491387 w 3344126"/>
                  <a:gd name="connsiteY38" fmla="*/ 50016 h 987801"/>
                  <a:gd name="connsiteX39" fmla="*/ 1542187 w 3344126"/>
                  <a:gd name="connsiteY39" fmla="*/ 40491 h 987801"/>
                  <a:gd name="connsiteX40" fmla="*/ 1580287 w 3344126"/>
                  <a:gd name="connsiteY40" fmla="*/ 62716 h 987801"/>
                  <a:gd name="connsiteX41" fmla="*/ 1634262 w 3344126"/>
                  <a:gd name="connsiteY41" fmla="*/ 94466 h 987801"/>
                  <a:gd name="connsiteX42" fmla="*/ 1713637 w 3344126"/>
                  <a:gd name="connsiteY42" fmla="*/ 116691 h 987801"/>
                  <a:gd name="connsiteX43" fmla="*/ 1764437 w 3344126"/>
                  <a:gd name="connsiteY43" fmla="*/ 91291 h 987801"/>
                  <a:gd name="connsiteX44" fmla="*/ 1815237 w 3344126"/>
                  <a:gd name="connsiteY44" fmla="*/ 97641 h 987801"/>
                  <a:gd name="connsiteX45" fmla="*/ 1859687 w 3344126"/>
                  <a:gd name="connsiteY45" fmla="*/ 123041 h 987801"/>
                  <a:gd name="connsiteX46" fmla="*/ 1973987 w 3344126"/>
                  <a:gd name="connsiteY46" fmla="*/ 103991 h 987801"/>
                  <a:gd name="connsiteX47" fmla="*/ 2024787 w 3344126"/>
                  <a:gd name="connsiteY47" fmla="*/ 119866 h 987801"/>
                  <a:gd name="connsiteX48" fmla="*/ 2145437 w 3344126"/>
                  <a:gd name="connsiteY48" fmla="*/ 145266 h 987801"/>
                  <a:gd name="connsiteX49" fmla="*/ 2224812 w 3344126"/>
                  <a:gd name="connsiteY49" fmla="*/ 129391 h 987801"/>
                  <a:gd name="connsiteX50" fmla="*/ 2389912 w 3344126"/>
                  <a:gd name="connsiteY50" fmla="*/ 183366 h 987801"/>
                  <a:gd name="connsiteX51" fmla="*/ 2488337 w 3344126"/>
                  <a:gd name="connsiteY51" fmla="*/ 234166 h 987801"/>
                  <a:gd name="connsiteX52" fmla="*/ 2618512 w 3344126"/>
                  <a:gd name="connsiteY52" fmla="*/ 259566 h 987801"/>
                  <a:gd name="connsiteX53" fmla="*/ 2742337 w 3344126"/>
                  <a:gd name="connsiteY53" fmla="*/ 250041 h 987801"/>
                  <a:gd name="connsiteX54" fmla="*/ 2824887 w 3344126"/>
                  <a:gd name="connsiteY54" fmla="*/ 256391 h 987801"/>
                  <a:gd name="connsiteX55" fmla="*/ 2920137 w 3344126"/>
                  <a:gd name="connsiteY55" fmla="*/ 284966 h 987801"/>
                  <a:gd name="connsiteX56" fmla="*/ 2980462 w 3344126"/>
                  <a:gd name="connsiteY56" fmla="*/ 313541 h 987801"/>
                  <a:gd name="connsiteX57" fmla="*/ 3067021 w 3344126"/>
                  <a:gd name="connsiteY57" fmla="*/ 414277 h 987801"/>
                  <a:gd name="connsiteX58" fmla="*/ 3150615 w 3344126"/>
                  <a:gd name="connsiteY58" fmla="*/ 461327 h 987801"/>
                  <a:gd name="connsiteX59" fmla="*/ 3169129 w 3344126"/>
                  <a:gd name="connsiteY59" fmla="*/ 523091 h 987801"/>
                  <a:gd name="connsiteX60" fmla="*/ 3161736 w 3344126"/>
                  <a:gd name="connsiteY60" fmla="*/ 567541 h 987801"/>
                  <a:gd name="connsiteX61" fmla="*/ 3197913 w 3344126"/>
                  <a:gd name="connsiteY61" fmla="*/ 624691 h 987801"/>
                  <a:gd name="connsiteX62" fmla="*/ 3252722 w 3344126"/>
                  <a:gd name="connsiteY62" fmla="*/ 646988 h 987801"/>
                  <a:gd name="connsiteX63" fmla="*/ 3255898 w 3344126"/>
                  <a:gd name="connsiteY63" fmla="*/ 710272 h 987801"/>
                  <a:gd name="connsiteX64" fmla="*/ 3305400 w 3344126"/>
                  <a:gd name="connsiteY64" fmla="*/ 780050 h 987801"/>
                  <a:gd name="connsiteX65" fmla="*/ 3344126 w 3344126"/>
                  <a:gd name="connsiteY65" fmla="*/ 987801 h 987801"/>
                  <a:gd name="connsiteX0" fmla="*/ 18187 w 3344126"/>
                  <a:gd name="connsiteY0" fmla="*/ 262741 h 987801"/>
                  <a:gd name="connsiteX1" fmla="*/ 40412 w 3344126"/>
                  <a:gd name="connsiteY1" fmla="*/ 319891 h 987801"/>
                  <a:gd name="connsiteX2" fmla="*/ 11837 w 3344126"/>
                  <a:gd name="connsiteY2" fmla="*/ 472291 h 987801"/>
                  <a:gd name="connsiteX3" fmla="*/ 2312 w 3344126"/>
                  <a:gd name="connsiteY3" fmla="*/ 564366 h 987801"/>
                  <a:gd name="connsiteX4" fmla="*/ 53112 w 3344126"/>
                  <a:gd name="connsiteY4" fmla="*/ 577066 h 987801"/>
                  <a:gd name="connsiteX5" fmla="*/ 84862 w 3344126"/>
                  <a:gd name="connsiteY5" fmla="*/ 570716 h 987801"/>
                  <a:gd name="connsiteX6" fmla="*/ 154712 w 3344126"/>
                  <a:gd name="connsiteY6" fmla="*/ 611991 h 987801"/>
                  <a:gd name="connsiteX7" fmla="*/ 205512 w 3344126"/>
                  <a:gd name="connsiteY7" fmla="*/ 602466 h 987801"/>
                  <a:gd name="connsiteX8" fmla="*/ 262662 w 3344126"/>
                  <a:gd name="connsiteY8" fmla="*/ 621516 h 987801"/>
                  <a:gd name="connsiteX9" fmla="*/ 269012 w 3344126"/>
                  <a:gd name="connsiteY9" fmla="*/ 659616 h 987801"/>
                  <a:gd name="connsiteX10" fmla="*/ 310287 w 3344126"/>
                  <a:gd name="connsiteY10" fmla="*/ 665966 h 987801"/>
                  <a:gd name="connsiteX11" fmla="*/ 332512 w 3344126"/>
                  <a:gd name="connsiteY11" fmla="*/ 719941 h 987801"/>
                  <a:gd name="connsiteX12" fmla="*/ 322987 w 3344126"/>
                  <a:gd name="connsiteY12" fmla="*/ 786616 h 987801"/>
                  <a:gd name="connsiteX13" fmla="*/ 342037 w 3344126"/>
                  <a:gd name="connsiteY13" fmla="*/ 843766 h 987801"/>
                  <a:gd name="connsiteX14" fmla="*/ 351562 w 3344126"/>
                  <a:gd name="connsiteY14" fmla="*/ 891391 h 987801"/>
                  <a:gd name="connsiteX15" fmla="*/ 389662 w 3344126"/>
                  <a:gd name="connsiteY15" fmla="*/ 932666 h 987801"/>
                  <a:gd name="connsiteX16" fmla="*/ 434112 w 3344126"/>
                  <a:gd name="connsiteY16" fmla="*/ 919966 h 987801"/>
                  <a:gd name="connsiteX17" fmla="*/ 465862 w 3344126"/>
                  <a:gd name="connsiteY17" fmla="*/ 935841 h 987801"/>
                  <a:gd name="connsiteX18" fmla="*/ 532537 w 3344126"/>
                  <a:gd name="connsiteY18" fmla="*/ 869166 h 987801"/>
                  <a:gd name="connsiteX19" fmla="*/ 583337 w 3344126"/>
                  <a:gd name="connsiteY19" fmla="*/ 805666 h 987801"/>
                  <a:gd name="connsiteX20" fmla="*/ 637312 w 3344126"/>
                  <a:gd name="connsiteY20" fmla="*/ 802491 h 987801"/>
                  <a:gd name="connsiteX21" fmla="*/ 656362 w 3344126"/>
                  <a:gd name="connsiteY21" fmla="*/ 767566 h 987801"/>
                  <a:gd name="connsiteX22" fmla="*/ 767487 w 3344126"/>
                  <a:gd name="connsiteY22" fmla="*/ 716766 h 987801"/>
                  <a:gd name="connsiteX23" fmla="*/ 875437 w 3344126"/>
                  <a:gd name="connsiteY23" fmla="*/ 542141 h 987801"/>
                  <a:gd name="connsiteX24" fmla="*/ 850037 w 3344126"/>
                  <a:gd name="connsiteY24" fmla="*/ 472291 h 987801"/>
                  <a:gd name="connsiteX25" fmla="*/ 888137 w 3344126"/>
                  <a:gd name="connsiteY25" fmla="*/ 402441 h 987801"/>
                  <a:gd name="connsiteX26" fmla="*/ 878612 w 3344126"/>
                  <a:gd name="connsiteY26" fmla="*/ 361166 h 987801"/>
                  <a:gd name="connsiteX27" fmla="*/ 932587 w 3344126"/>
                  <a:gd name="connsiteY27" fmla="*/ 329416 h 987801"/>
                  <a:gd name="connsiteX28" fmla="*/ 989737 w 3344126"/>
                  <a:gd name="connsiteY28" fmla="*/ 284966 h 987801"/>
                  <a:gd name="connsiteX29" fmla="*/ 1088162 w 3344126"/>
                  <a:gd name="connsiteY29" fmla="*/ 265916 h 987801"/>
                  <a:gd name="connsiteX30" fmla="*/ 1129437 w 3344126"/>
                  <a:gd name="connsiteY30" fmla="*/ 183366 h 987801"/>
                  <a:gd name="connsiteX31" fmla="*/ 1148487 w 3344126"/>
                  <a:gd name="connsiteY31" fmla="*/ 97641 h 987801"/>
                  <a:gd name="connsiteX32" fmla="*/ 1148487 w 3344126"/>
                  <a:gd name="connsiteY32" fmla="*/ 53191 h 987801"/>
                  <a:gd name="connsiteX33" fmla="*/ 1211987 w 3344126"/>
                  <a:gd name="connsiteY33" fmla="*/ 50016 h 987801"/>
                  <a:gd name="connsiteX34" fmla="*/ 1259612 w 3344126"/>
                  <a:gd name="connsiteY34" fmla="*/ 27791 h 987801"/>
                  <a:gd name="connsiteX35" fmla="*/ 1304062 w 3344126"/>
                  <a:gd name="connsiteY35" fmla="*/ 21441 h 987801"/>
                  <a:gd name="connsiteX36" fmla="*/ 1358037 w 3344126"/>
                  <a:gd name="connsiteY36" fmla="*/ 2391 h 987801"/>
                  <a:gd name="connsiteX37" fmla="*/ 1402487 w 3344126"/>
                  <a:gd name="connsiteY37" fmla="*/ 5566 h 987801"/>
                  <a:gd name="connsiteX38" fmla="*/ 1491387 w 3344126"/>
                  <a:gd name="connsiteY38" fmla="*/ 50016 h 987801"/>
                  <a:gd name="connsiteX39" fmla="*/ 1542187 w 3344126"/>
                  <a:gd name="connsiteY39" fmla="*/ 40491 h 987801"/>
                  <a:gd name="connsiteX40" fmla="*/ 1580287 w 3344126"/>
                  <a:gd name="connsiteY40" fmla="*/ 62716 h 987801"/>
                  <a:gd name="connsiteX41" fmla="*/ 1634262 w 3344126"/>
                  <a:gd name="connsiteY41" fmla="*/ 94466 h 987801"/>
                  <a:gd name="connsiteX42" fmla="*/ 1713637 w 3344126"/>
                  <a:gd name="connsiteY42" fmla="*/ 116691 h 987801"/>
                  <a:gd name="connsiteX43" fmla="*/ 1764437 w 3344126"/>
                  <a:gd name="connsiteY43" fmla="*/ 91291 h 987801"/>
                  <a:gd name="connsiteX44" fmla="*/ 1815237 w 3344126"/>
                  <a:gd name="connsiteY44" fmla="*/ 97641 h 987801"/>
                  <a:gd name="connsiteX45" fmla="*/ 1859687 w 3344126"/>
                  <a:gd name="connsiteY45" fmla="*/ 123041 h 987801"/>
                  <a:gd name="connsiteX46" fmla="*/ 1973987 w 3344126"/>
                  <a:gd name="connsiteY46" fmla="*/ 103991 h 987801"/>
                  <a:gd name="connsiteX47" fmla="*/ 2024787 w 3344126"/>
                  <a:gd name="connsiteY47" fmla="*/ 119866 h 987801"/>
                  <a:gd name="connsiteX48" fmla="*/ 2145437 w 3344126"/>
                  <a:gd name="connsiteY48" fmla="*/ 145266 h 987801"/>
                  <a:gd name="connsiteX49" fmla="*/ 2224812 w 3344126"/>
                  <a:gd name="connsiteY49" fmla="*/ 129391 h 987801"/>
                  <a:gd name="connsiteX50" fmla="*/ 2389912 w 3344126"/>
                  <a:gd name="connsiteY50" fmla="*/ 183366 h 987801"/>
                  <a:gd name="connsiteX51" fmla="*/ 2488337 w 3344126"/>
                  <a:gd name="connsiteY51" fmla="*/ 234166 h 987801"/>
                  <a:gd name="connsiteX52" fmla="*/ 2618512 w 3344126"/>
                  <a:gd name="connsiteY52" fmla="*/ 259566 h 987801"/>
                  <a:gd name="connsiteX53" fmla="*/ 2742337 w 3344126"/>
                  <a:gd name="connsiteY53" fmla="*/ 250041 h 987801"/>
                  <a:gd name="connsiteX54" fmla="*/ 2824887 w 3344126"/>
                  <a:gd name="connsiteY54" fmla="*/ 256391 h 987801"/>
                  <a:gd name="connsiteX55" fmla="*/ 2920137 w 3344126"/>
                  <a:gd name="connsiteY55" fmla="*/ 284966 h 987801"/>
                  <a:gd name="connsiteX56" fmla="*/ 3067021 w 3344126"/>
                  <a:gd name="connsiteY56" fmla="*/ 414277 h 987801"/>
                  <a:gd name="connsiteX57" fmla="*/ 3150615 w 3344126"/>
                  <a:gd name="connsiteY57" fmla="*/ 461327 h 987801"/>
                  <a:gd name="connsiteX58" fmla="*/ 3169129 w 3344126"/>
                  <a:gd name="connsiteY58" fmla="*/ 523091 h 987801"/>
                  <a:gd name="connsiteX59" fmla="*/ 3161736 w 3344126"/>
                  <a:gd name="connsiteY59" fmla="*/ 567541 h 987801"/>
                  <a:gd name="connsiteX60" fmla="*/ 3197913 w 3344126"/>
                  <a:gd name="connsiteY60" fmla="*/ 624691 h 987801"/>
                  <a:gd name="connsiteX61" fmla="*/ 3252722 w 3344126"/>
                  <a:gd name="connsiteY61" fmla="*/ 646988 h 987801"/>
                  <a:gd name="connsiteX62" fmla="*/ 3255898 w 3344126"/>
                  <a:gd name="connsiteY62" fmla="*/ 710272 h 987801"/>
                  <a:gd name="connsiteX63" fmla="*/ 3305400 w 3344126"/>
                  <a:gd name="connsiteY63" fmla="*/ 780050 h 987801"/>
                  <a:gd name="connsiteX64" fmla="*/ 3344126 w 3344126"/>
                  <a:gd name="connsiteY64" fmla="*/ 987801 h 987801"/>
                  <a:gd name="connsiteX0" fmla="*/ 18187 w 3344126"/>
                  <a:gd name="connsiteY0" fmla="*/ 262741 h 987801"/>
                  <a:gd name="connsiteX1" fmla="*/ 40412 w 3344126"/>
                  <a:gd name="connsiteY1" fmla="*/ 319891 h 987801"/>
                  <a:gd name="connsiteX2" fmla="*/ 11837 w 3344126"/>
                  <a:gd name="connsiteY2" fmla="*/ 472291 h 987801"/>
                  <a:gd name="connsiteX3" fmla="*/ 2312 w 3344126"/>
                  <a:gd name="connsiteY3" fmla="*/ 564366 h 987801"/>
                  <a:gd name="connsiteX4" fmla="*/ 53112 w 3344126"/>
                  <a:gd name="connsiteY4" fmla="*/ 577066 h 987801"/>
                  <a:gd name="connsiteX5" fmla="*/ 84862 w 3344126"/>
                  <a:gd name="connsiteY5" fmla="*/ 570716 h 987801"/>
                  <a:gd name="connsiteX6" fmla="*/ 154712 w 3344126"/>
                  <a:gd name="connsiteY6" fmla="*/ 611991 h 987801"/>
                  <a:gd name="connsiteX7" fmla="*/ 205512 w 3344126"/>
                  <a:gd name="connsiteY7" fmla="*/ 602466 h 987801"/>
                  <a:gd name="connsiteX8" fmla="*/ 262662 w 3344126"/>
                  <a:gd name="connsiteY8" fmla="*/ 621516 h 987801"/>
                  <a:gd name="connsiteX9" fmla="*/ 269012 w 3344126"/>
                  <a:gd name="connsiteY9" fmla="*/ 659616 h 987801"/>
                  <a:gd name="connsiteX10" fmla="*/ 310287 w 3344126"/>
                  <a:gd name="connsiteY10" fmla="*/ 665966 h 987801"/>
                  <a:gd name="connsiteX11" fmla="*/ 332512 w 3344126"/>
                  <a:gd name="connsiteY11" fmla="*/ 719941 h 987801"/>
                  <a:gd name="connsiteX12" fmla="*/ 322987 w 3344126"/>
                  <a:gd name="connsiteY12" fmla="*/ 786616 h 987801"/>
                  <a:gd name="connsiteX13" fmla="*/ 342037 w 3344126"/>
                  <a:gd name="connsiteY13" fmla="*/ 843766 h 987801"/>
                  <a:gd name="connsiteX14" fmla="*/ 351562 w 3344126"/>
                  <a:gd name="connsiteY14" fmla="*/ 891391 h 987801"/>
                  <a:gd name="connsiteX15" fmla="*/ 389662 w 3344126"/>
                  <a:gd name="connsiteY15" fmla="*/ 932666 h 987801"/>
                  <a:gd name="connsiteX16" fmla="*/ 434112 w 3344126"/>
                  <a:gd name="connsiteY16" fmla="*/ 919966 h 987801"/>
                  <a:gd name="connsiteX17" fmla="*/ 465862 w 3344126"/>
                  <a:gd name="connsiteY17" fmla="*/ 935841 h 987801"/>
                  <a:gd name="connsiteX18" fmla="*/ 532537 w 3344126"/>
                  <a:gd name="connsiteY18" fmla="*/ 869166 h 987801"/>
                  <a:gd name="connsiteX19" fmla="*/ 583337 w 3344126"/>
                  <a:gd name="connsiteY19" fmla="*/ 805666 h 987801"/>
                  <a:gd name="connsiteX20" fmla="*/ 637312 w 3344126"/>
                  <a:gd name="connsiteY20" fmla="*/ 802491 h 987801"/>
                  <a:gd name="connsiteX21" fmla="*/ 656362 w 3344126"/>
                  <a:gd name="connsiteY21" fmla="*/ 767566 h 987801"/>
                  <a:gd name="connsiteX22" fmla="*/ 767487 w 3344126"/>
                  <a:gd name="connsiteY22" fmla="*/ 716766 h 987801"/>
                  <a:gd name="connsiteX23" fmla="*/ 875437 w 3344126"/>
                  <a:gd name="connsiteY23" fmla="*/ 542141 h 987801"/>
                  <a:gd name="connsiteX24" fmla="*/ 850037 w 3344126"/>
                  <a:gd name="connsiteY24" fmla="*/ 472291 h 987801"/>
                  <a:gd name="connsiteX25" fmla="*/ 888137 w 3344126"/>
                  <a:gd name="connsiteY25" fmla="*/ 402441 h 987801"/>
                  <a:gd name="connsiteX26" fmla="*/ 878612 w 3344126"/>
                  <a:gd name="connsiteY26" fmla="*/ 361166 h 987801"/>
                  <a:gd name="connsiteX27" fmla="*/ 932587 w 3344126"/>
                  <a:gd name="connsiteY27" fmla="*/ 329416 h 987801"/>
                  <a:gd name="connsiteX28" fmla="*/ 989737 w 3344126"/>
                  <a:gd name="connsiteY28" fmla="*/ 284966 h 987801"/>
                  <a:gd name="connsiteX29" fmla="*/ 1088162 w 3344126"/>
                  <a:gd name="connsiteY29" fmla="*/ 265916 h 987801"/>
                  <a:gd name="connsiteX30" fmla="*/ 1129437 w 3344126"/>
                  <a:gd name="connsiteY30" fmla="*/ 183366 h 987801"/>
                  <a:gd name="connsiteX31" fmla="*/ 1148487 w 3344126"/>
                  <a:gd name="connsiteY31" fmla="*/ 97641 h 987801"/>
                  <a:gd name="connsiteX32" fmla="*/ 1148487 w 3344126"/>
                  <a:gd name="connsiteY32" fmla="*/ 53191 h 987801"/>
                  <a:gd name="connsiteX33" fmla="*/ 1211987 w 3344126"/>
                  <a:gd name="connsiteY33" fmla="*/ 50016 h 987801"/>
                  <a:gd name="connsiteX34" fmla="*/ 1259612 w 3344126"/>
                  <a:gd name="connsiteY34" fmla="*/ 27791 h 987801"/>
                  <a:gd name="connsiteX35" fmla="*/ 1304062 w 3344126"/>
                  <a:gd name="connsiteY35" fmla="*/ 21441 h 987801"/>
                  <a:gd name="connsiteX36" fmla="*/ 1358037 w 3344126"/>
                  <a:gd name="connsiteY36" fmla="*/ 2391 h 987801"/>
                  <a:gd name="connsiteX37" fmla="*/ 1402487 w 3344126"/>
                  <a:gd name="connsiteY37" fmla="*/ 5566 h 987801"/>
                  <a:gd name="connsiteX38" fmla="*/ 1491387 w 3344126"/>
                  <a:gd name="connsiteY38" fmla="*/ 50016 h 987801"/>
                  <a:gd name="connsiteX39" fmla="*/ 1542187 w 3344126"/>
                  <a:gd name="connsiteY39" fmla="*/ 40491 h 987801"/>
                  <a:gd name="connsiteX40" fmla="*/ 1580287 w 3344126"/>
                  <a:gd name="connsiteY40" fmla="*/ 62716 h 987801"/>
                  <a:gd name="connsiteX41" fmla="*/ 1634262 w 3344126"/>
                  <a:gd name="connsiteY41" fmla="*/ 94466 h 987801"/>
                  <a:gd name="connsiteX42" fmla="*/ 1713637 w 3344126"/>
                  <a:gd name="connsiteY42" fmla="*/ 116691 h 987801"/>
                  <a:gd name="connsiteX43" fmla="*/ 1764437 w 3344126"/>
                  <a:gd name="connsiteY43" fmla="*/ 91291 h 987801"/>
                  <a:gd name="connsiteX44" fmla="*/ 1815237 w 3344126"/>
                  <a:gd name="connsiteY44" fmla="*/ 97641 h 987801"/>
                  <a:gd name="connsiteX45" fmla="*/ 1859687 w 3344126"/>
                  <a:gd name="connsiteY45" fmla="*/ 123041 h 987801"/>
                  <a:gd name="connsiteX46" fmla="*/ 1973987 w 3344126"/>
                  <a:gd name="connsiteY46" fmla="*/ 103991 h 987801"/>
                  <a:gd name="connsiteX47" fmla="*/ 2024787 w 3344126"/>
                  <a:gd name="connsiteY47" fmla="*/ 119866 h 987801"/>
                  <a:gd name="connsiteX48" fmla="*/ 2145437 w 3344126"/>
                  <a:gd name="connsiteY48" fmla="*/ 145266 h 987801"/>
                  <a:gd name="connsiteX49" fmla="*/ 2224812 w 3344126"/>
                  <a:gd name="connsiteY49" fmla="*/ 129391 h 987801"/>
                  <a:gd name="connsiteX50" fmla="*/ 2389912 w 3344126"/>
                  <a:gd name="connsiteY50" fmla="*/ 183366 h 987801"/>
                  <a:gd name="connsiteX51" fmla="*/ 2488337 w 3344126"/>
                  <a:gd name="connsiteY51" fmla="*/ 234166 h 987801"/>
                  <a:gd name="connsiteX52" fmla="*/ 2618512 w 3344126"/>
                  <a:gd name="connsiteY52" fmla="*/ 259566 h 987801"/>
                  <a:gd name="connsiteX53" fmla="*/ 2742337 w 3344126"/>
                  <a:gd name="connsiteY53" fmla="*/ 250041 h 987801"/>
                  <a:gd name="connsiteX54" fmla="*/ 2824887 w 3344126"/>
                  <a:gd name="connsiteY54" fmla="*/ 256391 h 987801"/>
                  <a:gd name="connsiteX55" fmla="*/ 2966048 w 3344126"/>
                  <a:gd name="connsiteY55" fmla="*/ 366581 h 987801"/>
                  <a:gd name="connsiteX56" fmla="*/ 3067021 w 3344126"/>
                  <a:gd name="connsiteY56" fmla="*/ 414277 h 987801"/>
                  <a:gd name="connsiteX57" fmla="*/ 3150615 w 3344126"/>
                  <a:gd name="connsiteY57" fmla="*/ 461327 h 987801"/>
                  <a:gd name="connsiteX58" fmla="*/ 3169129 w 3344126"/>
                  <a:gd name="connsiteY58" fmla="*/ 523091 h 987801"/>
                  <a:gd name="connsiteX59" fmla="*/ 3161736 w 3344126"/>
                  <a:gd name="connsiteY59" fmla="*/ 567541 h 987801"/>
                  <a:gd name="connsiteX60" fmla="*/ 3197913 w 3344126"/>
                  <a:gd name="connsiteY60" fmla="*/ 624691 h 987801"/>
                  <a:gd name="connsiteX61" fmla="*/ 3252722 w 3344126"/>
                  <a:gd name="connsiteY61" fmla="*/ 646988 h 987801"/>
                  <a:gd name="connsiteX62" fmla="*/ 3255898 w 3344126"/>
                  <a:gd name="connsiteY62" fmla="*/ 710272 h 987801"/>
                  <a:gd name="connsiteX63" fmla="*/ 3305400 w 3344126"/>
                  <a:gd name="connsiteY63" fmla="*/ 780050 h 987801"/>
                  <a:gd name="connsiteX64" fmla="*/ 3344126 w 3344126"/>
                  <a:gd name="connsiteY64" fmla="*/ 987801 h 987801"/>
                  <a:gd name="connsiteX0" fmla="*/ 18187 w 3344126"/>
                  <a:gd name="connsiteY0" fmla="*/ 262741 h 987801"/>
                  <a:gd name="connsiteX1" fmla="*/ 40412 w 3344126"/>
                  <a:gd name="connsiteY1" fmla="*/ 319891 h 987801"/>
                  <a:gd name="connsiteX2" fmla="*/ 11837 w 3344126"/>
                  <a:gd name="connsiteY2" fmla="*/ 472291 h 987801"/>
                  <a:gd name="connsiteX3" fmla="*/ 2312 w 3344126"/>
                  <a:gd name="connsiteY3" fmla="*/ 564366 h 987801"/>
                  <a:gd name="connsiteX4" fmla="*/ 53112 w 3344126"/>
                  <a:gd name="connsiteY4" fmla="*/ 577066 h 987801"/>
                  <a:gd name="connsiteX5" fmla="*/ 84862 w 3344126"/>
                  <a:gd name="connsiteY5" fmla="*/ 570716 h 987801"/>
                  <a:gd name="connsiteX6" fmla="*/ 154712 w 3344126"/>
                  <a:gd name="connsiteY6" fmla="*/ 611991 h 987801"/>
                  <a:gd name="connsiteX7" fmla="*/ 205512 w 3344126"/>
                  <a:gd name="connsiteY7" fmla="*/ 602466 h 987801"/>
                  <a:gd name="connsiteX8" fmla="*/ 262662 w 3344126"/>
                  <a:gd name="connsiteY8" fmla="*/ 621516 h 987801"/>
                  <a:gd name="connsiteX9" fmla="*/ 269012 w 3344126"/>
                  <a:gd name="connsiteY9" fmla="*/ 659616 h 987801"/>
                  <a:gd name="connsiteX10" fmla="*/ 310287 w 3344126"/>
                  <a:gd name="connsiteY10" fmla="*/ 665966 h 987801"/>
                  <a:gd name="connsiteX11" fmla="*/ 332512 w 3344126"/>
                  <a:gd name="connsiteY11" fmla="*/ 719941 h 987801"/>
                  <a:gd name="connsiteX12" fmla="*/ 322987 w 3344126"/>
                  <a:gd name="connsiteY12" fmla="*/ 786616 h 987801"/>
                  <a:gd name="connsiteX13" fmla="*/ 342037 w 3344126"/>
                  <a:gd name="connsiteY13" fmla="*/ 843766 h 987801"/>
                  <a:gd name="connsiteX14" fmla="*/ 351562 w 3344126"/>
                  <a:gd name="connsiteY14" fmla="*/ 891391 h 987801"/>
                  <a:gd name="connsiteX15" fmla="*/ 389662 w 3344126"/>
                  <a:gd name="connsiteY15" fmla="*/ 932666 h 987801"/>
                  <a:gd name="connsiteX16" fmla="*/ 434112 w 3344126"/>
                  <a:gd name="connsiteY16" fmla="*/ 919966 h 987801"/>
                  <a:gd name="connsiteX17" fmla="*/ 465862 w 3344126"/>
                  <a:gd name="connsiteY17" fmla="*/ 935841 h 987801"/>
                  <a:gd name="connsiteX18" fmla="*/ 532537 w 3344126"/>
                  <a:gd name="connsiteY18" fmla="*/ 869166 h 987801"/>
                  <a:gd name="connsiteX19" fmla="*/ 583337 w 3344126"/>
                  <a:gd name="connsiteY19" fmla="*/ 805666 h 987801"/>
                  <a:gd name="connsiteX20" fmla="*/ 637312 w 3344126"/>
                  <a:gd name="connsiteY20" fmla="*/ 802491 h 987801"/>
                  <a:gd name="connsiteX21" fmla="*/ 656362 w 3344126"/>
                  <a:gd name="connsiteY21" fmla="*/ 767566 h 987801"/>
                  <a:gd name="connsiteX22" fmla="*/ 767487 w 3344126"/>
                  <a:gd name="connsiteY22" fmla="*/ 716766 h 987801"/>
                  <a:gd name="connsiteX23" fmla="*/ 875437 w 3344126"/>
                  <a:gd name="connsiteY23" fmla="*/ 542141 h 987801"/>
                  <a:gd name="connsiteX24" fmla="*/ 850037 w 3344126"/>
                  <a:gd name="connsiteY24" fmla="*/ 472291 h 987801"/>
                  <a:gd name="connsiteX25" fmla="*/ 888137 w 3344126"/>
                  <a:gd name="connsiteY25" fmla="*/ 402441 h 987801"/>
                  <a:gd name="connsiteX26" fmla="*/ 878612 w 3344126"/>
                  <a:gd name="connsiteY26" fmla="*/ 361166 h 987801"/>
                  <a:gd name="connsiteX27" fmla="*/ 932587 w 3344126"/>
                  <a:gd name="connsiteY27" fmla="*/ 329416 h 987801"/>
                  <a:gd name="connsiteX28" fmla="*/ 989737 w 3344126"/>
                  <a:gd name="connsiteY28" fmla="*/ 284966 h 987801"/>
                  <a:gd name="connsiteX29" fmla="*/ 1088162 w 3344126"/>
                  <a:gd name="connsiteY29" fmla="*/ 265916 h 987801"/>
                  <a:gd name="connsiteX30" fmla="*/ 1129437 w 3344126"/>
                  <a:gd name="connsiteY30" fmla="*/ 183366 h 987801"/>
                  <a:gd name="connsiteX31" fmla="*/ 1148487 w 3344126"/>
                  <a:gd name="connsiteY31" fmla="*/ 97641 h 987801"/>
                  <a:gd name="connsiteX32" fmla="*/ 1148487 w 3344126"/>
                  <a:gd name="connsiteY32" fmla="*/ 53191 h 987801"/>
                  <a:gd name="connsiteX33" fmla="*/ 1211987 w 3344126"/>
                  <a:gd name="connsiteY33" fmla="*/ 50016 h 987801"/>
                  <a:gd name="connsiteX34" fmla="*/ 1259612 w 3344126"/>
                  <a:gd name="connsiteY34" fmla="*/ 27791 h 987801"/>
                  <a:gd name="connsiteX35" fmla="*/ 1304062 w 3344126"/>
                  <a:gd name="connsiteY35" fmla="*/ 21441 h 987801"/>
                  <a:gd name="connsiteX36" fmla="*/ 1358037 w 3344126"/>
                  <a:gd name="connsiteY36" fmla="*/ 2391 h 987801"/>
                  <a:gd name="connsiteX37" fmla="*/ 1402487 w 3344126"/>
                  <a:gd name="connsiteY37" fmla="*/ 5566 h 987801"/>
                  <a:gd name="connsiteX38" fmla="*/ 1491387 w 3344126"/>
                  <a:gd name="connsiteY38" fmla="*/ 50016 h 987801"/>
                  <a:gd name="connsiteX39" fmla="*/ 1542187 w 3344126"/>
                  <a:gd name="connsiteY39" fmla="*/ 40491 h 987801"/>
                  <a:gd name="connsiteX40" fmla="*/ 1580287 w 3344126"/>
                  <a:gd name="connsiteY40" fmla="*/ 62716 h 987801"/>
                  <a:gd name="connsiteX41" fmla="*/ 1634262 w 3344126"/>
                  <a:gd name="connsiteY41" fmla="*/ 94466 h 987801"/>
                  <a:gd name="connsiteX42" fmla="*/ 1713637 w 3344126"/>
                  <a:gd name="connsiteY42" fmla="*/ 116691 h 987801"/>
                  <a:gd name="connsiteX43" fmla="*/ 1764437 w 3344126"/>
                  <a:gd name="connsiteY43" fmla="*/ 91291 h 987801"/>
                  <a:gd name="connsiteX44" fmla="*/ 1815237 w 3344126"/>
                  <a:gd name="connsiteY44" fmla="*/ 97641 h 987801"/>
                  <a:gd name="connsiteX45" fmla="*/ 1859687 w 3344126"/>
                  <a:gd name="connsiteY45" fmla="*/ 123041 h 987801"/>
                  <a:gd name="connsiteX46" fmla="*/ 1973987 w 3344126"/>
                  <a:gd name="connsiteY46" fmla="*/ 103991 h 987801"/>
                  <a:gd name="connsiteX47" fmla="*/ 2024787 w 3344126"/>
                  <a:gd name="connsiteY47" fmla="*/ 119866 h 987801"/>
                  <a:gd name="connsiteX48" fmla="*/ 2145437 w 3344126"/>
                  <a:gd name="connsiteY48" fmla="*/ 145266 h 987801"/>
                  <a:gd name="connsiteX49" fmla="*/ 2224812 w 3344126"/>
                  <a:gd name="connsiteY49" fmla="*/ 129391 h 987801"/>
                  <a:gd name="connsiteX50" fmla="*/ 2389912 w 3344126"/>
                  <a:gd name="connsiteY50" fmla="*/ 183366 h 987801"/>
                  <a:gd name="connsiteX51" fmla="*/ 2488337 w 3344126"/>
                  <a:gd name="connsiteY51" fmla="*/ 234166 h 987801"/>
                  <a:gd name="connsiteX52" fmla="*/ 2618512 w 3344126"/>
                  <a:gd name="connsiteY52" fmla="*/ 259566 h 987801"/>
                  <a:gd name="connsiteX53" fmla="*/ 2742337 w 3344126"/>
                  <a:gd name="connsiteY53" fmla="*/ 250041 h 987801"/>
                  <a:gd name="connsiteX54" fmla="*/ 2824887 w 3344126"/>
                  <a:gd name="connsiteY54" fmla="*/ 319172 h 987801"/>
                  <a:gd name="connsiteX55" fmla="*/ 2966048 w 3344126"/>
                  <a:gd name="connsiteY55" fmla="*/ 366581 h 987801"/>
                  <a:gd name="connsiteX56" fmla="*/ 3067021 w 3344126"/>
                  <a:gd name="connsiteY56" fmla="*/ 414277 h 987801"/>
                  <a:gd name="connsiteX57" fmla="*/ 3150615 w 3344126"/>
                  <a:gd name="connsiteY57" fmla="*/ 461327 h 987801"/>
                  <a:gd name="connsiteX58" fmla="*/ 3169129 w 3344126"/>
                  <a:gd name="connsiteY58" fmla="*/ 523091 h 987801"/>
                  <a:gd name="connsiteX59" fmla="*/ 3161736 w 3344126"/>
                  <a:gd name="connsiteY59" fmla="*/ 567541 h 987801"/>
                  <a:gd name="connsiteX60" fmla="*/ 3197913 w 3344126"/>
                  <a:gd name="connsiteY60" fmla="*/ 624691 h 987801"/>
                  <a:gd name="connsiteX61" fmla="*/ 3252722 w 3344126"/>
                  <a:gd name="connsiteY61" fmla="*/ 646988 h 987801"/>
                  <a:gd name="connsiteX62" fmla="*/ 3255898 w 3344126"/>
                  <a:gd name="connsiteY62" fmla="*/ 710272 h 987801"/>
                  <a:gd name="connsiteX63" fmla="*/ 3305400 w 3344126"/>
                  <a:gd name="connsiteY63" fmla="*/ 780050 h 987801"/>
                  <a:gd name="connsiteX64" fmla="*/ 3344126 w 3344126"/>
                  <a:gd name="connsiteY64" fmla="*/ 987801 h 987801"/>
                  <a:gd name="connsiteX0" fmla="*/ 18187 w 3344126"/>
                  <a:gd name="connsiteY0" fmla="*/ 262741 h 987801"/>
                  <a:gd name="connsiteX1" fmla="*/ 40412 w 3344126"/>
                  <a:gd name="connsiteY1" fmla="*/ 319891 h 987801"/>
                  <a:gd name="connsiteX2" fmla="*/ 11837 w 3344126"/>
                  <a:gd name="connsiteY2" fmla="*/ 472291 h 987801"/>
                  <a:gd name="connsiteX3" fmla="*/ 2312 w 3344126"/>
                  <a:gd name="connsiteY3" fmla="*/ 564366 h 987801"/>
                  <a:gd name="connsiteX4" fmla="*/ 53112 w 3344126"/>
                  <a:gd name="connsiteY4" fmla="*/ 577066 h 987801"/>
                  <a:gd name="connsiteX5" fmla="*/ 84862 w 3344126"/>
                  <a:gd name="connsiteY5" fmla="*/ 570716 h 987801"/>
                  <a:gd name="connsiteX6" fmla="*/ 154712 w 3344126"/>
                  <a:gd name="connsiteY6" fmla="*/ 611991 h 987801"/>
                  <a:gd name="connsiteX7" fmla="*/ 205512 w 3344126"/>
                  <a:gd name="connsiteY7" fmla="*/ 602466 h 987801"/>
                  <a:gd name="connsiteX8" fmla="*/ 262662 w 3344126"/>
                  <a:gd name="connsiteY8" fmla="*/ 621516 h 987801"/>
                  <a:gd name="connsiteX9" fmla="*/ 269012 w 3344126"/>
                  <a:gd name="connsiteY9" fmla="*/ 659616 h 987801"/>
                  <a:gd name="connsiteX10" fmla="*/ 310287 w 3344126"/>
                  <a:gd name="connsiteY10" fmla="*/ 665966 h 987801"/>
                  <a:gd name="connsiteX11" fmla="*/ 332512 w 3344126"/>
                  <a:gd name="connsiteY11" fmla="*/ 719941 h 987801"/>
                  <a:gd name="connsiteX12" fmla="*/ 322987 w 3344126"/>
                  <a:gd name="connsiteY12" fmla="*/ 786616 h 987801"/>
                  <a:gd name="connsiteX13" fmla="*/ 342037 w 3344126"/>
                  <a:gd name="connsiteY13" fmla="*/ 843766 h 987801"/>
                  <a:gd name="connsiteX14" fmla="*/ 351562 w 3344126"/>
                  <a:gd name="connsiteY14" fmla="*/ 891391 h 987801"/>
                  <a:gd name="connsiteX15" fmla="*/ 389662 w 3344126"/>
                  <a:gd name="connsiteY15" fmla="*/ 932666 h 987801"/>
                  <a:gd name="connsiteX16" fmla="*/ 434112 w 3344126"/>
                  <a:gd name="connsiteY16" fmla="*/ 919966 h 987801"/>
                  <a:gd name="connsiteX17" fmla="*/ 465862 w 3344126"/>
                  <a:gd name="connsiteY17" fmla="*/ 935841 h 987801"/>
                  <a:gd name="connsiteX18" fmla="*/ 532537 w 3344126"/>
                  <a:gd name="connsiteY18" fmla="*/ 869166 h 987801"/>
                  <a:gd name="connsiteX19" fmla="*/ 583337 w 3344126"/>
                  <a:gd name="connsiteY19" fmla="*/ 805666 h 987801"/>
                  <a:gd name="connsiteX20" fmla="*/ 637312 w 3344126"/>
                  <a:gd name="connsiteY20" fmla="*/ 802491 h 987801"/>
                  <a:gd name="connsiteX21" fmla="*/ 656362 w 3344126"/>
                  <a:gd name="connsiteY21" fmla="*/ 767566 h 987801"/>
                  <a:gd name="connsiteX22" fmla="*/ 767487 w 3344126"/>
                  <a:gd name="connsiteY22" fmla="*/ 716766 h 987801"/>
                  <a:gd name="connsiteX23" fmla="*/ 875437 w 3344126"/>
                  <a:gd name="connsiteY23" fmla="*/ 542141 h 987801"/>
                  <a:gd name="connsiteX24" fmla="*/ 850037 w 3344126"/>
                  <a:gd name="connsiteY24" fmla="*/ 472291 h 987801"/>
                  <a:gd name="connsiteX25" fmla="*/ 888137 w 3344126"/>
                  <a:gd name="connsiteY25" fmla="*/ 402441 h 987801"/>
                  <a:gd name="connsiteX26" fmla="*/ 878612 w 3344126"/>
                  <a:gd name="connsiteY26" fmla="*/ 361166 h 987801"/>
                  <a:gd name="connsiteX27" fmla="*/ 932587 w 3344126"/>
                  <a:gd name="connsiteY27" fmla="*/ 329416 h 987801"/>
                  <a:gd name="connsiteX28" fmla="*/ 989737 w 3344126"/>
                  <a:gd name="connsiteY28" fmla="*/ 284966 h 987801"/>
                  <a:gd name="connsiteX29" fmla="*/ 1088162 w 3344126"/>
                  <a:gd name="connsiteY29" fmla="*/ 265916 h 987801"/>
                  <a:gd name="connsiteX30" fmla="*/ 1129437 w 3344126"/>
                  <a:gd name="connsiteY30" fmla="*/ 183366 h 987801"/>
                  <a:gd name="connsiteX31" fmla="*/ 1148487 w 3344126"/>
                  <a:gd name="connsiteY31" fmla="*/ 97641 h 987801"/>
                  <a:gd name="connsiteX32" fmla="*/ 1148487 w 3344126"/>
                  <a:gd name="connsiteY32" fmla="*/ 53191 h 987801"/>
                  <a:gd name="connsiteX33" fmla="*/ 1211987 w 3344126"/>
                  <a:gd name="connsiteY33" fmla="*/ 50016 h 987801"/>
                  <a:gd name="connsiteX34" fmla="*/ 1259612 w 3344126"/>
                  <a:gd name="connsiteY34" fmla="*/ 27791 h 987801"/>
                  <a:gd name="connsiteX35" fmla="*/ 1304062 w 3344126"/>
                  <a:gd name="connsiteY35" fmla="*/ 21441 h 987801"/>
                  <a:gd name="connsiteX36" fmla="*/ 1358037 w 3344126"/>
                  <a:gd name="connsiteY36" fmla="*/ 2391 h 987801"/>
                  <a:gd name="connsiteX37" fmla="*/ 1402487 w 3344126"/>
                  <a:gd name="connsiteY37" fmla="*/ 5566 h 987801"/>
                  <a:gd name="connsiteX38" fmla="*/ 1491387 w 3344126"/>
                  <a:gd name="connsiteY38" fmla="*/ 50016 h 987801"/>
                  <a:gd name="connsiteX39" fmla="*/ 1542187 w 3344126"/>
                  <a:gd name="connsiteY39" fmla="*/ 40491 h 987801"/>
                  <a:gd name="connsiteX40" fmla="*/ 1580287 w 3344126"/>
                  <a:gd name="connsiteY40" fmla="*/ 62716 h 987801"/>
                  <a:gd name="connsiteX41" fmla="*/ 1634262 w 3344126"/>
                  <a:gd name="connsiteY41" fmla="*/ 94466 h 987801"/>
                  <a:gd name="connsiteX42" fmla="*/ 1713637 w 3344126"/>
                  <a:gd name="connsiteY42" fmla="*/ 116691 h 987801"/>
                  <a:gd name="connsiteX43" fmla="*/ 1764437 w 3344126"/>
                  <a:gd name="connsiteY43" fmla="*/ 91291 h 987801"/>
                  <a:gd name="connsiteX44" fmla="*/ 1815237 w 3344126"/>
                  <a:gd name="connsiteY44" fmla="*/ 97641 h 987801"/>
                  <a:gd name="connsiteX45" fmla="*/ 1859687 w 3344126"/>
                  <a:gd name="connsiteY45" fmla="*/ 123041 h 987801"/>
                  <a:gd name="connsiteX46" fmla="*/ 1973987 w 3344126"/>
                  <a:gd name="connsiteY46" fmla="*/ 103991 h 987801"/>
                  <a:gd name="connsiteX47" fmla="*/ 2024787 w 3344126"/>
                  <a:gd name="connsiteY47" fmla="*/ 119866 h 987801"/>
                  <a:gd name="connsiteX48" fmla="*/ 2145437 w 3344126"/>
                  <a:gd name="connsiteY48" fmla="*/ 145266 h 987801"/>
                  <a:gd name="connsiteX49" fmla="*/ 2224812 w 3344126"/>
                  <a:gd name="connsiteY49" fmla="*/ 129391 h 987801"/>
                  <a:gd name="connsiteX50" fmla="*/ 2389912 w 3344126"/>
                  <a:gd name="connsiteY50" fmla="*/ 183366 h 987801"/>
                  <a:gd name="connsiteX51" fmla="*/ 2488337 w 3344126"/>
                  <a:gd name="connsiteY51" fmla="*/ 234166 h 987801"/>
                  <a:gd name="connsiteX52" fmla="*/ 2618512 w 3344126"/>
                  <a:gd name="connsiteY52" fmla="*/ 259566 h 987801"/>
                  <a:gd name="connsiteX53" fmla="*/ 2696427 w 3344126"/>
                  <a:gd name="connsiteY53" fmla="*/ 300265 h 987801"/>
                  <a:gd name="connsiteX54" fmla="*/ 2824887 w 3344126"/>
                  <a:gd name="connsiteY54" fmla="*/ 319172 h 987801"/>
                  <a:gd name="connsiteX55" fmla="*/ 2966048 w 3344126"/>
                  <a:gd name="connsiteY55" fmla="*/ 366581 h 987801"/>
                  <a:gd name="connsiteX56" fmla="*/ 3067021 w 3344126"/>
                  <a:gd name="connsiteY56" fmla="*/ 414277 h 987801"/>
                  <a:gd name="connsiteX57" fmla="*/ 3150615 w 3344126"/>
                  <a:gd name="connsiteY57" fmla="*/ 461327 h 987801"/>
                  <a:gd name="connsiteX58" fmla="*/ 3169129 w 3344126"/>
                  <a:gd name="connsiteY58" fmla="*/ 523091 h 987801"/>
                  <a:gd name="connsiteX59" fmla="*/ 3161736 w 3344126"/>
                  <a:gd name="connsiteY59" fmla="*/ 567541 h 987801"/>
                  <a:gd name="connsiteX60" fmla="*/ 3197913 w 3344126"/>
                  <a:gd name="connsiteY60" fmla="*/ 624691 h 987801"/>
                  <a:gd name="connsiteX61" fmla="*/ 3252722 w 3344126"/>
                  <a:gd name="connsiteY61" fmla="*/ 646988 h 987801"/>
                  <a:gd name="connsiteX62" fmla="*/ 3255898 w 3344126"/>
                  <a:gd name="connsiteY62" fmla="*/ 710272 h 987801"/>
                  <a:gd name="connsiteX63" fmla="*/ 3305400 w 3344126"/>
                  <a:gd name="connsiteY63" fmla="*/ 780050 h 987801"/>
                  <a:gd name="connsiteX64" fmla="*/ 3344126 w 3344126"/>
                  <a:gd name="connsiteY64" fmla="*/ 987801 h 987801"/>
                  <a:gd name="connsiteX0" fmla="*/ 18187 w 3344126"/>
                  <a:gd name="connsiteY0" fmla="*/ 262741 h 987801"/>
                  <a:gd name="connsiteX1" fmla="*/ 40412 w 3344126"/>
                  <a:gd name="connsiteY1" fmla="*/ 319891 h 987801"/>
                  <a:gd name="connsiteX2" fmla="*/ 11837 w 3344126"/>
                  <a:gd name="connsiteY2" fmla="*/ 472291 h 987801"/>
                  <a:gd name="connsiteX3" fmla="*/ 2312 w 3344126"/>
                  <a:gd name="connsiteY3" fmla="*/ 564366 h 987801"/>
                  <a:gd name="connsiteX4" fmla="*/ 53112 w 3344126"/>
                  <a:gd name="connsiteY4" fmla="*/ 577066 h 987801"/>
                  <a:gd name="connsiteX5" fmla="*/ 84862 w 3344126"/>
                  <a:gd name="connsiteY5" fmla="*/ 570716 h 987801"/>
                  <a:gd name="connsiteX6" fmla="*/ 154712 w 3344126"/>
                  <a:gd name="connsiteY6" fmla="*/ 611991 h 987801"/>
                  <a:gd name="connsiteX7" fmla="*/ 205512 w 3344126"/>
                  <a:gd name="connsiteY7" fmla="*/ 602466 h 987801"/>
                  <a:gd name="connsiteX8" fmla="*/ 262662 w 3344126"/>
                  <a:gd name="connsiteY8" fmla="*/ 621516 h 987801"/>
                  <a:gd name="connsiteX9" fmla="*/ 269012 w 3344126"/>
                  <a:gd name="connsiteY9" fmla="*/ 659616 h 987801"/>
                  <a:gd name="connsiteX10" fmla="*/ 310287 w 3344126"/>
                  <a:gd name="connsiteY10" fmla="*/ 665966 h 987801"/>
                  <a:gd name="connsiteX11" fmla="*/ 332512 w 3344126"/>
                  <a:gd name="connsiteY11" fmla="*/ 719941 h 987801"/>
                  <a:gd name="connsiteX12" fmla="*/ 322987 w 3344126"/>
                  <a:gd name="connsiteY12" fmla="*/ 786616 h 987801"/>
                  <a:gd name="connsiteX13" fmla="*/ 342037 w 3344126"/>
                  <a:gd name="connsiteY13" fmla="*/ 843766 h 987801"/>
                  <a:gd name="connsiteX14" fmla="*/ 351562 w 3344126"/>
                  <a:gd name="connsiteY14" fmla="*/ 891391 h 987801"/>
                  <a:gd name="connsiteX15" fmla="*/ 389662 w 3344126"/>
                  <a:gd name="connsiteY15" fmla="*/ 932666 h 987801"/>
                  <a:gd name="connsiteX16" fmla="*/ 434112 w 3344126"/>
                  <a:gd name="connsiteY16" fmla="*/ 919966 h 987801"/>
                  <a:gd name="connsiteX17" fmla="*/ 465862 w 3344126"/>
                  <a:gd name="connsiteY17" fmla="*/ 935841 h 987801"/>
                  <a:gd name="connsiteX18" fmla="*/ 532537 w 3344126"/>
                  <a:gd name="connsiteY18" fmla="*/ 869166 h 987801"/>
                  <a:gd name="connsiteX19" fmla="*/ 583337 w 3344126"/>
                  <a:gd name="connsiteY19" fmla="*/ 805666 h 987801"/>
                  <a:gd name="connsiteX20" fmla="*/ 637312 w 3344126"/>
                  <a:gd name="connsiteY20" fmla="*/ 802491 h 987801"/>
                  <a:gd name="connsiteX21" fmla="*/ 656362 w 3344126"/>
                  <a:gd name="connsiteY21" fmla="*/ 767566 h 987801"/>
                  <a:gd name="connsiteX22" fmla="*/ 767487 w 3344126"/>
                  <a:gd name="connsiteY22" fmla="*/ 716766 h 987801"/>
                  <a:gd name="connsiteX23" fmla="*/ 875437 w 3344126"/>
                  <a:gd name="connsiteY23" fmla="*/ 542141 h 987801"/>
                  <a:gd name="connsiteX24" fmla="*/ 850037 w 3344126"/>
                  <a:gd name="connsiteY24" fmla="*/ 472291 h 987801"/>
                  <a:gd name="connsiteX25" fmla="*/ 888137 w 3344126"/>
                  <a:gd name="connsiteY25" fmla="*/ 402441 h 987801"/>
                  <a:gd name="connsiteX26" fmla="*/ 878612 w 3344126"/>
                  <a:gd name="connsiteY26" fmla="*/ 361166 h 987801"/>
                  <a:gd name="connsiteX27" fmla="*/ 932587 w 3344126"/>
                  <a:gd name="connsiteY27" fmla="*/ 329416 h 987801"/>
                  <a:gd name="connsiteX28" fmla="*/ 989737 w 3344126"/>
                  <a:gd name="connsiteY28" fmla="*/ 284966 h 987801"/>
                  <a:gd name="connsiteX29" fmla="*/ 1088162 w 3344126"/>
                  <a:gd name="connsiteY29" fmla="*/ 265916 h 987801"/>
                  <a:gd name="connsiteX30" fmla="*/ 1129437 w 3344126"/>
                  <a:gd name="connsiteY30" fmla="*/ 183366 h 987801"/>
                  <a:gd name="connsiteX31" fmla="*/ 1148487 w 3344126"/>
                  <a:gd name="connsiteY31" fmla="*/ 97641 h 987801"/>
                  <a:gd name="connsiteX32" fmla="*/ 1148487 w 3344126"/>
                  <a:gd name="connsiteY32" fmla="*/ 53191 h 987801"/>
                  <a:gd name="connsiteX33" fmla="*/ 1211987 w 3344126"/>
                  <a:gd name="connsiteY33" fmla="*/ 50016 h 987801"/>
                  <a:gd name="connsiteX34" fmla="*/ 1259612 w 3344126"/>
                  <a:gd name="connsiteY34" fmla="*/ 27791 h 987801"/>
                  <a:gd name="connsiteX35" fmla="*/ 1304062 w 3344126"/>
                  <a:gd name="connsiteY35" fmla="*/ 21441 h 987801"/>
                  <a:gd name="connsiteX36" fmla="*/ 1358037 w 3344126"/>
                  <a:gd name="connsiteY36" fmla="*/ 2391 h 987801"/>
                  <a:gd name="connsiteX37" fmla="*/ 1402487 w 3344126"/>
                  <a:gd name="connsiteY37" fmla="*/ 5566 h 987801"/>
                  <a:gd name="connsiteX38" fmla="*/ 1491387 w 3344126"/>
                  <a:gd name="connsiteY38" fmla="*/ 50016 h 987801"/>
                  <a:gd name="connsiteX39" fmla="*/ 1542187 w 3344126"/>
                  <a:gd name="connsiteY39" fmla="*/ 40491 h 987801"/>
                  <a:gd name="connsiteX40" fmla="*/ 1580287 w 3344126"/>
                  <a:gd name="connsiteY40" fmla="*/ 62716 h 987801"/>
                  <a:gd name="connsiteX41" fmla="*/ 1634262 w 3344126"/>
                  <a:gd name="connsiteY41" fmla="*/ 94466 h 987801"/>
                  <a:gd name="connsiteX42" fmla="*/ 1713637 w 3344126"/>
                  <a:gd name="connsiteY42" fmla="*/ 116691 h 987801"/>
                  <a:gd name="connsiteX43" fmla="*/ 1764437 w 3344126"/>
                  <a:gd name="connsiteY43" fmla="*/ 91291 h 987801"/>
                  <a:gd name="connsiteX44" fmla="*/ 1815237 w 3344126"/>
                  <a:gd name="connsiteY44" fmla="*/ 97641 h 987801"/>
                  <a:gd name="connsiteX45" fmla="*/ 1859687 w 3344126"/>
                  <a:gd name="connsiteY45" fmla="*/ 123041 h 987801"/>
                  <a:gd name="connsiteX46" fmla="*/ 1973987 w 3344126"/>
                  <a:gd name="connsiteY46" fmla="*/ 103991 h 987801"/>
                  <a:gd name="connsiteX47" fmla="*/ 2024787 w 3344126"/>
                  <a:gd name="connsiteY47" fmla="*/ 119866 h 987801"/>
                  <a:gd name="connsiteX48" fmla="*/ 2145437 w 3344126"/>
                  <a:gd name="connsiteY48" fmla="*/ 145266 h 987801"/>
                  <a:gd name="connsiteX49" fmla="*/ 2224812 w 3344126"/>
                  <a:gd name="connsiteY49" fmla="*/ 129391 h 987801"/>
                  <a:gd name="connsiteX50" fmla="*/ 2389912 w 3344126"/>
                  <a:gd name="connsiteY50" fmla="*/ 183366 h 987801"/>
                  <a:gd name="connsiteX51" fmla="*/ 2488337 w 3344126"/>
                  <a:gd name="connsiteY51" fmla="*/ 234166 h 987801"/>
                  <a:gd name="connsiteX52" fmla="*/ 2618512 w 3344126"/>
                  <a:gd name="connsiteY52" fmla="*/ 259566 h 987801"/>
                  <a:gd name="connsiteX53" fmla="*/ 2696427 w 3344126"/>
                  <a:gd name="connsiteY53" fmla="*/ 300265 h 987801"/>
                  <a:gd name="connsiteX54" fmla="*/ 2824887 w 3344126"/>
                  <a:gd name="connsiteY54" fmla="*/ 319172 h 987801"/>
                  <a:gd name="connsiteX55" fmla="*/ 2966048 w 3344126"/>
                  <a:gd name="connsiteY55" fmla="*/ 366581 h 987801"/>
                  <a:gd name="connsiteX56" fmla="*/ 3067021 w 3344126"/>
                  <a:gd name="connsiteY56" fmla="*/ 414277 h 987801"/>
                  <a:gd name="connsiteX57" fmla="*/ 3124381 w 3344126"/>
                  <a:gd name="connsiteY57" fmla="*/ 480161 h 987801"/>
                  <a:gd name="connsiteX58" fmla="*/ 3169129 w 3344126"/>
                  <a:gd name="connsiteY58" fmla="*/ 523091 h 987801"/>
                  <a:gd name="connsiteX59" fmla="*/ 3161736 w 3344126"/>
                  <a:gd name="connsiteY59" fmla="*/ 567541 h 987801"/>
                  <a:gd name="connsiteX60" fmla="*/ 3197913 w 3344126"/>
                  <a:gd name="connsiteY60" fmla="*/ 624691 h 987801"/>
                  <a:gd name="connsiteX61" fmla="*/ 3252722 w 3344126"/>
                  <a:gd name="connsiteY61" fmla="*/ 646988 h 987801"/>
                  <a:gd name="connsiteX62" fmla="*/ 3255898 w 3344126"/>
                  <a:gd name="connsiteY62" fmla="*/ 710272 h 987801"/>
                  <a:gd name="connsiteX63" fmla="*/ 3305400 w 3344126"/>
                  <a:gd name="connsiteY63" fmla="*/ 780050 h 987801"/>
                  <a:gd name="connsiteX64" fmla="*/ 3344126 w 3344126"/>
                  <a:gd name="connsiteY64" fmla="*/ 987801 h 987801"/>
                  <a:gd name="connsiteX0" fmla="*/ 18187 w 3344126"/>
                  <a:gd name="connsiteY0" fmla="*/ 262741 h 987801"/>
                  <a:gd name="connsiteX1" fmla="*/ 40412 w 3344126"/>
                  <a:gd name="connsiteY1" fmla="*/ 319891 h 987801"/>
                  <a:gd name="connsiteX2" fmla="*/ 11837 w 3344126"/>
                  <a:gd name="connsiteY2" fmla="*/ 472291 h 987801"/>
                  <a:gd name="connsiteX3" fmla="*/ 2312 w 3344126"/>
                  <a:gd name="connsiteY3" fmla="*/ 564366 h 987801"/>
                  <a:gd name="connsiteX4" fmla="*/ 53112 w 3344126"/>
                  <a:gd name="connsiteY4" fmla="*/ 577066 h 987801"/>
                  <a:gd name="connsiteX5" fmla="*/ 84862 w 3344126"/>
                  <a:gd name="connsiteY5" fmla="*/ 570716 h 987801"/>
                  <a:gd name="connsiteX6" fmla="*/ 154712 w 3344126"/>
                  <a:gd name="connsiteY6" fmla="*/ 611991 h 987801"/>
                  <a:gd name="connsiteX7" fmla="*/ 205512 w 3344126"/>
                  <a:gd name="connsiteY7" fmla="*/ 602466 h 987801"/>
                  <a:gd name="connsiteX8" fmla="*/ 262662 w 3344126"/>
                  <a:gd name="connsiteY8" fmla="*/ 621516 h 987801"/>
                  <a:gd name="connsiteX9" fmla="*/ 269012 w 3344126"/>
                  <a:gd name="connsiteY9" fmla="*/ 659616 h 987801"/>
                  <a:gd name="connsiteX10" fmla="*/ 310287 w 3344126"/>
                  <a:gd name="connsiteY10" fmla="*/ 665966 h 987801"/>
                  <a:gd name="connsiteX11" fmla="*/ 332512 w 3344126"/>
                  <a:gd name="connsiteY11" fmla="*/ 719941 h 987801"/>
                  <a:gd name="connsiteX12" fmla="*/ 322987 w 3344126"/>
                  <a:gd name="connsiteY12" fmla="*/ 786616 h 987801"/>
                  <a:gd name="connsiteX13" fmla="*/ 342037 w 3344126"/>
                  <a:gd name="connsiteY13" fmla="*/ 843766 h 987801"/>
                  <a:gd name="connsiteX14" fmla="*/ 351562 w 3344126"/>
                  <a:gd name="connsiteY14" fmla="*/ 891391 h 987801"/>
                  <a:gd name="connsiteX15" fmla="*/ 389662 w 3344126"/>
                  <a:gd name="connsiteY15" fmla="*/ 932666 h 987801"/>
                  <a:gd name="connsiteX16" fmla="*/ 434112 w 3344126"/>
                  <a:gd name="connsiteY16" fmla="*/ 919966 h 987801"/>
                  <a:gd name="connsiteX17" fmla="*/ 465862 w 3344126"/>
                  <a:gd name="connsiteY17" fmla="*/ 935841 h 987801"/>
                  <a:gd name="connsiteX18" fmla="*/ 532537 w 3344126"/>
                  <a:gd name="connsiteY18" fmla="*/ 869166 h 987801"/>
                  <a:gd name="connsiteX19" fmla="*/ 583337 w 3344126"/>
                  <a:gd name="connsiteY19" fmla="*/ 805666 h 987801"/>
                  <a:gd name="connsiteX20" fmla="*/ 637312 w 3344126"/>
                  <a:gd name="connsiteY20" fmla="*/ 802491 h 987801"/>
                  <a:gd name="connsiteX21" fmla="*/ 656362 w 3344126"/>
                  <a:gd name="connsiteY21" fmla="*/ 767566 h 987801"/>
                  <a:gd name="connsiteX22" fmla="*/ 767487 w 3344126"/>
                  <a:gd name="connsiteY22" fmla="*/ 716766 h 987801"/>
                  <a:gd name="connsiteX23" fmla="*/ 875437 w 3344126"/>
                  <a:gd name="connsiteY23" fmla="*/ 542141 h 987801"/>
                  <a:gd name="connsiteX24" fmla="*/ 850037 w 3344126"/>
                  <a:gd name="connsiteY24" fmla="*/ 472291 h 987801"/>
                  <a:gd name="connsiteX25" fmla="*/ 888137 w 3344126"/>
                  <a:gd name="connsiteY25" fmla="*/ 402441 h 987801"/>
                  <a:gd name="connsiteX26" fmla="*/ 878612 w 3344126"/>
                  <a:gd name="connsiteY26" fmla="*/ 361166 h 987801"/>
                  <a:gd name="connsiteX27" fmla="*/ 932587 w 3344126"/>
                  <a:gd name="connsiteY27" fmla="*/ 329416 h 987801"/>
                  <a:gd name="connsiteX28" fmla="*/ 989737 w 3344126"/>
                  <a:gd name="connsiteY28" fmla="*/ 284966 h 987801"/>
                  <a:gd name="connsiteX29" fmla="*/ 1088162 w 3344126"/>
                  <a:gd name="connsiteY29" fmla="*/ 265916 h 987801"/>
                  <a:gd name="connsiteX30" fmla="*/ 1129437 w 3344126"/>
                  <a:gd name="connsiteY30" fmla="*/ 183366 h 987801"/>
                  <a:gd name="connsiteX31" fmla="*/ 1148487 w 3344126"/>
                  <a:gd name="connsiteY31" fmla="*/ 97641 h 987801"/>
                  <a:gd name="connsiteX32" fmla="*/ 1148487 w 3344126"/>
                  <a:gd name="connsiteY32" fmla="*/ 53191 h 987801"/>
                  <a:gd name="connsiteX33" fmla="*/ 1211987 w 3344126"/>
                  <a:gd name="connsiteY33" fmla="*/ 50016 h 987801"/>
                  <a:gd name="connsiteX34" fmla="*/ 1259612 w 3344126"/>
                  <a:gd name="connsiteY34" fmla="*/ 27791 h 987801"/>
                  <a:gd name="connsiteX35" fmla="*/ 1304062 w 3344126"/>
                  <a:gd name="connsiteY35" fmla="*/ 21441 h 987801"/>
                  <a:gd name="connsiteX36" fmla="*/ 1358037 w 3344126"/>
                  <a:gd name="connsiteY36" fmla="*/ 2391 h 987801"/>
                  <a:gd name="connsiteX37" fmla="*/ 1402487 w 3344126"/>
                  <a:gd name="connsiteY37" fmla="*/ 5566 h 987801"/>
                  <a:gd name="connsiteX38" fmla="*/ 1491387 w 3344126"/>
                  <a:gd name="connsiteY38" fmla="*/ 50016 h 987801"/>
                  <a:gd name="connsiteX39" fmla="*/ 1542187 w 3344126"/>
                  <a:gd name="connsiteY39" fmla="*/ 40491 h 987801"/>
                  <a:gd name="connsiteX40" fmla="*/ 1580287 w 3344126"/>
                  <a:gd name="connsiteY40" fmla="*/ 62716 h 987801"/>
                  <a:gd name="connsiteX41" fmla="*/ 1634262 w 3344126"/>
                  <a:gd name="connsiteY41" fmla="*/ 94466 h 987801"/>
                  <a:gd name="connsiteX42" fmla="*/ 1713637 w 3344126"/>
                  <a:gd name="connsiteY42" fmla="*/ 116691 h 987801"/>
                  <a:gd name="connsiteX43" fmla="*/ 1764437 w 3344126"/>
                  <a:gd name="connsiteY43" fmla="*/ 91291 h 987801"/>
                  <a:gd name="connsiteX44" fmla="*/ 1815237 w 3344126"/>
                  <a:gd name="connsiteY44" fmla="*/ 97641 h 987801"/>
                  <a:gd name="connsiteX45" fmla="*/ 1859687 w 3344126"/>
                  <a:gd name="connsiteY45" fmla="*/ 123041 h 987801"/>
                  <a:gd name="connsiteX46" fmla="*/ 1973987 w 3344126"/>
                  <a:gd name="connsiteY46" fmla="*/ 103991 h 987801"/>
                  <a:gd name="connsiteX47" fmla="*/ 2024787 w 3344126"/>
                  <a:gd name="connsiteY47" fmla="*/ 119866 h 987801"/>
                  <a:gd name="connsiteX48" fmla="*/ 2145437 w 3344126"/>
                  <a:gd name="connsiteY48" fmla="*/ 145266 h 987801"/>
                  <a:gd name="connsiteX49" fmla="*/ 2224812 w 3344126"/>
                  <a:gd name="connsiteY49" fmla="*/ 129391 h 987801"/>
                  <a:gd name="connsiteX50" fmla="*/ 2389912 w 3344126"/>
                  <a:gd name="connsiteY50" fmla="*/ 183366 h 987801"/>
                  <a:gd name="connsiteX51" fmla="*/ 2488337 w 3344126"/>
                  <a:gd name="connsiteY51" fmla="*/ 234166 h 987801"/>
                  <a:gd name="connsiteX52" fmla="*/ 2618512 w 3344126"/>
                  <a:gd name="connsiteY52" fmla="*/ 259566 h 987801"/>
                  <a:gd name="connsiteX53" fmla="*/ 2696427 w 3344126"/>
                  <a:gd name="connsiteY53" fmla="*/ 300265 h 987801"/>
                  <a:gd name="connsiteX54" fmla="*/ 2824887 w 3344126"/>
                  <a:gd name="connsiteY54" fmla="*/ 319172 h 987801"/>
                  <a:gd name="connsiteX55" fmla="*/ 2966048 w 3344126"/>
                  <a:gd name="connsiteY55" fmla="*/ 366581 h 987801"/>
                  <a:gd name="connsiteX56" fmla="*/ 3060463 w 3344126"/>
                  <a:gd name="connsiteY56" fmla="*/ 464502 h 987801"/>
                  <a:gd name="connsiteX57" fmla="*/ 3124381 w 3344126"/>
                  <a:gd name="connsiteY57" fmla="*/ 480161 h 987801"/>
                  <a:gd name="connsiteX58" fmla="*/ 3169129 w 3344126"/>
                  <a:gd name="connsiteY58" fmla="*/ 523091 h 987801"/>
                  <a:gd name="connsiteX59" fmla="*/ 3161736 w 3344126"/>
                  <a:gd name="connsiteY59" fmla="*/ 567541 h 987801"/>
                  <a:gd name="connsiteX60" fmla="*/ 3197913 w 3344126"/>
                  <a:gd name="connsiteY60" fmla="*/ 624691 h 987801"/>
                  <a:gd name="connsiteX61" fmla="*/ 3252722 w 3344126"/>
                  <a:gd name="connsiteY61" fmla="*/ 646988 h 987801"/>
                  <a:gd name="connsiteX62" fmla="*/ 3255898 w 3344126"/>
                  <a:gd name="connsiteY62" fmla="*/ 710272 h 987801"/>
                  <a:gd name="connsiteX63" fmla="*/ 3305400 w 3344126"/>
                  <a:gd name="connsiteY63" fmla="*/ 780050 h 987801"/>
                  <a:gd name="connsiteX64" fmla="*/ 3344126 w 3344126"/>
                  <a:gd name="connsiteY64" fmla="*/ 987801 h 987801"/>
                  <a:gd name="connsiteX0" fmla="*/ 18187 w 3344126"/>
                  <a:gd name="connsiteY0" fmla="*/ 262741 h 987801"/>
                  <a:gd name="connsiteX1" fmla="*/ 40412 w 3344126"/>
                  <a:gd name="connsiteY1" fmla="*/ 319891 h 987801"/>
                  <a:gd name="connsiteX2" fmla="*/ 11837 w 3344126"/>
                  <a:gd name="connsiteY2" fmla="*/ 472291 h 987801"/>
                  <a:gd name="connsiteX3" fmla="*/ 2312 w 3344126"/>
                  <a:gd name="connsiteY3" fmla="*/ 564366 h 987801"/>
                  <a:gd name="connsiteX4" fmla="*/ 53112 w 3344126"/>
                  <a:gd name="connsiteY4" fmla="*/ 577066 h 987801"/>
                  <a:gd name="connsiteX5" fmla="*/ 84862 w 3344126"/>
                  <a:gd name="connsiteY5" fmla="*/ 570716 h 987801"/>
                  <a:gd name="connsiteX6" fmla="*/ 154712 w 3344126"/>
                  <a:gd name="connsiteY6" fmla="*/ 611991 h 987801"/>
                  <a:gd name="connsiteX7" fmla="*/ 205512 w 3344126"/>
                  <a:gd name="connsiteY7" fmla="*/ 602466 h 987801"/>
                  <a:gd name="connsiteX8" fmla="*/ 262662 w 3344126"/>
                  <a:gd name="connsiteY8" fmla="*/ 621516 h 987801"/>
                  <a:gd name="connsiteX9" fmla="*/ 269012 w 3344126"/>
                  <a:gd name="connsiteY9" fmla="*/ 659616 h 987801"/>
                  <a:gd name="connsiteX10" fmla="*/ 310287 w 3344126"/>
                  <a:gd name="connsiteY10" fmla="*/ 665966 h 987801"/>
                  <a:gd name="connsiteX11" fmla="*/ 332512 w 3344126"/>
                  <a:gd name="connsiteY11" fmla="*/ 719941 h 987801"/>
                  <a:gd name="connsiteX12" fmla="*/ 322987 w 3344126"/>
                  <a:gd name="connsiteY12" fmla="*/ 786616 h 987801"/>
                  <a:gd name="connsiteX13" fmla="*/ 342037 w 3344126"/>
                  <a:gd name="connsiteY13" fmla="*/ 843766 h 987801"/>
                  <a:gd name="connsiteX14" fmla="*/ 351562 w 3344126"/>
                  <a:gd name="connsiteY14" fmla="*/ 891391 h 987801"/>
                  <a:gd name="connsiteX15" fmla="*/ 389662 w 3344126"/>
                  <a:gd name="connsiteY15" fmla="*/ 932666 h 987801"/>
                  <a:gd name="connsiteX16" fmla="*/ 434112 w 3344126"/>
                  <a:gd name="connsiteY16" fmla="*/ 919966 h 987801"/>
                  <a:gd name="connsiteX17" fmla="*/ 465862 w 3344126"/>
                  <a:gd name="connsiteY17" fmla="*/ 935841 h 987801"/>
                  <a:gd name="connsiteX18" fmla="*/ 532537 w 3344126"/>
                  <a:gd name="connsiteY18" fmla="*/ 869166 h 987801"/>
                  <a:gd name="connsiteX19" fmla="*/ 583337 w 3344126"/>
                  <a:gd name="connsiteY19" fmla="*/ 805666 h 987801"/>
                  <a:gd name="connsiteX20" fmla="*/ 637312 w 3344126"/>
                  <a:gd name="connsiteY20" fmla="*/ 802491 h 987801"/>
                  <a:gd name="connsiteX21" fmla="*/ 656362 w 3344126"/>
                  <a:gd name="connsiteY21" fmla="*/ 767566 h 987801"/>
                  <a:gd name="connsiteX22" fmla="*/ 767487 w 3344126"/>
                  <a:gd name="connsiteY22" fmla="*/ 716766 h 987801"/>
                  <a:gd name="connsiteX23" fmla="*/ 875437 w 3344126"/>
                  <a:gd name="connsiteY23" fmla="*/ 542141 h 987801"/>
                  <a:gd name="connsiteX24" fmla="*/ 850037 w 3344126"/>
                  <a:gd name="connsiteY24" fmla="*/ 472291 h 987801"/>
                  <a:gd name="connsiteX25" fmla="*/ 888137 w 3344126"/>
                  <a:gd name="connsiteY25" fmla="*/ 402441 h 987801"/>
                  <a:gd name="connsiteX26" fmla="*/ 878612 w 3344126"/>
                  <a:gd name="connsiteY26" fmla="*/ 361166 h 987801"/>
                  <a:gd name="connsiteX27" fmla="*/ 932587 w 3344126"/>
                  <a:gd name="connsiteY27" fmla="*/ 329416 h 987801"/>
                  <a:gd name="connsiteX28" fmla="*/ 989737 w 3344126"/>
                  <a:gd name="connsiteY28" fmla="*/ 284966 h 987801"/>
                  <a:gd name="connsiteX29" fmla="*/ 1088162 w 3344126"/>
                  <a:gd name="connsiteY29" fmla="*/ 265916 h 987801"/>
                  <a:gd name="connsiteX30" fmla="*/ 1129437 w 3344126"/>
                  <a:gd name="connsiteY30" fmla="*/ 183366 h 987801"/>
                  <a:gd name="connsiteX31" fmla="*/ 1148487 w 3344126"/>
                  <a:gd name="connsiteY31" fmla="*/ 97641 h 987801"/>
                  <a:gd name="connsiteX32" fmla="*/ 1148487 w 3344126"/>
                  <a:gd name="connsiteY32" fmla="*/ 53191 h 987801"/>
                  <a:gd name="connsiteX33" fmla="*/ 1211987 w 3344126"/>
                  <a:gd name="connsiteY33" fmla="*/ 50016 h 987801"/>
                  <a:gd name="connsiteX34" fmla="*/ 1259612 w 3344126"/>
                  <a:gd name="connsiteY34" fmla="*/ 27791 h 987801"/>
                  <a:gd name="connsiteX35" fmla="*/ 1304062 w 3344126"/>
                  <a:gd name="connsiteY35" fmla="*/ 21441 h 987801"/>
                  <a:gd name="connsiteX36" fmla="*/ 1358037 w 3344126"/>
                  <a:gd name="connsiteY36" fmla="*/ 2391 h 987801"/>
                  <a:gd name="connsiteX37" fmla="*/ 1402487 w 3344126"/>
                  <a:gd name="connsiteY37" fmla="*/ 5566 h 987801"/>
                  <a:gd name="connsiteX38" fmla="*/ 1491387 w 3344126"/>
                  <a:gd name="connsiteY38" fmla="*/ 50016 h 987801"/>
                  <a:gd name="connsiteX39" fmla="*/ 1542187 w 3344126"/>
                  <a:gd name="connsiteY39" fmla="*/ 40491 h 987801"/>
                  <a:gd name="connsiteX40" fmla="*/ 1580287 w 3344126"/>
                  <a:gd name="connsiteY40" fmla="*/ 62716 h 987801"/>
                  <a:gd name="connsiteX41" fmla="*/ 1634262 w 3344126"/>
                  <a:gd name="connsiteY41" fmla="*/ 94466 h 987801"/>
                  <a:gd name="connsiteX42" fmla="*/ 1713637 w 3344126"/>
                  <a:gd name="connsiteY42" fmla="*/ 116691 h 987801"/>
                  <a:gd name="connsiteX43" fmla="*/ 1764437 w 3344126"/>
                  <a:gd name="connsiteY43" fmla="*/ 91291 h 987801"/>
                  <a:gd name="connsiteX44" fmla="*/ 1815237 w 3344126"/>
                  <a:gd name="connsiteY44" fmla="*/ 97641 h 987801"/>
                  <a:gd name="connsiteX45" fmla="*/ 1859687 w 3344126"/>
                  <a:gd name="connsiteY45" fmla="*/ 123041 h 987801"/>
                  <a:gd name="connsiteX46" fmla="*/ 1973987 w 3344126"/>
                  <a:gd name="connsiteY46" fmla="*/ 103991 h 987801"/>
                  <a:gd name="connsiteX47" fmla="*/ 2024787 w 3344126"/>
                  <a:gd name="connsiteY47" fmla="*/ 119866 h 987801"/>
                  <a:gd name="connsiteX48" fmla="*/ 2145437 w 3344126"/>
                  <a:gd name="connsiteY48" fmla="*/ 145266 h 987801"/>
                  <a:gd name="connsiteX49" fmla="*/ 2224812 w 3344126"/>
                  <a:gd name="connsiteY49" fmla="*/ 129391 h 987801"/>
                  <a:gd name="connsiteX50" fmla="*/ 2389912 w 3344126"/>
                  <a:gd name="connsiteY50" fmla="*/ 183366 h 987801"/>
                  <a:gd name="connsiteX51" fmla="*/ 2488337 w 3344126"/>
                  <a:gd name="connsiteY51" fmla="*/ 234166 h 987801"/>
                  <a:gd name="connsiteX52" fmla="*/ 2618512 w 3344126"/>
                  <a:gd name="connsiteY52" fmla="*/ 259566 h 987801"/>
                  <a:gd name="connsiteX53" fmla="*/ 2696427 w 3344126"/>
                  <a:gd name="connsiteY53" fmla="*/ 300265 h 987801"/>
                  <a:gd name="connsiteX54" fmla="*/ 2824887 w 3344126"/>
                  <a:gd name="connsiteY54" fmla="*/ 319172 h 987801"/>
                  <a:gd name="connsiteX55" fmla="*/ 2959489 w 3344126"/>
                  <a:gd name="connsiteY55" fmla="*/ 397971 h 987801"/>
                  <a:gd name="connsiteX56" fmla="*/ 3060463 w 3344126"/>
                  <a:gd name="connsiteY56" fmla="*/ 464502 h 987801"/>
                  <a:gd name="connsiteX57" fmla="*/ 3124381 w 3344126"/>
                  <a:gd name="connsiteY57" fmla="*/ 480161 h 987801"/>
                  <a:gd name="connsiteX58" fmla="*/ 3169129 w 3344126"/>
                  <a:gd name="connsiteY58" fmla="*/ 523091 h 987801"/>
                  <a:gd name="connsiteX59" fmla="*/ 3161736 w 3344126"/>
                  <a:gd name="connsiteY59" fmla="*/ 567541 h 987801"/>
                  <a:gd name="connsiteX60" fmla="*/ 3197913 w 3344126"/>
                  <a:gd name="connsiteY60" fmla="*/ 624691 h 987801"/>
                  <a:gd name="connsiteX61" fmla="*/ 3252722 w 3344126"/>
                  <a:gd name="connsiteY61" fmla="*/ 646988 h 987801"/>
                  <a:gd name="connsiteX62" fmla="*/ 3255898 w 3344126"/>
                  <a:gd name="connsiteY62" fmla="*/ 710272 h 987801"/>
                  <a:gd name="connsiteX63" fmla="*/ 3305400 w 3344126"/>
                  <a:gd name="connsiteY63" fmla="*/ 780050 h 987801"/>
                  <a:gd name="connsiteX64" fmla="*/ 3344126 w 3344126"/>
                  <a:gd name="connsiteY64" fmla="*/ 987801 h 987801"/>
                  <a:gd name="connsiteX0" fmla="*/ 18187 w 3344126"/>
                  <a:gd name="connsiteY0" fmla="*/ 262741 h 987801"/>
                  <a:gd name="connsiteX1" fmla="*/ 40412 w 3344126"/>
                  <a:gd name="connsiteY1" fmla="*/ 319891 h 987801"/>
                  <a:gd name="connsiteX2" fmla="*/ 11837 w 3344126"/>
                  <a:gd name="connsiteY2" fmla="*/ 472291 h 987801"/>
                  <a:gd name="connsiteX3" fmla="*/ 2312 w 3344126"/>
                  <a:gd name="connsiteY3" fmla="*/ 564366 h 987801"/>
                  <a:gd name="connsiteX4" fmla="*/ 53112 w 3344126"/>
                  <a:gd name="connsiteY4" fmla="*/ 577066 h 987801"/>
                  <a:gd name="connsiteX5" fmla="*/ 84862 w 3344126"/>
                  <a:gd name="connsiteY5" fmla="*/ 570716 h 987801"/>
                  <a:gd name="connsiteX6" fmla="*/ 154712 w 3344126"/>
                  <a:gd name="connsiteY6" fmla="*/ 611991 h 987801"/>
                  <a:gd name="connsiteX7" fmla="*/ 205512 w 3344126"/>
                  <a:gd name="connsiteY7" fmla="*/ 602466 h 987801"/>
                  <a:gd name="connsiteX8" fmla="*/ 262662 w 3344126"/>
                  <a:gd name="connsiteY8" fmla="*/ 621516 h 987801"/>
                  <a:gd name="connsiteX9" fmla="*/ 269012 w 3344126"/>
                  <a:gd name="connsiteY9" fmla="*/ 659616 h 987801"/>
                  <a:gd name="connsiteX10" fmla="*/ 310287 w 3344126"/>
                  <a:gd name="connsiteY10" fmla="*/ 665966 h 987801"/>
                  <a:gd name="connsiteX11" fmla="*/ 332512 w 3344126"/>
                  <a:gd name="connsiteY11" fmla="*/ 719941 h 987801"/>
                  <a:gd name="connsiteX12" fmla="*/ 322987 w 3344126"/>
                  <a:gd name="connsiteY12" fmla="*/ 786616 h 987801"/>
                  <a:gd name="connsiteX13" fmla="*/ 342037 w 3344126"/>
                  <a:gd name="connsiteY13" fmla="*/ 843766 h 987801"/>
                  <a:gd name="connsiteX14" fmla="*/ 351562 w 3344126"/>
                  <a:gd name="connsiteY14" fmla="*/ 891391 h 987801"/>
                  <a:gd name="connsiteX15" fmla="*/ 389662 w 3344126"/>
                  <a:gd name="connsiteY15" fmla="*/ 932666 h 987801"/>
                  <a:gd name="connsiteX16" fmla="*/ 434112 w 3344126"/>
                  <a:gd name="connsiteY16" fmla="*/ 919966 h 987801"/>
                  <a:gd name="connsiteX17" fmla="*/ 465862 w 3344126"/>
                  <a:gd name="connsiteY17" fmla="*/ 935841 h 987801"/>
                  <a:gd name="connsiteX18" fmla="*/ 532537 w 3344126"/>
                  <a:gd name="connsiteY18" fmla="*/ 869166 h 987801"/>
                  <a:gd name="connsiteX19" fmla="*/ 583337 w 3344126"/>
                  <a:gd name="connsiteY19" fmla="*/ 805666 h 987801"/>
                  <a:gd name="connsiteX20" fmla="*/ 637312 w 3344126"/>
                  <a:gd name="connsiteY20" fmla="*/ 802491 h 987801"/>
                  <a:gd name="connsiteX21" fmla="*/ 656362 w 3344126"/>
                  <a:gd name="connsiteY21" fmla="*/ 767566 h 987801"/>
                  <a:gd name="connsiteX22" fmla="*/ 767487 w 3344126"/>
                  <a:gd name="connsiteY22" fmla="*/ 716766 h 987801"/>
                  <a:gd name="connsiteX23" fmla="*/ 875437 w 3344126"/>
                  <a:gd name="connsiteY23" fmla="*/ 542141 h 987801"/>
                  <a:gd name="connsiteX24" fmla="*/ 850037 w 3344126"/>
                  <a:gd name="connsiteY24" fmla="*/ 472291 h 987801"/>
                  <a:gd name="connsiteX25" fmla="*/ 888137 w 3344126"/>
                  <a:gd name="connsiteY25" fmla="*/ 402441 h 987801"/>
                  <a:gd name="connsiteX26" fmla="*/ 878612 w 3344126"/>
                  <a:gd name="connsiteY26" fmla="*/ 361166 h 987801"/>
                  <a:gd name="connsiteX27" fmla="*/ 932587 w 3344126"/>
                  <a:gd name="connsiteY27" fmla="*/ 329416 h 987801"/>
                  <a:gd name="connsiteX28" fmla="*/ 989737 w 3344126"/>
                  <a:gd name="connsiteY28" fmla="*/ 284966 h 987801"/>
                  <a:gd name="connsiteX29" fmla="*/ 1088162 w 3344126"/>
                  <a:gd name="connsiteY29" fmla="*/ 265916 h 987801"/>
                  <a:gd name="connsiteX30" fmla="*/ 1129437 w 3344126"/>
                  <a:gd name="connsiteY30" fmla="*/ 183366 h 987801"/>
                  <a:gd name="connsiteX31" fmla="*/ 1148487 w 3344126"/>
                  <a:gd name="connsiteY31" fmla="*/ 97641 h 987801"/>
                  <a:gd name="connsiteX32" fmla="*/ 1148487 w 3344126"/>
                  <a:gd name="connsiteY32" fmla="*/ 53191 h 987801"/>
                  <a:gd name="connsiteX33" fmla="*/ 1211987 w 3344126"/>
                  <a:gd name="connsiteY33" fmla="*/ 50016 h 987801"/>
                  <a:gd name="connsiteX34" fmla="*/ 1259612 w 3344126"/>
                  <a:gd name="connsiteY34" fmla="*/ 27791 h 987801"/>
                  <a:gd name="connsiteX35" fmla="*/ 1304062 w 3344126"/>
                  <a:gd name="connsiteY35" fmla="*/ 21441 h 987801"/>
                  <a:gd name="connsiteX36" fmla="*/ 1358037 w 3344126"/>
                  <a:gd name="connsiteY36" fmla="*/ 2391 h 987801"/>
                  <a:gd name="connsiteX37" fmla="*/ 1402487 w 3344126"/>
                  <a:gd name="connsiteY37" fmla="*/ 5566 h 987801"/>
                  <a:gd name="connsiteX38" fmla="*/ 1491387 w 3344126"/>
                  <a:gd name="connsiteY38" fmla="*/ 50016 h 987801"/>
                  <a:gd name="connsiteX39" fmla="*/ 1542187 w 3344126"/>
                  <a:gd name="connsiteY39" fmla="*/ 40491 h 987801"/>
                  <a:gd name="connsiteX40" fmla="*/ 1580287 w 3344126"/>
                  <a:gd name="connsiteY40" fmla="*/ 62716 h 987801"/>
                  <a:gd name="connsiteX41" fmla="*/ 1634262 w 3344126"/>
                  <a:gd name="connsiteY41" fmla="*/ 94466 h 987801"/>
                  <a:gd name="connsiteX42" fmla="*/ 1713637 w 3344126"/>
                  <a:gd name="connsiteY42" fmla="*/ 116691 h 987801"/>
                  <a:gd name="connsiteX43" fmla="*/ 1764437 w 3344126"/>
                  <a:gd name="connsiteY43" fmla="*/ 91291 h 987801"/>
                  <a:gd name="connsiteX44" fmla="*/ 1815237 w 3344126"/>
                  <a:gd name="connsiteY44" fmla="*/ 97641 h 987801"/>
                  <a:gd name="connsiteX45" fmla="*/ 1859687 w 3344126"/>
                  <a:gd name="connsiteY45" fmla="*/ 123041 h 987801"/>
                  <a:gd name="connsiteX46" fmla="*/ 1973987 w 3344126"/>
                  <a:gd name="connsiteY46" fmla="*/ 103991 h 987801"/>
                  <a:gd name="connsiteX47" fmla="*/ 2024787 w 3344126"/>
                  <a:gd name="connsiteY47" fmla="*/ 119866 h 987801"/>
                  <a:gd name="connsiteX48" fmla="*/ 2145437 w 3344126"/>
                  <a:gd name="connsiteY48" fmla="*/ 145266 h 987801"/>
                  <a:gd name="connsiteX49" fmla="*/ 2244488 w 3344126"/>
                  <a:gd name="connsiteY49" fmla="*/ 167059 h 987801"/>
                  <a:gd name="connsiteX50" fmla="*/ 2389912 w 3344126"/>
                  <a:gd name="connsiteY50" fmla="*/ 183366 h 987801"/>
                  <a:gd name="connsiteX51" fmla="*/ 2488337 w 3344126"/>
                  <a:gd name="connsiteY51" fmla="*/ 234166 h 987801"/>
                  <a:gd name="connsiteX52" fmla="*/ 2618512 w 3344126"/>
                  <a:gd name="connsiteY52" fmla="*/ 259566 h 987801"/>
                  <a:gd name="connsiteX53" fmla="*/ 2696427 w 3344126"/>
                  <a:gd name="connsiteY53" fmla="*/ 300265 h 987801"/>
                  <a:gd name="connsiteX54" fmla="*/ 2824887 w 3344126"/>
                  <a:gd name="connsiteY54" fmla="*/ 319172 h 987801"/>
                  <a:gd name="connsiteX55" fmla="*/ 2959489 w 3344126"/>
                  <a:gd name="connsiteY55" fmla="*/ 397971 h 987801"/>
                  <a:gd name="connsiteX56" fmla="*/ 3060463 w 3344126"/>
                  <a:gd name="connsiteY56" fmla="*/ 464502 h 987801"/>
                  <a:gd name="connsiteX57" fmla="*/ 3124381 w 3344126"/>
                  <a:gd name="connsiteY57" fmla="*/ 480161 h 987801"/>
                  <a:gd name="connsiteX58" fmla="*/ 3169129 w 3344126"/>
                  <a:gd name="connsiteY58" fmla="*/ 523091 h 987801"/>
                  <a:gd name="connsiteX59" fmla="*/ 3161736 w 3344126"/>
                  <a:gd name="connsiteY59" fmla="*/ 567541 h 987801"/>
                  <a:gd name="connsiteX60" fmla="*/ 3197913 w 3344126"/>
                  <a:gd name="connsiteY60" fmla="*/ 624691 h 987801"/>
                  <a:gd name="connsiteX61" fmla="*/ 3252722 w 3344126"/>
                  <a:gd name="connsiteY61" fmla="*/ 646988 h 987801"/>
                  <a:gd name="connsiteX62" fmla="*/ 3255898 w 3344126"/>
                  <a:gd name="connsiteY62" fmla="*/ 710272 h 987801"/>
                  <a:gd name="connsiteX63" fmla="*/ 3305400 w 3344126"/>
                  <a:gd name="connsiteY63" fmla="*/ 780050 h 987801"/>
                  <a:gd name="connsiteX64" fmla="*/ 3344126 w 3344126"/>
                  <a:gd name="connsiteY64" fmla="*/ 987801 h 987801"/>
                  <a:gd name="connsiteX0" fmla="*/ 18187 w 3344126"/>
                  <a:gd name="connsiteY0" fmla="*/ 262741 h 987801"/>
                  <a:gd name="connsiteX1" fmla="*/ 40412 w 3344126"/>
                  <a:gd name="connsiteY1" fmla="*/ 319891 h 987801"/>
                  <a:gd name="connsiteX2" fmla="*/ 11837 w 3344126"/>
                  <a:gd name="connsiteY2" fmla="*/ 472291 h 987801"/>
                  <a:gd name="connsiteX3" fmla="*/ 2312 w 3344126"/>
                  <a:gd name="connsiteY3" fmla="*/ 564366 h 987801"/>
                  <a:gd name="connsiteX4" fmla="*/ 53112 w 3344126"/>
                  <a:gd name="connsiteY4" fmla="*/ 577066 h 987801"/>
                  <a:gd name="connsiteX5" fmla="*/ 84862 w 3344126"/>
                  <a:gd name="connsiteY5" fmla="*/ 570716 h 987801"/>
                  <a:gd name="connsiteX6" fmla="*/ 154712 w 3344126"/>
                  <a:gd name="connsiteY6" fmla="*/ 611991 h 987801"/>
                  <a:gd name="connsiteX7" fmla="*/ 205512 w 3344126"/>
                  <a:gd name="connsiteY7" fmla="*/ 602466 h 987801"/>
                  <a:gd name="connsiteX8" fmla="*/ 262662 w 3344126"/>
                  <a:gd name="connsiteY8" fmla="*/ 621516 h 987801"/>
                  <a:gd name="connsiteX9" fmla="*/ 269012 w 3344126"/>
                  <a:gd name="connsiteY9" fmla="*/ 659616 h 987801"/>
                  <a:gd name="connsiteX10" fmla="*/ 310287 w 3344126"/>
                  <a:gd name="connsiteY10" fmla="*/ 665966 h 987801"/>
                  <a:gd name="connsiteX11" fmla="*/ 332512 w 3344126"/>
                  <a:gd name="connsiteY11" fmla="*/ 719941 h 987801"/>
                  <a:gd name="connsiteX12" fmla="*/ 322987 w 3344126"/>
                  <a:gd name="connsiteY12" fmla="*/ 786616 h 987801"/>
                  <a:gd name="connsiteX13" fmla="*/ 342037 w 3344126"/>
                  <a:gd name="connsiteY13" fmla="*/ 843766 h 987801"/>
                  <a:gd name="connsiteX14" fmla="*/ 351562 w 3344126"/>
                  <a:gd name="connsiteY14" fmla="*/ 891391 h 987801"/>
                  <a:gd name="connsiteX15" fmla="*/ 389662 w 3344126"/>
                  <a:gd name="connsiteY15" fmla="*/ 932666 h 987801"/>
                  <a:gd name="connsiteX16" fmla="*/ 434112 w 3344126"/>
                  <a:gd name="connsiteY16" fmla="*/ 919966 h 987801"/>
                  <a:gd name="connsiteX17" fmla="*/ 465862 w 3344126"/>
                  <a:gd name="connsiteY17" fmla="*/ 935841 h 987801"/>
                  <a:gd name="connsiteX18" fmla="*/ 532537 w 3344126"/>
                  <a:gd name="connsiteY18" fmla="*/ 869166 h 987801"/>
                  <a:gd name="connsiteX19" fmla="*/ 583337 w 3344126"/>
                  <a:gd name="connsiteY19" fmla="*/ 805666 h 987801"/>
                  <a:gd name="connsiteX20" fmla="*/ 637312 w 3344126"/>
                  <a:gd name="connsiteY20" fmla="*/ 802491 h 987801"/>
                  <a:gd name="connsiteX21" fmla="*/ 656362 w 3344126"/>
                  <a:gd name="connsiteY21" fmla="*/ 767566 h 987801"/>
                  <a:gd name="connsiteX22" fmla="*/ 767487 w 3344126"/>
                  <a:gd name="connsiteY22" fmla="*/ 716766 h 987801"/>
                  <a:gd name="connsiteX23" fmla="*/ 875437 w 3344126"/>
                  <a:gd name="connsiteY23" fmla="*/ 542141 h 987801"/>
                  <a:gd name="connsiteX24" fmla="*/ 850037 w 3344126"/>
                  <a:gd name="connsiteY24" fmla="*/ 472291 h 987801"/>
                  <a:gd name="connsiteX25" fmla="*/ 888137 w 3344126"/>
                  <a:gd name="connsiteY25" fmla="*/ 402441 h 987801"/>
                  <a:gd name="connsiteX26" fmla="*/ 878612 w 3344126"/>
                  <a:gd name="connsiteY26" fmla="*/ 361166 h 987801"/>
                  <a:gd name="connsiteX27" fmla="*/ 932587 w 3344126"/>
                  <a:gd name="connsiteY27" fmla="*/ 329416 h 987801"/>
                  <a:gd name="connsiteX28" fmla="*/ 989737 w 3344126"/>
                  <a:gd name="connsiteY28" fmla="*/ 284966 h 987801"/>
                  <a:gd name="connsiteX29" fmla="*/ 1088162 w 3344126"/>
                  <a:gd name="connsiteY29" fmla="*/ 265916 h 987801"/>
                  <a:gd name="connsiteX30" fmla="*/ 1129437 w 3344126"/>
                  <a:gd name="connsiteY30" fmla="*/ 183366 h 987801"/>
                  <a:gd name="connsiteX31" fmla="*/ 1148487 w 3344126"/>
                  <a:gd name="connsiteY31" fmla="*/ 97641 h 987801"/>
                  <a:gd name="connsiteX32" fmla="*/ 1148487 w 3344126"/>
                  <a:gd name="connsiteY32" fmla="*/ 53191 h 987801"/>
                  <a:gd name="connsiteX33" fmla="*/ 1211987 w 3344126"/>
                  <a:gd name="connsiteY33" fmla="*/ 50016 h 987801"/>
                  <a:gd name="connsiteX34" fmla="*/ 1259612 w 3344126"/>
                  <a:gd name="connsiteY34" fmla="*/ 27791 h 987801"/>
                  <a:gd name="connsiteX35" fmla="*/ 1304062 w 3344126"/>
                  <a:gd name="connsiteY35" fmla="*/ 21441 h 987801"/>
                  <a:gd name="connsiteX36" fmla="*/ 1358037 w 3344126"/>
                  <a:gd name="connsiteY36" fmla="*/ 2391 h 987801"/>
                  <a:gd name="connsiteX37" fmla="*/ 1402487 w 3344126"/>
                  <a:gd name="connsiteY37" fmla="*/ 5566 h 987801"/>
                  <a:gd name="connsiteX38" fmla="*/ 1491387 w 3344126"/>
                  <a:gd name="connsiteY38" fmla="*/ 50016 h 987801"/>
                  <a:gd name="connsiteX39" fmla="*/ 1542187 w 3344126"/>
                  <a:gd name="connsiteY39" fmla="*/ 40491 h 987801"/>
                  <a:gd name="connsiteX40" fmla="*/ 1580287 w 3344126"/>
                  <a:gd name="connsiteY40" fmla="*/ 62716 h 987801"/>
                  <a:gd name="connsiteX41" fmla="*/ 1634262 w 3344126"/>
                  <a:gd name="connsiteY41" fmla="*/ 94466 h 987801"/>
                  <a:gd name="connsiteX42" fmla="*/ 1713637 w 3344126"/>
                  <a:gd name="connsiteY42" fmla="*/ 116691 h 987801"/>
                  <a:gd name="connsiteX43" fmla="*/ 1764437 w 3344126"/>
                  <a:gd name="connsiteY43" fmla="*/ 91291 h 987801"/>
                  <a:gd name="connsiteX44" fmla="*/ 1815237 w 3344126"/>
                  <a:gd name="connsiteY44" fmla="*/ 97641 h 987801"/>
                  <a:gd name="connsiteX45" fmla="*/ 1859687 w 3344126"/>
                  <a:gd name="connsiteY45" fmla="*/ 123041 h 987801"/>
                  <a:gd name="connsiteX46" fmla="*/ 1973987 w 3344126"/>
                  <a:gd name="connsiteY46" fmla="*/ 103991 h 987801"/>
                  <a:gd name="connsiteX47" fmla="*/ 2024787 w 3344126"/>
                  <a:gd name="connsiteY47" fmla="*/ 119866 h 987801"/>
                  <a:gd name="connsiteX48" fmla="*/ 2125761 w 3344126"/>
                  <a:gd name="connsiteY48" fmla="*/ 157822 h 987801"/>
                  <a:gd name="connsiteX49" fmla="*/ 2244488 w 3344126"/>
                  <a:gd name="connsiteY49" fmla="*/ 167059 h 987801"/>
                  <a:gd name="connsiteX50" fmla="*/ 2389912 w 3344126"/>
                  <a:gd name="connsiteY50" fmla="*/ 183366 h 987801"/>
                  <a:gd name="connsiteX51" fmla="*/ 2488337 w 3344126"/>
                  <a:gd name="connsiteY51" fmla="*/ 234166 h 987801"/>
                  <a:gd name="connsiteX52" fmla="*/ 2618512 w 3344126"/>
                  <a:gd name="connsiteY52" fmla="*/ 259566 h 987801"/>
                  <a:gd name="connsiteX53" fmla="*/ 2696427 w 3344126"/>
                  <a:gd name="connsiteY53" fmla="*/ 300265 h 987801"/>
                  <a:gd name="connsiteX54" fmla="*/ 2824887 w 3344126"/>
                  <a:gd name="connsiteY54" fmla="*/ 319172 h 987801"/>
                  <a:gd name="connsiteX55" fmla="*/ 2959489 w 3344126"/>
                  <a:gd name="connsiteY55" fmla="*/ 397971 h 987801"/>
                  <a:gd name="connsiteX56" fmla="*/ 3060463 w 3344126"/>
                  <a:gd name="connsiteY56" fmla="*/ 464502 h 987801"/>
                  <a:gd name="connsiteX57" fmla="*/ 3124381 w 3344126"/>
                  <a:gd name="connsiteY57" fmla="*/ 480161 h 987801"/>
                  <a:gd name="connsiteX58" fmla="*/ 3169129 w 3344126"/>
                  <a:gd name="connsiteY58" fmla="*/ 523091 h 987801"/>
                  <a:gd name="connsiteX59" fmla="*/ 3161736 w 3344126"/>
                  <a:gd name="connsiteY59" fmla="*/ 567541 h 987801"/>
                  <a:gd name="connsiteX60" fmla="*/ 3197913 w 3344126"/>
                  <a:gd name="connsiteY60" fmla="*/ 624691 h 987801"/>
                  <a:gd name="connsiteX61" fmla="*/ 3252722 w 3344126"/>
                  <a:gd name="connsiteY61" fmla="*/ 646988 h 987801"/>
                  <a:gd name="connsiteX62" fmla="*/ 3255898 w 3344126"/>
                  <a:gd name="connsiteY62" fmla="*/ 710272 h 987801"/>
                  <a:gd name="connsiteX63" fmla="*/ 3305400 w 3344126"/>
                  <a:gd name="connsiteY63" fmla="*/ 780050 h 987801"/>
                  <a:gd name="connsiteX64" fmla="*/ 3344126 w 3344126"/>
                  <a:gd name="connsiteY64" fmla="*/ 987801 h 987801"/>
                  <a:gd name="connsiteX0" fmla="*/ 18187 w 3344126"/>
                  <a:gd name="connsiteY0" fmla="*/ 262741 h 987801"/>
                  <a:gd name="connsiteX1" fmla="*/ 40412 w 3344126"/>
                  <a:gd name="connsiteY1" fmla="*/ 319891 h 987801"/>
                  <a:gd name="connsiteX2" fmla="*/ 11837 w 3344126"/>
                  <a:gd name="connsiteY2" fmla="*/ 472291 h 987801"/>
                  <a:gd name="connsiteX3" fmla="*/ 2312 w 3344126"/>
                  <a:gd name="connsiteY3" fmla="*/ 564366 h 987801"/>
                  <a:gd name="connsiteX4" fmla="*/ 53112 w 3344126"/>
                  <a:gd name="connsiteY4" fmla="*/ 577066 h 987801"/>
                  <a:gd name="connsiteX5" fmla="*/ 84862 w 3344126"/>
                  <a:gd name="connsiteY5" fmla="*/ 570716 h 987801"/>
                  <a:gd name="connsiteX6" fmla="*/ 154712 w 3344126"/>
                  <a:gd name="connsiteY6" fmla="*/ 611991 h 987801"/>
                  <a:gd name="connsiteX7" fmla="*/ 205512 w 3344126"/>
                  <a:gd name="connsiteY7" fmla="*/ 602466 h 987801"/>
                  <a:gd name="connsiteX8" fmla="*/ 262662 w 3344126"/>
                  <a:gd name="connsiteY8" fmla="*/ 621516 h 987801"/>
                  <a:gd name="connsiteX9" fmla="*/ 269012 w 3344126"/>
                  <a:gd name="connsiteY9" fmla="*/ 659616 h 987801"/>
                  <a:gd name="connsiteX10" fmla="*/ 310287 w 3344126"/>
                  <a:gd name="connsiteY10" fmla="*/ 665966 h 987801"/>
                  <a:gd name="connsiteX11" fmla="*/ 332512 w 3344126"/>
                  <a:gd name="connsiteY11" fmla="*/ 719941 h 987801"/>
                  <a:gd name="connsiteX12" fmla="*/ 322987 w 3344126"/>
                  <a:gd name="connsiteY12" fmla="*/ 786616 h 987801"/>
                  <a:gd name="connsiteX13" fmla="*/ 342037 w 3344126"/>
                  <a:gd name="connsiteY13" fmla="*/ 843766 h 987801"/>
                  <a:gd name="connsiteX14" fmla="*/ 351562 w 3344126"/>
                  <a:gd name="connsiteY14" fmla="*/ 891391 h 987801"/>
                  <a:gd name="connsiteX15" fmla="*/ 389662 w 3344126"/>
                  <a:gd name="connsiteY15" fmla="*/ 932666 h 987801"/>
                  <a:gd name="connsiteX16" fmla="*/ 434112 w 3344126"/>
                  <a:gd name="connsiteY16" fmla="*/ 919966 h 987801"/>
                  <a:gd name="connsiteX17" fmla="*/ 465862 w 3344126"/>
                  <a:gd name="connsiteY17" fmla="*/ 935841 h 987801"/>
                  <a:gd name="connsiteX18" fmla="*/ 532537 w 3344126"/>
                  <a:gd name="connsiteY18" fmla="*/ 869166 h 987801"/>
                  <a:gd name="connsiteX19" fmla="*/ 583337 w 3344126"/>
                  <a:gd name="connsiteY19" fmla="*/ 805666 h 987801"/>
                  <a:gd name="connsiteX20" fmla="*/ 637312 w 3344126"/>
                  <a:gd name="connsiteY20" fmla="*/ 802491 h 987801"/>
                  <a:gd name="connsiteX21" fmla="*/ 656362 w 3344126"/>
                  <a:gd name="connsiteY21" fmla="*/ 767566 h 987801"/>
                  <a:gd name="connsiteX22" fmla="*/ 767487 w 3344126"/>
                  <a:gd name="connsiteY22" fmla="*/ 716766 h 987801"/>
                  <a:gd name="connsiteX23" fmla="*/ 875437 w 3344126"/>
                  <a:gd name="connsiteY23" fmla="*/ 542141 h 987801"/>
                  <a:gd name="connsiteX24" fmla="*/ 850037 w 3344126"/>
                  <a:gd name="connsiteY24" fmla="*/ 472291 h 987801"/>
                  <a:gd name="connsiteX25" fmla="*/ 888137 w 3344126"/>
                  <a:gd name="connsiteY25" fmla="*/ 402441 h 987801"/>
                  <a:gd name="connsiteX26" fmla="*/ 878612 w 3344126"/>
                  <a:gd name="connsiteY26" fmla="*/ 361166 h 987801"/>
                  <a:gd name="connsiteX27" fmla="*/ 932587 w 3344126"/>
                  <a:gd name="connsiteY27" fmla="*/ 329416 h 987801"/>
                  <a:gd name="connsiteX28" fmla="*/ 989737 w 3344126"/>
                  <a:gd name="connsiteY28" fmla="*/ 284966 h 987801"/>
                  <a:gd name="connsiteX29" fmla="*/ 1088162 w 3344126"/>
                  <a:gd name="connsiteY29" fmla="*/ 265916 h 987801"/>
                  <a:gd name="connsiteX30" fmla="*/ 1129437 w 3344126"/>
                  <a:gd name="connsiteY30" fmla="*/ 183366 h 987801"/>
                  <a:gd name="connsiteX31" fmla="*/ 1148487 w 3344126"/>
                  <a:gd name="connsiteY31" fmla="*/ 97641 h 987801"/>
                  <a:gd name="connsiteX32" fmla="*/ 1148487 w 3344126"/>
                  <a:gd name="connsiteY32" fmla="*/ 53191 h 987801"/>
                  <a:gd name="connsiteX33" fmla="*/ 1211987 w 3344126"/>
                  <a:gd name="connsiteY33" fmla="*/ 50016 h 987801"/>
                  <a:gd name="connsiteX34" fmla="*/ 1259612 w 3344126"/>
                  <a:gd name="connsiteY34" fmla="*/ 27791 h 987801"/>
                  <a:gd name="connsiteX35" fmla="*/ 1304062 w 3344126"/>
                  <a:gd name="connsiteY35" fmla="*/ 21441 h 987801"/>
                  <a:gd name="connsiteX36" fmla="*/ 1358037 w 3344126"/>
                  <a:gd name="connsiteY36" fmla="*/ 2391 h 987801"/>
                  <a:gd name="connsiteX37" fmla="*/ 1402487 w 3344126"/>
                  <a:gd name="connsiteY37" fmla="*/ 5566 h 987801"/>
                  <a:gd name="connsiteX38" fmla="*/ 1491387 w 3344126"/>
                  <a:gd name="connsiteY38" fmla="*/ 50016 h 987801"/>
                  <a:gd name="connsiteX39" fmla="*/ 1542187 w 3344126"/>
                  <a:gd name="connsiteY39" fmla="*/ 40491 h 987801"/>
                  <a:gd name="connsiteX40" fmla="*/ 1580287 w 3344126"/>
                  <a:gd name="connsiteY40" fmla="*/ 62716 h 987801"/>
                  <a:gd name="connsiteX41" fmla="*/ 1634262 w 3344126"/>
                  <a:gd name="connsiteY41" fmla="*/ 94466 h 987801"/>
                  <a:gd name="connsiteX42" fmla="*/ 1713637 w 3344126"/>
                  <a:gd name="connsiteY42" fmla="*/ 116691 h 987801"/>
                  <a:gd name="connsiteX43" fmla="*/ 1764437 w 3344126"/>
                  <a:gd name="connsiteY43" fmla="*/ 91291 h 987801"/>
                  <a:gd name="connsiteX44" fmla="*/ 1815237 w 3344126"/>
                  <a:gd name="connsiteY44" fmla="*/ 97641 h 987801"/>
                  <a:gd name="connsiteX45" fmla="*/ 1859687 w 3344126"/>
                  <a:gd name="connsiteY45" fmla="*/ 123041 h 987801"/>
                  <a:gd name="connsiteX46" fmla="*/ 1973987 w 3344126"/>
                  <a:gd name="connsiteY46" fmla="*/ 103991 h 987801"/>
                  <a:gd name="connsiteX47" fmla="*/ 2024787 w 3344126"/>
                  <a:gd name="connsiteY47" fmla="*/ 119866 h 987801"/>
                  <a:gd name="connsiteX48" fmla="*/ 2125761 w 3344126"/>
                  <a:gd name="connsiteY48" fmla="*/ 157822 h 987801"/>
                  <a:gd name="connsiteX49" fmla="*/ 2244488 w 3344126"/>
                  <a:gd name="connsiteY49" fmla="*/ 167059 h 987801"/>
                  <a:gd name="connsiteX50" fmla="*/ 2360325 w 3344126"/>
                  <a:gd name="connsiteY50" fmla="*/ 216877 h 987801"/>
                  <a:gd name="connsiteX51" fmla="*/ 2389912 w 3344126"/>
                  <a:gd name="connsiteY51" fmla="*/ 183366 h 987801"/>
                  <a:gd name="connsiteX52" fmla="*/ 2488337 w 3344126"/>
                  <a:gd name="connsiteY52" fmla="*/ 234166 h 987801"/>
                  <a:gd name="connsiteX53" fmla="*/ 2618512 w 3344126"/>
                  <a:gd name="connsiteY53" fmla="*/ 259566 h 987801"/>
                  <a:gd name="connsiteX54" fmla="*/ 2696427 w 3344126"/>
                  <a:gd name="connsiteY54" fmla="*/ 300265 h 987801"/>
                  <a:gd name="connsiteX55" fmla="*/ 2824887 w 3344126"/>
                  <a:gd name="connsiteY55" fmla="*/ 319172 h 987801"/>
                  <a:gd name="connsiteX56" fmla="*/ 2959489 w 3344126"/>
                  <a:gd name="connsiteY56" fmla="*/ 397971 h 987801"/>
                  <a:gd name="connsiteX57" fmla="*/ 3060463 w 3344126"/>
                  <a:gd name="connsiteY57" fmla="*/ 464502 h 987801"/>
                  <a:gd name="connsiteX58" fmla="*/ 3124381 w 3344126"/>
                  <a:gd name="connsiteY58" fmla="*/ 480161 h 987801"/>
                  <a:gd name="connsiteX59" fmla="*/ 3169129 w 3344126"/>
                  <a:gd name="connsiteY59" fmla="*/ 523091 h 987801"/>
                  <a:gd name="connsiteX60" fmla="*/ 3161736 w 3344126"/>
                  <a:gd name="connsiteY60" fmla="*/ 567541 h 987801"/>
                  <a:gd name="connsiteX61" fmla="*/ 3197913 w 3344126"/>
                  <a:gd name="connsiteY61" fmla="*/ 624691 h 987801"/>
                  <a:gd name="connsiteX62" fmla="*/ 3252722 w 3344126"/>
                  <a:gd name="connsiteY62" fmla="*/ 646988 h 987801"/>
                  <a:gd name="connsiteX63" fmla="*/ 3255898 w 3344126"/>
                  <a:gd name="connsiteY63" fmla="*/ 710272 h 987801"/>
                  <a:gd name="connsiteX64" fmla="*/ 3305400 w 3344126"/>
                  <a:gd name="connsiteY64" fmla="*/ 780050 h 987801"/>
                  <a:gd name="connsiteX65" fmla="*/ 3344126 w 3344126"/>
                  <a:gd name="connsiteY65" fmla="*/ 987801 h 987801"/>
                  <a:gd name="connsiteX0" fmla="*/ 18187 w 3344126"/>
                  <a:gd name="connsiteY0" fmla="*/ 262741 h 987801"/>
                  <a:gd name="connsiteX1" fmla="*/ 40412 w 3344126"/>
                  <a:gd name="connsiteY1" fmla="*/ 319891 h 987801"/>
                  <a:gd name="connsiteX2" fmla="*/ 11837 w 3344126"/>
                  <a:gd name="connsiteY2" fmla="*/ 472291 h 987801"/>
                  <a:gd name="connsiteX3" fmla="*/ 2312 w 3344126"/>
                  <a:gd name="connsiteY3" fmla="*/ 564366 h 987801"/>
                  <a:gd name="connsiteX4" fmla="*/ 53112 w 3344126"/>
                  <a:gd name="connsiteY4" fmla="*/ 577066 h 987801"/>
                  <a:gd name="connsiteX5" fmla="*/ 84862 w 3344126"/>
                  <a:gd name="connsiteY5" fmla="*/ 570716 h 987801"/>
                  <a:gd name="connsiteX6" fmla="*/ 154712 w 3344126"/>
                  <a:gd name="connsiteY6" fmla="*/ 611991 h 987801"/>
                  <a:gd name="connsiteX7" fmla="*/ 205512 w 3344126"/>
                  <a:gd name="connsiteY7" fmla="*/ 602466 h 987801"/>
                  <a:gd name="connsiteX8" fmla="*/ 262662 w 3344126"/>
                  <a:gd name="connsiteY8" fmla="*/ 621516 h 987801"/>
                  <a:gd name="connsiteX9" fmla="*/ 269012 w 3344126"/>
                  <a:gd name="connsiteY9" fmla="*/ 659616 h 987801"/>
                  <a:gd name="connsiteX10" fmla="*/ 310287 w 3344126"/>
                  <a:gd name="connsiteY10" fmla="*/ 665966 h 987801"/>
                  <a:gd name="connsiteX11" fmla="*/ 332512 w 3344126"/>
                  <a:gd name="connsiteY11" fmla="*/ 719941 h 987801"/>
                  <a:gd name="connsiteX12" fmla="*/ 322987 w 3344126"/>
                  <a:gd name="connsiteY12" fmla="*/ 786616 h 987801"/>
                  <a:gd name="connsiteX13" fmla="*/ 342037 w 3344126"/>
                  <a:gd name="connsiteY13" fmla="*/ 843766 h 987801"/>
                  <a:gd name="connsiteX14" fmla="*/ 351562 w 3344126"/>
                  <a:gd name="connsiteY14" fmla="*/ 891391 h 987801"/>
                  <a:gd name="connsiteX15" fmla="*/ 389662 w 3344126"/>
                  <a:gd name="connsiteY15" fmla="*/ 932666 h 987801"/>
                  <a:gd name="connsiteX16" fmla="*/ 434112 w 3344126"/>
                  <a:gd name="connsiteY16" fmla="*/ 919966 h 987801"/>
                  <a:gd name="connsiteX17" fmla="*/ 465862 w 3344126"/>
                  <a:gd name="connsiteY17" fmla="*/ 935841 h 987801"/>
                  <a:gd name="connsiteX18" fmla="*/ 532537 w 3344126"/>
                  <a:gd name="connsiteY18" fmla="*/ 869166 h 987801"/>
                  <a:gd name="connsiteX19" fmla="*/ 583337 w 3344126"/>
                  <a:gd name="connsiteY19" fmla="*/ 805666 h 987801"/>
                  <a:gd name="connsiteX20" fmla="*/ 637312 w 3344126"/>
                  <a:gd name="connsiteY20" fmla="*/ 802491 h 987801"/>
                  <a:gd name="connsiteX21" fmla="*/ 656362 w 3344126"/>
                  <a:gd name="connsiteY21" fmla="*/ 767566 h 987801"/>
                  <a:gd name="connsiteX22" fmla="*/ 767487 w 3344126"/>
                  <a:gd name="connsiteY22" fmla="*/ 716766 h 987801"/>
                  <a:gd name="connsiteX23" fmla="*/ 875437 w 3344126"/>
                  <a:gd name="connsiteY23" fmla="*/ 542141 h 987801"/>
                  <a:gd name="connsiteX24" fmla="*/ 850037 w 3344126"/>
                  <a:gd name="connsiteY24" fmla="*/ 472291 h 987801"/>
                  <a:gd name="connsiteX25" fmla="*/ 888137 w 3344126"/>
                  <a:gd name="connsiteY25" fmla="*/ 402441 h 987801"/>
                  <a:gd name="connsiteX26" fmla="*/ 878612 w 3344126"/>
                  <a:gd name="connsiteY26" fmla="*/ 361166 h 987801"/>
                  <a:gd name="connsiteX27" fmla="*/ 932587 w 3344126"/>
                  <a:gd name="connsiteY27" fmla="*/ 329416 h 987801"/>
                  <a:gd name="connsiteX28" fmla="*/ 989737 w 3344126"/>
                  <a:gd name="connsiteY28" fmla="*/ 284966 h 987801"/>
                  <a:gd name="connsiteX29" fmla="*/ 1088162 w 3344126"/>
                  <a:gd name="connsiteY29" fmla="*/ 265916 h 987801"/>
                  <a:gd name="connsiteX30" fmla="*/ 1129437 w 3344126"/>
                  <a:gd name="connsiteY30" fmla="*/ 183366 h 987801"/>
                  <a:gd name="connsiteX31" fmla="*/ 1148487 w 3344126"/>
                  <a:gd name="connsiteY31" fmla="*/ 97641 h 987801"/>
                  <a:gd name="connsiteX32" fmla="*/ 1148487 w 3344126"/>
                  <a:gd name="connsiteY32" fmla="*/ 53191 h 987801"/>
                  <a:gd name="connsiteX33" fmla="*/ 1211987 w 3344126"/>
                  <a:gd name="connsiteY33" fmla="*/ 50016 h 987801"/>
                  <a:gd name="connsiteX34" fmla="*/ 1259612 w 3344126"/>
                  <a:gd name="connsiteY34" fmla="*/ 27791 h 987801"/>
                  <a:gd name="connsiteX35" fmla="*/ 1304062 w 3344126"/>
                  <a:gd name="connsiteY35" fmla="*/ 21441 h 987801"/>
                  <a:gd name="connsiteX36" fmla="*/ 1358037 w 3344126"/>
                  <a:gd name="connsiteY36" fmla="*/ 2391 h 987801"/>
                  <a:gd name="connsiteX37" fmla="*/ 1402487 w 3344126"/>
                  <a:gd name="connsiteY37" fmla="*/ 5566 h 987801"/>
                  <a:gd name="connsiteX38" fmla="*/ 1491387 w 3344126"/>
                  <a:gd name="connsiteY38" fmla="*/ 50016 h 987801"/>
                  <a:gd name="connsiteX39" fmla="*/ 1542187 w 3344126"/>
                  <a:gd name="connsiteY39" fmla="*/ 40491 h 987801"/>
                  <a:gd name="connsiteX40" fmla="*/ 1580287 w 3344126"/>
                  <a:gd name="connsiteY40" fmla="*/ 62716 h 987801"/>
                  <a:gd name="connsiteX41" fmla="*/ 1634262 w 3344126"/>
                  <a:gd name="connsiteY41" fmla="*/ 94466 h 987801"/>
                  <a:gd name="connsiteX42" fmla="*/ 1713637 w 3344126"/>
                  <a:gd name="connsiteY42" fmla="*/ 116691 h 987801"/>
                  <a:gd name="connsiteX43" fmla="*/ 1764437 w 3344126"/>
                  <a:gd name="connsiteY43" fmla="*/ 91291 h 987801"/>
                  <a:gd name="connsiteX44" fmla="*/ 1815237 w 3344126"/>
                  <a:gd name="connsiteY44" fmla="*/ 97641 h 987801"/>
                  <a:gd name="connsiteX45" fmla="*/ 1859687 w 3344126"/>
                  <a:gd name="connsiteY45" fmla="*/ 123041 h 987801"/>
                  <a:gd name="connsiteX46" fmla="*/ 1973987 w 3344126"/>
                  <a:gd name="connsiteY46" fmla="*/ 103991 h 987801"/>
                  <a:gd name="connsiteX47" fmla="*/ 2024787 w 3344126"/>
                  <a:gd name="connsiteY47" fmla="*/ 119866 h 987801"/>
                  <a:gd name="connsiteX48" fmla="*/ 2125761 w 3344126"/>
                  <a:gd name="connsiteY48" fmla="*/ 157822 h 987801"/>
                  <a:gd name="connsiteX49" fmla="*/ 2244488 w 3344126"/>
                  <a:gd name="connsiteY49" fmla="*/ 167059 h 987801"/>
                  <a:gd name="connsiteX50" fmla="*/ 2360325 w 3344126"/>
                  <a:gd name="connsiteY50" fmla="*/ 216877 h 987801"/>
                  <a:gd name="connsiteX51" fmla="*/ 2389912 w 3344126"/>
                  <a:gd name="connsiteY51" fmla="*/ 183366 h 987801"/>
                  <a:gd name="connsiteX52" fmla="*/ 2494896 w 3344126"/>
                  <a:gd name="connsiteY52" fmla="*/ 278112 h 987801"/>
                  <a:gd name="connsiteX53" fmla="*/ 2618512 w 3344126"/>
                  <a:gd name="connsiteY53" fmla="*/ 259566 h 987801"/>
                  <a:gd name="connsiteX54" fmla="*/ 2696427 w 3344126"/>
                  <a:gd name="connsiteY54" fmla="*/ 300265 h 987801"/>
                  <a:gd name="connsiteX55" fmla="*/ 2824887 w 3344126"/>
                  <a:gd name="connsiteY55" fmla="*/ 319172 h 987801"/>
                  <a:gd name="connsiteX56" fmla="*/ 2959489 w 3344126"/>
                  <a:gd name="connsiteY56" fmla="*/ 397971 h 987801"/>
                  <a:gd name="connsiteX57" fmla="*/ 3060463 w 3344126"/>
                  <a:gd name="connsiteY57" fmla="*/ 464502 h 987801"/>
                  <a:gd name="connsiteX58" fmla="*/ 3124381 w 3344126"/>
                  <a:gd name="connsiteY58" fmla="*/ 480161 h 987801"/>
                  <a:gd name="connsiteX59" fmla="*/ 3169129 w 3344126"/>
                  <a:gd name="connsiteY59" fmla="*/ 523091 h 987801"/>
                  <a:gd name="connsiteX60" fmla="*/ 3161736 w 3344126"/>
                  <a:gd name="connsiteY60" fmla="*/ 567541 h 987801"/>
                  <a:gd name="connsiteX61" fmla="*/ 3197913 w 3344126"/>
                  <a:gd name="connsiteY61" fmla="*/ 624691 h 987801"/>
                  <a:gd name="connsiteX62" fmla="*/ 3252722 w 3344126"/>
                  <a:gd name="connsiteY62" fmla="*/ 646988 h 987801"/>
                  <a:gd name="connsiteX63" fmla="*/ 3255898 w 3344126"/>
                  <a:gd name="connsiteY63" fmla="*/ 710272 h 987801"/>
                  <a:gd name="connsiteX64" fmla="*/ 3305400 w 3344126"/>
                  <a:gd name="connsiteY64" fmla="*/ 780050 h 987801"/>
                  <a:gd name="connsiteX65" fmla="*/ 3344126 w 3344126"/>
                  <a:gd name="connsiteY65" fmla="*/ 987801 h 987801"/>
                  <a:gd name="connsiteX0" fmla="*/ 18187 w 3344126"/>
                  <a:gd name="connsiteY0" fmla="*/ 262741 h 987801"/>
                  <a:gd name="connsiteX1" fmla="*/ 40412 w 3344126"/>
                  <a:gd name="connsiteY1" fmla="*/ 319891 h 987801"/>
                  <a:gd name="connsiteX2" fmla="*/ 11837 w 3344126"/>
                  <a:gd name="connsiteY2" fmla="*/ 472291 h 987801"/>
                  <a:gd name="connsiteX3" fmla="*/ 2312 w 3344126"/>
                  <a:gd name="connsiteY3" fmla="*/ 564366 h 987801"/>
                  <a:gd name="connsiteX4" fmla="*/ 53112 w 3344126"/>
                  <a:gd name="connsiteY4" fmla="*/ 577066 h 987801"/>
                  <a:gd name="connsiteX5" fmla="*/ 84862 w 3344126"/>
                  <a:gd name="connsiteY5" fmla="*/ 570716 h 987801"/>
                  <a:gd name="connsiteX6" fmla="*/ 154712 w 3344126"/>
                  <a:gd name="connsiteY6" fmla="*/ 611991 h 987801"/>
                  <a:gd name="connsiteX7" fmla="*/ 205512 w 3344126"/>
                  <a:gd name="connsiteY7" fmla="*/ 602466 h 987801"/>
                  <a:gd name="connsiteX8" fmla="*/ 262662 w 3344126"/>
                  <a:gd name="connsiteY8" fmla="*/ 621516 h 987801"/>
                  <a:gd name="connsiteX9" fmla="*/ 269012 w 3344126"/>
                  <a:gd name="connsiteY9" fmla="*/ 659616 h 987801"/>
                  <a:gd name="connsiteX10" fmla="*/ 310287 w 3344126"/>
                  <a:gd name="connsiteY10" fmla="*/ 665966 h 987801"/>
                  <a:gd name="connsiteX11" fmla="*/ 332512 w 3344126"/>
                  <a:gd name="connsiteY11" fmla="*/ 719941 h 987801"/>
                  <a:gd name="connsiteX12" fmla="*/ 322987 w 3344126"/>
                  <a:gd name="connsiteY12" fmla="*/ 786616 h 987801"/>
                  <a:gd name="connsiteX13" fmla="*/ 342037 w 3344126"/>
                  <a:gd name="connsiteY13" fmla="*/ 843766 h 987801"/>
                  <a:gd name="connsiteX14" fmla="*/ 351562 w 3344126"/>
                  <a:gd name="connsiteY14" fmla="*/ 891391 h 987801"/>
                  <a:gd name="connsiteX15" fmla="*/ 389662 w 3344126"/>
                  <a:gd name="connsiteY15" fmla="*/ 932666 h 987801"/>
                  <a:gd name="connsiteX16" fmla="*/ 434112 w 3344126"/>
                  <a:gd name="connsiteY16" fmla="*/ 919966 h 987801"/>
                  <a:gd name="connsiteX17" fmla="*/ 465862 w 3344126"/>
                  <a:gd name="connsiteY17" fmla="*/ 935841 h 987801"/>
                  <a:gd name="connsiteX18" fmla="*/ 532537 w 3344126"/>
                  <a:gd name="connsiteY18" fmla="*/ 869166 h 987801"/>
                  <a:gd name="connsiteX19" fmla="*/ 583337 w 3344126"/>
                  <a:gd name="connsiteY19" fmla="*/ 805666 h 987801"/>
                  <a:gd name="connsiteX20" fmla="*/ 637312 w 3344126"/>
                  <a:gd name="connsiteY20" fmla="*/ 802491 h 987801"/>
                  <a:gd name="connsiteX21" fmla="*/ 656362 w 3344126"/>
                  <a:gd name="connsiteY21" fmla="*/ 767566 h 987801"/>
                  <a:gd name="connsiteX22" fmla="*/ 767487 w 3344126"/>
                  <a:gd name="connsiteY22" fmla="*/ 716766 h 987801"/>
                  <a:gd name="connsiteX23" fmla="*/ 875437 w 3344126"/>
                  <a:gd name="connsiteY23" fmla="*/ 542141 h 987801"/>
                  <a:gd name="connsiteX24" fmla="*/ 850037 w 3344126"/>
                  <a:gd name="connsiteY24" fmla="*/ 472291 h 987801"/>
                  <a:gd name="connsiteX25" fmla="*/ 888137 w 3344126"/>
                  <a:gd name="connsiteY25" fmla="*/ 402441 h 987801"/>
                  <a:gd name="connsiteX26" fmla="*/ 878612 w 3344126"/>
                  <a:gd name="connsiteY26" fmla="*/ 361166 h 987801"/>
                  <a:gd name="connsiteX27" fmla="*/ 932587 w 3344126"/>
                  <a:gd name="connsiteY27" fmla="*/ 329416 h 987801"/>
                  <a:gd name="connsiteX28" fmla="*/ 989737 w 3344126"/>
                  <a:gd name="connsiteY28" fmla="*/ 284966 h 987801"/>
                  <a:gd name="connsiteX29" fmla="*/ 1088162 w 3344126"/>
                  <a:gd name="connsiteY29" fmla="*/ 265916 h 987801"/>
                  <a:gd name="connsiteX30" fmla="*/ 1129437 w 3344126"/>
                  <a:gd name="connsiteY30" fmla="*/ 183366 h 987801"/>
                  <a:gd name="connsiteX31" fmla="*/ 1148487 w 3344126"/>
                  <a:gd name="connsiteY31" fmla="*/ 97641 h 987801"/>
                  <a:gd name="connsiteX32" fmla="*/ 1148487 w 3344126"/>
                  <a:gd name="connsiteY32" fmla="*/ 53191 h 987801"/>
                  <a:gd name="connsiteX33" fmla="*/ 1211987 w 3344126"/>
                  <a:gd name="connsiteY33" fmla="*/ 50016 h 987801"/>
                  <a:gd name="connsiteX34" fmla="*/ 1259612 w 3344126"/>
                  <a:gd name="connsiteY34" fmla="*/ 27791 h 987801"/>
                  <a:gd name="connsiteX35" fmla="*/ 1304062 w 3344126"/>
                  <a:gd name="connsiteY35" fmla="*/ 21441 h 987801"/>
                  <a:gd name="connsiteX36" fmla="*/ 1358037 w 3344126"/>
                  <a:gd name="connsiteY36" fmla="*/ 2391 h 987801"/>
                  <a:gd name="connsiteX37" fmla="*/ 1402487 w 3344126"/>
                  <a:gd name="connsiteY37" fmla="*/ 5566 h 987801"/>
                  <a:gd name="connsiteX38" fmla="*/ 1491387 w 3344126"/>
                  <a:gd name="connsiteY38" fmla="*/ 50016 h 987801"/>
                  <a:gd name="connsiteX39" fmla="*/ 1542187 w 3344126"/>
                  <a:gd name="connsiteY39" fmla="*/ 40491 h 987801"/>
                  <a:gd name="connsiteX40" fmla="*/ 1580287 w 3344126"/>
                  <a:gd name="connsiteY40" fmla="*/ 62716 h 987801"/>
                  <a:gd name="connsiteX41" fmla="*/ 1634262 w 3344126"/>
                  <a:gd name="connsiteY41" fmla="*/ 94466 h 987801"/>
                  <a:gd name="connsiteX42" fmla="*/ 1713637 w 3344126"/>
                  <a:gd name="connsiteY42" fmla="*/ 116691 h 987801"/>
                  <a:gd name="connsiteX43" fmla="*/ 1764437 w 3344126"/>
                  <a:gd name="connsiteY43" fmla="*/ 91291 h 987801"/>
                  <a:gd name="connsiteX44" fmla="*/ 1815237 w 3344126"/>
                  <a:gd name="connsiteY44" fmla="*/ 97641 h 987801"/>
                  <a:gd name="connsiteX45" fmla="*/ 1859687 w 3344126"/>
                  <a:gd name="connsiteY45" fmla="*/ 123041 h 987801"/>
                  <a:gd name="connsiteX46" fmla="*/ 1973987 w 3344126"/>
                  <a:gd name="connsiteY46" fmla="*/ 103991 h 987801"/>
                  <a:gd name="connsiteX47" fmla="*/ 2024787 w 3344126"/>
                  <a:gd name="connsiteY47" fmla="*/ 119866 h 987801"/>
                  <a:gd name="connsiteX48" fmla="*/ 2125761 w 3344126"/>
                  <a:gd name="connsiteY48" fmla="*/ 157822 h 987801"/>
                  <a:gd name="connsiteX49" fmla="*/ 2244488 w 3344126"/>
                  <a:gd name="connsiteY49" fmla="*/ 167059 h 987801"/>
                  <a:gd name="connsiteX50" fmla="*/ 2360325 w 3344126"/>
                  <a:gd name="connsiteY50" fmla="*/ 216877 h 987801"/>
                  <a:gd name="connsiteX51" fmla="*/ 2389912 w 3344126"/>
                  <a:gd name="connsiteY51" fmla="*/ 183366 h 987801"/>
                  <a:gd name="connsiteX52" fmla="*/ 2494896 w 3344126"/>
                  <a:gd name="connsiteY52" fmla="*/ 278112 h 987801"/>
                  <a:gd name="connsiteX53" fmla="*/ 2611953 w 3344126"/>
                  <a:gd name="connsiteY53" fmla="*/ 316068 h 987801"/>
                  <a:gd name="connsiteX54" fmla="*/ 2696427 w 3344126"/>
                  <a:gd name="connsiteY54" fmla="*/ 300265 h 987801"/>
                  <a:gd name="connsiteX55" fmla="*/ 2824887 w 3344126"/>
                  <a:gd name="connsiteY55" fmla="*/ 319172 h 987801"/>
                  <a:gd name="connsiteX56" fmla="*/ 2959489 w 3344126"/>
                  <a:gd name="connsiteY56" fmla="*/ 397971 h 987801"/>
                  <a:gd name="connsiteX57" fmla="*/ 3060463 w 3344126"/>
                  <a:gd name="connsiteY57" fmla="*/ 464502 h 987801"/>
                  <a:gd name="connsiteX58" fmla="*/ 3124381 w 3344126"/>
                  <a:gd name="connsiteY58" fmla="*/ 480161 h 987801"/>
                  <a:gd name="connsiteX59" fmla="*/ 3169129 w 3344126"/>
                  <a:gd name="connsiteY59" fmla="*/ 523091 h 987801"/>
                  <a:gd name="connsiteX60" fmla="*/ 3161736 w 3344126"/>
                  <a:gd name="connsiteY60" fmla="*/ 567541 h 987801"/>
                  <a:gd name="connsiteX61" fmla="*/ 3197913 w 3344126"/>
                  <a:gd name="connsiteY61" fmla="*/ 624691 h 987801"/>
                  <a:gd name="connsiteX62" fmla="*/ 3252722 w 3344126"/>
                  <a:gd name="connsiteY62" fmla="*/ 646988 h 987801"/>
                  <a:gd name="connsiteX63" fmla="*/ 3255898 w 3344126"/>
                  <a:gd name="connsiteY63" fmla="*/ 710272 h 987801"/>
                  <a:gd name="connsiteX64" fmla="*/ 3305400 w 3344126"/>
                  <a:gd name="connsiteY64" fmla="*/ 780050 h 987801"/>
                  <a:gd name="connsiteX65" fmla="*/ 3344126 w 3344126"/>
                  <a:gd name="connsiteY65" fmla="*/ 987801 h 987801"/>
                  <a:gd name="connsiteX0" fmla="*/ 18187 w 3344126"/>
                  <a:gd name="connsiteY0" fmla="*/ 262741 h 987801"/>
                  <a:gd name="connsiteX1" fmla="*/ 40412 w 3344126"/>
                  <a:gd name="connsiteY1" fmla="*/ 319891 h 987801"/>
                  <a:gd name="connsiteX2" fmla="*/ 11837 w 3344126"/>
                  <a:gd name="connsiteY2" fmla="*/ 472291 h 987801"/>
                  <a:gd name="connsiteX3" fmla="*/ 2312 w 3344126"/>
                  <a:gd name="connsiteY3" fmla="*/ 564366 h 987801"/>
                  <a:gd name="connsiteX4" fmla="*/ 53112 w 3344126"/>
                  <a:gd name="connsiteY4" fmla="*/ 577066 h 987801"/>
                  <a:gd name="connsiteX5" fmla="*/ 84862 w 3344126"/>
                  <a:gd name="connsiteY5" fmla="*/ 570716 h 987801"/>
                  <a:gd name="connsiteX6" fmla="*/ 154712 w 3344126"/>
                  <a:gd name="connsiteY6" fmla="*/ 611991 h 987801"/>
                  <a:gd name="connsiteX7" fmla="*/ 205512 w 3344126"/>
                  <a:gd name="connsiteY7" fmla="*/ 602466 h 987801"/>
                  <a:gd name="connsiteX8" fmla="*/ 262662 w 3344126"/>
                  <a:gd name="connsiteY8" fmla="*/ 621516 h 987801"/>
                  <a:gd name="connsiteX9" fmla="*/ 269012 w 3344126"/>
                  <a:gd name="connsiteY9" fmla="*/ 659616 h 987801"/>
                  <a:gd name="connsiteX10" fmla="*/ 310287 w 3344126"/>
                  <a:gd name="connsiteY10" fmla="*/ 665966 h 987801"/>
                  <a:gd name="connsiteX11" fmla="*/ 332512 w 3344126"/>
                  <a:gd name="connsiteY11" fmla="*/ 719941 h 987801"/>
                  <a:gd name="connsiteX12" fmla="*/ 322987 w 3344126"/>
                  <a:gd name="connsiteY12" fmla="*/ 786616 h 987801"/>
                  <a:gd name="connsiteX13" fmla="*/ 342037 w 3344126"/>
                  <a:gd name="connsiteY13" fmla="*/ 843766 h 987801"/>
                  <a:gd name="connsiteX14" fmla="*/ 351562 w 3344126"/>
                  <a:gd name="connsiteY14" fmla="*/ 891391 h 987801"/>
                  <a:gd name="connsiteX15" fmla="*/ 389662 w 3344126"/>
                  <a:gd name="connsiteY15" fmla="*/ 932666 h 987801"/>
                  <a:gd name="connsiteX16" fmla="*/ 434112 w 3344126"/>
                  <a:gd name="connsiteY16" fmla="*/ 919966 h 987801"/>
                  <a:gd name="connsiteX17" fmla="*/ 465862 w 3344126"/>
                  <a:gd name="connsiteY17" fmla="*/ 935841 h 987801"/>
                  <a:gd name="connsiteX18" fmla="*/ 532537 w 3344126"/>
                  <a:gd name="connsiteY18" fmla="*/ 869166 h 987801"/>
                  <a:gd name="connsiteX19" fmla="*/ 583337 w 3344126"/>
                  <a:gd name="connsiteY19" fmla="*/ 805666 h 987801"/>
                  <a:gd name="connsiteX20" fmla="*/ 637312 w 3344126"/>
                  <a:gd name="connsiteY20" fmla="*/ 802491 h 987801"/>
                  <a:gd name="connsiteX21" fmla="*/ 656362 w 3344126"/>
                  <a:gd name="connsiteY21" fmla="*/ 767566 h 987801"/>
                  <a:gd name="connsiteX22" fmla="*/ 767487 w 3344126"/>
                  <a:gd name="connsiteY22" fmla="*/ 716766 h 987801"/>
                  <a:gd name="connsiteX23" fmla="*/ 875437 w 3344126"/>
                  <a:gd name="connsiteY23" fmla="*/ 542141 h 987801"/>
                  <a:gd name="connsiteX24" fmla="*/ 850037 w 3344126"/>
                  <a:gd name="connsiteY24" fmla="*/ 472291 h 987801"/>
                  <a:gd name="connsiteX25" fmla="*/ 888137 w 3344126"/>
                  <a:gd name="connsiteY25" fmla="*/ 402441 h 987801"/>
                  <a:gd name="connsiteX26" fmla="*/ 878612 w 3344126"/>
                  <a:gd name="connsiteY26" fmla="*/ 361166 h 987801"/>
                  <a:gd name="connsiteX27" fmla="*/ 932587 w 3344126"/>
                  <a:gd name="connsiteY27" fmla="*/ 329416 h 987801"/>
                  <a:gd name="connsiteX28" fmla="*/ 989737 w 3344126"/>
                  <a:gd name="connsiteY28" fmla="*/ 284966 h 987801"/>
                  <a:gd name="connsiteX29" fmla="*/ 1088162 w 3344126"/>
                  <a:gd name="connsiteY29" fmla="*/ 265916 h 987801"/>
                  <a:gd name="connsiteX30" fmla="*/ 1129437 w 3344126"/>
                  <a:gd name="connsiteY30" fmla="*/ 183366 h 987801"/>
                  <a:gd name="connsiteX31" fmla="*/ 1148487 w 3344126"/>
                  <a:gd name="connsiteY31" fmla="*/ 97641 h 987801"/>
                  <a:gd name="connsiteX32" fmla="*/ 1148487 w 3344126"/>
                  <a:gd name="connsiteY32" fmla="*/ 53191 h 987801"/>
                  <a:gd name="connsiteX33" fmla="*/ 1211987 w 3344126"/>
                  <a:gd name="connsiteY33" fmla="*/ 50016 h 987801"/>
                  <a:gd name="connsiteX34" fmla="*/ 1259612 w 3344126"/>
                  <a:gd name="connsiteY34" fmla="*/ 27791 h 987801"/>
                  <a:gd name="connsiteX35" fmla="*/ 1304062 w 3344126"/>
                  <a:gd name="connsiteY35" fmla="*/ 21441 h 987801"/>
                  <a:gd name="connsiteX36" fmla="*/ 1358037 w 3344126"/>
                  <a:gd name="connsiteY36" fmla="*/ 2391 h 987801"/>
                  <a:gd name="connsiteX37" fmla="*/ 1402487 w 3344126"/>
                  <a:gd name="connsiteY37" fmla="*/ 5566 h 987801"/>
                  <a:gd name="connsiteX38" fmla="*/ 1491387 w 3344126"/>
                  <a:gd name="connsiteY38" fmla="*/ 50016 h 987801"/>
                  <a:gd name="connsiteX39" fmla="*/ 1542187 w 3344126"/>
                  <a:gd name="connsiteY39" fmla="*/ 40491 h 987801"/>
                  <a:gd name="connsiteX40" fmla="*/ 1580287 w 3344126"/>
                  <a:gd name="connsiteY40" fmla="*/ 62716 h 987801"/>
                  <a:gd name="connsiteX41" fmla="*/ 1634262 w 3344126"/>
                  <a:gd name="connsiteY41" fmla="*/ 94466 h 987801"/>
                  <a:gd name="connsiteX42" fmla="*/ 1713637 w 3344126"/>
                  <a:gd name="connsiteY42" fmla="*/ 116691 h 987801"/>
                  <a:gd name="connsiteX43" fmla="*/ 1764437 w 3344126"/>
                  <a:gd name="connsiteY43" fmla="*/ 91291 h 987801"/>
                  <a:gd name="connsiteX44" fmla="*/ 1815237 w 3344126"/>
                  <a:gd name="connsiteY44" fmla="*/ 97641 h 987801"/>
                  <a:gd name="connsiteX45" fmla="*/ 1859687 w 3344126"/>
                  <a:gd name="connsiteY45" fmla="*/ 123041 h 987801"/>
                  <a:gd name="connsiteX46" fmla="*/ 1973987 w 3344126"/>
                  <a:gd name="connsiteY46" fmla="*/ 103991 h 987801"/>
                  <a:gd name="connsiteX47" fmla="*/ 2024787 w 3344126"/>
                  <a:gd name="connsiteY47" fmla="*/ 119866 h 987801"/>
                  <a:gd name="connsiteX48" fmla="*/ 2125761 w 3344126"/>
                  <a:gd name="connsiteY48" fmla="*/ 157822 h 987801"/>
                  <a:gd name="connsiteX49" fmla="*/ 2244488 w 3344126"/>
                  <a:gd name="connsiteY49" fmla="*/ 167059 h 987801"/>
                  <a:gd name="connsiteX50" fmla="*/ 2360325 w 3344126"/>
                  <a:gd name="connsiteY50" fmla="*/ 216877 h 987801"/>
                  <a:gd name="connsiteX51" fmla="*/ 2389912 w 3344126"/>
                  <a:gd name="connsiteY51" fmla="*/ 183366 h 987801"/>
                  <a:gd name="connsiteX52" fmla="*/ 2475220 w 3344126"/>
                  <a:gd name="connsiteY52" fmla="*/ 240444 h 987801"/>
                  <a:gd name="connsiteX53" fmla="*/ 2611953 w 3344126"/>
                  <a:gd name="connsiteY53" fmla="*/ 316068 h 987801"/>
                  <a:gd name="connsiteX54" fmla="*/ 2696427 w 3344126"/>
                  <a:gd name="connsiteY54" fmla="*/ 300265 h 987801"/>
                  <a:gd name="connsiteX55" fmla="*/ 2824887 w 3344126"/>
                  <a:gd name="connsiteY55" fmla="*/ 319172 h 987801"/>
                  <a:gd name="connsiteX56" fmla="*/ 2959489 w 3344126"/>
                  <a:gd name="connsiteY56" fmla="*/ 397971 h 987801"/>
                  <a:gd name="connsiteX57" fmla="*/ 3060463 w 3344126"/>
                  <a:gd name="connsiteY57" fmla="*/ 464502 h 987801"/>
                  <a:gd name="connsiteX58" fmla="*/ 3124381 w 3344126"/>
                  <a:gd name="connsiteY58" fmla="*/ 480161 h 987801"/>
                  <a:gd name="connsiteX59" fmla="*/ 3169129 w 3344126"/>
                  <a:gd name="connsiteY59" fmla="*/ 523091 h 987801"/>
                  <a:gd name="connsiteX60" fmla="*/ 3161736 w 3344126"/>
                  <a:gd name="connsiteY60" fmla="*/ 567541 h 987801"/>
                  <a:gd name="connsiteX61" fmla="*/ 3197913 w 3344126"/>
                  <a:gd name="connsiteY61" fmla="*/ 624691 h 987801"/>
                  <a:gd name="connsiteX62" fmla="*/ 3252722 w 3344126"/>
                  <a:gd name="connsiteY62" fmla="*/ 646988 h 987801"/>
                  <a:gd name="connsiteX63" fmla="*/ 3255898 w 3344126"/>
                  <a:gd name="connsiteY63" fmla="*/ 710272 h 987801"/>
                  <a:gd name="connsiteX64" fmla="*/ 3305400 w 3344126"/>
                  <a:gd name="connsiteY64" fmla="*/ 780050 h 987801"/>
                  <a:gd name="connsiteX65" fmla="*/ 3344126 w 3344126"/>
                  <a:gd name="connsiteY65" fmla="*/ 987801 h 987801"/>
                  <a:gd name="connsiteX0" fmla="*/ 18187 w 3344126"/>
                  <a:gd name="connsiteY0" fmla="*/ 262741 h 987801"/>
                  <a:gd name="connsiteX1" fmla="*/ 40412 w 3344126"/>
                  <a:gd name="connsiteY1" fmla="*/ 319891 h 987801"/>
                  <a:gd name="connsiteX2" fmla="*/ 11837 w 3344126"/>
                  <a:gd name="connsiteY2" fmla="*/ 472291 h 987801"/>
                  <a:gd name="connsiteX3" fmla="*/ 2312 w 3344126"/>
                  <a:gd name="connsiteY3" fmla="*/ 564366 h 987801"/>
                  <a:gd name="connsiteX4" fmla="*/ 53112 w 3344126"/>
                  <a:gd name="connsiteY4" fmla="*/ 577066 h 987801"/>
                  <a:gd name="connsiteX5" fmla="*/ 84862 w 3344126"/>
                  <a:gd name="connsiteY5" fmla="*/ 570716 h 987801"/>
                  <a:gd name="connsiteX6" fmla="*/ 154712 w 3344126"/>
                  <a:gd name="connsiteY6" fmla="*/ 611991 h 987801"/>
                  <a:gd name="connsiteX7" fmla="*/ 205512 w 3344126"/>
                  <a:gd name="connsiteY7" fmla="*/ 602466 h 987801"/>
                  <a:gd name="connsiteX8" fmla="*/ 262662 w 3344126"/>
                  <a:gd name="connsiteY8" fmla="*/ 621516 h 987801"/>
                  <a:gd name="connsiteX9" fmla="*/ 269012 w 3344126"/>
                  <a:gd name="connsiteY9" fmla="*/ 659616 h 987801"/>
                  <a:gd name="connsiteX10" fmla="*/ 310287 w 3344126"/>
                  <a:gd name="connsiteY10" fmla="*/ 665966 h 987801"/>
                  <a:gd name="connsiteX11" fmla="*/ 332512 w 3344126"/>
                  <a:gd name="connsiteY11" fmla="*/ 719941 h 987801"/>
                  <a:gd name="connsiteX12" fmla="*/ 322987 w 3344126"/>
                  <a:gd name="connsiteY12" fmla="*/ 786616 h 987801"/>
                  <a:gd name="connsiteX13" fmla="*/ 342037 w 3344126"/>
                  <a:gd name="connsiteY13" fmla="*/ 843766 h 987801"/>
                  <a:gd name="connsiteX14" fmla="*/ 351562 w 3344126"/>
                  <a:gd name="connsiteY14" fmla="*/ 891391 h 987801"/>
                  <a:gd name="connsiteX15" fmla="*/ 389662 w 3344126"/>
                  <a:gd name="connsiteY15" fmla="*/ 932666 h 987801"/>
                  <a:gd name="connsiteX16" fmla="*/ 434112 w 3344126"/>
                  <a:gd name="connsiteY16" fmla="*/ 919966 h 987801"/>
                  <a:gd name="connsiteX17" fmla="*/ 465862 w 3344126"/>
                  <a:gd name="connsiteY17" fmla="*/ 935841 h 987801"/>
                  <a:gd name="connsiteX18" fmla="*/ 532537 w 3344126"/>
                  <a:gd name="connsiteY18" fmla="*/ 869166 h 987801"/>
                  <a:gd name="connsiteX19" fmla="*/ 583337 w 3344126"/>
                  <a:gd name="connsiteY19" fmla="*/ 805666 h 987801"/>
                  <a:gd name="connsiteX20" fmla="*/ 637312 w 3344126"/>
                  <a:gd name="connsiteY20" fmla="*/ 802491 h 987801"/>
                  <a:gd name="connsiteX21" fmla="*/ 656362 w 3344126"/>
                  <a:gd name="connsiteY21" fmla="*/ 767566 h 987801"/>
                  <a:gd name="connsiteX22" fmla="*/ 767487 w 3344126"/>
                  <a:gd name="connsiteY22" fmla="*/ 716766 h 987801"/>
                  <a:gd name="connsiteX23" fmla="*/ 875437 w 3344126"/>
                  <a:gd name="connsiteY23" fmla="*/ 542141 h 987801"/>
                  <a:gd name="connsiteX24" fmla="*/ 850037 w 3344126"/>
                  <a:gd name="connsiteY24" fmla="*/ 472291 h 987801"/>
                  <a:gd name="connsiteX25" fmla="*/ 888137 w 3344126"/>
                  <a:gd name="connsiteY25" fmla="*/ 402441 h 987801"/>
                  <a:gd name="connsiteX26" fmla="*/ 878612 w 3344126"/>
                  <a:gd name="connsiteY26" fmla="*/ 361166 h 987801"/>
                  <a:gd name="connsiteX27" fmla="*/ 932587 w 3344126"/>
                  <a:gd name="connsiteY27" fmla="*/ 329416 h 987801"/>
                  <a:gd name="connsiteX28" fmla="*/ 989737 w 3344126"/>
                  <a:gd name="connsiteY28" fmla="*/ 284966 h 987801"/>
                  <a:gd name="connsiteX29" fmla="*/ 1088162 w 3344126"/>
                  <a:gd name="connsiteY29" fmla="*/ 265916 h 987801"/>
                  <a:gd name="connsiteX30" fmla="*/ 1129437 w 3344126"/>
                  <a:gd name="connsiteY30" fmla="*/ 183366 h 987801"/>
                  <a:gd name="connsiteX31" fmla="*/ 1148487 w 3344126"/>
                  <a:gd name="connsiteY31" fmla="*/ 97641 h 987801"/>
                  <a:gd name="connsiteX32" fmla="*/ 1148487 w 3344126"/>
                  <a:gd name="connsiteY32" fmla="*/ 53191 h 987801"/>
                  <a:gd name="connsiteX33" fmla="*/ 1211987 w 3344126"/>
                  <a:gd name="connsiteY33" fmla="*/ 50016 h 987801"/>
                  <a:gd name="connsiteX34" fmla="*/ 1259612 w 3344126"/>
                  <a:gd name="connsiteY34" fmla="*/ 27791 h 987801"/>
                  <a:gd name="connsiteX35" fmla="*/ 1304062 w 3344126"/>
                  <a:gd name="connsiteY35" fmla="*/ 21441 h 987801"/>
                  <a:gd name="connsiteX36" fmla="*/ 1358037 w 3344126"/>
                  <a:gd name="connsiteY36" fmla="*/ 2391 h 987801"/>
                  <a:gd name="connsiteX37" fmla="*/ 1402487 w 3344126"/>
                  <a:gd name="connsiteY37" fmla="*/ 5566 h 987801"/>
                  <a:gd name="connsiteX38" fmla="*/ 1491387 w 3344126"/>
                  <a:gd name="connsiteY38" fmla="*/ 50016 h 987801"/>
                  <a:gd name="connsiteX39" fmla="*/ 1542187 w 3344126"/>
                  <a:gd name="connsiteY39" fmla="*/ 40491 h 987801"/>
                  <a:gd name="connsiteX40" fmla="*/ 1580287 w 3344126"/>
                  <a:gd name="connsiteY40" fmla="*/ 62716 h 987801"/>
                  <a:gd name="connsiteX41" fmla="*/ 1634262 w 3344126"/>
                  <a:gd name="connsiteY41" fmla="*/ 94466 h 987801"/>
                  <a:gd name="connsiteX42" fmla="*/ 1713637 w 3344126"/>
                  <a:gd name="connsiteY42" fmla="*/ 116691 h 987801"/>
                  <a:gd name="connsiteX43" fmla="*/ 1764437 w 3344126"/>
                  <a:gd name="connsiteY43" fmla="*/ 91291 h 987801"/>
                  <a:gd name="connsiteX44" fmla="*/ 1815237 w 3344126"/>
                  <a:gd name="connsiteY44" fmla="*/ 97641 h 987801"/>
                  <a:gd name="connsiteX45" fmla="*/ 1859687 w 3344126"/>
                  <a:gd name="connsiteY45" fmla="*/ 123041 h 987801"/>
                  <a:gd name="connsiteX46" fmla="*/ 1973987 w 3344126"/>
                  <a:gd name="connsiteY46" fmla="*/ 103991 h 987801"/>
                  <a:gd name="connsiteX47" fmla="*/ 2024787 w 3344126"/>
                  <a:gd name="connsiteY47" fmla="*/ 119866 h 987801"/>
                  <a:gd name="connsiteX48" fmla="*/ 2125761 w 3344126"/>
                  <a:gd name="connsiteY48" fmla="*/ 157822 h 987801"/>
                  <a:gd name="connsiteX49" fmla="*/ 2244488 w 3344126"/>
                  <a:gd name="connsiteY49" fmla="*/ 167059 h 987801"/>
                  <a:gd name="connsiteX50" fmla="*/ 2360325 w 3344126"/>
                  <a:gd name="connsiteY50" fmla="*/ 216877 h 987801"/>
                  <a:gd name="connsiteX51" fmla="*/ 2409588 w 3344126"/>
                  <a:gd name="connsiteY51" fmla="*/ 233590 h 987801"/>
                  <a:gd name="connsiteX52" fmla="*/ 2475220 w 3344126"/>
                  <a:gd name="connsiteY52" fmla="*/ 240444 h 987801"/>
                  <a:gd name="connsiteX53" fmla="*/ 2611953 w 3344126"/>
                  <a:gd name="connsiteY53" fmla="*/ 316068 h 987801"/>
                  <a:gd name="connsiteX54" fmla="*/ 2696427 w 3344126"/>
                  <a:gd name="connsiteY54" fmla="*/ 300265 h 987801"/>
                  <a:gd name="connsiteX55" fmla="*/ 2824887 w 3344126"/>
                  <a:gd name="connsiteY55" fmla="*/ 319172 h 987801"/>
                  <a:gd name="connsiteX56" fmla="*/ 2959489 w 3344126"/>
                  <a:gd name="connsiteY56" fmla="*/ 397971 h 987801"/>
                  <a:gd name="connsiteX57" fmla="*/ 3060463 w 3344126"/>
                  <a:gd name="connsiteY57" fmla="*/ 464502 h 987801"/>
                  <a:gd name="connsiteX58" fmla="*/ 3124381 w 3344126"/>
                  <a:gd name="connsiteY58" fmla="*/ 480161 h 987801"/>
                  <a:gd name="connsiteX59" fmla="*/ 3169129 w 3344126"/>
                  <a:gd name="connsiteY59" fmla="*/ 523091 h 987801"/>
                  <a:gd name="connsiteX60" fmla="*/ 3161736 w 3344126"/>
                  <a:gd name="connsiteY60" fmla="*/ 567541 h 987801"/>
                  <a:gd name="connsiteX61" fmla="*/ 3197913 w 3344126"/>
                  <a:gd name="connsiteY61" fmla="*/ 624691 h 987801"/>
                  <a:gd name="connsiteX62" fmla="*/ 3252722 w 3344126"/>
                  <a:gd name="connsiteY62" fmla="*/ 646988 h 987801"/>
                  <a:gd name="connsiteX63" fmla="*/ 3255898 w 3344126"/>
                  <a:gd name="connsiteY63" fmla="*/ 710272 h 987801"/>
                  <a:gd name="connsiteX64" fmla="*/ 3305400 w 3344126"/>
                  <a:gd name="connsiteY64" fmla="*/ 780050 h 987801"/>
                  <a:gd name="connsiteX65" fmla="*/ 3344126 w 3344126"/>
                  <a:gd name="connsiteY65" fmla="*/ 987801 h 987801"/>
                  <a:gd name="connsiteX0" fmla="*/ 18187 w 3344126"/>
                  <a:gd name="connsiteY0" fmla="*/ 262741 h 987801"/>
                  <a:gd name="connsiteX1" fmla="*/ 40412 w 3344126"/>
                  <a:gd name="connsiteY1" fmla="*/ 319891 h 987801"/>
                  <a:gd name="connsiteX2" fmla="*/ 11837 w 3344126"/>
                  <a:gd name="connsiteY2" fmla="*/ 472291 h 987801"/>
                  <a:gd name="connsiteX3" fmla="*/ 2312 w 3344126"/>
                  <a:gd name="connsiteY3" fmla="*/ 564366 h 987801"/>
                  <a:gd name="connsiteX4" fmla="*/ 53112 w 3344126"/>
                  <a:gd name="connsiteY4" fmla="*/ 577066 h 987801"/>
                  <a:gd name="connsiteX5" fmla="*/ 84862 w 3344126"/>
                  <a:gd name="connsiteY5" fmla="*/ 570716 h 987801"/>
                  <a:gd name="connsiteX6" fmla="*/ 154712 w 3344126"/>
                  <a:gd name="connsiteY6" fmla="*/ 611991 h 987801"/>
                  <a:gd name="connsiteX7" fmla="*/ 205512 w 3344126"/>
                  <a:gd name="connsiteY7" fmla="*/ 602466 h 987801"/>
                  <a:gd name="connsiteX8" fmla="*/ 262662 w 3344126"/>
                  <a:gd name="connsiteY8" fmla="*/ 621516 h 987801"/>
                  <a:gd name="connsiteX9" fmla="*/ 269012 w 3344126"/>
                  <a:gd name="connsiteY9" fmla="*/ 659616 h 987801"/>
                  <a:gd name="connsiteX10" fmla="*/ 310287 w 3344126"/>
                  <a:gd name="connsiteY10" fmla="*/ 665966 h 987801"/>
                  <a:gd name="connsiteX11" fmla="*/ 332512 w 3344126"/>
                  <a:gd name="connsiteY11" fmla="*/ 719941 h 987801"/>
                  <a:gd name="connsiteX12" fmla="*/ 322987 w 3344126"/>
                  <a:gd name="connsiteY12" fmla="*/ 786616 h 987801"/>
                  <a:gd name="connsiteX13" fmla="*/ 342037 w 3344126"/>
                  <a:gd name="connsiteY13" fmla="*/ 843766 h 987801"/>
                  <a:gd name="connsiteX14" fmla="*/ 351562 w 3344126"/>
                  <a:gd name="connsiteY14" fmla="*/ 891391 h 987801"/>
                  <a:gd name="connsiteX15" fmla="*/ 389662 w 3344126"/>
                  <a:gd name="connsiteY15" fmla="*/ 932666 h 987801"/>
                  <a:gd name="connsiteX16" fmla="*/ 434112 w 3344126"/>
                  <a:gd name="connsiteY16" fmla="*/ 919966 h 987801"/>
                  <a:gd name="connsiteX17" fmla="*/ 465862 w 3344126"/>
                  <a:gd name="connsiteY17" fmla="*/ 935841 h 987801"/>
                  <a:gd name="connsiteX18" fmla="*/ 532537 w 3344126"/>
                  <a:gd name="connsiteY18" fmla="*/ 869166 h 987801"/>
                  <a:gd name="connsiteX19" fmla="*/ 583337 w 3344126"/>
                  <a:gd name="connsiteY19" fmla="*/ 805666 h 987801"/>
                  <a:gd name="connsiteX20" fmla="*/ 637312 w 3344126"/>
                  <a:gd name="connsiteY20" fmla="*/ 802491 h 987801"/>
                  <a:gd name="connsiteX21" fmla="*/ 656362 w 3344126"/>
                  <a:gd name="connsiteY21" fmla="*/ 767566 h 987801"/>
                  <a:gd name="connsiteX22" fmla="*/ 767487 w 3344126"/>
                  <a:gd name="connsiteY22" fmla="*/ 716766 h 987801"/>
                  <a:gd name="connsiteX23" fmla="*/ 875437 w 3344126"/>
                  <a:gd name="connsiteY23" fmla="*/ 542141 h 987801"/>
                  <a:gd name="connsiteX24" fmla="*/ 850037 w 3344126"/>
                  <a:gd name="connsiteY24" fmla="*/ 472291 h 987801"/>
                  <a:gd name="connsiteX25" fmla="*/ 888137 w 3344126"/>
                  <a:gd name="connsiteY25" fmla="*/ 402441 h 987801"/>
                  <a:gd name="connsiteX26" fmla="*/ 878612 w 3344126"/>
                  <a:gd name="connsiteY26" fmla="*/ 361166 h 987801"/>
                  <a:gd name="connsiteX27" fmla="*/ 932587 w 3344126"/>
                  <a:gd name="connsiteY27" fmla="*/ 329416 h 987801"/>
                  <a:gd name="connsiteX28" fmla="*/ 989737 w 3344126"/>
                  <a:gd name="connsiteY28" fmla="*/ 284966 h 987801"/>
                  <a:gd name="connsiteX29" fmla="*/ 1088162 w 3344126"/>
                  <a:gd name="connsiteY29" fmla="*/ 265916 h 987801"/>
                  <a:gd name="connsiteX30" fmla="*/ 1129437 w 3344126"/>
                  <a:gd name="connsiteY30" fmla="*/ 183366 h 987801"/>
                  <a:gd name="connsiteX31" fmla="*/ 1148487 w 3344126"/>
                  <a:gd name="connsiteY31" fmla="*/ 97641 h 987801"/>
                  <a:gd name="connsiteX32" fmla="*/ 1148487 w 3344126"/>
                  <a:gd name="connsiteY32" fmla="*/ 53191 h 987801"/>
                  <a:gd name="connsiteX33" fmla="*/ 1211987 w 3344126"/>
                  <a:gd name="connsiteY33" fmla="*/ 50016 h 987801"/>
                  <a:gd name="connsiteX34" fmla="*/ 1259612 w 3344126"/>
                  <a:gd name="connsiteY34" fmla="*/ 27791 h 987801"/>
                  <a:gd name="connsiteX35" fmla="*/ 1304062 w 3344126"/>
                  <a:gd name="connsiteY35" fmla="*/ 21441 h 987801"/>
                  <a:gd name="connsiteX36" fmla="*/ 1358037 w 3344126"/>
                  <a:gd name="connsiteY36" fmla="*/ 2391 h 987801"/>
                  <a:gd name="connsiteX37" fmla="*/ 1402487 w 3344126"/>
                  <a:gd name="connsiteY37" fmla="*/ 5566 h 987801"/>
                  <a:gd name="connsiteX38" fmla="*/ 1491387 w 3344126"/>
                  <a:gd name="connsiteY38" fmla="*/ 50016 h 987801"/>
                  <a:gd name="connsiteX39" fmla="*/ 1542187 w 3344126"/>
                  <a:gd name="connsiteY39" fmla="*/ 40491 h 987801"/>
                  <a:gd name="connsiteX40" fmla="*/ 1580287 w 3344126"/>
                  <a:gd name="connsiteY40" fmla="*/ 62716 h 987801"/>
                  <a:gd name="connsiteX41" fmla="*/ 1634262 w 3344126"/>
                  <a:gd name="connsiteY41" fmla="*/ 94466 h 987801"/>
                  <a:gd name="connsiteX42" fmla="*/ 1713637 w 3344126"/>
                  <a:gd name="connsiteY42" fmla="*/ 116691 h 987801"/>
                  <a:gd name="connsiteX43" fmla="*/ 1764437 w 3344126"/>
                  <a:gd name="connsiteY43" fmla="*/ 91291 h 987801"/>
                  <a:gd name="connsiteX44" fmla="*/ 1815237 w 3344126"/>
                  <a:gd name="connsiteY44" fmla="*/ 97641 h 987801"/>
                  <a:gd name="connsiteX45" fmla="*/ 1859687 w 3344126"/>
                  <a:gd name="connsiteY45" fmla="*/ 123041 h 987801"/>
                  <a:gd name="connsiteX46" fmla="*/ 1973987 w 3344126"/>
                  <a:gd name="connsiteY46" fmla="*/ 103991 h 987801"/>
                  <a:gd name="connsiteX47" fmla="*/ 2024787 w 3344126"/>
                  <a:gd name="connsiteY47" fmla="*/ 119866 h 987801"/>
                  <a:gd name="connsiteX48" fmla="*/ 2125761 w 3344126"/>
                  <a:gd name="connsiteY48" fmla="*/ 157822 h 987801"/>
                  <a:gd name="connsiteX49" fmla="*/ 2244488 w 3344126"/>
                  <a:gd name="connsiteY49" fmla="*/ 167059 h 987801"/>
                  <a:gd name="connsiteX50" fmla="*/ 2334090 w 3344126"/>
                  <a:gd name="connsiteY50" fmla="*/ 204321 h 987801"/>
                  <a:gd name="connsiteX51" fmla="*/ 2409588 w 3344126"/>
                  <a:gd name="connsiteY51" fmla="*/ 233590 h 987801"/>
                  <a:gd name="connsiteX52" fmla="*/ 2475220 w 3344126"/>
                  <a:gd name="connsiteY52" fmla="*/ 240444 h 987801"/>
                  <a:gd name="connsiteX53" fmla="*/ 2611953 w 3344126"/>
                  <a:gd name="connsiteY53" fmla="*/ 316068 h 987801"/>
                  <a:gd name="connsiteX54" fmla="*/ 2696427 w 3344126"/>
                  <a:gd name="connsiteY54" fmla="*/ 300265 h 987801"/>
                  <a:gd name="connsiteX55" fmla="*/ 2824887 w 3344126"/>
                  <a:gd name="connsiteY55" fmla="*/ 319172 h 987801"/>
                  <a:gd name="connsiteX56" fmla="*/ 2959489 w 3344126"/>
                  <a:gd name="connsiteY56" fmla="*/ 397971 h 987801"/>
                  <a:gd name="connsiteX57" fmla="*/ 3060463 w 3344126"/>
                  <a:gd name="connsiteY57" fmla="*/ 464502 h 987801"/>
                  <a:gd name="connsiteX58" fmla="*/ 3124381 w 3344126"/>
                  <a:gd name="connsiteY58" fmla="*/ 480161 h 987801"/>
                  <a:gd name="connsiteX59" fmla="*/ 3169129 w 3344126"/>
                  <a:gd name="connsiteY59" fmla="*/ 523091 h 987801"/>
                  <a:gd name="connsiteX60" fmla="*/ 3161736 w 3344126"/>
                  <a:gd name="connsiteY60" fmla="*/ 567541 h 987801"/>
                  <a:gd name="connsiteX61" fmla="*/ 3197913 w 3344126"/>
                  <a:gd name="connsiteY61" fmla="*/ 624691 h 987801"/>
                  <a:gd name="connsiteX62" fmla="*/ 3252722 w 3344126"/>
                  <a:gd name="connsiteY62" fmla="*/ 646988 h 987801"/>
                  <a:gd name="connsiteX63" fmla="*/ 3255898 w 3344126"/>
                  <a:gd name="connsiteY63" fmla="*/ 710272 h 987801"/>
                  <a:gd name="connsiteX64" fmla="*/ 3305400 w 3344126"/>
                  <a:gd name="connsiteY64" fmla="*/ 780050 h 987801"/>
                  <a:gd name="connsiteX65" fmla="*/ 3344126 w 3344126"/>
                  <a:gd name="connsiteY65" fmla="*/ 987801 h 987801"/>
                  <a:gd name="connsiteX0" fmla="*/ 18187 w 3344126"/>
                  <a:gd name="connsiteY0" fmla="*/ 262741 h 987801"/>
                  <a:gd name="connsiteX1" fmla="*/ 40412 w 3344126"/>
                  <a:gd name="connsiteY1" fmla="*/ 319891 h 987801"/>
                  <a:gd name="connsiteX2" fmla="*/ 11837 w 3344126"/>
                  <a:gd name="connsiteY2" fmla="*/ 472291 h 987801"/>
                  <a:gd name="connsiteX3" fmla="*/ 2312 w 3344126"/>
                  <a:gd name="connsiteY3" fmla="*/ 564366 h 987801"/>
                  <a:gd name="connsiteX4" fmla="*/ 53112 w 3344126"/>
                  <a:gd name="connsiteY4" fmla="*/ 577066 h 987801"/>
                  <a:gd name="connsiteX5" fmla="*/ 84862 w 3344126"/>
                  <a:gd name="connsiteY5" fmla="*/ 570716 h 987801"/>
                  <a:gd name="connsiteX6" fmla="*/ 154712 w 3344126"/>
                  <a:gd name="connsiteY6" fmla="*/ 611991 h 987801"/>
                  <a:gd name="connsiteX7" fmla="*/ 205512 w 3344126"/>
                  <a:gd name="connsiteY7" fmla="*/ 602466 h 987801"/>
                  <a:gd name="connsiteX8" fmla="*/ 262662 w 3344126"/>
                  <a:gd name="connsiteY8" fmla="*/ 621516 h 987801"/>
                  <a:gd name="connsiteX9" fmla="*/ 269012 w 3344126"/>
                  <a:gd name="connsiteY9" fmla="*/ 659616 h 987801"/>
                  <a:gd name="connsiteX10" fmla="*/ 310287 w 3344126"/>
                  <a:gd name="connsiteY10" fmla="*/ 665966 h 987801"/>
                  <a:gd name="connsiteX11" fmla="*/ 332512 w 3344126"/>
                  <a:gd name="connsiteY11" fmla="*/ 719941 h 987801"/>
                  <a:gd name="connsiteX12" fmla="*/ 322987 w 3344126"/>
                  <a:gd name="connsiteY12" fmla="*/ 786616 h 987801"/>
                  <a:gd name="connsiteX13" fmla="*/ 342037 w 3344126"/>
                  <a:gd name="connsiteY13" fmla="*/ 843766 h 987801"/>
                  <a:gd name="connsiteX14" fmla="*/ 351562 w 3344126"/>
                  <a:gd name="connsiteY14" fmla="*/ 891391 h 987801"/>
                  <a:gd name="connsiteX15" fmla="*/ 389662 w 3344126"/>
                  <a:gd name="connsiteY15" fmla="*/ 932666 h 987801"/>
                  <a:gd name="connsiteX16" fmla="*/ 434112 w 3344126"/>
                  <a:gd name="connsiteY16" fmla="*/ 919966 h 987801"/>
                  <a:gd name="connsiteX17" fmla="*/ 465862 w 3344126"/>
                  <a:gd name="connsiteY17" fmla="*/ 935841 h 987801"/>
                  <a:gd name="connsiteX18" fmla="*/ 532537 w 3344126"/>
                  <a:gd name="connsiteY18" fmla="*/ 869166 h 987801"/>
                  <a:gd name="connsiteX19" fmla="*/ 583337 w 3344126"/>
                  <a:gd name="connsiteY19" fmla="*/ 805666 h 987801"/>
                  <a:gd name="connsiteX20" fmla="*/ 637312 w 3344126"/>
                  <a:gd name="connsiteY20" fmla="*/ 802491 h 987801"/>
                  <a:gd name="connsiteX21" fmla="*/ 656362 w 3344126"/>
                  <a:gd name="connsiteY21" fmla="*/ 767566 h 987801"/>
                  <a:gd name="connsiteX22" fmla="*/ 767487 w 3344126"/>
                  <a:gd name="connsiteY22" fmla="*/ 716766 h 987801"/>
                  <a:gd name="connsiteX23" fmla="*/ 875437 w 3344126"/>
                  <a:gd name="connsiteY23" fmla="*/ 542141 h 987801"/>
                  <a:gd name="connsiteX24" fmla="*/ 850037 w 3344126"/>
                  <a:gd name="connsiteY24" fmla="*/ 472291 h 987801"/>
                  <a:gd name="connsiteX25" fmla="*/ 888137 w 3344126"/>
                  <a:gd name="connsiteY25" fmla="*/ 402441 h 987801"/>
                  <a:gd name="connsiteX26" fmla="*/ 878612 w 3344126"/>
                  <a:gd name="connsiteY26" fmla="*/ 361166 h 987801"/>
                  <a:gd name="connsiteX27" fmla="*/ 932587 w 3344126"/>
                  <a:gd name="connsiteY27" fmla="*/ 329416 h 987801"/>
                  <a:gd name="connsiteX28" fmla="*/ 989737 w 3344126"/>
                  <a:gd name="connsiteY28" fmla="*/ 284966 h 987801"/>
                  <a:gd name="connsiteX29" fmla="*/ 1088162 w 3344126"/>
                  <a:gd name="connsiteY29" fmla="*/ 265916 h 987801"/>
                  <a:gd name="connsiteX30" fmla="*/ 1129437 w 3344126"/>
                  <a:gd name="connsiteY30" fmla="*/ 183366 h 987801"/>
                  <a:gd name="connsiteX31" fmla="*/ 1148487 w 3344126"/>
                  <a:gd name="connsiteY31" fmla="*/ 97641 h 987801"/>
                  <a:gd name="connsiteX32" fmla="*/ 1148487 w 3344126"/>
                  <a:gd name="connsiteY32" fmla="*/ 53191 h 987801"/>
                  <a:gd name="connsiteX33" fmla="*/ 1211987 w 3344126"/>
                  <a:gd name="connsiteY33" fmla="*/ 50016 h 987801"/>
                  <a:gd name="connsiteX34" fmla="*/ 1259612 w 3344126"/>
                  <a:gd name="connsiteY34" fmla="*/ 27791 h 987801"/>
                  <a:gd name="connsiteX35" fmla="*/ 1304062 w 3344126"/>
                  <a:gd name="connsiteY35" fmla="*/ 21441 h 987801"/>
                  <a:gd name="connsiteX36" fmla="*/ 1358037 w 3344126"/>
                  <a:gd name="connsiteY36" fmla="*/ 2391 h 987801"/>
                  <a:gd name="connsiteX37" fmla="*/ 1402487 w 3344126"/>
                  <a:gd name="connsiteY37" fmla="*/ 5566 h 987801"/>
                  <a:gd name="connsiteX38" fmla="*/ 1491387 w 3344126"/>
                  <a:gd name="connsiteY38" fmla="*/ 50016 h 987801"/>
                  <a:gd name="connsiteX39" fmla="*/ 1542187 w 3344126"/>
                  <a:gd name="connsiteY39" fmla="*/ 40491 h 987801"/>
                  <a:gd name="connsiteX40" fmla="*/ 1580287 w 3344126"/>
                  <a:gd name="connsiteY40" fmla="*/ 62716 h 987801"/>
                  <a:gd name="connsiteX41" fmla="*/ 1634262 w 3344126"/>
                  <a:gd name="connsiteY41" fmla="*/ 94466 h 987801"/>
                  <a:gd name="connsiteX42" fmla="*/ 1713637 w 3344126"/>
                  <a:gd name="connsiteY42" fmla="*/ 116691 h 987801"/>
                  <a:gd name="connsiteX43" fmla="*/ 1764437 w 3344126"/>
                  <a:gd name="connsiteY43" fmla="*/ 91291 h 987801"/>
                  <a:gd name="connsiteX44" fmla="*/ 1815237 w 3344126"/>
                  <a:gd name="connsiteY44" fmla="*/ 97641 h 987801"/>
                  <a:gd name="connsiteX45" fmla="*/ 1859687 w 3344126"/>
                  <a:gd name="connsiteY45" fmla="*/ 123041 h 987801"/>
                  <a:gd name="connsiteX46" fmla="*/ 1973987 w 3344126"/>
                  <a:gd name="connsiteY46" fmla="*/ 103991 h 987801"/>
                  <a:gd name="connsiteX47" fmla="*/ 2024787 w 3344126"/>
                  <a:gd name="connsiteY47" fmla="*/ 119866 h 987801"/>
                  <a:gd name="connsiteX48" fmla="*/ 2125761 w 3344126"/>
                  <a:gd name="connsiteY48" fmla="*/ 157822 h 987801"/>
                  <a:gd name="connsiteX49" fmla="*/ 2231371 w 3344126"/>
                  <a:gd name="connsiteY49" fmla="*/ 160781 h 987801"/>
                  <a:gd name="connsiteX50" fmla="*/ 2334090 w 3344126"/>
                  <a:gd name="connsiteY50" fmla="*/ 204321 h 987801"/>
                  <a:gd name="connsiteX51" fmla="*/ 2409588 w 3344126"/>
                  <a:gd name="connsiteY51" fmla="*/ 233590 h 987801"/>
                  <a:gd name="connsiteX52" fmla="*/ 2475220 w 3344126"/>
                  <a:gd name="connsiteY52" fmla="*/ 240444 h 987801"/>
                  <a:gd name="connsiteX53" fmla="*/ 2611953 w 3344126"/>
                  <a:gd name="connsiteY53" fmla="*/ 316068 h 987801"/>
                  <a:gd name="connsiteX54" fmla="*/ 2696427 w 3344126"/>
                  <a:gd name="connsiteY54" fmla="*/ 300265 h 987801"/>
                  <a:gd name="connsiteX55" fmla="*/ 2824887 w 3344126"/>
                  <a:gd name="connsiteY55" fmla="*/ 319172 h 987801"/>
                  <a:gd name="connsiteX56" fmla="*/ 2959489 w 3344126"/>
                  <a:gd name="connsiteY56" fmla="*/ 397971 h 987801"/>
                  <a:gd name="connsiteX57" fmla="*/ 3060463 w 3344126"/>
                  <a:gd name="connsiteY57" fmla="*/ 464502 h 987801"/>
                  <a:gd name="connsiteX58" fmla="*/ 3124381 w 3344126"/>
                  <a:gd name="connsiteY58" fmla="*/ 480161 h 987801"/>
                  <a:gd name="connsiteX59" fmla="*/ 3169129 w 3344126"/>
                  <a:gd name="connsiteY59" fmla="*/ 523091 h 987801"/>
                  <a:gd name="connsiteX60" fmla="*/ 3161736 w 3344126"/>
                  <a:gd name="connsiteY60" fmla="*/ 567541 h 987801"/>
                  <a:gd name="connsiteX61" fmla="*/ 3197913 w 3344126"/>
                  <a:gd name="connsiteY61" fmla="*/ 624691 h 987801"/>
                  <a:gd name="connsiteX62" fmla="*/ 3252722 w 3344126"/>
                  <a:gd name="connsiteY62" fmla="*/ 646988 h 987801"/>
                  <a:gd name="connsiteX63" fmla="*/ 3255898 w 3344126"/>
                  <a:gd name="connsiteY63" fmla="*/ 710272 h 987801"/>
                  <a:gd name="connsiteX64" fmla="*/ 3305400 w 3344126"/>
                  <a:gd name="connsiteY64" fmla="*/ 780050 h 987801"/>
                  <a:gd name="connsiteX65" fmla="*/ 3344126 w 3344126"/>
                  <a:gd name="connsiteY65" fmla="*/ 987801 h 9878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Lst>
                <a:rect l="l" t="t" r="r" b="b"/>
                <a:pathLst>
                  <a:path w="3344126" h="987801">
                    <a:moveTo>
                      <a:pt x="18187" y="262741"/>
                    </a:moveTo>
                    <a:cubicBezTo>
                      <a:pt x="29828" y="273853"/>
                      <a:pt x="41470" y="284966"/>
                      <a:pt x="40412" y="319891"/>
                    </a:cubicBezTo>
                    <a:cubicBezTo>
                      <a:pt x="39354" y="354816"/>
                      <a:pt x="18187" y="431545"/>
                      <a:pt x="11837" y="472291"/>
                    </a:cubicBezTo>
                    <a:cubicBezTo>
                      <a:pt x="5487" y="513037"/>
                      <a:pt x="-4567" y="546904"/>
                      <a:pt x="2312" y="564366"/>
                    </a:cubicBezTo>
                    <a:cubicBezTo>
                      <a:pt x="9191" y="581828"/>
                      <a:pt x="39354" y="576008"/>
                      <a:pt x="53112" y="577066"/>
                    </a:cubicBezTo>
                    <a:cubicBezTo>
                      <a:pt x="66870" y="578124"/>
                      <a:pt x="67929" y="564895"/>
                      <a:pt x="84862" y="570716"/>
                    </a:cubicBezTo>
                    <a:cubicBezTo>
                      <a:pt x="101795" y="576537"/>
                      <a:pt x="134604" y="606699"/>
                      <a:pt x="154712" y="611991"/>
                    </a:cubicBezTo>
                    <a:cubicBezTo>
                      <a:pt x="174820" y="617283"/>
                      <a:pt x="187520" y="600879"/>
                      <a:pt x="205512" y="602466"/>
                    </a:cubicBezTo>
                    <a:cubicBezTo>
                      <a:pt x="223504" y="604054"/>
                      <a:pt x="252079" y="611991"/>
                      <a:pt x="262662" y="621516"/>
                    </a:cubicBezTo>
                    <a:cubicBezTo>
                      <a:pt x="273245" y="631041"/>
                      <a:pt x="261075" y="652208"/>
                      <a:pt x="269012" y="659616"/>
                    </a:cubicBezTo>
                    <a:cubicBezTo>
                      <a:pt x="276950" y="667024"/>
                      <a:pt x="299704" y="655912"/>
                      <a:pt x="310287" y="665966"/>
                    </a:cubicBezTo>
                    <a:cubicBezTo>
                      <a:pt x="320870" y="676020"/>
                      <a:pt x="330395" y="699833"/>
                      <a:pt x="332512" y="719941"/>
                    </a:cubicBezTo>
                    <a:cubicBezTo>
                      <a:pt x="334629" y="740049"/>
                      <a:pt x="321400" y="765979"/>
                      <a:pt x="322987" y="786616"/>
                    </a:cubicBezTo>
                    <a:cubicBezTo>
                      <a:pt x="324574" y="807253"/>
                      <a:pt x="337274" y="826303"/>
                      <a:pt x="342037" y="843766"/>
                    </a:cubicBezTo>
                    <a:cubicBezTo>
                      <a:pt x="346800" y="861229"/>
                      <a:pt x="343625" y="876574"/>
                      <a:pt x="351562" y="891391"/>
                    </a:cubicBezTo>
                    <a:cubicBezTo>
                      <a:pt x="359500" y="906208"/>
                      <a:pt x="375904" y="927904"/>
                      <a:pt x="389662" y="932666"/>
                    </a:cubicBezTo>
                    <a:cubicBezTo>
                      <a:pt x="403420" y="937428"/>
                      <a:pt x="421412" y="919437"/>
                      <a:pt x="434112" y="919966"/>
                    </a:cubicBezTo>
                    <a:cubicBezTo>
                      <a:pt x="446812" y="920495"/>
                      <a:pt x="449458" y="944308"/>
                      <a:pt x="465862" y="935841"/>
                    </a:cubicBezTo>
                    <a:cubicBezTo>
                      <a:pt x="482266" y="927374"/>
                      <a:pt x="512958" y="890862"/>
                      <a:pt x="532537" y="869166"/>
                    </a:cubicBezTo>
                    <a:cubicBezTo>
                      <a:pt x="552116" y="847470"/>
                      <a:pt x="565875" y="816778"/>
                      <a:pt x="583337" y="805666"/>
                    </a:cubicBezTo>
                    <a:cubicBezTo>
                      <a:pt x="600799" y="794554"/>
                      <a:pt x="625141" y="808841"/>
                      <a:pt x="637312" y="802491"/>
                    </a:cubicBezTo>
                    <a:cubicBezTo>
                      <a:pt x="649483" y="796141"/>
                      <a:pt x="634666" y="781854"/>
                      <a:pt x="656362" y="767566"/>
                    </a:cubicBezTo>
                    <a:cubicBezTo>
                      <a:pt x="678058" y="753279"/>
                      <a:pt x="730975" y="754337"/>
                      <a:pt x="767487" y="716766"/>
                    </a:cubicBezTo>
                    <a:cubicBezTo>
                      <a:pt x="804000" y="679195"/>
                      <a:pt x="861679" y="582887"/>
                      <a:pt x="875437" y="542141"/>
                    </a:cubicBezTo>
                    <a:cubicBezTo>
                      <a:pt x="889195" y="501395"/>
                      <a:pt x="847920" y="495574"/>
                      <a:pt x="850037" y="472291"/>
                    </a:cubicBezTo>
                    <a:cubicBezTo>
                      <a:pt x="852154" y="449008"/>
                      <a:pt x="883374" y="420962"/>
                      <a:pt x="888137" y="402441"/>
                    </a:cubicBezTo>
                    <a:cubicBezTo>
                      <a:pt x="892900" y="383920"/>
                      <a:pt x="871204" y="373337"/>
                      <a:pt x="878612" y="361166"/>
                    </a:cubicBezTo>
                    <a:cubicBezTo>
                      <a:pt x="886020" y="348995"/>
                      <a:pt x="914066" y="342116"/>
                      <a:pt x="932587" y="329416"/>
                    </a:cubicBezTo>
                    <a:cubicBezTo>
                      <a:pt x="951108" y="316716"/>
                      <a:pt x="963808" y="295549"/>
                      <a:pt x="989737" y="284966"/>
                    </a:cubicBezTo>
                    <a:cubicBezTo>
                      <a:pt x="1015666" y="274383"/>
                      <a:pt x="1064879" y="282849"/>
                      <a:pt x="1088162" y="265916"/>
                    </a:cubicBezTo>
                    <a:cubicBezTo>
                      <a:pt x="1111445" y="248983"/>
                      <a:pt x="1119383" y="211412"/>
                      <a:pt x="1129437" y="183366"/>
                    </a:cubicBezTo>
                    <a:cubicBezTo>
                      <a:pt x="1139491" y="155320"/>
                      <a:pt x="1145312" y="119337"/>
                      <a:pt x="1148487" y="97641"/>
                    </a:cubicBezTo>
                    <a:cubicBezTo>
                      <a:pt x="1151662" y="75945"/>
                      <a:pt x="1137904" y="61128"/>
                      <a:pt x="1148487" y="53191"/>
                    </a:cubicBezTo>
                    <a:cubicBezTo>
                      <a:pt x="1159070" y="45254"/>
                      <a:pt x="1193466" y="54249"/>
                      <a:pt x="1211987" y="50016"/>
                    </a:cubicBezTo>
                    <a:cubicBezTo>
                      <a:pt x="1230508" y="45783"/>
                      <a:pt x="1244266" y="32554"/>
                      <a:pt x="1259612" y="27791"/>
                    </a:cubicBezTo>
                    <a:cubicBezTo>
                      <a:pt x="1274958" y="23028"/>
                      <a:pt x="1287658" y="25674"/>
                      <a:pt x="1304062" y="21441"/>
                    </a:cubicBezTo>
                    <a:cubicBezTo>
                      <a:pt x="1320466" y="17208"/>
                      <a:pt x="1341633" y="5037"/>
                      <a:pt x="1358037" y="2391"/>
                    </a:cubicBezTo>
                    <a:cubicBezTo>
                      <a:pt x="1374441" y="-255"/>
                      <a:pt x="1380262" y="-2372"/>
                      <a:pt x="1402487" y="5566"/>
                    </a:cubicBezTo>
                    <a:cubicBezTo>
                      <a:pt x="1424712" y="13503"/>
                      <a:pt x="1468104" y="44195"/>
                      <a:pt x="1491387" y="50016"/>
                    </a:cubicBezTo>
                    <a:cubicBezTo>
                      <a:pt x="1514670" y="55837"/>
                      <a:pt x="1527370" y="38374"/>
                      <a:pt x="1542187" y="40491"/>
                    </a:cubicBezTo>
                    <a:cubicBezTo>
                      <a:pt x="1557004" y="42608"/>
                      <a:pt x="1580287" y="62716"/>
                      <a:pt x="1580287" y="62716"/>
                    </a:cubicBezTo>
                    <a:cubicBezTo>
                      <a:pt x="1595633" y="71712"/>
                      <a:pt x="1612037" y="85470"/>
                      <a:pt x="1634262" y="94466"/>
                    </a:cubicBezTo>
                    <a:cubicBezTo>
                      <a:pt x="1656487" y="103462"/>
                      <a:pt x="1691941" y="117220"/>
                      <a:pt x="1713637" y="116691"/>
                    </a:cubicBezTo>
                    <a:cubicBezTo>
                      <a:pt x="1735333" y="116162"/>
                      <a:pt x="1747504" y="94466"/>
                      <a:pt x="1764437" y="91291"/>
                    </a:cubicBezTo>
                    <a:cubicBezTo>
                      <a:pt x="1781370" y="88116"/>
                      <a:pt x="1799362" y="92349"/>
                      <a:pt x="1815237" y="97641"/>
                    </a:cubicBezTo>
                    <a:cubicBezTo>
                      <a:pt x="1831112" y="102933"/>
                      <a:pt x="1833229" y="121983"/>
                      <a:pt x="1859687" y="123041"/>
                    </a:cubicBezTo>
                    <a:cubicBezTo>
                      <a:pt x="1886145" y="124099"/>
                      <a:pt x="1946470" y="104520"/>
                      <a:pt x="1973987" y="103991"/>
                    </a:cubicBezTo>
                    <a:cubicBezTo>
                      <a:pt x="2001504" y="103462"/>
                      <a:pt x="1999491" y="110894"/>
                      <a:pt x="2024787" y="119866"/>
                    </a:cubicBezTo>
                    <a:cubicBezTo>
                      <a:pt x="2050083" y="128838"/>
                      <a:pt x="2091330" y="151003"/>
                      <a:pt x="2125761" y="157822"/>
                    </a:cubicBezTo>
                    <a:cubicBezTo>
                      <a:pt x="2160192" y="164641"/>
                      <a:pt x="2196650" y="153031"/>
                      <a:pt x="2231371" y="160781"/>
                    </a:cubicBezTo>
                    <a:cubicBezTo>
                      <a:pt x="2266092" y="168531"/>
                      <a:pt x="2309853" y="201603"/>
                      <a:pt x="2334090" y="204321"/>
                    </a:cubicBezTo>
                    <a:cubicBezTo>
                      <a:pt x="2358327" y="207039"/>
                      <a:pt x="2386066" y="227570"/>
                      <a:pt x="2409588" y="233590"/>
                    </a:cubicBezTo>
                    <a:cubicBezTo>
                      <a:pt x="2433110" y="239611"/>
                      <a:pt x="2441492" y="226698"/>
                      <a:pt x="2475220" y="240444"/>
                    </a:cubicBezTo>
                    <a:cubicBezTo>
                      <a:pt x="2508948" y="254190"/>
                      <a:pt x="2575085" y="306098"/>
                      <a:pt x="2611953" y="316068"/>
                    </a:cubicBezTo>
                    <a:cubicBezTo>
                      <a:pt x="2648821" y="326038"/>
                      <a:pt x="2660938" y="299748"/>
                      <a:pt x="2696427" y="300265"/>
                    </a:cubicBezTo>
                    <a:cubicBezTo>
                      <a:pt x="2731916" y="300782"/>
                      <a:pt x="2781043" y="302888"/>
                      <a:pt x="2824887" y="319172"/>
                    </a:cubicBezTo>
                    <a:cubicBezTo>
                      <a:pt x="2868731" y="335456"/>
                      <a:pt x="2920226" y="373749"/>
                      <a:pt x="2959489" y="397971"/>
                    </a:cubicBezTo>
                    <a:cubicBezTo>
                      <a:pt x="2998752" y="422193"/>
                      <a:pt x="3032981" y="450804"/>
                      <a:pt x="3060463" y="464502"/>
                    </a:cubicBezTo>
                    <a:cubicBezTo>
                      <a:pt x="3087945" y="478200"/>
                      <a:pt x="3106270" y="470396"/>
                      <a:pt x="3124381" y="480161"/>
                    </a:cubicBezTo>
                    <a:cubicBezTo>
                      <a:pt x="3142492" y="489926"/>
                      <a:pt x="3162903" y="508528"/>
                      <a:pt x="3169129" y="523091"/>
                    </a:cubicBezTo>
                    <a:cubicBezTo>
                      <a:pt x="3175355" y="537654"/>
                      <a:pt x="3156939" y="550608"/>
                      <a:pt x="3161736" y="567541"/>
                    </a:cubicBezTo>
                    <a:cubicBezTo>
                      <a:pt x="3166533" y="584474"/>
                      <a:pt x="3182749" y="611450"/>
                      <a:pt x="3197913" y="624691"/>
                    </a:cubicBezTo>
                    <a:cubicBezTo>
                      <a:pt x="3213077" y="637932"/>
                      <a:pt x="3243058" y="632724"/>
                      <a:pt x="3252722" y="646988"/>
                    </a:cubicBezTo>
                    <a:cubicBezTo>
                      <a:pt x="3262386" y="661252"/>
                      <a:pt x="3247118" y="688095"/>
                      <a:pt x="3255898" y="710272"/>
                    </a:cubicBezTo>
                    <a:cubicBezTo>
                      <a:pt x="3264678" y="732449"/>
                      <a:pt x="3290695" y="733795"/>
                      <a:pt x="3305400" y="780050"/>
                    </a:cubicBezTo>
                    <a:cubicBezTo>
                      <a:pt x="3320105" y="826305"/>
                      <a:pt x="3335394" y="971926"/>
                      <a:pt x="3344126" y="987801"/>
                    </a:cubicBezTo>
                  </a:path>
                </a:pathLst>
              </a:custGeom>
              <a:noFill/>
              <a:ln w="15875" cmpd="sng">
                <a:solidFill>
                  <a:srgbClr val="92D050"/>
                </a:solidFill>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40" name="Freeform 39"/>
              <p:cNvSpPr/>
              <p:nvPr/>
            </p:nvSpPr>
            <p:spPr>
              <a:xfrm rot="21403180">
                <a:off x="2521844" y="3579375"/>
                <a:ext cx="324000" cy="1512000"/>
              </a:xfrm>
              <a:custGeom>
                <a:avLst/>
                <a:gdLst>
                  <a:gd name="connsiteX0" fmla="*/ 104813 w 482110"/>
                  <a:gd name="connsiteY0" fmla="*/ 0 h 2284192"/>
                  <a:gd name="connsiteX1" fmla="*/ 155412 w 482110"/>
                  <a:gd name="connsiteY1" fmla="*/ 57827 h 2284192"/>
                  <a:gd name="connsiteX2" fmla="*/ 187940 w 482110"/>
                  <a:gd name="connsiteY2" fmla="*/ 68670 h 2284192"/>
                  <a:gd name="connsiteX3" fmla="*/ 227697 w 482110"/>
                  <a:gd name="connsiteY3" fmla="*/ 104812 h 2284192"/>
                  <a:gd name="connsiteX4" fmla="*/ 281910 w 482110"/>
                  <a:gd name="connsiteY4" fmla="*/ 115655 h 2284192"/>
                  <a:gd name="connsiteX5" fmla="*/ 278296 w 482110"/>
                  <a:gd name="connsiteY5" fmla="*/ 159026 h 2284192"/>
                  <a:gd name="connsiteX6" fmla="*/ 296367 w 482110"/>
                  <a:gd name="connsiteY6" fmla="*/ 202396 h 2284192"/>
                  <a:gd name="connsiteX7" fmla="*/ 256610 w 482110"/>
                  <a:gd name="connsiteY7" fmla="*/ 274681 h 2284192"/>
                  <a:gd name="connsiteX8" fmla="*/ 256610 w 482110"/>
                  <a:gd name="connsiteY8" fmla="*/ 339737 h 2284192"/>
                  <a:gd name="connsiteX9" fmla="*/ 245768 w 482110"/>
                  <a:gd name="connsiteY9" fmla="*/ 368651 h 2284192"/>
                  <a:gd name="connsiteX10" fmla="*/ 299981 w 482110"/>
                  <a:gd name="connsiteY10" fmla="*/ 412022 h 2284192"/>
                  <a:gd name="connsiteX11" fmla="*/ 299981 w 482110"/>
                  <a:gd name="connsiteY11" fmla="*/ 469849 h 2284192"/>
                  <a:gd name="connsiteX12" fmla="*/ 281910 w 482110"/>
                  <a:gd name="connsiteY12" fmla="*/ 502377 h 2284192"/>
                  <a:gd name="connsiteX13" fmla="*/ 321667 w 482110"/>
                  <a:gd name="connsiteY13" fmla="*/ 534905 h 2284192"/>
                  <a:gd name="connsiteX14" fmla="*/ 339738 w 482110"/>
                  <a:gd name="connsiteY14" fmla="*/ 585505 h 2284192"/>
                  <a:gd name="connsiteX15" fmla="*/ 307210 w 482110"/>
                  <a:gd name="connsiteY15" fmla="*/ 639718 h 2284192"/>
                  <a:gd name="connsiteX16" fmla="*/ 328895 w 482110"/>
                  <a:gd name="connsiteY16" fmla="*/ 679475 h 2284192"/>
                  <a:gd name="connsiteX17" fmla="*/ 339738 w 482110"/>
                  <a:gd name="connsiteY17" fmla="*/ 726460 h 2284192"/>
                  <a:gd name="connsiteX18" fmla="*/ 379494 w 482110"/>
                  <a:gd name="connsiteY18" fmla="*/ 780673 h 2284192"/>
                  <a:gd name="connsiteX19" fmla="*/ 415637 w 482110"/>
                  <a:gd name="connsiteY19" fmla="*/ 813201 h 2284192"/>
                  <a:gd name="connsiteX20" fmla="*/ 440936 w 482110"/>
                  <a:gd name="connsiteY20" fmla="*/ 881871 h 2284192"/>
                  <a:gd name="connsiteX21" fmla="*/ 437322 w 482110"/>
                  <a:gd name="connsiteY21" fmla="*/ 936085 h 2284192"/>
                  <a:gd name="connsiteX22" fmla="*/ 469850 w 482110"/>
                  <a:gd name="connsiteY22" fmla="*/ 997527 h 2284192"/>
                  <a:gd name="connsiteX23" fmla="*/ 480693 w 482110"/>
                  <a:gd name="connsiteY23" fmla="*/ 1030055 h 2284192"/>
                  <a:gd name="connsiteX24" fmla="*/ 440936 w 482110"/>
                  <a:gd name="connsiteY24" fmla="*/ 1142096 h 2284192"/>
                  <a:gd name="connsiteX25" fmla="*/ 455393 w 482110"/>
                  <a:gd name="connsiteY25" fmla="*/ 1185467 h 2284192"/>
                  <a:gd name="connsiteX26" fmla="*/ 459007 w 482110"/>
                  <a:gd name="connsiteY26" fmla="*/ 1236066 h 2284192"/>
                  <a:gd name="connsiteX27" fmla="*/ 390337 w 482110"/>
                  <a:gd name="connsiteY27" fmla="*/ 1517976 h 2284192"/>
                  <a:gd name="connsiteX28" fmla="*/ 310824 w 482110"/>
                  <a:gd name="connsiteY28" fmla="*/ 1611946 h 2284192"/>
                  <a:gd name="connsiteX29" fmla="*/ 321667 w 482110"/>
                  <a:gd name="connsiteY29" fmla="*/ 1698687 h 2284192"/>
                  <a:gd name="connsiteX30" fmla="*/ 260225 w 482110"/>
                  <a:gd name="connsiteY30" fmla="*/ 1904698 h 2284192"/>
                  <a:gd name="connsiteX31" fmla="*/ 180712 w 482110"/>
                  <a:gd name="connsiteY31" fmla="*/ 2049268 h 2284192"/>
                  <a:gd name="connsiteX32" fmla="*/ 119270 w 482110"/>
                  <a:gd name="connsiteY32" fmla="*/ 2179380 h 2284192"/>
                  <a:gd name="connsiteX33" fmla="*/ 0 w 482110"/>
                  <a:gd name="connsiteY33" fmla="*/ 2284192 h 2284192"/>
                  <a:gd name="connsiteX0" fmla="*/ 5753 w 482110"/>
                  <a:gd name="connsiteY0" fmla="*/ 0 h 2307052"/>
                  <a:gd name="connsiteX1" fmla="*/ 155412 w 482110"/>
                  <a:gd name="connsiteY1" fmla="*/ 80687 h 2307052"/>
                  <a:gd name="connsiteX2" fmla="*/ 187940 w 482110"/>
                  <a:gd name="connsiteY2" fmla="*/ 91530 h 2307052"/>
                  <a:gd name="connsiteX3" fmla="*/ 227697 w 482110"/>
                  <a:gd name="connsiteY3" fmla="*/ 127672 h 2307052"/>
                  <a:gd name="connsiteX4" fmla="*/ 281910 w 482110"/>
                  <a:gd name="connsiteY4" fmla="*/ 138515 h 2307052"/>
                  <a:gd name="connsiteX5" fmla="*/ 278296 w 482110"/>
                  <a:gd name="connsiteY5" fmla="*/ 181886 h 2307052"/>
                  <a:gd name="connsiteX6" fmla="*/ 296367 w 482110"/>
                  <a:gd name="connsiteY6" fmla="*/ 225256 h 2307052"/>
                  <a:gd name="connsiteX7" fmla="*/ 256610 w 482110"/>
                  <a:gd name="connsiteY7" fmla="*/ 297541 h 2307052"/>
                  <a:gd name="connsiteX8" fmla="*/ 256610 w 482110"/>
                  <a:gd name="connsiteY8" fmla="*/ 362597 h 2307052"/>
                  <a:gd name="connsiteX9" fmla="*/ 245768 w 482110"/>
                  <a:gd name="connsiteY9" fmla="*/ 391511 h 2307052"/>
                  <a:gd name="connsiteX10" fmla="*/ 299981 w 482110"/>
                  <a:gd name="connsiteY10" fmla="*/ 434882 h 2307052"/>
                  <a:gd name="connsiteX11" fmla="*/ 299981 w 482110"/>
                  <a:gd name="connsiteY11" fmla="*/ 492709 h 2307052"/>
                  <a:gd name="connsiteX12" fmla="*/ 281910 w 482110"/>
                  <a:gd name="connsiteY12" fmla="*/ 525237 h 2307052"/>
                  <a:gd name="connsiteX13" fmla="*/ 321667 w 482110"/>
                  <a:gd name="connsiteY13" fmla="*/ 557765 h 2307052"/>
                  <a:gd name="connsiteX14" fmla="*/ 339738 w 482110"/>
                  <a:gd name="connsiteY14" fmla="*/ 608365 h 2307052"/>
                  <a:gd name="connsiteX15" fmla="*/ 307210 w 482110"/>
                  <a:gd name="connsiteY15" fmla="*/ 662578 h 2307052"/>
                  <a:gd name="connsiteX16" fmla="*/ 328895 w 482110"/>
                  <a:gd name="connsiteY16" fmla="*/ 702335 h 2307052"/>
                  <a:gd name="connsiteX17" fmla="*/ 339738 w 482110"/>
                  <a:gd name="connsiteY17" fmla="*/ 749320 h 2307052"/>
                  <a:gd name="connsiteX18" fmla="*/ 379494 w 482110"/>
                  <a:gd name="connsiteY18" fmla="*/ 803533 h 2307052"/>
                  <a:gd name="connsiteX19" fmla="*/ 415637 w 482110"/>
                  <a:gd name="connsiteY19" fmla="*/ 836061 h 2307052"/>
                  <a:gd name="connsiteX20" fmla="*/ 440936 w 482110"/>
                  <a:gd name="connsiteY20" fmla="*/ 904731 h 2307052"/>
                  <a:gd name="connsiteX21" fmla="*/ 437322 w 482110"/>
                  <a:gd name="connsiteY21" fmla="*/ 958945 h 2307052"/>
                  <a:gd name="connsiteX22" fmla="*/ 469850 w 482110"/>
                  <a:gd name="connsiteY22" fmla="*/ 1020387 h 2307052"/>
                  <a:gd name="connsiteX23" fmla="*/ 480693 w 482110"/>
                  <a:gd name="connsiteY23" fmla="*/ 1052915 h 2307052"/>
                  <a:gd name="connsiteX24" fmla="*/ 440936 w 482110"/>
                  <a:gd name="connsiteY24" fmla="*/ 1164956 h 2307052"/>
                  <a:gd name="connsiteX25" fmla="*/ 455393 w 482110"/>
                  <a:gd name="connsiteY25" fmla="*/ 1208327 h 2307052"/>
                  <a:gd name="connsiteX26" fmla="*/ 459007 w 482110"/>
                  <a:gd name="connsiteY26" fmla="*/ 1258926 h 2307052"/>
                  <a:gd name="connsiteX27" fmla="*/ 390337 w 482110"/>
                  <a:gd name="connsiteY27" fmla="*/ 1540836 h 2307052"/>
                  <a:gd name="connsiteX28" fmla="*/ 310824 w 482110"/>
                  <a:gd name="connsiteY28" fmla="*/ 1634806 h 2307052"/>
                  <a:gd name="connsiteX29" fmla="*/ 321667 w 482110"/>
                  <a:gd name="connsiteY29" fmla="*/ 1721547 h 2307052"/>
                  <a:gd name="connsiteX30" fmla="*/ 260225 w 482110"/>
                  <a:gd name="connsiteY30" fmla="*/ 1927558 h 2307052"/>
                  <a:gd name="connsiteX31" fmla="*/ 180712 w 482110"/>
                  <a:gd name="connsiteY31" fmla="*/ 2072128 h 2307052"/>
                  <a:gd name="connsiteX32" fmla="*/ 119270 w 482110"/>
                  <a:gd name="connsiteY32" fmla="*/ 2202240 h 2307052"/>
                  <a:gd name="connsiteX33" fmla="*/ 0 w 482110"/>
                  <a:gd name="connsiteY33" fmla="*/ 2307052 h 23070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482110" h="2307052">
                    <a:moveTo>
                      <a:pt x="5753" y="0"/>
                    </a:moveTo>
                    <a:cubicBezTo>
                      <a:pt x="24125" y="23191"/>
                      <a:pt x="125047" y="65432"/>
                      <a:pt x="155412" y="80687"/>
                    </a:cubicBezTo>
                    <a:cubicBezTo>
                      <a:pt x="185777" y="95942"/>
                      <a:pt x="175893" y="83699"/>
                      <a:pt x="187940" y="91530"/>
                    </a:cubicBezTo>
                    <a:cubicBezTo>
                      <a:pt x="199987" y="99361"/>
                      <a:pt x="212035" y="119841"/>
                      <a:pt x="227697" y="127672"/>
                    </a:cubicBezTo>
                    <a:cubicBezTo>
                      <a:pt x="243359" y="135503"/>
                      <a:pt x="273477" y="129479"/>
                      <a:pt x="281910" y="138515"/>
                    </a:cubicBezTo>
                    <a:cubicBezTo>
                      <a:pt x="290343" y="147551"/>
                      <a:pt x="275887" y="167429"/>
                      <a:pt x="278296" y="181886"/>
                    </a:cubicBezTo>
                    <a:cubicBezTo>
                      <a:pt x="280705" y="196343"/>
                      <a:pt x="299981" y="205980"/>
                      <a:pt x="296367" y="225256"/>
                    </a:cubicBezTo>
                    <a:cubicBezTo>
                      <a:pt x="292753" y="244532"/>
                      <a:pt x="263236" y="274651"/>
                      <a:pt x="256610" y="297541"/>
                    </a:cubicBezTo>
                    <a:cubicBezTo>
                      <a:pt x="249984" y="320431"/>
                      <a:pt x="258417" y="346935"/>
                      <a:pt x="256610" y="362597"/>
                    </a:cubicBezTo>
                    <a:cubicBezTo>
                      <a:pt x="254803" y="378259"/>
                      <a:pt x="238540" y="379464"/>
                      <a:pt x="245768" y="391511"/>
                    </a:cubicBezTo>
                    <a:cubicBezTo>
                      <a:pt x="252996" y="403558"/>
                      <a:pt x="290946" y="418016"/>
                      <a:pt x="299981" y="434882"/>
                    </a:cubicBezTo>
                    <a:cubicBezTo>
                      <a:pt x="309016" y="451748"/>
                      <a:pt x="302993" y="477650"/>
                      <a:pt x="299981" y="492709"/>
                    </a:cubicBezTo>
                    <a:cubicBezTo>
                      <a:pt x="296969" y="507768"/>
                      <a:pt x="278296" y="514394"/>
                      <a:pt x="281910" y="525237"/>
                    </a:cubicBezTo>
                    <a:cubicBezTo>
                      <a:pt x="285524" y="536080"/>
                      <a:pt x="312029" y="543910"/>
                      <a:pt x="321667" y="557765"/>
                    </a:cubicBezTo>
                    <a:cubicBezTo>
                      <a:pt x="331305" y="571620"/>
                      <a:pt x="342147" y="590896"/>
                      <a:pt x="339738" y="608365"/>
                    </a:cubicBezTo>
                    <a:cubicBezTo>
                      <a:pt x="337329" y="625834"/>
                      <a:pt x="309017" y="646916"/>
                      <a:pt x="307210" y="662578"/>
                    </a:cubicBezTo>
                    <a:cubicBezTo>
                      <a:pt x="305403" y="678240"/>
                      <a:pt x="323474" y="687878"/>
                      <a:pt x="328895" y="702335"/>
                    </a:cubicBezTo>
                    <a:cubicBezTo>
                      <a:pt x="334316" y="716792"/>
                      <a:pt x="331305" y="732454"/>
                      <a:pt x="339738" y="749320"/>
                    </a:cubicBezTo>
                    <a:cubicBezTo>
                      <a:pt x="348171" y="766186"/>
                      <a:pt x="366844" y="789076"/>
                      <a:pt x="379494" y="803533"/>
                    </a:cubicBezTo>
                    <a:cubicBezTo>
                      <a:pt x="392144" y="817990"/>
                      <a:pt x="405397" y="819195"/>
                      <a:pt x="415637" y="836061"/>
                    </a:cubicBezTo>
                    <a:cubicBezTo>
                      <a:pt x="425877" y="852927"/>
                      <a:pt x="437322" y="884250"/>
                      <a:pt x="440936" y="904731"/>
                    </a:cubicBezTo>
                    <a:cubicBezTo>
                      <a:pt x="444550" y="925212"/>
                      <a:pt x="432503" y="939669"/>
                      <a:pt x="437322" y="958945"/>
                    </a:cubicBezTo>
                    <a:cubicBezTo>
                      <a:pt x="442141" y="978221"/>
                      <a:pt x="462622" y="1004725"/>
                      <a:pt x="469850" y="1020387"/>
                    </a:cubicBezTo>
                    <a:cubicBezTo>
                      <a:pt x="477078" y="1036049"/>
                      <a:pt x="485512" y="1028820"/>
                      <a:pt x="480693" y="1052915"/>
                    </a:cubicBezTo>
                    <a:cubicBezTo>
                      <a:pt x="475874" y="1077010"/>
                      <a:pt x="445153" y="1139054"/>
                      <a:pt x="440936" y="1164956"/>
                    </a:cubicBezTo>
                    <a:cubicBezTo>
                      <a:pt x="436719" y="1190858"/>
                      <a:pt x="452381" y="1192665"/>
                      <a:pt x="455393" y="1208327"/>
                    </a:cubicBezTo>
                    <a:cubicBezTo>
                      <a:pt x="458405" y="1223989"/>
                      <a:pt x="469850" y="1203508"/>
                      <a:pt x="459007" y="1258926"/>
                    </a:cubicBezTo>
                    <a:cubicBezTo>
                      <a:pt x="448164" y="1314344"/>
                      <a:pt x="415034" y="1478189"/>
                      <a:pt x="390337" y="1540836"/>
                    </a:cubicBezTo>
                    <a:cubicBezTo>
                      <a:pt x="365640" y="1603483"/>
                      <a:pt x="322269" y="1604688"/>
                      <a:pt x="310824" y="1634806"/>
                    </a:cubicBezTo>
                    <a:cubicBezTo>
                      <a:pt x="299379" y="1664924"/>
                      <a:pt x="330100" y="1672755"/>
                      <a:pt x="321667" y="1721547"/>
                    </a:cubicBezTo>
                    <a:cubicBezTo>
                      <a:pt x="313234" y="1770339"/>
                      <a:pt x="283717" y="1869128"/>
                      <a:pt x="260225" y="1927558"/>
                    </a:cubicBezTo>
                    <a:cubicBezTo>
                      <a:pt x="236733" y="1985988"/>
                      <a:pt x="204205" y="2026348"/>
                      <a:pt x="180712" y="2072128"/>
                    </a:cubicBezTo>
                    <a:cubicBezTo>
                      <a:pt x="157220" y="2117908"/>
                      <a:pt x="149389" y="2163086"/>
                      <a:pt x="119270" y="2202240"/>
                    </a:cubicBezTo>
                    <a:cubicBezTo>
                      <a:pt x="89151" y="2241394"/>
                      <a:pt x="44575" y="2274223"/>
                      <a:pt x="0" y="2307052"/>
                    </a:cubicBezTo>
                  </a:path>
                </a:pathLst>
              </a:custGeom>
              <a:noFill/>
              <a:ln w="15875" cmpd="sng">
                <a:solidFill>
                  <a:srgbClr val="00B050"/>
                </a:solidFill>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41" name="Freeform 40"/>
              <p:cNvSpPr/>
              <p:nvPr/>
            </p:nvSpPr>
            <p:spPr>
              <a:xfrm>
                <a:off x="2780724" y="4032896"/>
                <a:ext cx="689814" cy="1494951"/>
              </a:xfrm>
              <a:custGeom>
                <a:avLst/>
                <a:gdLst>
                  <a:gd name="connsiteX0" fmla="*/ 0 w 1008797"/>
                  <a:gd name="connsiteY0" fmla="*/ 152480 h 1818640"/>
                  <a:gd name="connsiteX1" fmla="*/ 61442 w 1008797"/>
                  <a:gd name="connsiteY1" fmla="*/ 116338 h 1818640"/>
                  <a:gd name="connsiteX2" fmla="*/ 90356 w 1008797"/>
                  <a:gd name="connsiteY2" fmla="*/ 58510 h 1818640"/>
                  <a:gd name="connsiteX3" fmla="*/ 133727 w 1008797"/>
                  <a:gd name="connsiteY3" fmla="*/ 4297 h 1818640"/>
                  <a:gd name="connsiteX4" fmla="*/ 220468 w 1008797"/>
                  <a:gd name="connsiteY4" fmla="*/ 4297 h 1818640"/>
                  <a:gd name="connsiteX5" fmla="*/ 296367 w 1008797"/>
                  <a:gd name="connsiteY5" fmla="*/ 11525 h 1818640"/>
                  <a:gd name="connsiteX6" fmla="*/ 357809 w 1008797"/>
                  <a:gd name="connsiteY6" fmla="*/ 44054 h 1818640"/>
                  <a:gd name="connsiteX7" fmla="*/ 393951 w 1008797"/>
                  <a:gd name="connsiteY7" fmla="*/ 101881 h 1818640"/>
                  <a:gd name="connsiteX8" fmla="*/ 455393 w 1008797"/>
                  <a:gd name="connsiteY8" fmla="*/ 159709 h 1818640"/>
                  <a:gd name="connsiteX9" fmla="*/ 495150 w 1008797"/>
                  <a:gd name="connsiteY9" fmla="*/ 192237 h 1818640"/>
                  <a:gd name="connsiteX10" fmla="*/ 552977 w 1008797"/>
                  <a:gd name="connsiteY10" fmla="*/ 246450 h 1818640"/>
                  <a:gd name="connsiteX11" fmla="*/ 585505 w 1008797"/>
                  <a:gd name="connsiteY11" fmla="*/ 311507 h 1818640"/>
                  <a:gd name="connsiteX12" fmla="*/ 589120 w 1008797"/>
                  <a:gd name="connsiteY12" fmla="*/ 380177 h 1818640"/>
                  <a:gd name="connsiteX13" fmla="*/ 571049 w 1008797"/>
                  <a:gd name="connsiteY13" fmla="*/ 409091 h 1818640"/>
                  <a:gd name="connsiteX14" fmla="*/ 599962 w 1008797"/>
                  <a:gd name="connsiteY14" fmla="*/ 463304 h 1818640"/>
                  <a:gd name="connsiteX15" fmla="*/ 628876 w 1008797"/>
                  <a:gd name="connsiteY15" fmla="*/ 539203 h 1818640"/>
                  <a:gd name="connsiteX16" fmla="*/ 683090 w 1008797"/>
                  <a:gd name="connsiteY16" fmla="*/ 578959 h 1818640"/>
                  <a:gd name="connsiteX17" fmla="*/ 740917 w 1008797"/>
                  <a:gd name="connsiteY17" fmla="*/ 615102 h 1818640"/>
                  <a:gd name="connsiteX18" fmla="*/ 751760 w 1008797"/>
                  <a:gd name="connsiteY18" fmla="*/ 654858 h 1818640"/>
                  <a:gd name="connsiteX19" fmla="*/ 820430 w 1008797"/>
                  <a:gd name="connsiteY19" fmla="*/ 676544 h 1818640"/>
                  <a:gd name="connsiteX20" fmla="*/ 842116 w 1008797"/>
                  <a:gd name="connsiteY20" fmla="*/ 727143 h 1818640"/>
                  <a:gd name="connsiteX21" fmla="*/ 845730 w 1008797"/>
                  <a:gd name="connsiteY21" fmla="*/ 788585 h 1818640"/>
                  <a:gd name="connsiteX22" fmla="*/ 824045 w 1008797"/>
                  <a:gd name="connsiteY22" fmla="*/ 846412 h 1818640"/>
                  <a:gd name="connsiteX23" fmla="*/ 878258 w 1008797"/>
                  <a:gd name="connsiteY23" fmla="*/ 871712 h 1818640"/>
                  <a:gd name="connsiteX24" fmla="*/ 896329 w 1008797"/>
                  <a:gd name="connsiteY24" fmla="*/ 962068 h 1818640"/>
                  <a:gd name="connsiteX25" fmla="*/ 881872 w 1008797"/>
                  <a:gd name="connsiteY25" fmla="*/ 1001824 h 1818640"/>
                  <a:gd name="connsiteX26" fmla="*/ 899943 w 1008797"/>
                  <a:gd name="connsiteY26" fmla="*/ 1124708 h 1818640"/>
                  <a:gd name="connsiteX27" fmla="*/ 946928 w 1008797"/>
                  <a:gd name="connsiteY27" fmla="*/ 1160850 h 1818640"/>
                  <a:gd name="connsiteX28" fmla="*/ 965000 w 1008797"/>
                  <a:gd name="connsiteY28" fmla="*/ 1272891 h 1818640"/>
                  <a:gd name="connsiteX29" fmla="*/ 957771 w 1008797"/>
                  <a:gd name="connsiteY29" fmla="*/ 1316262 h 1818640"/>
                  <a:gd name="connsiteX30" fmla="*/ 1008370 w 1008797"/>
                  <a:gd name="connsiteY30" fmla="*/ 1471674 h 1818640"/>
                  <a:gd name="connsiteX31" fmla="*/ 983071 w 1008797"/>
                  <a:gd name="connsiteY31" fmla="*/ 1529502 h 1818640"/>
                  <a:gd name="connsiteX32" fmla="*/ 1001142 w 1008797"/>
                  <a:gd name="connsiteY32" fmla="*/ 1634314 h 1818640"/>
                  <a:gd name="connsiteX33" fmla="*/ 968614 w 1008797"/>
                  <a:gd name="connsiteY33" fmla="*/ 1666842 h 1818640"/>
                  <a:gd name="connsiteX34" fmla="*/ 867415 w 1008797"/>
                  <a:gd name="connsiteY34" fmla="*/ 1670457 h 1818640"/>
                  <a:gd name="connsiteX35" fmla="*/ 827659 w 1008797"/>
                  <a:gd name="connsiteY35" fmla="*/ 1749970 h 1818640"/>
                  <a:gd name="connsiteX36" fmla="*/ 737303 w 1008797"/>
                  <a:gd name="connsiteY36" fmla="*/ 1753584 h 1818640"/>
                  <a:gd name="connsiteX37" fmla="*/ 697547 w 1008797"/>
                  <a:gd name="connsiteY37" fmla="*/ 1818640 h 1818640"/>
                  <a:gd name="connsiteX0" fmla="*/ 0 w 1008797"/>
                  <a:gd name="connsiteY0" fmla="*/ 152480 h 2190115"/>
                  <a:gd name="connsiteX1" fmla="*/ 61442 w 1008797"/>
                  <a:gd name="connsiteY1" fmla="*/ 116338 h 2190115"/>
                  <a:gd name="connsiteX2" fmla="*/ 90356 w 1008797"/>
                  <a:gd name="connsiteY2" fmla="*/ 58510 h 2190115"/>
                  <a:gd name="connsiteX3" fmla="*/ 133727 w 1008797"/>
                  <a:gd name="connsiteY3" fmla="*/ 4297 h 2190115"/>
                  <a:gd name="connsiteX4" fmla="*/ 220468 w 1008797"/>
                  <a:gd name="connsiteY4" fmla="*/ 4297 h 2190115"/>
                  <a:gd name="connsiteX5" fmla="*/ 296367 w 1008797"/>
                  <a:gd name="connsiteY5" fmla="*/ 11525 h 2190115"/>
                  <a:gd name="connsiteX6" fmla="*/ 357809 w 1008797"/>
                  <a:gd name="connsiteY6" fmla="*/ 44054 h 2190115"/>
                  <a:gd name="connsiteX7" fmla="*/ 393951 w 1008797"/>
                  <a:gd name="connsiteY7" fmla="*/ 101881 h 2190115"/>
                  <a:gd name="connsiteX8" fmla="*/ 455393 w 1008797"/>
                  <a:gd name="connsiteY8" fmla="*/ 159709 h 2190115"/>
                  <a:gd name="connsiteX9" fmla="*/ 495150 w 1008797"/>
                  <a:gd name="connsiteY9" fmla="*/ 192237 h 2190115"/>
                  <a:gd name="connsiteX10" fmla="*/ 552977 w 1008797"/>
                  <a:gd name="connsiteY10" fmla="*/ 246450 h 2190115"/>
                  <a:gd name="connsiteX11" fmla="*/ 585505 w 1008797"/>
                  <a:gd name="connsiteY11" fmla="*/ 311507 h 2190115"/>
                  <a:gd name="connsiteX12" fmla="*/ 589120 w 1008797"/>
                  <a:gd name="connsiteY12" fmla="*/ 380177 h 2190115"/>
                  <a:gd name="connsiteX13" fmla="*/ 571049 w 1008797"/>
                  <a:gd name="connsiteY13" fmla="*/ 409091 h 2190115"/>
                  <a:gd name="connsiteX14" fmla="*/ 599962 w 1008797"/>
                  <a:gd name="connsiteY14" fmla="*/ 463304 h 2190115"/>
                  <a:gd name="connsiteX15" fmla="*/ 628876 w 1008797"/>
                  <a:gd name="connsiteY15" fmla="*/ 539203 h 2190115"/>
                  <a:gd name="connsiteX16" fmla="*/ 683090 w 1008797"/>
                  <a:gd name="connsiteY16" fmla="*/ 578959 h 2190115"/>
                  <a:gd name="connsiteX17" fmla="*/ 740917 w 1008797"/>
                  <a:gd name="connsiteY17" fmla="*/ 615102 h 2190115"/>
                  <a:gd name="connsiteX18" fmla="*/ 751760 w 1008797"/>
                  <a:gd name="connsiteY18" fmla="*/ 654858 h 2190115"/>
                  <a:gd name="connsiteX19" fmla="*/ 820430 w 1008797"/>
                  <a:gd name="connsiteY19" fmla="*/ 676544 h 2190115"/>
                  <a:gd name="connsiteX20" fmla="*/ 842116 w 1008797"/>
                  <a:gd name="connsiteY20" fmla="*/ 727143 h 2190115"/>
                  <a:gd name="connsiteX21" fmla="*/ 845730 w 1008797"/>
                  <a:gd name="connsiteY21" fmla="*/ 788585 h 2190115"/>
                  <a:gd name="connsiteX22" fmla="*/ 824045 w 1008797"/>
                  <a:gd name="connsiteY22" fmla="*/ 846412 h 2190115"/>
                  <a:gd name="connsiteX23" fmla="*/ 878258 w 1008797"/>
                  <a:gd name="connsiteY23" fmla="*/ 871712 h 2190115"/>
                  <a:gd name="connsiteX24" fmla="*/ 896329 w 1008797"/>
                  <a:gd name="connsiteY24" fmla="*/ 962068 h 2190115"/>
                  <a:gd name="connsiteX25" fmla="*/ 881872 w 1008797"/>
                  <a:gd name="connsiteY25" fmla="*/ 1001824 h 2190115"/>
                  <a:gd name="connsiteX26" fmla="*/ 899943 w 1008797"/>
                  <a:gd name="connsiteY26" fmla="*/ 1124708 h 2190115"/>
                  <a:gd name="connsiteX27" fmla="*/ 946928 w 1008797"/>
                  <a:gd name="connsiteY27" fmla="*/ 1160850 h 2190115"/>
                  <a:gd name="connsiteX28" fmla="*/ 965000 w 1008797"/>
                  <a:gd name="connsiteY28" fmla="*/ 1272891 h 2190115"/>
                  <a:gd name="connsiteX29" fmla="*/ 957771 w 1008797"/>
                  <a:gd name="connsiteY29" fmla="*/ 1316262 h 2190115"/>
                  <a:gd name="connsiteX30" fmla="*/ 1008370 w 1008797"/>
                  <a:gd name="connsiteY30" fmla="*/ 1471674 h 2190115"/>
                  <a:gd name="connsiteX31" fmla="*/ 983071 w 1008797"/>
                  <a:gd name="connsiteY31" fmla="*/ 1529502 h 2190115"/>
                  <a:gd name="connsiteX32" fmla="*/ 1001142 w 1008797"/>
                  <a:gd name="connsiteY32" fmla="*/ 1634314 h 2190115"/>
                  <a:gd name="connsiteX33" fmla="*/ 968614 w 1008797"/>
                  <a:gd name="connsiteY33" fmla="*/ 1666842 h 2190115"/>
                  <a:gd name="connsiteX34" fmla="*/ 867415 w 1008797"/>
                  <a:gd name="connsiteY34" fmla="*/ 1670457 h 2190115"/>
                  <a:gd name="connsiteX35" fmla="*/ 827659 w 1008797"/>
                  <a:gd name="connsiteY35" fmla="*/ 1749970 h 2190115"/>
                  <a:gd name="connsiteX36" fmla="*/ 737303 w 1008797"/>
                  <a:gd name="connsiteY36" fmla="*/ 1753584 h 2190115"/>
                  <a:gd name="connsiteX37" fmla="*/ 392747 w 1008797"/>
                  <a:gd name="connsiteY37" fmla="*/ 2190115 h 2190115"/>
                  <a:gd name="connsiteX0" fmla="*/ 0 w 1008797"/>
                  <a:gd name="connsiteY0" fmla="*/ 152480 h 2190115"/>
                  <a:gd name="connsiteX1" fmla="*/ 61442 w 1008797"/>
                  <a:gd name="connsiteY1" fmla="*/ 116338 h 2190115"/>
                  <a:gd name="connsiteX2" fmla="*/ 90356 w 1008797"/>
                  <a:gd name="connsiteY2" fmla="*/ 58510 h 2190115"/>
                  <a:gd name="connsiteX3" fmla="*/ 133727 w 1008797"/>
                  <a:gd name="connsiteY3" fmla="*/ 4297 h 2190115"/>
                  <a:gd name="connsiteX4" fmla="*/ 220468 w 1008797"/>
                  <a:gd name="connsiteY4" fmla="*/ 4297 h 2190115"/>
                  <a:gd name="connsiteX5" fmla="*/ 296367 w 1008797"/>
                  <a:gd name="connsiteY5" fmla="*/ 11525 h 2190115"/>
                  <a:gd name="connsiteX6" fmla="*/ 357809 w 1008797"/>
                  <a:gd name="connsiteY6" fmla="*/ 44054 h 2190115"/>
                  <a:gd name="connsiteX7" fmla="*/ 393951 w 1008797"/>
                  <a:gd name="connsiteY7" fmla="*/ 101881 h 2190115"/>
                  <a:gd name="connsiteX8" fmla="*/ 455393 w 1008797"/>
                  <a:gd name="connsiteY8" fmla="*/ 159709 h 2190115"/>
                  <a:gd name="connsiteX9" fmla="*/ 495150 w 1008797"/>
                  <a:gd name="connsiteY9" fmla="*/ 192237 h 2190115"/>
                  <a:gd name="connsiteX10" fmla="*/ 552977 w 1008797"/>
                  <a:gd name="connsiteY10" fmla="*/ 246450 h 2190115"/>
                  <a:gd name="connsiteX11" fmla="*/ 585505 w 1008797"/>
                  <a:gd name="connsiteY11" fmla="*/ 311507 h 2190115"/>
                  <a:gd name="connsiteX12" fmla="*/ 589120 w 1008797"/>
                  <a:gd name="connsiteY12" fmla="*/ 380177 h 2190115"/>
                  <a:gd name="connsiteX13" fmla="*/ 571049 w 1008797"/>
                  <a:gd name="connsiteY13" fmla="*/ 409091 h 2190115"/>
                  <a:gd name="connsiteX14" fmla="*/ 599962 w 1008797"/>
                  <a:gd name="connsiteY14" fmla="*/ 463304 h 2190115"/>
                  <a:gd name="connsiteX15" fmla="*/ 628876 w 1008797"/>
                  <a:gd name="connsiteY15" fmla="*/ 539203 h 2190115"/>
                  <a:gd name="connsiteX16" fmla="*/ 683090 w 1008797"/>
                  <a:gd name="connsiteY16" fmla="*/ 578959 h 2190115"/>
                  <a:gd name="connsiteX17" fmla="*/ 740917 w 1008797"/>
                  <a:gd name="connsiteY17" fmla="*/ 615102 h 2190115"/>
                  <a:gd name="connsiteX18" fmla="*/ 751760 w 1008797"/>
                  <a:gd name="connsiteY18" fmla="*/ 654858 h 2190115"/>
                  <a:gd name="connsiteX19" fmla="*/ 820430 w 1008797"/>
                  <a:gd name="connsiteY19" fmla="*/ 676544 h 2190115"/>
                  <a:gd name="connsiteX20" fmla="*/ 842116 w 1008797"/>
                  <a:gd name="connsiteY20" fmla="*/ 727143 h 2190115"/>
                  <a:gd name="connsiteX21" fmla="*/ 845730 w 1008797"/>
                  <a:gd name="connsiteY21" fmla="*/ 788585 h 2190115"/>
                  <a:gd name="connsiteX22" fmla="*/ 824045 w 1008797"/>
                  <a:gd name="connsiteY22" fmla="*/ 846412 h 2190115"/>
                  <a:gd name="connsiteX23" fmla="*/ 878258 w 1008797"/>
                  <a:gd name="connsiteY23" fmla="*/ 871712 h 2190115"/>
                  <a:gd name="connsiteX24" fmla="*/ 896329 w 1008797"/>
                  <a:gd name="connsiteY24" fmla="*/ 962068 h 2190115"/>
                  <a:gd name="connsiteX25" fmla="*/ 881872 w 1008797"/>
                  <a:gd name="connsiteY25" fmla="*/ 1001824 h 2190115"/>
                  <a:gd name="connsiteX26" fmla="*/ 899943 w 1008797"/>
                  <a:gd name="connsiteY26" fmla="*/ 1124708 h 2190115"/>
                  <a:gd name="connsiteX27" fmla="*/ 946928 w 1008797"/>
                  <a:gd name="connsiteY27" fmla="*/ 1160850 h 2190115"/>
                  <a:gd name="connsiteX28" fmla="*/ 965000 w 1008797"/>
                  <a:gd name="connsiteY28" fmla="*/ 1272891 h 2190115"/>
                  <a:gd name="connsiteX29" fmla="*/ 957771 w 1008797"/>
                  <a:gd name="connsiteY29" fmla="*/ 1316262 h 2190115"/>
                  <a:gd name="connsiteX30" fmla="*/ 1008370 w 1008797"/>
                  <a:gd name="connsiteY30" fmla="*/ 1471674 h 2190115"/>
                  <a:gd name="connsiteX31" fmla="*/ 983071 w 1008797"/>
                  <a:gd name="connsiteY31" fmla="*/ 1529502 h 2190115"/>
                  <a:gd name="connsiteX32" fmla="*/ 1001142 w 1008797"/>
                  <a:gd name="connsiteY32" fmla="*/ 1634314 h 2190115"/>
                  <a:gd name="connsiteX33" fmla="*/ 968614 w 1008797"/>
                  <a:gd name="connsiteY33" fmla="*/ 1666842 h 2190115"/>
                  <a:gd name="connsiteX34" fmla="*/ 867415 w 1008797"/>
                  <a:gd name="connsiteY34" fmla="*/ 1670457 h 2190115"/>
                  <a:gd name="connsiteX35" fmla="*/ 827659 w 1008797"/>
                  <a:gd name="connsiteY35" fmla="*/ 1749970 h 2190115"/>
                  <a:gd name="connsiteX36" fmla="*/ 737303 w 1008797"/>
                  <a:gd name="connsiteY36" fmla="*/ 1753584 h 2190115"/>
                  <a:gd name="connsiteX37" fmla="*/ 438188 w 1008797"/>
                  <a:gd name="connsiteY37" fmla="*/ 2061754 h 2190115"/>
                  <a:gd name="connsiteX38" fmla="*/ 392747 w 1008797"/>
                  <a:gd name="connsiteY38" fmla="*/ 2190115 h 2190115"/>
                  <a:gd name="connsiteX0" fmla="*/ 0 w 1008797"/>
                  <a:gd name="connsiteY0" fmla="*/ 152480 h 2190115"/>
                  <a:gd name="connsiteX1" fmla="*/ 61442 w 1008797"/>
                  <a:gd name="connsiteY1" fmla="*/ 116338 h 2190115"/>
                  <a:gd name="connsiteX2" fmla="*/ 90356 w 1008797"/>
                  <a:gd name="connsiteY2" fmla="*/ 58510 h 2190115"/>
                  <a:gd name="connsiteX3" fmla="*/ 133727 w 1008797"/>
                  <a:gd name="connsiteY3" fmla="*/ 4297 h 2190115"/>
                  <a:gd name="connsiteX4" fmla="*/ 220468 w 1008797"/>
                  <a:gd name="connsiteY4" fmla="*/ 4297 h 2190115"/>
                  <a:gd name="connsiteX5" fmla="*/ 296367 w 1008797"/>
                  <a:gd name="connsiteY5" fmla="*/ 11525 h 2190115"/>
                  <a:gd name="connsiteX6" fmla="*/ 357809 w 1008797"/>
                  <a:gd name="connsiteY6" fmla="*/ 44054 h 2190115"/>
                  <a:gd name="connsiteX7" fmla="*/ 393951 w 1008797"/>
                  <a:gd name="connsiteY7" fmla="*/ 101881 h 2190115"/>
                  <a:gd name="connsiteX8" fmla="*/ 455393 w 1008797"/>
                  <a:gd name="connsiteY8" fmla="*/ 159709 h 2190115"/>
                  <a:gd name="connsiteX9" fmla="*/ 495150 w 1008797"/>
                  <a:gd name="connsiteY9" fmla="*/ 192237 h 2190115"/>
                  <a:gd name="connsiteX10" fmla="*/ 552977 w 1008797"/>
                  <a:gd name="connsiteY10" fmla="*/ 246450 h 2190115"/>
                  <a:gd name="connsiteX11" fmla="*/ 585505 w 1008797"/>
                  <a:gd name="connsiteY11" fmla="*/ 311507 h 2190115"/>
                  <a:gd name="connsiteX12" fmla="*/ 589120 w 1008797"/>
                  <a:gd name="connsiteY12" fmla="*/ 380177 h 2190115"/>
                  <a:gd name="connsiteX13" fmla="*/ 571049 w 1008797"/>
                  <a:gd name="connsiteY13" fmla="*/ 409091 h 2190115"/>
                  <a:gd name="connsiteX14" fmla="*/ 599962 w 1008797"/>
                  <a:gd name="connsiteY14" fmla="*/ 463304 h 2190115"/>
                  <a:gd name="connsiteX15" fmla="*/ 628876 w 1008797"/>
                  <a:gd name="connsiteY15" fmla="*/ 539203 h 2190115"/>
                  <a:gd name="connsiteX16" fmla="*/ 683090 w 1008797"/>
                  <a:gd name="connsiteY16" fmla="*/ 578959 h 2190115"/>
                  <a:gd name="connsiteX17" fmla="*/ 740917 w 1008797"/>
                  <a:gd name="connsiteY17" fmla="*/ 615102 h 2190115"/>
                  <a:gd name="connsiteX18" fmla="*/ 751760 w 1008797"/>
                  <a:gd name="connsiteY18" fmla="*/ 654858 h 2190115"/>
                  <a:gd name="connsiteX19" fmla="*/ 820430 w 1008797"/>
                  <a:gd name="connsiteY19" fmla="*/ 676544 h 2190115"/>
                  <a:gd name="connsiteX20" fmla="*/ 842116 w 1008797"/>
                  <a:gd name="connsiteY20" fmla="*/ 727143 h 2190115"/>
                  <a:gd name="connsiteX21" fmla="*/ 845730 w 1008797"/>
                  <a:gd name="connsiteY21" fmla="*/ 788585 h 2190115"/>
                  <a:gd name="connsiteX22" fmla="*/ 824045 w 1008797"/>
                  <a:gd name="connsiteY22" fmla="*/ 846412 h 2190115"/>
                  <a:gd name="connsiteX23" fmla="*/ 878258 w 1008797"/>
                  <a:gd name="connsiteY23" fmla="*/ 871712 h 2190115"/>
                  <a:gd name="connsiteX24" fmla="*/ 896329 w 1008797"/>
                  <a:gd name="connsiteY24" fmla="*/ 962068 h 2190115"/>
                  <a:gd name="connsiteX25" fmla="*/ 881872 w 1008797"/>
                  <a:gd name="connsiteY25" fmla="*/ 1001824 h 2190115"/>
                  <a:gd name="connsiteX26" fmla="*/ 899943 w 1008797"/>
                  <a:gd name="connsiteY26" fmla="*/ 1124708 h 2190115"/>
                  <a:gd name="connsiteX27" fmla="*/ 946928 w 1008797"/>
                  <a:gd name="connsiteY27" fmla="*/ 1160850 h 2190115"/>
                  <a:gd name="connsiteX28" fmla="*/ 965000 w 1008797"/>
                  <a:gd name="connsiteY28" fmla="*/ 1272891 h 2190115"/>
                  <a:gd name="connsiteX29" fmla="*/ 957771 w 1008797"/>
                  <a:gd name="connsiteY29" fmla="*/ 1316262 h 2190115"/>
                  <a:gd name="connsiteX30" fmla="*/ 1008370 w 1008797"/>
                  <a:gd name="connsiteY30" fmla="*/ 1471674 h 2190115"/>
                  <a:gd name="connsiteX31" fmla="*/ 983071 w 1008797"/>
                  <a:gd name="connsiteY31" fmla="*/ 1529502 h 2190115"/>
                  <a:gd name="connsiteX32" fmla="*/ 1001142 w 1008797"/>
                  <a:gd name="connsiteY32" fmla="*/ 1634314 h 2190115"/>
                  <a:gd name="connsiteX33" fmla="*/ 968614 w 1008797"/>
                  <a:gd name="connsiteY33" fmla="*/ 1666842 h 2190115"/>
                  <a:gd name="connsiteX34" fmla="*/ 867415 w 1008797"/>
                  <a:gd name="connsiteY34" fmla="*/ 1670457 h 2190115"/>
                  <a:gd name="connsiteX35" fmla="*/ 827659 w 1008797"/>
                  <a:gd name="connsiteY35" fmla="*/ 1749970 h 2190115"/>
                  <a:gd name="connsiteX36" fmla="*/ 737303 w 1008797"/>
                  <a:gd name="connsiteY36" fmla="*/ 1753584 h 2190115"/>
                  <a:gd name="connsiteX37" fmla="*/ 438188 w 1008797"/>
                  <a:gd name="connsiteY37" fmla="*/ 2061754 h 2190115"/>
                  <a:gd name="connsiteX38" fmla="*/ 392747 w 1008797"/>
                  <a:gd name="connsiteY38" fmla="*/ 2190115 h 2190115"/>
                  <a:gd name="connsiteX0" fmla="*/ 0 w 1008797"/>
                  <a:gd name="connsiteY0" fmla="*/ 152480 h 2190115"/>
                  <a:gd name="connsiteX1" fmla="*/ 61442 w 1008797"/>
                  <a:gd name="connsiteY1" fmla="*/ 116338 h 2190115"/>
                  <a:gd name="connsiteX2" fmla="*/ 90356 w 1008797"/>
                  <a:gd name="connsiteY2" fmla="*/ 58510 h 2190115"/>
                  <a:gd name="connsiteX3" fmla="*/ 133727 w 1008797"/>
                  <a:gd name="connsiteY3" fmla="*/ 4297 h 2190115"/>
                  <a:gd name="connsiteX4" fmla="*/ 220468 w 1008797"/>
                  <a:gd name="connsiteY4" fmla="*/ 4297 h 2190115"/>
                  <a:gd name="connsiteX5" fmla="*/ 296367 w 1008797"/>
                  <a:gd name="connsiteY5" fmla="*/ 11525 h 2190115"/>
                  <a:gd name="connsiteX6" fmla="*/ 357809 w 1008797"/>
                  <a:gd name="connsiteY6" fmla="*/ 44054 h 2190115"/>
                  <a:gd name="connsiteX7" fmla="*/ 393951 w 1008797"/>
                  <a:gd name="connsiteY7" fmla="*/ 101881 h 2190115"/>
                  <a:gd name="connsiteX8" fmla="*/ 455393 w 1008797"/>
                  <a:gd name="connsiteY8" fmla="*/ 159709 h 2190115"/>
                  <a:gd name="connsiteX9" fmla="*/ 495150 w 1008797"/>
                  <a:gd name="connsiteY9" fmla="*/ 192237 h 2190115"/>
                  <a:gd name="connsiteX10" fmla="*/ 552977 w 1008797"/>
                  <a:gd name="connsiteY10" fmla="*/ 246450 h 2190115"/>
                  <a:gd name="connsiteX11" fmla="*/ 585505 w 1008797"/>
                  <a:gd name="connsiteY11" fmla="*/ 311507 h 2190115"/>
                  <a:gd name="connsiteX12" fmla="*/ 589120 w 1008797"/>
                  <a:gd name="connsiteY12" fmla="*/ 380177 h 2190115"/>
                  <a:gd name="connsiteX13" fmla="*/ 571049 w 1008797"/>
                  <a:gd name="connsiteY13" fmla="*/ 409091 h 2190115"/>
                  <a:gd name="connsiteX14" fmla="*/ 599962 w 1008797"/>
                  <a:gd name="connsiteY14" fmla="*/ 463304 h 2190115"/>
                  <a:gd name="connsiteX15" fmla="*/ 628876 w 1008797"/>
                  <a:gd name="connsiteY15" fmla="*/ 539203 h 2190115"/>
                  <a:gd name="connsiteX16" fmla="*/ 683090 w 1008797"/>
                  <a:gd name="connsiteY16" fmla="*/ 578959 h 2190115"/>
                  <a:gd name="connsiteX17" fmla="*/ 740917 w 1008797"/>
                  <a:gd name="connsiteY17" fmla="*/ 615102 h 2190115"/>
                  <a:gd name="connsiteX18" fmla="*/ 751760 w 1008797"/>
                  <a:gd name="connsiteY18" fmla="*/ 654858 h 2190115"/>
                  <a:gd name="connsiteX19" fmla="*/ 820430 w 1008797"/>
                  <a:gd name="connsiteY19" fmla="*/ 676544 h 2190115"/>
                  <a:gd name="connsiteX20" fmla="*/ 842116 w 1008797"/>
                  <a:gd name="connsiteY20" fmla="*/ 727143 h 2190115"/>
                  <a:gd name="connsiteX21" fmla="*/ 845730 w 1008797"/>
                  <a:gd name="connsiteY21" fmla="*/ 788585 h 2190115"/>
                  <a:gd name="connsiteX22" fmla="*/ 824045 w 1008797"/>
                  <a:gd name="connsiteY22" fmla="*/ 846412 h 2190115"/>
                  <a:gd name="connsiteX23" fmla="*/ 878258 w 1008797"/>
                  <a:gd name="connsiteY23" fmla="*/ 871712 h 2190115"/>
                  <a:gd name="connsiteX24" fmla="*/ 896329 w 1008797"/>
                  <a:gd name="connsiteY24" fmla="*/ 962068 h 2190115"/>
                  <a:gd name="connsiteX25" fmla="*/ 881872 w 1008797"/>
                  <a:gd name="connsiteY25" fmla="*/ 1001824 h 2190115"/>
                  <a:gd name="connsiteX26" fmla="*/ 899943 w 1008797"/>
                  <a:gd name="connsiteY26" fmla="*/ 1124708 h 2190115"/>
                  <a:gd name="connsiteX27" fmla="*/ 946928 w 1008797"/>
                  <a:gd name="connsiteY27" fmla="*/ 1160850 h 2190115"/>
                  <a:gd name="connsiteX28" fmla="*/ 965000 w 1008797"/>
                  <a:gd name="connsiteY28" fmla="*/ 1272891 h 2190115"/>
                  <a:gd name="connsiteX29" fmla="*/ 957771 w 1008797"/>
                  <a:gd name="connsiteY29" fmla="*/ 1316262 h 2190115"/>
                  <a:gd name="connsiteX30" fmla="*/ 1008370 w 1008797"/>
                  <a:gd name="connsiteY30" fmla="*/ 1471674 h 2190115"/>
                  <a:gd name="connsiteX31" fmla="*/ 983071 w 1008797"/>
                  <a:gd name="connsiteY31" fmla="*/ 1529502 h 2190115"/>
                  <a:gd name="connsiteX32" fmla="*/ 1001142 w 1008797"/>
                  <a:gd name="connsiteY32" fmla="*/ 1634314 h 2190115"/>
                  <a:gd name="connsiteX33" fmla="*/ 968614 w 1008797"/>
                  <a:gd name="connsiteY33" fmla="*/ 1666842 h 2190115"/>
                  <a:gd name="connsiteX34" fmla="*/ 867415 w 1008797"/>
                  <a:gd name="connsiteY34" fmla="*/ 1670457 h 2190115"/>
                  <a:gd name="connsiteX35" fmla="*/ 827659 w 1008797"/>
                  <a:gd name="connsiteY35" fmla="*/ 1749970 h 2190115"/>
                  <a:gd name="connsiteX36" fmla="*/ 737303 w 1008797"/>
                  <a:gd name="connsiteY36" fmla="*/ 1753584 h 2190115"/>
                  <a:gd name="connsiteX37" fmla="*/ 700126 w 1008797"/>
                  <a:gd name="connsiteY37" fmla="*/ 1895066 h 2190115"/>
                  <a:gd name="connsiteX38" fmla="*/ 438188 w 1008797"/>
                  <a:gd name="connsiteY38" fmla="*/ 2061754 h 2190115"/>
                  <a:gd name="connsiteX39" fmla="*/ 392747 w 1008797"/>
                  <a:gd name="connsiteY39" fmla="*/ 2190115 h 2190115"/>
                  <a:gd name="connsiteX0" fmla="*/ 0 w 1008797"/>
                  <a:gd name="connsiteY0" fmla="*/ 152480 h 2190115"/>
                  <a:gd name="connsiteX1" fmla="*/ 61442 w 1008797"/>
                  <a:gd name="connsiteY1" fmla="*/ 116338 h 2190115"/>
                  <a:gd name="connsiteX2" fmla="*/ 90356 w 1008797"/>
                  <a:gd name="connsiteY2" fmla="*/ 58510 h 2190115"/>
                  <a:gd name="connsiteX3" fmla="*/ 133727 w 1008797"/>
                  <a:gd name="connsiteY3" fmla="*/ 4297 h 2190115"/>
                  <a:gd name="connsiteX4" fmla="*/ 220468 w 1008797"/>
                  <a:gd name="connsiteY4" fmla="*/ 4297 h 2190115"/>
                  <a:gd name="connsiteX5" fmla="*/ 296367 w 1008797"/>
                  <a:gd name="connsiteY5" fmla="*/ 11525 h 2190115"/>
                  <a:gd name="connsiteX6" fmla="*/ 357809 w 1008797"/>
                  <a:gd name="connsiteY6" fmla="*/ 44054 h 2190115"/>
                  <a:gd name="connsiteX7" fmla="*/ 393951 w 1008797"/>
                  <a:gd name="connsiteY7" fmla="*/ 101881 h 2190115"/>
                  <a:gd name="connsiteX8" fmla="*/ 455393 w 1008797"/>
                  <a:gd name="connsiteY8" fmla="*/ 159709 h 2190115"/>
                  <a:gd name="connsiteX9" fmla="*/ 495150 w 1008797"/>
                  <a:gd name="connsiteY9" fmla="*/ 192237 h 2190115"/>
                  <a:gd name="connsiteX10" fmla="*/ 552977 w 1008797"/>
                  <a:gd name="connsiteY10" fmla="*/ 246450 h 2190115"/>
                  <a:gd name="connsiteX11" fmla="*/ 585505 w 1008797"/>
                  <a:gd name="connsiteY11" fmla="*/ 311507 h 2190115"/>
                  <a:gd name="connsiteX12" fmla="*/ 589120 w 1008797"/>
                  <a:gd name="connsiteY12" fmla="*/ 380177 h 2190115"/>
                  <a:gd name="connsiteX13" fmla="*/ 571049 w 1008797"/>
                  <a:gd name="connsiteY13" fmla="*/ 409091 h 2190115"/>
                  <a:gd name="connsiteX14" fmla="*/ 599962 w 1008797"/>
                  <a:gd name="connsiteY14" fmla="*/ 463304 h 2190115"/>
                  <a:gd name="connsiteX15" fmla="*/ 628876 w 1008797"/>
                  <a:gd name="connsiteY15" fmla="*/ 539203 h 2190115"/>
                  <a:gd name="connsiteX16" fmla="*/ 683090 w 1008797"/>
                  <a:gd name="connsiteY16" fmla="*/ 578959 h 2190115"/>
                  <a:gd name="connsiteX17" fmla="*/ 740917 w 1008797"/>
                  <a:gd name="connsiteY17" fmla="*/ 615102 h 2190115"/>
                  <a:gd name="connsiteX18" fmla="*/ 751760 w 1008797"/>
                  <a:gd name="connsiteY18" fmla="*/ 654858 h 2190115"/>
                  <a:gd name="connsiteX19" fmla="*/ 820430 w 1008797"/>
                  <a:gd name="connsiteY19" fmla="*/ 676544 h 2190115"/>
                  <a:gd name="connsiteX20" fmla="*/ 842116 w 1008797"/>
                  <a:gd name="connsiteY20" fmla="*/ 727143 h 2190115"/>
                  <a:gd name="connsiteX21" fmla="*/ 845730 w 1008797"/>
                  <a:gd name="connsiteY21" fmla="*/ 788585 h 2190115"/>
                  <a:gd name="connsiteX22" fmla="*/ 824045 w 1008797"/>
                  <a:gd name="connsiteY22" fmla="*/ 846412 h 2190115"/>
                  <a:gd name="connsiteX23" fmla="*/ 878258 w 1008797"/>
                  <a:gd name="connsiteY23" fmla="*/ 871712 h 2190115"/>
                  <a:gd name="connsiteX24" fmla="*/ 896329 w 1008797"/>
                  <a:gd name="connsiteY24" fmla="*/ 962068 h 2190115"/>
                  <a:gd name="connsiteX25" fmla="*/ 881872 w 1008797"/>
                  <a:gd name="connsiteY25" fmla="*/ 1001824 h 2190115"/>
                  <a:gd name="connsiteX26" fmla="*/ 899943 w 1008797"/>
                  <a:gd name="connsiteY26" fmla="*/ 1124708 h 2190115"/>
                  <a:gd name="connsiteX27" fmla="*/ 946928 w 1008797"/>
                  <a:gd name="connsiteY27" fmla="*/ 1160850 h 2190115"/>
                  <a:gd name="connsiteX28" fmla="*/ 965000 w 1008797"/>
                  <a:gd name="connsiteY28" fmla="*/ 1272891 h 2190115"/>
                  <a:gd name="connsiteX29" fmla="*/ 957771 w 1008797"/>
                  <a:gd name="connsiteY29" fmla="*/ 1316262 h 2190115"/>
                  <a:gd name="connsiteX30" fmla="*/ 1008370 w 1008797"/>
                  <a:gd name="connsiteY30" fmla="*/ 1471674 h 2190115"/>
                  <a:gd name="connsiteX31" fmla="*/ 983071 w 1008797"/>
                  <a:gd name="connsiteY31" fmla="*/ 1529502 h 2190115"/>
                  <a:gd name="connsiteX32" fmla="*/ 1001142 w 1008797"/>
                  <a:gd name="connsiteY32" fmla="*/ 1634314 h 2190115"/>
                  <a:gd name="connsiteX33" fmla="*/ 968614 w 1008797"/>
                  <a:gd name="connsiteY33" fmla="*/ 1666842 h 2190115"/>
                  <a:gd name="connsiteX34" fmla="*/ 867415 w 1008797"/>
                  <a:gd name="connsiteY34" fmla="*/ 1670457 h 2190115"/>
                  <a:gd name="connsiteX35" fmla="*/ 827659 w 1008797"/>
                  <a:gd name="connsiteY35" fmla="*/ 1749970 h 2190115"/>
                  <a:gd name="connsiteX36" fmla="*/ 737303 w 1008797"/>
                  <a:gd name="connsiteY36" fmla="*/ 1753584 h 2190115"/>
                  <a:gd name="connsiteX37" fmla="*/ 700126 w 1008797"/>
                  <a:gd name="connsiteY37" fmla="*/ 1895066 h 2190115"/>
                  <a:gd name="connsiteX38" fmla="*/ 438188 w 1008797"/>
                  <a:gd name="connsiteY38" fmla="*/ 2061754 h 2190115"/>
                  <a:gd name="connsiteX39" fmla="*/ 392747 w 1008797"/>
                  <a:gd name="connsiteY39" fmla="*/ 2190115 h 2190115"/>
                  <a:gd name="connsiteX0" fmla="*/ 0 w 1008797"/>
                  <a:gd name="connsiteY0" fmla="*/ 152480 h 2190115"/>
                  <a:gd name="connsiteX1" fmla="*/ 61442 w 1008797"/>
                  <a:gd name="connsiteY1" fmla="*/ 116338 h 2190115"/>
                  <a:gd name="connsiteX2" fmla="*/ 90356 w 1008797"/>
                  <a:gd name="connsiteY2" fmla="*/ 58510 h 2190115"/>
                  <a:gd name="connsiteX3" fmla="*/ 133727 w 1008797"/>
                  <a:gd name="connsiteY3" fmla="*/ 4297 h 2190115"/>
                  <a:gd name="connsiteX4" fmla="*/ 220468 w 1008797"/>
                  <a:gd name="connsiteY4" fmla="*/ 4297 h 2190115"/>
                  <a:gd name="connsiteX5" fmla="*/ 296367 w 1008797"/>
                  <a:gd name="connsiteY5" fmla="*/ 11525 h 2190115"/>
                  <a:gd name="connsiteX6" fmla="*/ 357809 w 1008797"/>
                  <a:gd name="connsiteY6" fmla="*/ 44054 h 2190115"/>
                  <a:gd name="connsiteX7" fmla="*/ 393951 w 1008797"/>
                  <a:gd name="connsiteY7" fmla="*/ 101881 h 2190115"/>
                  <a:gd name="connsiteX8" fmla="*/ 455393 w 1008797"/>
                  <a:gd name="connsiteY8" fmla="*/ 159709 h 2190115"/>
                  <a:gd name="connsiteX9" fmla="*/ 495150 w 1008797"/>
                  <a:gd name="connsiteY9" fmla="*/ 192237 h 2190115"/>
                  <a:gd name="connsiteX10" fmla="*/ 552977 w 1008797"/>
                  <a:gd name="connsiteY10" fmla="*/ 246450 h 2190115"/>
                  <a:gd name="connsiteX11" fmla="*/ 585505 w 1008797"/>
                  <a:gd name="connsiteY11" fmla="*/ 311507 h 2190115"/>
                  <a:gd name="connsiteX12" fmla="*/ 589120 w 1008797"/>
                  <a:gd name="connsiteY12" fmla="*/ 380177 h 2190115"/>
                  <a:gd name="connsiteX13" fmla="*/ 571049 w 1008797"/>
                  <a:gd name="connsiteY13" fmla="*/ 409091 h 2190115"/>
                  <a:gd name="connsiteX14" fmla="*/ 599962 w 1008797"/>
                  <a:gd name="connsiteY14" fmla="*/ 463304 h 2190115"/>
                  <a:gd name="connsiteX15" fmla="*/ 628876 w 1008797"/>
                  <a:gd name="connsiteY15" fmla="*/ 539203 h 2190115"/>
                  <a:gd name="connsiteX16" fmla="*/ 683090 w 1008797"/>
                  <a:gd name="connsiteY16" fmla="*/ 578959 h 2190115"/>
                  <a:gd name="connsiteX17" fmla="*/ 740917 w 1008797"/>
                  <a:gd name="connsiteY17" fmla="*/ 615102 h 2190115"/>
                  <a:gd name="connsiteX18" fmla="*/ 751760 w 1008797"/>
                  <a:gd name="connsiteY18" fmla="*/ 654858 h 2190115"/>
                  <a:gd name="connsiteX19" fmla="*/ 820430 w 1008797"/>
                  <a:gd name="connsiteY19" fmla="*/ 676544 h 2190115"/>
                  <a:gd name="connsiteX20" fmla="*/ 842116 w 1008797"/>
                  <a:gd name="connsiteY20" fmla="*/ 727143 h 2190115"/>
                  <a:gd name="connsiteX21" fmla="*/ 845730 w 1008797"/>
                  <a:gd name="connsiteY21" fmla="*/ 788585 h 2190115"/>
                  <a:gd name="connsiteX22" fmla="*/ 824045 w 1008797"/>
                  <a:gd name="connsiteY22" fmla="*/ 846412 h 2190115"/>
                  <a:gd name="connsiteX23" fmla="*/ 878258 w 1008797"/>
                  <a:gd name="connsiteY23" fmla="*/ 871712 h 2190115"/>
                  <a:gd name="connsiteX24" fmla="*/ 896329 w 1008797"/>
                  <a:gd name="connsiteY24" fmla="*/ 962068 h 2190115"/>
                  <a:gd name="connsiteX25" fmla="*/ 881872 w 1008797"/>
                  <a:gd name="connsiteY25" fmla="*/ 1001824 h 2190115"/>
                  <a:gd name="connsiteX26" fmla="*/ 899943 w 1008797"/>
                  <a:gd name="connsiteY26" fmla="*/ 1124708 h 2190115"/>
                  <a:gd name="connsiteX27" fmla="*/ 946928 w 1008797"/>
                  <a:gd name="connsiteY27" fmla="*/ 1160850 h 2190115"/>
                  <a:gd name="connsiteX28" fmla="*/ 965000 w 1008797"/>
                  <a:gd name="connsiteY28" fmla="*/ 1272891 h 2190115"/>
                  <a:gd name="connsiteX29" fmla="*/ 957771 w 1008797"/>
                  <a:gd name="connsiteY29" fmla="*/ 1316262 h 2190115"/>
                  <a:gd name="connsiteX30" fmla="*/ 1008370 w 1008797"/>
                  <a:gd name="connsiteY30" fmla="*/ 1471674 h 2190115"/>
                  <a:gd name="connsiteX31" fmla="*/ 983071 w 1008797"/>
                  <a:gd name="connsiteY31" fmla="*/ 1529502 h 2190115"/>
                  <a:gd name="connsiteX32" fmla="*/ 1001142 w 1008797"/>
                  <a:gd name="connsiteY32" fmla="*/ 1634314 h 2190115"/>
                  <a:gd name="connsiteX33" fmla="*/ 968614 w 1008797"/>
                  <a:gd name="connsiteY33" fmla="*/ 1666842 h 2190115"/>
                  <a:gd name="connsiteX34" fmla="*/ 867415 w 1008797"/>
                  <a:gd name="connsiteY34" fmla="*/ 1670457 h 2190115"/>
                  <a:gd name="connsiteX35" fmla="*/ 827659 w 1008797"/>
                  <a:gd name="connsiteY35" fmla="*/ 1749970 h 2190115"/>
                  <a:gd name="connsiteX36" fmla="*/ 737303 w 1008797"/>
                  <a:gd name="connsiteY36" fmla="*/ 1753584 h 2190115"/>
                  <a:gd name="connsiteX37" fmla="*/ 700126 w 1008797"/>
                  <a:gd name="connsiteY37" fmla="*/ 1895066 h 2190115"/>
                  <a:gd name="connsiteX38" fmla="*/ 609638 w 1008797"/>
                  <a:gd name="connsiteY38" fmla="*/ 1937929 h 2190115"/>
                  <a:gd name="connsiteX39" fmla="*/ 438188 w 1008797"/>
                  <a:gd name="connsiteY39" fmla="*/ 2061754 h 2190115"/>
                  <a:gd name="connsiteX40" fmla="*/ 392747 w 1008797"/>
                  <a:gd name="connsiteY40" fmla="*/ 2190115 h 2190115"/>
                  <a:gd name="connsiteX0" fmla="*/ 0 w 1008797"/>
                  <a:gd name="connsiteY0" fmla="*/ 148580 h 2186215"/>
                  <a:gd name="connsiteX1" fmla="*/ 61442 w 1008797"/>
                  <a:gd name="connsiteY1" fmla="*/ 112438 h 2186215"/>
                  <a:gd name="connsiteX2" fmla="*/ 90356 w 1008797"/>
                  <a:gd name="connsiteY2" fmla="*/ 54610 h 2186215"/>
                  <a:gd name="connsiteX3" fmla="*/ 133727 w 1008797"/>
                  <a:gd name="connsiteY3" fmla="*/ 397 h 2186215"/>
                  <a:gd name="connsiteX4" fmla="*/ 225231 w 1008797"/>
                  <a:gd name="connsiteY4" fmla="*/ 28972 h 2186215"/>
                  <a:gd name="connsiteX5" fmla="*/ 296367 w 1008797"/>
                  <a:gd name="connsiteY5" fmla="*/ 7625 h 2186215"/>
                  <a:gd name="connsiteX6" fmla="*/ 357809 w 1008797"/>
                  <a:gd name="connsiteY6" fmla="*/ 40154 h 2186215"/>
                  <a:gd name="connsiteX7" fmla="*/ 393951 w 1008797"/>
                  <a:gd name="connsiteY7" fmla="*/ 97981 h 2186215"/>
                  <a:gd name="connsiteX8" fmla="*/ 455393 w 1008797"/>
                  <a:gd name="connsiteY8" fmla="*/ 155809 h 2186215"/>
                  <a:gd name="connsiteX9" fmla="*/ 495150 w 1008797"/>
                  <a:gd name="connsiteY9" fmla="*/ 188337 h 2186215"/>
                  <a:gd name="connsiteX10" fmla="*/ 552977 w 1008797"/>
                  <a:gd name="connsiteY10" fmla="*/ 242550 h 2186215"/>
                  <a:gd name="connsiteX11" fmla="*/ 585505 w 1008797"/>
                  <a:gd name="connsiteY11" fmla="*/ 307607 h 2186215"/>
                  <a:gd name="connsiteX12" fmla="*/ 589120 w 1008797"/>
                  <a:gd name="connsiteY12" fmla="*/ 376277 h 2186215"/>
                  <a:gd name="connsiteX13" fmla="*/ 571049 w 1008797"/>
                  <a:gd name="connsiteY13" fmla="*/ 405191 h 2186215"/>
                  <a:gd name="connsiteX14" fmla="*/ 599962 w 1008797"/>
                  <a:gd name="connsiteY14" fmla="*/ 459404 h 2186215"/>
                  <a:gd name="connsiteX15" fmla="*/ 628876 w 1008797"/>
                  <a:gd name="connsiteY15" fmla="*/ 535303 h 2186215"/>
                  <a:gd name="connsiteX16" fmla="*/ 683090 w 1008797"/>
                  <a:gd name="connsiteY16" fmla="*/ 575059 h 2186215"/>
                  <a:gd name="connsiteX17" fmla="*/ 740917 w 1008797"/>
                  <a:gd name="connsiteY17" fmla="*/ 611202 h 2186215"/>
                  <a:gd name="connsiteX18" fmla="*/ 751760 w 1008797"/>
                  <a:gd name="connsiteY18" fmla="*/ 650958 h 2186215"/>
                  <a:gd name="connsiteX19" fmla="*/ 820430 w 1008797"/>
                  <a:gd name="connsiteY19" fmla="*/ 672644 h 2186215"/>
                  <a:gd name="connsiteX20" fmla="*/ 842116 w 1008797"/>
                  <a:gd name="connsiteY20" fmla="*/ 723243 h 2186215"/>
                  <a:gd name="connsiteX21" fmla="*/ 845730 w 1008797"/>
                  <a:gd name="connsiteY21" fmla="*/ 784685 h 2186215"/>
                  <a:gd name="connsiteX22" fmla="*/ 824045 w 1008797"/>
                  <a:gd name="connsiteY22" fmla="*/ 842512 h 2186215"/>
                  <a:gd name="connsiteX23" fmla="*/ 878258 w 1008797"/>
                  <a:gd name="connsiteY23" fmla="*/ 867812 h 2186215"/>
                  <a:gd name="connsiteX24" fmla="*/ 896329 w 1008797"/>
                  <a:gd name="connsiteY24" fmla="*/ 958168 h 2186215"/>
                  <a:gd name="connsiteX25" fmla="*/ 881872 w 1008797"/>
                  <a:gd name="connsiteY25" fmla="*/ 997924 h 2186215"/>
                  <a:gd name="connsiteX26" fmla="*/ 899943 w 1008797"/>
                  <a:gd name="connsiteY26" fmla="*/ 1120808 h 2186215"/>
                  <a:gd name="connsiteX27" fmla="*/ 946928 w 1008797"/>
                  <a:gd name="connsiteY27" fmla="*/ 1156950 h 2186215"/>
                  <a:gd name="connsiteX28" fmla="*/ 965000 w 1008797"/>
                  <a:gd name="connsiteY28" fmla="*/ 1268991 h 2186215"/>
                  <a:gd name="connsiteX29" fmla="*/ 957771 w 1008797"/>
                  <a:gd name="connsiteY29" fmla="*/ 1312362 h 2186215"/>
                  <a:gd name="connsiteX30" fmla="*/ 1008370 w 1008797"/>
                  <a:gd name="connsiteY30" fmla="*/ 1467774 h 2186215"/>
                  <a:gd name="connsiteX31" fmla="*/ 983071 w 1008797"/>
                  <a:gd name="connsiteY31" fmla="*/ 1525602 h 2186215"/>
                  <a:gd name="connsiteX32" fmla="*/ 1001142 w 1008797"/>
                  <a:gd name="connsiteY32" fmla="*/ 1630414 h 2186215"/>
                  <a:gd name="connsiteX33" fmla="*/ 968614 w 1008797"/>
                  <a:gd name="connsiteY33" fmla="*/ 1662942 h 2186215"/>
                  <a:gd name="connsiteX34" fmla="*/ 867415 w 1008797"/>
                  <a:gd name="connsiteY34" fmla="*/ 1666557 h 2186215"/>
                  <a:gd name="connsiteX35" fmla="*/ 827659 w 1008797"/>
                  <a:gd name="connsiteY35" fmla="*/ 1746070 h 2186215"/>
                  <a:gd name="connsiteX36" fmla="*/ 737303 w 1008797"/>
                  <a:gd name="connsiteY36" fmla="*/ 1749684 h 2186215"/>
                  <a:gd name="connsiteX37" fmla="*/ 700126 w 1008797"/>
                  <a:gd name="connsiteY37" fmla="*/ 1891166 h 2186215"/>
                  <a:gd name="connsiteX38" fmla="*/ 609638 w 1008797"/>
                  <a:gd name="connsiteY38" fmla="*/ 1934029 h 2186215"/>
                  <a:gd name="connsiteX39" fmla="*/ 438188 w 1008797"/>
                  <a:gd name="connsiteY39" fmla="*/ 2057854 h 2186215"/>
                  <a:gd name="connsiteX40" fmla="*/ 392747 w 1008797"/>
                  <a:gd name="connsiteY40" fmla="*/ 2186215 h 2186215"/>
                  <a:gd name="connsiteX0" fmla="*/ 0 w 1008797"/>
                  <a:gd name="connsiteY0" fmla="*/ 148580 h 2186215"/>
                  <a:gd name="connsiteX1" fmla="*/ 61442 w 1008797"/>
                  <a:gd name="connsiteY1" fmla="*/ 112438 h 2186215"/>
                  <a:gd name="connsiteX2" fmla="*/ 90356 w 1008797"/>
                  <a:gd name="connsiteY2" fmla="*/ 54610 h 2186215"/>
                  <a:gd name="connsiteX3" fmla="*/ 133727 w 1008797"/>
                  <a:gd name="connsiteY3" fmla="*/ 397 h 2186215"/>
                  <a:gd name="connsiteX4" fmla="*/ 225231 w 1008797"/>
                  <a:gd name="connsiteY4" fmla="*/ 28972 h 2186215"/>
                  <a:gd name="connsiteX5" fmla="*/ 296367 w 1008797"/>
                  <a:gd name="connsiteY5" fmla="*/ 7625 h 2186215"/>
                  <a:gd name="connsiteX6" fmla="*/ 301955 w 1008797"/>
                  <a:gd name="connsiteY6" fmla="*/ 47940 h 2186215"/>
                  <a:gd name="connsiteX7" fmla="*/ 357809 w 1008797"/>
                  <a:gd name="connsiteY7" fmla="*/ 40154 h 2186215"/>
                  <a:gd name="connsiteX8" fmla="*/ 393951 w 1008797"/>
                  <a:gd name="connsiteY8" fmla="*/ 97981 h 2186215"/>
                  <a:gd name="connsiteX9" fmla="*/ 455393 w 1008797"/>
                  <a:gd name="connsiteY9" fmla="*/ 155809 h 2186215"/>
                  <a:gd name="connsiteX10" fmla="*/ 495150 w 1008797"/>
                  <a:gd name="connsiteY10" fmla="*/ 188337 h 2186215"/>
                  <a:gd name="connsiteX11" fmla="*/ 552977 w 1008797"/>
                  <a:gd name="connsiteY11" fmla="*/ 242550 h 2186215"/>
                  <a:gd name="connsiteX12" fmla="*/ 585505 w 1008797"/>
                  <a:gd name="connsiteY12" fmla="*/ 307607 h 2186215"/>
                  <a:gd name="connsiteX13" fmla="*/ 589120 w 1008797"/>
                  <a:gd name="connsiteY13" fmla="*/ 376277 h 2186215"/>
                  <a:gd name="connsiteX14" fmla="*/ 571049 w 1008797"/>
                  <a:gd name="connsiteY14" fmla="*/ 405191 h 2186215"/>
                  <a:gd name="connsiteX15" fmla="*/ 599962 w 1008797"/>
                  <a:gd name="connsiteY15" fmla="*/ 459404 h 2186215"/>
                  <a:gd name="connsiteX16" fmla="*/ 628876 w 1008797"/>
                  <a:gd name="connsiteY16" fmla="*/ 535303 h 2186215"/>
                  <a:gd name="connsiteX17" fmla="*/ 683090 w 1008797"/>
                  <a:gd name="connsiteY17" fmla="*/ 575059 h 2186215"/>
                  <a:gd name="connsiteX18" fmla="*/ 740917 w 1008797"/>
                  <a:gd name="connsiteY18" fmla="*/ 611202 h 2186215"/>
                  <a:gd name="connsiteX19" fmla="*/ 751760 w 1008797"/>
                  <a:gd name="connsiteY19" fmla="*/ 650958 h 2186215"/>
                  <a:gd name="connsiteX20" fmla="*/ 820430 w 1008797"/>
                  <a:gd name="connsiteY20" fmla="*/ 672644 h 2186215"/>
                  <a:gd name="connsiteX21" fmla="*/ 842116 w 1008797"/>
                  <a:gd name="connsiteY21" fmla="*/ 723243 h 2186215"/>
                  <a:gd name="connsiteX22" fmla="*/ 845730 w 1008797"/>
                  <a:gd name="connsiteY22" fmla="*/ 784685 h 2186215"/>
                  <a:gd name="connsiteX23" fmla="*/ 824045 w 1008797"/>
                  <a:gd name="connsiteY23" fmla="*/ 842512 h 2186215"/>
                  <a:gd name="connsiteX24" fmla="*/ 878258 w 1008797"/>
                  <a:gd name="connsiteY24" fmla="*/ 867812 h 2186215"/>
                  <a:gd name="connsiteX25" fmla="*/ 896329 w 1008797"/>
                  <a:gd name="connsiteY25" fmla="*/ 958168 h 2186215"/>
                  <a:gd name="connsiteX26" fmla="*/ 881872 w 1008797"/>
                  <a:gd name="connsiteY26" fmla="*/ 997924 h 2186215"/>
                  <a:gd name="connsiteX27" fmla="*/ 899943 w 1008797"/>
                  <a:gd name="connsiteY27" fmla="*/ 1120808 h 2186215"/>
                  <a:gd name="connsiteX28" fmla="*/ 946928 w 1008797"/>
                  <a:gd name="connsiteY28" fmla="*/ 1156950 h 2186215"/>
                  <a:gd name="connsiteX29" fmla="*/ 965000 w 1008797"/>
                  <a:gd name="connsiteY29" fmla="*/ 1268991 h 2186215"/>
                  <a:gd name="connsiteX30" fmla="*/ 957771 w 1008797"/>
                  <a:gd name="connsiteY30" fmla="*/ 1312362 h 2186215"/>
                  <a:gd name="connsiteX31" fmla="*/ 1008370 w 1008797"/>
                  <a:gd name="connsiteY31" fmla="*/ 1467774 h 2186215"/>
                  <a:gd name="connsiteX32" fmla="*/ 983071 w 1008797"/>
                  <a:gd name="connsiteY32" fmla="*/ 1525602 h 2186215"/>
                  <a:gd name="connsiteX33" fmla="*/ 1001142 w 1008797"/>
                  <a:gd name="connsiteY33" fmla="*/ 1630414 h 2186215"/>
                  <a:gd name="connsiteX34" fmla="*/ 968614 w 1008797"/>
                  <a:gd name="connsiteY34" fmla="*/ 1662942 h 2186215"/>
                  <a:gd name="connsiteX35" fmla="*/ 867415 w 1008797"/>
                  <a:gd name="connsiteY35" fmla="*/ 1666557 h 2186215"/>
                  <a:gd name="connsiteX36" fmla="*/ 827659 w 1008797"/>
                  <a:gd name="connsiteY36" fmla="*/ 1746070 h 2186215"/>
                  <a:gd name="connsiteX37" fmla="*/ 737303 w 1008797"/>
                  <a:gd name="connsiteY37" fmla="*/ 1749684 h 2186215"/>
                  <a:gd name="connsiteX38" fmla="*/ 700126 w 1008797"/>
                  <a:gd name="connsiteY38" fmla="*/ 1891166 h 2186215"/>
                  <a:gd name="connsiteX39" fmla="*/ 609638 w 1008797"/>
                  <a:gd name="connsiteY39" fmla="*/ 1934029 h 2186215"/>
                  <a:gd name="connsiteX40" fmla="*/ 438188 w 1008797"/>
                  <a:gd name="connsiteY40" fmla="*/ 2057854 h 2186215"/>
                  <a:gd name="connsiteX41" fmla="*/ 392747 w 1008797"/>
                  <a:gd name="connsiteY41" fmla="*/ 2186215 h 2186215"/>
                  <a:gd name="connsiteX0" fmla="*/ 0 w 1008797"/>
                  <a:gd name="connsiteY0" fmla="*/ 148608 h 2186243"/>
                  <a:gd name="connsiteX1" fmla="*/ 61442 w 1008797"/>
                  <a:gd name="connsiteY1" fmla="*/ 112466 h 2186243"/>
                  <a:gd name="connsiteX2" fmla="*/ 90356 w 1008797"/>
                  <a:gd name="connsiteY2" fmla="*/ 54638 h 2186243"/>
                  <a:gd name="connsiteX3" fmla="*/ 133727 w 1008797"/>
                  <a:gd name="connsiteY3" fmla="*/ 425 h 2186243"/>
                  <a:gd name="connsiteX4" fmla="*/ 225231 w 1008797"/>
                  <a:gd name="connsiteY4" fmla="*/ 29000 h 2186243"/>
                  <a:gd name="connsiteX5" fmla="*/ 277317 w 1008797"/>
                  <a:gd name="connsiteY5" fmla="*/ 21941 h 2186243"/>
                  <a:gd name="connsiteX6" fmla="*/ 301955 w 1008797"/>
                  <a:gd name="connsiteY6" fmla="*/ 47968 h 2186243"/>
                  <a:gd name="connsiteX7" fmla="*/ 357809 w 1008797"/>
                  <a:gd name="connsiteY7" fmla="*/ 40182 h 2186243"/>
                  <a:gd name="connsiteX8" fmla="*/ 393951 w 1008797"/>
                  <a:gd name="connsiteY8" fmla="*/ 98009 h 2186243"/>
                  <a:gd name="connsiteX9" fmla="*/ 455393 w 1008797"/>
                  <a:gd name="connsiteY9" fmla="*/ 155837 h 2186243"/>
                  <a:gd name="connsiteX10" fmla="*/ 495150 w 1008797"/>
                  <a:gd name="connsiteY10" fmla="*/ 188365 h 2186243"/>
                  <a:gd name="connsiteX11" fmla="*/ 552977 w 1008797"/>
                  <a:gd name="connsiteY11" fmla="*/ 242578 h 2186243"/>
                  <a:gd name="connsiteX12" fmla="*/ 585505 w 1008797"/>
                  <a:gd name="connsiteY12" fmla="*/ 307635 h 2186243"/>
                  <a:gd name="connsiteX13" fmla="*/ 589120 w 1008797"/>
                  <a:gd name="connsiteY13" fmla="*/ 376305 h 2186243"/>
                  <a:gd name="connsiteX14" fmla="*/ 571049 w 1008797"/>
                  <a:gd name="connsiteY14" fmla="*/ 405219 h 2186243"/>
                  <a:gd name="connsiteX15" fmla="*/ 599962 w 1008797"/>
                  <a:gd name="connsiteY15" fmla="*/ 459432 h 2186243"/>
                  <a:gd name="connsiteX16" fmla="*/ 628876 w 1008797"/>
                  <a:gd name="connsiteY16" fmla="*/ 535331 h 2186243"/>
                  <a:gd name="connsiteX17" fmla="*/ 683090 w 1008797"/>
                  <a:gd name="connsiteY17" fmla="*/ 575087 h 2186243"/>
                  <a:gd name="connsiteX18" fmla="*/ 740917 w 1008797"/>
                  <a:gd name="connsiteY18" fmla="*/ 611230 h 2186243"/>
                  <a:gd name="connsiteX19" fmla="*/ 751760 w 1008797"/>
                  <a:gd name="connsiteY19" fmla="*/ 650986 h 2186243"/>
                  <a:gd name="connsiteX20" fmla="*/ 820430 w 1008797"/>
                  <a:gd name="connsiteY20" fmla="*/ 672672 h 2186243"/>
                  <a:gd name="connsiteX21" fmla="*/ 842116 w 1008797"/>
                  <a:gd name="connsiteY21" fmla="*/ 723271 h 2186243"/>
                  <a:gd name="connsiteX22" fmla="*/ 845730 w 1008797"/>
                  <a:gd name="connsiteY22" fmla="*/ 784713 h 2186243"/>
                  <a:gd name="connsiteX23" fmla="*/ 824045 w 1008797"/>
                  <a:gd name="connsiteY23" fmla="*/ 842540 h 2186243"/>
                  <a:gd name="connsiteX24" fmla="*/ 878258 w 1008797"/>
                  <a:gd name="connsiteY24" fmla="*/ 867840 h 2186243"/>
                  <a:gd name="connsiteX25" fmla="*/ 896329 w 1008797"/>
                  <a:gd name="connsiteY25" fmla="*/ 958196 h 2186243"/>
                  <a:gd name="connsiteX26" fmla="*/ 881872 w 1008797"/>
                  <a:gd name="connsiteY26" fmla="*/ 997952 h 2186243"/>
                  <a:gd name="connsiteX27" fmla="*/ 899943 w 1008797"/>
                  <a:gd name="connsiteY27" fmla="*/ 1120836 h 2186243"/>
                  <a:gd name="connsiteX28" fmla="*/ 946928 w 1008797"/>
                  <a:gd name="connsiteY28" fmla="*/ 1156978 h 2186243"/>
                  <a:gd name="connsiteX29" fmla="*/ 965000 w 1008797"/>
                  <a:gd name="connsiteY29" fmla="*/ 1269019 h 2186243"/>
                  <a:gd name="connsiteX30" fmla="*/ 957771 w 1008797"/>
                  <a:gd name="connsiteY30" fmla="*/ 1312390 h 2186243"/>
                  <a:gd name="connsiteX31" fmla="*/ 1008370 w 1008797"/>
                  <a:gd name="connsiteY31" fmla="*/ 1467802 h 2186243"/>
                  <a:gd name="connsiteX32" fmla="*/ 983071 w 1008797"/>
                  <a:gd name="connsiteY32" fmla="*/ 1525630 h 2186243"/>
                  <a:gd name="connsiteX33" fmla="*/ 1001142 w 1008797"/>
                  <a:gd name="connsiteY33" fmla="*/ 1630442 h 2186243"/>
                  <a:gd name="connsiteX34" fmla="*/ 968614 w 1008797"/>
                  <a:gd name="connsiteY34" fmla="*/ 1662970 h 2186243"/>
                  <a:gd name="connsiteX35" fmla="*/ 867415 w 1008797"/>
                  <a:gd name="connsiteY35" fmla="*/ 1666585 h 2186243"/>
                  <a:gd name="connsiteX36" fmla="*/ 827659 w 1008797"/>
                  <a:gd name="connsiteY36" fmla="*/ 1746098 h 2186243"/>
                  <a:gd name="connsiteX37" fmla="*/ 737303 w 1008797"/>
                  <a:gd name="connsiteY37" fmla="*/ 1749712 h 2186243"/>
                  <a:gd name="connsiteX38" fmla="*/ 700126 w 1008797"/>
                  <a:gd name="connsiteY38" fmla="*/ 1891194 h 2186243"/>
                  <a:gd name="connsiteX39" fmla="*/ 609638 w 1008797"/>
                  <a:gd name="connsiteY39" fmla="*/ 1934057 h 2186243"/>
                  <a:gd name="connsiteX40" fmla="*/ 438188 w 1008797"/>
                  <a:gd name="connsiteY40" fmla="*/ 2057882 h 2186243"/>
                  <a:gd name="connsiteX41" fmla="*/ 392747 w 1008797"/>
                  <a:gd name="connsiteY41" fmla="*/ 2186243 h 2186243"/>
                  <a:gd name="connsiteX0" fmla="*/ 0 w 1008797"/>
                  <a:gd name="connsiteY0" fmla="*/ 148608 h 2186243"/>
                  <a:gd name="connsiteX1" fmla="*/ 61442 w 1008797"/>
                  <a:gd name="connsiteY1" fmla="*/ 112466 h 2186243"/>
                  <a:gd name="connsiteX2" fmla="*/ 90356 w 1008797"/>
                  <a:gd name="connsiteY2" fmla="*/ 54638 h 2186243"/>
                  <a:gd name="connsiteX3" fmla="*/ 133727 w 1008797"/>
                  <a:gd name="connsiteY3" fmla="*/ 425 h 2186243"/>
                  <a:gd name="connsiteX4" fmla="*/ 225231 w 1008797"/>
                  <a:gd name="connsiteY4" fmla="*/ 29000 h 2186243"/>
                  <a:gd name="connsiteX5" fmla="*/ 277317 w 1008797"/>
                  <a:gd name="connsiteY5" fmla="*/ 21941 h 2186243"/>
                  <a:gd name="connsiteX6" fmla="*/ 301955 w 1008797"/>
                  <a:gd name="connsiteY6" fmla="*/ 47968 h 2186243"/>
                  <a:gd name="connsiteX7" fmla="*/ 343521 w 1008797"/>
                  <a:gd name="connsiteY7" fmla="*/ 73520 h 2186243"/>
                  <a:gd name="connsiteX8" fmla="*/ 393951 w 1008797"/>
                  <a:gd name="connsiteY8" fmla="*/ 98009 h 2186243"/>
                  <a:gd name="connsiteX9" fmla="*/ 455393 w 1008797"/>
                  <a:gd name="connsiteY9" fmla="*/ 155837 h 2186243"/>
                  <a:gd name="connsiteX10" fmla="*/ 495150 w 1008797"/>
                  <a:gd name="connsiteY10" fmla="*/ 188365 h 2186243"/>
                  <a:gd name="connsiteX11" fmla="*/ 552977 w 1008797"/>
                  <a:gd name="connsiteY11" fmla="*/ 242578 h 2186243"/>
                  <a:gd name="connsiteX12" fmla="*/ 585505 w 1008797"/>
                  <a:gd name="connsiteY12" fmla="*/ 307635 h 2186243"/>
                  <a:gd name="connsiteX13" fmla="*/ 589120 w 1008797"/>
                  <a:gd name="connsiteY13" fmla="*/ 376305 h 2186243"/>
                  <a:gd name="connsiteX14" fmla="*/ 571049 w 1008797"/>
                  <a:gd name="connsiteY14" fmla="*/ 405219 h 2186243"/>
                  <a:gd name="connsiteX15" fmla="*/ 599962 w 1008797"/>
                  <a:gd name="connsiteY15" fmla="*/ 459432 h 2186243"/>
                  <a:gd name="connsiteX16" fmla="*/ 628876 w 1008797"/>
                  <a:gd name="connsiteY16" fmla="*/ 535331 h 2186243"/>
                  <a:gd name="connsiteX17" fmla="*/ 683090 w 1008797"/>
                  <a:gd name="connsiteY17" fmla="*/ 575087 h 2186243"/>
                  <a:gd name="connsiteX18" fmla="*/ 740917 w 1008797"/>
                  <a:gd name="connsiteY18" fmla="*/ 611230 h 2186243"/>
                  <a:gd name="connsiteX19" fmla="*/ 751760 w 1008797"/>
                  <a:gd name="connsiteY19" fmla="*/ 650986 h 2186243"/>
                  <a:gd name="connsiteX20" fmla="*/ 820430 w 1008797"/>
                  <a:gd name="connsiteY20" fmla="*/ 672672 h 2186243"/>
                  <a:gd name="connsiteX21" fmla="*/ 842116 w 1008797"/>
                  <a:gd name="connsiteY21" fmla="*/ 723271 h 2186243"/>
                  <a:gd name="connsiteX22" fmla="*/ 845730 w 1008797"/>
                  <a:gd name="connsiteY22" fmla="*/ 784713 h 2186243"/>
                  <a:gd name="connsiteX23" fmla="*/ 824045 w 1008797"/>
                  <a:gd name="connsiteY23" fmla="*/ 842540 h 2186243"/>
                  <a:gd name="connsiteX24" fmla="*/ 878258 w 1008797"/>
                  <a:gd name="connsiteY24" fmla="*/ 867840 h 2186243"/>
                  <a:gd name="connsiteX25" fmla="*/ 896329 w 1008797"/>
                  <a:gd name="connsiteY25" fmla="*/ 958196 h 2186243"/>
                  <a:gd name="connsiteX26" fmla="*/ 881872 w 1008797"/>
                  <a:gd name="connsiteY26" fmla="*/ 997952 h 2186243"/>
                  <a:gd name="connsiteX27" fmla="*/ 899943 w 1008797"/>
                  <a:gd name="connsiteY27" fmla="*/ 1120836 h 2186243"/>
                  <a:gd name="connsiteX28" fmla="*/ 946928 w 1008797"/>
                  <a:gd name="connsiteY28" fmla="*/ 1156978 h 2186243"/>
                  <a:gd name="connsiteX29" fmla="*/ 965000 w 1008797"/>
                  <a:gd name="connsiteY29" fmla="*/ 1269019 h 2186243"/>
                  <a:gd name="connsiteX30" fmla="*/ 957771 w 1008797"/>
                  <a:gd name="connsiteY30" fmla="*/ 1312390 h 2186243"/>
                  <a:gd name="connsiteX31" fmla="*/ 1008370 w 1008797"/>
                  <a:gd name="connsiteY31" fmla="*/ 1467802 h 2186243"/>
                  <a:gd name="connsiteX32" fmla="*/ 983071 w 1008797"/>
                  <a:gd name="connsiteY32" fmla="*/ 1525630 h 2186243"/>
                  <a:gd name="connsiteX33" fmla="*/ 1001142 w 1008797"/>
                  <a:gd name="connsiteY33" fmla="*/ 1630442 h 2186243"/>
                  <a:gd name="connsiteX34" fmla="*/ 968614 w 1008797"/>
                  <a:gd name="connsiteY34" fmla="*/ 1662970 h 2186243"/>
                  <a:gd name="connsiteX35" fmla="*/ 867415 w 1008797"/>
                  <a:gd name="connsiteY35" fmla="*/ 1666585 h 2186243"/>
                  <a:gd name="connsiteX36" fmla="*/ 827659 w 1008797"/>
                  <a:gd name="connsiteY36" fmla="*/ 1746098 h 2186243"/>
                  <a:gd name="connsiteX37" fmla="*/ 737303 w 1008797"/>
                  <a:gd name="connsiteY37" fmla="*/ 1749712 h 2186243"/>
                  <a:gd name="connsiteX38" fmla="*/ 700126 w 1008797"/>
                  <a:gd name="connsiteY38" fmla="*/ 1891194 h 2186243"/>
                  <a:gd name="connsiteX39" fmla="*/ 609638 w 1008797"/>
                  <a:gd name="connsiteY39" fmla="*/ 1934057 h 2186243"/>
                  <a:gd name="connsiteX40" fmla="*/ 438188 w 1008797"/>
                  <a:gd name="connsiteY40" fmla="*/ 2057882 h 2186243"/>
                  <a:gd name="connsiteX41" fmla="*/ 392747 w 1008797"/>
                  <a:gd name="connsiteY41" fmla="*/ 2186243 h 2186243"/>
                  <a:gd name="connsiteX0" fmla="*/ 0 w 1008797"/>
                  <a:gd name="connsiteY0" fmla="*/ 148608 h 2186243"/>
                  <a:gd name="connsiteX1" fmla="*/ 61442 w 1008797"/>
                  <a:gd name="connsiteY1" fmla="*/ 112466 h 2186243"/>
                  <a:gd name="connsiteX2" fmla="*/ 90356 w 1008797"/>
                  <a:gd name="connsiteY2" fmla="*/ 54638 h 2186243"/>
                  <a:gd name="connsiteX3" fmla="*/ 133727 w 1008797"/>
                  <a:gd name="connsiteY3" fmla="*/ 425 h 2186243"/>
                  <a:gd name="connsiteX4" fmla="*/ 225231 w 1008797"/>
                  <a:gd name="connsiteY4" fmla="*/ 29000 h 2186243"/>
                  <a:gd name="connsiteX5" fmla="*/ 277317 w 1008797"/>
                  <a:gd name="connsiteY5" fmla="*/ 21941 h 2186243"/>
                  <a:gd name="connsiteX6" fmla="*/ 301955 w 1008797"/>
                  <a:gd name="connsiteY6" fmla="*/ 47968 h 2186243"/>
                  <a:gd name="connsiteX7" fmla="*/ 343521 w 1008797"/>
                  <a:gd name="connsiteY7" fmla="*/ 73520 h 2186243"/>
                  <a:gd name="connsiteX8" fmla="*/ 384426 w 1008797"/>
                  <a:gd name="connsiteY8" fmla="*/ 121822 h 2186243"/>
                  <a:gd name="connsiteX9" fmla="*/ 455393 w 1008797"/>
                  <a:gd name="connsiteY9" fmla="*/ 155837 h 2186243"/>
                  <a:gd name="connsiteX10" fmla="*/ 495150 w 1008797"/>
                  <a:gd name="connsiteY10" fmla="*/ 188365 h 2186243"/>
                  <a:gd name="connsiteX11" fmla="*/ 552977 w 1008797"/>
                  <a:gd name="connsiteY11" fmla="*/ 242578 h 2186243"/>
                  <a:gd name="connsiteX12" fmla="*/ 585505 w 1008797"/>
                  <a:gd name="connsiteY12" fmla="*/ 307635 h 2186243"/>
                  <a:gd name="connsiteX13" fmla="*/ 589120 w 1008797"/>
                  <a:gd name="connsiteY13" fmla="*/ 376305 h 2186243"/>
                  <a:gd name="connsiteX14" fmla="*/ 571049 w 1008797"/>
                  <a:gd name="connsiteY14" fmla="*/ 405219 h 2186243"/>
                  <a:gd name="connsiteX15" fmla="*/ 599962 w 1008797"/>
                  <a:gd name="connsiteY15" fmla="*/ 459432 h 2186243"/>
                  <a:gd name="connsiteX16" fmla="*/ 628876 w 1008797"/>
                  <a:gd name="connsiteY16" fmla="*/ 535331 h 2186243"/>
                  <a:gd name="connsiteX17" fmla="*/ 683090 w 1008797"/>
                  <a:gd name="connsiteY17" fmla="*/ 575087 h 2186243"/>
                  <a:gd name="connsiteX18" fmla="*/ 740917 w 1008797"/>
                  <a:gd name="connsiteY18" fmla="*/ 611230 h 2186243"/>
                  <a:gd name="connsiteX19" fmla="*/ 751760 w 1008797"/>
                  <a:gd name="connsiteY19" fmla="*/ 650986 h 2186243"/>
                  <a:gd name="connsiteX20" fmla="*/ 820430 w 1008797"/>
                  <a:gd name="connsiteY20" fmla="*/ 672672 h 2186243"/>
                  <a:gd name="connsiteX21" fmla="*/ 842116 w 1008797"/>
                  <a:gd name="connsiteY21" fmla="*/ 723271 h 2186243"/>
                  <a:gd name="connsiteX22" fmla="*/ 845730 w 1008797"/>
                  <a:gd name="connsiteY22" fmla="*/ 784713 h 2186243"/>
                  <a:gd name="connsiteX23" fmla="*/ 824045 w 1008797"/>
                  <a:gd name="connsiteY23" fmla="*/ 842540 h 2186243"/>
                  <a:gd name="connsiteX24" fmla="*/ 878258 w 1008797"/>
                  <a:gd name="connsiteY24" fmla="*/ 867840 h 2186243"/>
                  <a:gd name="connsiteX25" fmla="*/ 896329 w 1008797"/>
                  <a:gd name="connsiteY25" fmla="*/ 958196 h 2186243"/>
                  <a:gd name="connsiteX26" fmla="*/ 881872 w 1008797"/>
                  <a:gd name="connsiteY26" fmla="*/ 997952 h 2186243"/>
                  <a:gd name="connsiteX27" fmla="*/ 899943 w 1008797"/>
                  <a:gd name="connsiteY27" fmla="*/ 1120836 h 2186243"/>
                  <a:gd name="connsiteX28" fmla="*/ 946928 w 1008797"/>
                  <a:gd name="connsiteY28" fmla="*/ 1156978 h 2186243"/>
                  <a:gd name="connsiteX29" fmla="*/ 965000 w 1008797"/>
                  <a:gd name="connsiteY29" fmla="*/ 1269019 h 2186243"/>
                  <a:gd name="connsiteX30" fmla="*/ 957771 w 1008797"/>
                  <a:gd name="connsiteY30" fmla="*/ 1312390 h 2186243"/>
                  <a:gd name="connsiteX31" fmla="*/ 1008370 w 1008797"/>
                  <a:gd name="connsiteY31" fmla="*/ 1467802 h 2186243"/>
                  <a:gd name="connsiteX32" fmla="*/ 983071 w 1008797"/>
                  <a:gd name="connsiteY32" fmla="*/ 1525630 h 2186243"/>
                  <a:gd name="connsiteX33" fmla="*/ 1001142 w 1008797"/>
                  <a:gd name="connsiteY33" fmla="*/ 1630442 h 2186243"/>
                  <a:gd name="connsiteX34" fmla="*/ 968614 w 1008797"/>
                  <a:gd name="connsiteY34" fmla="*/ 1662970 h 2186243"/>
                  <a:gd name="connsiteX35" fmla="*/ 867415 w 1008797"/>
                  <a:gd name="connsiteY35" fmla="*/ 1666585 h 2186243"/>
                  <a:gd name="connsiteX36" fmla="*/ 827659 w 1008797"/>
                  <a:gd name="connsiteY36" fmla="*/ 1746098 h 2186243"/>
                  <a:gd name="connsiteX37" fmla="*/ 737303 w 1008797"/>
                  <a:gd name="connsiteY37" fmla="*/ 1749712 h 2186243"/>
                  <a:gd name="connsiteX38" fmla="*/ 700126 w 1008797"/>
                  <a:gd name="connsiteY38" fmla="*/ 1891194 h 2186243"/>
                  <a:gd name="connsiteX39" fmla="*/ 609638 w 1008797"/>
                  <a:gd name="connsiteY39" fmla="*/ 1934057 h 2186243"/>
                  <a:gd name="connsiteX40" fmla="*/ 438188 w 1008797"/>
                  <a:gd name="connsiteY40" fmla="*/ 2057882 h 2186243"/>
                  <a:gd name="connsiteX41" fmla="*/ 392747 w 1008797"/>
                  <a:gd name="connsiteY41" fmla="*/ 2186243 h 2186243"/>
                  <a:gd name="connsiteX0" fmla="*/ 0 w 1008797"/>
                  <a:gd name="connsiteY0" fmla="*/ 148608 h 2186243"/>
                  <a:gd name="connsiteX1" fmla="*/ 61442 w 1008797"/>
                  <a:gd name="connsiteY1" fmla="*/ 112466 h 2186243"/>
                  <a:gd name="connsiteX2" fmla="*/ 90356 w 1008797"/>
                  <a:gd name="connsiteY2" fmla="*/ 54638 h 2186243"/>
                  <a:gd name="connsiteX3" fmla="*/ 133727 w 1008797"/>
                  <a:gd name="connsiteY3" fmla="*/ 425 h 2186243"/>
                  <a:gd name="connsiteX4" fmla="*/ 225231 w 1008797"/>
                  <a:gd name="connsiteY4" fmla="*/ 29000 h 2186243"/>
                  <a:gd name="connsiteX5" fmla="*/ 277317 w 1008797"/>
                  <a:gd name="connsiteY5" fmla="*/ 21941 h 2186243"/>
                  <a:gd name="connsiteX6" fmla="*/ 301955 w 1008797"/>
                  <a:gd name="connsiteY6" fmla="*/ 47968 h 2186243"/>
                  <a:gd name="connsiteX7" fmla="*/ 343521 w 1008797"/>
                  <a:gd name="connsiteY7" fmla="*/ 73520 h 2186243"/>
                  <a:gd name="connsiteX8" fmla="*/ 384426 w 1008797"/>
                  <a:gd name="connsiteY8" fmla="*/ 121822 h 2186243"/>
                  <a:gd name="connsiteX9" fmla="*/ 441105 w 1008797"/>
                  <a:gd name="connsiteY9" fmla="*/ 184412 h 2186243"/>
                  <a:gd name="connsiteX10" fmla="*/ 495150 w 1008797"/>
                  <a:gd name="connsiteY10" fmla="*/ 188365 h 2186243"/>
                  <a:gd name="connsiteX11" fmla="*/ 552977 w 1008797"/>
                  <a:gd name="connsiteY11" fmla="*/ 242578 h 2186243"/>
                  <a:gd name="connsiteX12" fmla="*/ 585505 w 1008797"/>
                  <a:gd name="connsiteY12" fmla="*/ 307635 h 2186243"/>
                  <a:gd name="connsiteX13" fmla="*/ 589120 w 1008797"/>
                  <a:gd name="connsiteY13" fmla="*/ 376305 h 2186243"/>
                  <a:gd name="connsiteX14" fmla="*/ 571049 w 1008797"/>
                  <a:gd name="connsiteY14" fmla="*/ 405219 h 2186243"/>
                  <a:gd name="connsiteX15" fmla="*/ 599962 w 1008797"/>
                  <a:gd name="connsiteY15" fmla="*/ 459432 h 2186243"/>
                  <a:gd name="connsiteX16" fmla="*/ 628876 w 1008797"/>
                  <a:gd name="connsiteY16" fmla="*/ 535331 h 2186243"/>
                  <a:gd name="connsiteX17" fmla="*/ 683090 w 1008797"/>
                  <a:gd name="connsiteY17" fmla="*/ 575087 h 2186243"/>
                  <a:gd name="connsiteX18" fmla="*/ 740917 w 1008797"/>
                  <a:gd name="connsiteY18" fmla="*/ 611230 h 2186243"/>
                  <a:gd name="connsiteX19" fmla="*/ 751760 w 1008797"/>
                  <a:gd name="connsiteY19" fmla="*/ 650986 h 2186243"/>
                  <a:gd name="connsiteX20" fmla="*/ 820430 w 1008797"/>
                  <a:gd name="connsiteY20" fmla="*/ 672672 h 2186243"/>
                  <a:gd name="connsiteX21" fmla="*/ 842116 w 1008797"/>
                  <a:gd name="connsiteY21" fmla="*/ 723271 h 2186243"/>
                  <a:gd name="connsiteX22" fmla="*/ 845730 w 1008797"/>
                  <a:gd name="connsiteY22" fmla="*/ 784713 h 2186243"/>
                  <a:gd name="connsiteX23" fmla="*/ 824045 w 1008797"/>
                  <a:gd name="connsiteY23" fmla="*/ 842540 h 2186243"/>
                  <a:gd name="connsiteX24" fmla="*/ 878258 w 1008797"/>
                  <a:gd name="connsiteY24" fmla="*/ 867840 h 2186243"/>
                  <a:gd name="connsiteX25" fmla="*/ 896329 w 1008797"/>
                  <a:gd name="connsiteY25" fmla="*/ 958196 h 2186243"/>
                  <a:gd name="connsiteX26" fmla="*/ 881872 w 1008797"/>
                  <a:gd name="connsiteY26" fmla="*/ 997952 h 2186243"/>
                  <a:gd name="connsiteX27" fmla="*/ 899943 w 1008797"/>
                  <a:gd name="connsiteY27" fmla="*/ 1120836 h 2186243"/>
                  <a:gd name="connsiteX28" fmla="*/ 946928 w 1008797"/>
                  <a:gd name="connsiteY28" fmla="*/ 1156978 h 2186243"/>
                  <a:gd name="connsiteX29" fmla="*/ 965000 w 1008797"/>
                  <a:gd name="connsiteY29" fmla="*/ 1269019 h 2186243"/>
                  <a:gd name="connsiteX30" fmla="*/ 957771 w 1008797"/>
                  <a:gd name="connsiteY30" fmla="*/ 1312390 h 2186243"/>
                  <a:gd name="connsiteX31" fmla="*/ 1008370 w 1008797"/>
                  <a:gd name="connsiteY31" fmla="*/ 1467802 h 2186243"/>
                  <a:gd name="connsiteX32" fmla="*/ 983071 w 1008797"/>
                  <a:gd name="connsiteY32" fmla="*/ 1525630 h 2186243"/>
                  <a:gd name="connsiteX33" fmla="*/ 1001142 w 1008797"/>
                  <a:gd name="connsiteY33" fmla="*/ 1630442 h 2186243"/>
                  <a:gd name="connsiteX34" fmla="*/ 968614 w 1008797"/>
                  <a:gd name="connsiteY34" fmla="*/ 1662970 h 2186243"/>
                  <a:gd name="connsiteX35" fmla="*/ 867415 w 1008797"/>
                  <a:gd name="connsiteY35" fmla="*/ 1666585 h 2186243"/>
                  <a:gd name="connsiteX36" fmla="*/ 827659 w 1008797"/>
                  <a:gd name="connsiteY36" fmla="*/ 1746098 h 2186243"/>
                  <a:gd name="connsiteX37" fmla="*/ 737303 w 1008797"/>
                  <a:gd name="connsiteY37" fmla="*/ 1749712 h 2186243"/>
                  <a:gd name="connsiteX38" fmla="*/ 700126 w 1008797"/>
                  <a:gd name="connsiteY38" fmla="*/ 1891194 h 2186243"/>
                  <a:gd name="connsiteX39" fmla="*/ 609638 w 1008797"/>
                  <a:gd name="connsiteY39" fmla="*/ 1934057 h 2186243"/>
                  <a:gd name="connsiteX40" fmla="*/ 438188 w 1008797"/>
                  <a:gd name="connsiteY40" fmla="*/ 2057882 h 2186243"/>
                  <a:gd name="connsiteX41" fmla="*/ 392747 w 1008797"/>
                  <a:gd name="connsiteY41" fmla="*/ 2186243 h 2186243"/>
                  <a:gd name="connsiteX0" fmla="*/ 0 w 1008797"/>
                  <a:gd name="connsiteY0" fmla="*/ 148608 h 2186243"/>
                  <a:gd name="connsiteX1" fmla="*/ 61442 w 1008797"/>
                  <a:gd name="connsiteY1" fmla="*/ 112466 h 2186243"/>
                  <a:gd name="connsiteX2" fmla="*/ 90356 w 1008797"/>
                  <a:gd name="connsiteY2" fmla="*/ 54638 h 2186243"/>
                  <a:gd name="connsiteX3" fmla="*/ 133727 w 1008797"/>
                  <a:gd name="connsiteY3" fmla="*/ 425 h 2186243"/>
                  <a:gd name="connsiteX4" fmla="*/ 225231 w 1008797"/>
                  <a:gd name="connsiteY4" fmla="*/ 29000 h 2186243"/>
                  <a:gd name="connsiteX5" fmla="*/ 277317 w 1008797"/>
                  <a:gd name="connsiteY5" fmla="*/ 21941 h 2186243"/>
                  <a:gd name="connsiteX6" fmla="*/ 301955 w 1008797"/>
                  <a:gd name="connsiteY6" fmla="*/ 47968 h 2186243"/>
                  <a:gd name="connsiteX7" fmla="*/ 343521 w 1008797"/>
                  <a:gd name="connsiteY7" fmla="*/ 73520 h 2186243"/>
                  <a:gd name="connsiteX8" fmla="*/ 384426 w 1008797"/>
                  <a:gd name="connsiteY8" fmla="*/ 121822 h 2186243"/>
                  <a:gd name="connsiteX9" fmla="*/ 441105 w 1008797"/>
                  <a:gd name="connsiteY9" fmla="*/ 184412 h 2186243"/>
                  <a:gd name="connsiteX10" fmla="*/ 495150 w 1008797"/>
                  <a:gd name="connsiteY10" fmla="*/ 221703 h 2186243"/>
                  <a:gd name="connsiteX11" fmla="*/ 552977 w 1008797"/>
                  <a:gd name="connsiteY11" fmla="*/ 242578 h 2186243"/>
                  <a:gd name="connsiteX12" fmla="*/ 585505 w 1008797"/>
                  <a:gd name="connsiteY12" fmla="*/ 307635 h 2186243"/>
                  <a:gd name="connsiteX13" fmla="*/ 589120 w 1008797"/>
                  <a:gd name="connsiteY13" fmla="*/ 376305 h 2186243"/>
                  <a:gd name="connsiteX14" fmla="*/ 571049 w 1008797"/>
                  <a:gd name="connsiteY14" fmla="*/ 405219 h 2186243"/>
                  <a:gd name="connsiteX15" fmla="*/ 599962 w 1008797"/>
                  <a:gd name="connsiteY15" fmla="*/ 459432 h 2186243"/>
                  <a:gd name="connsiteX16" fmla="*/ 628876 w 1008797"/>
                  <a:gd name="connsiteY16" fmla="*/ 535331 h 2186243"/>
                  <a:gd name="connsiteX17" fmla="*/ 683090 w 1008797"/>
                  <a:gd name="connsiteY17" fmla="*/ 575087 h 2186243"/>
                  <a:gd name="connsiteX18" fmla="*/ 740917 w 1008797"/>
                  <a:gd name="connsiteY18" fmla="*/ 611230 h 2186243"/>
                  <a:gd name="connsiteX19" fmla="*/ 751760 w 1008797"/>
                  <a:gd name="connsiteY19" fmla="*/ 650986 h 2186243"/>
                  <a:gd name="connsiteX20" fmla="*/ 820430 w 1008797"/>
                  <a:gd name="connsiteY20" fmla="*/ 672672 h 2186243"/>
                  <a:gd name="connsiteX21" fmla="*/ 842116 w 1008797"/>
                  <a:gd name="connsiteY21" fmla="*/ 723271 h 2186243"/>
                  <a:gd name="connsiteX22" fmla="*/ 845730 w 1008797"/>
                  <a:gd name="connsiteY22" fmla="*/ 784713 h 2186243"/>
                  <a:gd name="connsiteX23" fmla="*/ 824045 w 1008797"/>
                  <a:gd name="connsiteY23" fmla="*/ 842540 h 2186243"/>
                  <a:gd name="connsiteX24" fmla="*/ 878258 w 1008797"/>
                  <a:gd name="connsiteY24" fmla="*/ 867840 h 2186243"/>
                  <a:gd name="connsiteX25" fmla="*/ 896329 w 1008797"/>
                  <a:gd name="connsiteY25" fmla="*/ 958196 h 2186243"/>
                  <a:gd name="connsiteX26" fmla="*/ 881872 w 1008797"/>
                  <a:gd name="connsiteY26" fmla="*/ 997952 h 2186243"/>
                  <a:gd name="connsiteX27" fmla="*/ 899943 w 1008797"/>
                  <a:gd name="connsiteY27" fmla="*/ 1120836 h 2186243"/>
                  <a:gd name="connsiteX28" fmla="*/ 946928 w 1008797"/>
                  <a:gd name="connsiteY28" fmla="*/ 1156978 h 2186243"/>
                  <a:gd name="connsiteX29" fmla="*/ 965000 w 1008797"/>
                  <a:gd name="connsiteY29" fmla="*/ 1269019 h 2186243"/>
                  <a:gd name="connsiteX30" fmla="*/ 957771 w 1008797"/>
                  <a:gd name="connsiteY30" fmla="*/ 1312390 h 2186243"/>
                  <a:gd name="connsiteX31" fmla="*/ 1008370 w 1008797"/>
                  <a:gd name="connsiteY31" fmla="*/ 1467802 h 2186243"/>
                  <a:gd name="connsiteX32" fmla="*/ 983071 w 1008797"/>
                  <a:gd name="connsiteY32" fmla="*/ 1525630 h 2186243"/>
                  <a:gd name="connsiteX33" fmla="*/ 1001142 w 1008797"/>
                  <a:gd name="connsiteY33" fmla="*/ 1630442 h 2186243"/>
                  <a:gd name="connsiteX34" fmla="*/ 968614 w 1008797"/>
                  <a:gd name="connsiteY34" fmla="*/ 1662970 h 2186243"/>
                  <a:gd name="connsiteX35" fmla="*/ 867415 w 1008797"/>
                  <a:gd name="connsiteY35" fmla="*/ 1666585 h 2186243"/>
                  <a:gd name="connsiteX36" fmla="*/ 827659 w 1008797"/>
                  <a:gd name="connsiteY36" fmla="*/ 1746098 h 2186243"/>
                  <a:gd name="connsiteX37" fmla="*/ 737303 w 1008797"/>
                  <a:gd name="connsiteY37" fmla="*/ 1749712 h 2186243"/>
                  <a:gd name="connsiteX38" fmla="*/ 700126 w 1008797"/>
                  <a:gd name="connsiteY38" fmla="*/ 1891194 h 2186243"/>
                  <a:gd name="connsiteX39" fmla="*/ 609638 w 1008797"/>
                  <a:gd name="connsiteY39" fmla="*/ 1934057 h 2186243"/>
                  <a:gd name="connsiteX40" fmla="*/ 438188 w 1008797"/>
                  <a:gd name="connsiteY40" fmla="*/ 2057882 h 2186243"/>
                  <a:gd name="connsiteX41" fmla="*/ 392747 w 1008797"/>
                  <a:gd name="connsiteY41" fmla="*/ 2186243 h 2186243"/>
                  <a:gd name="connsiteX0" fmla="*/ 0 w 1008797"/>
                  <a:gd name="connsiteY0" fmla="*/ 148608 h 2186243"/>
                  <a:gd name="connsiteX1" fmla="*/ 61442 w 1008797"/>
                  <a:gd name="connsiteY1" fmla="*/ 112466 h 2186243"/>
                  <a:gd name="connsiteX2" fmla="*/ 90356 w 1008797"/>
                  <a:gd name="connsiteY2" fmla="*/ 54638 h 2186243"/>
                  <a:gd name="connsiteX3" fmla="*/ 133727 w 1008797"/>
                  <a:gd name="connsiteY3" fmla="*/ 425 h 2186243"/>
                  <a:gd name="connsiteX4" fmla="*/ 225231 w 1008797"/>
                  <a:gd name="connsiteY4" fmla="*/ 29000 h 2186243"/>
                  <a:gd name="connsiteX5" fmla="*/ 277317 w 1008797"/>
                  <a:gd name="connsiteY5" fmla="*/ 21941 h 2186243"/>
                  <a:gd name="connsiteX6" fmla="*/ 301955 w 1008797"/>
                  <a:gd name="connsiteY6" fmla="*/ 47968 h 2186243"/>
                  <a:gd name="connsiteX7" fmla="*/ 343521 w 1008797"/>
                  <a:gd name="connsiteY7" fmla="*/ 73520 h 2186243"/>
                  <a:gd name="connsiteX8" fmla="*/ 384426 w 1008797"/>
                  <a:gd name="connsiteY8" fmla="*/ 121822 h 2186243"/>
                  <a:gd name="connsiteX9" fmla="*/ 441105 w 1008797"/>
                  <a:gd name="connsiteY9" fmla="*/ 184412 h 2186243"/>
                  <a:gd name="connsiteX10" fmla="*/ 495150 w 1008797"/>
                  <a:gd name="connsiteY10" fmla="*/ 221703 h 2186243"/>
                  <a:gd name="connsiteX11" fmla="*/ 552977 w 1008797"/>
                  <a:gd name="connsiteY11" fmla="*/ 242578 h 2186243"/>
                  <a:gd name="connsiteX12" fmla="*/ 585505 w 1008797"/>
                  <a:gd name="connsiteY12" fmla="*/ 307635 h 2186243"/>
                  <a:gd name="connsiteX13" fmla="*/ 589120 w 1008797"/>
                  <a:gd name="connsiteY13" fmla="*/ 376305 h 2186243"/>
                  <a:gd name="connsiteX14" fmla="*/ 571049 w 1008797"/>
                  <a:gd name="connsiteY14" fmla="*/ 405219 h 2186243"/>
                  <a:gd name="connsiteX15" fmla="*/ 599962 w 1008797"/>
                  <a:gd name="connsiteY15" fmla="*/ 459432 h 2186243"/>
                  <a:gd name="connsiteX16" fmla="*/ 605063 w 1008797"/>
                  <a:gd name="connsiteY16" fmla="*/ 521044 h 2186243"/>
                  <a:gd name="connsiteX17" fmla="*/ 683090 w 1008797"/>
                  <a:gd name="connsiteY17" fmla="*/ 575087 h 2186243"/>
                  <a:gd name="connsiteX18" fmla="*/ 740917 w 1008797"/>
                  <a:gd name="connsiteY18" fmla="*/ 611230 h 2186243"/>
                  <a:gd name="connsiteX19" fmla="*/ 751760 w 1008797"/>
                  <a:gd name="connsiteY19" fmla="*/ 650986 h 2186243"/>
                  <a:gd name="connsiteX20" fmla="*/ 820430 w 1008797"/>
                  <a:gd name="connsiteY20" fmla="*/ 672672 h 2186243"/>
                  <a:gd name="connsiteX21" fmla="*/ 842116 w 1008797"/>
                  <a:gd name="connsiteY21" fmla="*/ 723271 h 2186243"/>
                  <a:gd name="connsiteX22" fmla="*/ 845730 w 1008797"/>
                  <a:gd name="connsiteY22" fmla="*/ 784713 h 2186243"/>
                  <a:gd name="connsiteX23" fmla="*/ 824045 w 1008797"/>
                  <a:gd name="connsiteY23" fmla="*/ 842540 h 2186243"/>
                  <a:gd name="connsiteX24" fmla="*/ 878258 w 1008797"/>
                  <a:gd name="connsiteY24" fmla="*/ 867840 h 2186243"/>
                  <a:gd name="connsiteX25" fmla="*/ 896329 w 1008797"/>
                  <a:gd name="connsiteY25" fmla="*/ 958196 h 2186243"/>
                  <a:gd name="connsiteX26" fmla="*/ 881872 w 1008797"/>
                  <a:gd name="connsiteY26" fmla="*/ 997952 h 2186243"/>
                  <a:gd name="connsiteX27" fmla="*/ 899943 w 1008797"/>
                  <a:gd name="connsiteY27" fmla="*/ 1120836 h 2186243"/>
                  <a:gd name="connsiteX28" fmla="*/ 946928 w 1008797"/>
                  <a:gd name="connsiteY28" fmla="*/ 1156978 h 2186243"/>
                  <a:gd name="connsiteX29" fmla="*/ 965000 w 1008797"/>
                  <a:gd name="connsiteY29" fmla="*/ 1269019 h 2186243"/>
                  <a:gd name="connsiteX30" fmla="*/ 957771 w 1008797"/>
                  <a:gd name="connsiteY30" fmla="*/ 1312390 h 2186243"/>
                  <a:gd name="connsiteX31" fmla="*/ 1008370 w 1008797"/>
                  <a:gd name="connsiteY31" fmla="*/ 1467802 h 2186243"/>
                  <a:gd name="connsiteX32" fmla="*/ 983071 w 1008797"/>
                  <a:gd name="connsiteY32" fmla="*/ 1525630 h 2186243"/>
                  <a:gd name="connsiteX33" fmla="*/ 1001142 w 1008797"/>
                  <a:gd name="connsiteY33" fmla="*/ 1630442 h 2186243"/>
                  <a:gd name="connsiteX34" fmla="*/ 968614 w 1008797"/>
                  <a:gd name="connsiteY34" fmla="*/ 1662970 h 2186243"/>
                  <a:gd name="connsiteX35" fmla="*/ 867415 w 1008797"/>
                  <a:gd name="connsiteY35" fmla="*/ 1666585 h 2186243"/>
                  <a:gd name="connsiteX36" fmla="*/ 827659 w 1008797"/>
                  <a:gd name="connsiteY36" fmla="*/ 1746098 h 2186243"/>
                  <a:gd name="connsiteX37" fmla="*/ 737303 w 1008797"/>
                  <a:gd name="connsiteY37" fmla="*/ 1749712 h 2186243"/>
                  <a:gd name="connsiteX38" fmla="*/ 700126 w 1008797"/>
                  <a:gd name="connsiteY38" fmla="*/ 1891194 h 2186243"/>
                  <a:gd name="connsiteX39" fmla="*/ 609638 w 1008797"/>
                  <a:gd name="connsiteY39" fmla="*/ 1934057 h 2186243"/>
                  <a:gd name="connsiteX40" fmla="*/ 438188 w 1008797"/>
                  <a:gd name="connsiteY40" fmla="*/ 2057882 h 2186243"/>
                  <a:gd name="connsiteX41" fmla="*/ 392747 w 1008797"/>
                  <a:gd name="connsiteY41" fmla="*/ 2186243 h 2186243"/>
                  <a:gd name="connsiteX0" fmla="*/ 0 w 1008797"/>
                  <a:gd name="connsiteY0" fmla="*/ 148608 h 2186243"/>
                  <a:gd name="connsiteX1" fmla="*/ 61442 w 1008797"/>
                  <a:gd name="connsiteY1" fmla="*/ 112466 h 2186243"/>
                  <a:gd name="connsiteX2" fmla="*/ 90356 w 1008797"/>
                  <a:gd name="connsiteY2" fmla="*/ 54638 h 2186243"/>
                  <a:gd name="connsiteX3" fmla="*/ 133727 w 1008797"/>
                  <a:gd name="connsiteY3" fmla="*/ 425 h 2186243"/>
                  <a:gd name="connsiteX4" fmla="*/ 225231 w 1008797"/>
                  <a:gd name="connsiteY4" fmla="*/ 29000 h 2186243"/>
                  <a:gd name="connsiteX5" fmla="*/ 277317 w 1008797"/>
                  <a:gd name="connsiteY5" fmla="*/ 21941 h 2186243"/>
                  <a:gd name="connsiteX6" fmla="*/ 301955 w 1008797"/>
                  <a:gd name="connsiteY6" fmla="*/ 47968 h 2186243"/>
                  <a:gd name="connsiteX7" fmla="*/ 343521 w 1008797"/>
                  <a:gd name="connsiteY7" fmla="*/ 73520 h 2186243"/>
                  <a:gd name="connsiteX8" fmla="*/ 384426 w 1008797"/>
                  <a:gd name="connsiteY8" fmla="*/ 121822 h 2186243"/>
                  <a:gd name="connsiteX9" fmla="*/ 441105 w 1008797"/>
                  <a:gd name="connsiteY9" fmla="*/ 184412 h 2186243"/>
                  <a:gd name="connsiteX10" fmla="*/ 495150 w 1008797"/>
                  <a:gd name="connsiteY10" fmla="*/ 221703 h 2186243"/>
                  <a:gd name="connsiteX11" fmla="*/ 552977 w 1008797"/>
                  <a:gd name="connsiteY11" fmla="*/ 242578 h 2186243"/>
                  <a:gd name="connsiteX12" fmla="*/ 585505 w 1008797"/>
                  <a:gd name="connsiteY12" fmla="*/ 307635 h 2186243"/>
                  <a:gd name="connsiteX13" fmla="*/ 589120 w 1008797"/>
                  <a:gd name="connsiteY13" fmla="*/ 376305 h 2186243"/>
                  <a:gd name="connsiteX14" fmla="*/ 571049 w 1008797"/>
                  <a:gd name="connsiteY14" fmla="*/ 405219 h 2186243"/>
                  <a:gd name="connsiteX15" fmla="*/ 599962 w 1008797"/>
                  <a:gd name="connsiteY15" fmla="*/ 459432 h 2186243"/>
                  <a:gd name="connsiteX16" fmla="*/ 605063 w 1008797"/>
                  <a:gd name="connsiteY16" fmla="*/ 521044 h 2186243"/>
                  <a:gd name="connsiteX17" fmla="*/ 673565 w 1008797"/>
                  <a:gd name="connsiteY17" fmla="*/ 584612 h 2186243"/>
                  <a:gd name="connsiteX18" fmla="*/ 740917 w 1008797"/>
                  <a:gd name="connsiteY18" fmla="*/ 611230 h 2186243"/>
                  <a:gd name="connsiteX19" fmla="*/ 751760 w 1008797"/>
                  <a:gd name="connsiteY19" fmla="*/ 650986 h 2186243"/>
                  <a:gd name="connsiteX20" fmla="*/ 820430 w 1008797"/>
                  <a:gd name="connsiteY20" fmla="*/ 672672 h 2186243"/>
                  <a:gd name="connsiteX21" fmla="*/ 842116 w 1008797"/>
                  <a:gd name="connsiteY21" fmla="*/ 723271 h 2186243"/>
                  <a:gd name="connsiteX22" fmla="*/ 845730 w 1008797"/>
                  <a:gd name="connsiteY22" fmla="*/ 784713 h 2186243"/>
                  <a:gd name="connsiteX23" fmla="*/ 824045 w 1008797"/>
                  <a:gd name="connsiteY23" fmla="*/ 842540 h 2186243"/>
                  <a:gd name="connsiteX24" fmla="*/ 878258 w 1008797"/>
                  <a:gd name="connsiteY24" fmla="*/ 867840 h 2186243"/>
                  <a:gd name="connsiteX25" fmla="*/ 896329 w 1008797"/>
                  <a:gd name="connsiteY25" fmla="*/ 958196 h 2186243"/>
                  <a:gd name="connsiteX26" fmla="*/ 881872 w 1008797"/>
                  <a:gd name="connsiteY26" fmla="*/ 997952 h 2186243"/>
                  <a:gd name="connsiteX27" fmla="*/ 899943 w 1008797"/>
                  <a:gd name="connsiteY27" fmla="*/ 1120836 h 2186243"/>
                  <a:gd name="connsiteX28" fmla="*/ 946928 w 1008797"/>
                  <a:gd name="connsiteY28" fmla="*/ 1156978 h 2186243"/>
                  <a:gd name="connsiteX29" fmla="*/ 965000 w 1008797"/>
                  <a:gd name="connsiteY29" fmla="*/ 1269019 h 2186243"/>
                  <a:gd name="connsiteX30" fmla="*/ 957771 w 1008797"/>
                  <a:gd name="connsiteY30" fmla="*/ 1312390 h 2186243"/>
                  <a:gd name="connsiteX31" fmla="*/ 1008370 w 1008797"/>
                  <a:gd name="connsiteY31" fmla="*/ 1467802 h 2186243"/>
                  <a:gd name="connsiteX32" fmla="*/ 983071 w 1008797"/>
                  <a:gd name="connsiteY32" fmla="*/ 1525630 h 2186243"/>
                  <a:gd name="connsiteX33" fmla="*/ 1001142 w 1008797"/>
                  <a:gd name="connsiteY33" fmla="*/ 1630442 h 2186243"/>
                  <a:gd name="connsiteX34" fmla="*/ 968614 w 1008797"/>
                  <a:gd name="connsiteY34" fmla="*/ 1662970 h 2186243"/>
                  <a:gd name="connsiteX35" fmla="*/ 867415 w 1008797"/>
                  <a:gd name="connsiteY35" fmla="*/ 1666585 h 2186243"/>
                  <a:gd name="connsiteX36" fmla="*/ 827659 w 1008797"/>
                  <a:gd name="connsiteY36" fmla="*/ 1746098 h 2186243"/>
                  <a:gd name="connsiteX37" fmla="*/ 737303 w 1008797"/>
                  <a:gd name="connsiteY37" fmla="*/ 1749712 h 2186243"/>
                  <a:gd name="connsiteX38" fmla="*/ 700126 w 1008797"/>
                  <a:gd name="connsiteY38" fmla="*/ 1891194 h 2186243"/>
                  <a:gd name="connsiteX39" fmla="*/ 609638 w 1008797"/>
                  <a:gd name="connsiteY39" fmla="*/ 1934057 h 2186243"/>
                  <a:gd name="connsiteX40" fmla="*/ 438188 w 1008797"/>
                  <a:gd name="connsiteY40" fmla="*/ 2057882 h 2186243"/>
                  <a:gd name="connsiteX41" fmla="*/ 392747 w 1008797"/>
                  <a:gd name="connsiteY41" fmla="*/ 2186243 h 2186243"/>
                  <a:gd name="connsiteX0" fmla="*/ 0 w 1008797"/>
                  <a:gd name="connsiteY0" fmla="*/ 148608 h 2186243"/>
                  <a:gd name="connsiteX1" fmla="*/ 61442 w 1008797"/>
                  <a:gd name="connsiteY1" fmla="*/ 112466 h 2186243"/>
                  <a:gd name="connsiteX2" fmla="*/ 90356 w 1008797"/>
                  <a:gd name="connsiteY2" fmla="*/ 54638 h 2186243"/>
                  <a:gd name="connsiteX3" fmla="*/ 133727 w 1008797"/>
                  <a:gd name="connsiteY3" fmla="*/ 425 h 2186243"/>
                  <a:gd name="connsiteX4" fmla="*/ 225231 w 1008797"/>
                  <a:gd name="connsiteY4" fmla="*/ 29000 h 2186243"/>
                  <a:gd name="connsiteX5" fmla="*/ 277317 w 1008797"/>
                  <a:gd name="connsiteY5" fmla="*/ 21941 h 2186243"/>
                  <a:gd name="connsiteX6" fmla="*/ 301955 w 1008797"/>
                  <a:gd name="connsiteY6" fmla="*/ 47968 h 2186243"/>
                  <a:gd name="connsiteX7" fmla="*/ 343521 w 1008797"/>
                  <a:gd name="connsiteY7" fmla="*/ 73520 h 2186243"/>
                  <a:gd name="connsiteX8" fmla="*/ 384426 w 1008797"/>
                  <a:gd name="connsiteY8" fmla="*/ 121822 h 2186243"/>
                  <a:gd name="connsiteX9" fmla="*/ 441105 w 1008797"/>
                  <a:gd name="connsiteY9" fmla="*/ 184412 h 2186243"/>
                  <a:gd name="connsiteX10" fmla="*/ 495150 w 1008797"/>
                  <a:gd name="connsiteY10" fmla="*/ 221703 h 2186243"/>
                  <a:gd name="connsiteX11" fmla="*/ 552977 w 1008797"/>
                  <a:gd name="connsiteY11" fmla="*/ 242578 h 2186243"/>
                  <a:gd name="connsiteX12" fmla="*/ 585505 w 1008797"/>
                  <a:gd name="connsiteY12" fmla="*/ 307635 h 2186243"/>
                  <a:gd name="connsiteX13" fmla="*/ 589120 w 1008797"/>
                  <a:gd name="connsiteY13" fmla="*/ 376305 h 2186243"/>
                  <a:gd name="connsiteX14" fmla="*/ 571049 w 1008797"/>
                  <a:gd name="connsiteY14" fmla="*/ 405219 h 2186243"/>
                  <a:gd name="connsiteX15" fmla="*/ 599962 w 1008797"/>
                  <a:gd name="connsiteY15" fmla="*/ 459432 h 2186243"/>
                  <a:gd name="connsiteX16" fmla="*/ 605063 w 1008797"/>
                  <a:gd name="connsiteY16" fmla="*/ 521044 h 2186243"/>
                  <a:gd name="connsiteX17" fmla="*/ 673565 w 1008797"/>
                  <a:gd name="connsiteY17" fmla="*/ 584612 h 2186243"/>
                  <a:gd name="connsiteX18" fmla="*/ 679004 w 1008797"/>
                  <a:gd name="connsiteY18" fmla="*/ 649330 h 2186243"/>
                  <a:gd name="connsiteX19" fmla="*/ 751760 w 1008797"/>
                  <a:gd name="connsiteY19" fmla="*/ 650986 h 2186243"/>
                  <a:gd name="connsiteX20" fmla="*/ 820430 w 1008797"/>
                  <a:gd name="connsiteY20" fmla="*/ 672672 h 2186243"/>
                  <a:gd name="connsiteX21" fmla="*/ 842116 w 1008797"/>
                  <a:gd name="connsiteY21" fmla="*/ 723271 h 2186243"/>
                  <a:gd name="connsiteX22" fmla="*/ 845730 w 1008797"/>
                  <a:gd name="connsiteY22" fmla="*/ 784713 h 2186243"/>
                  <a:gd name="connsiteX23" fmla="*/ 824045 w 1008797"/>
                  <a:gd name="connsiteY23" fmla="*/ 842540 h 2186243"/>
                  <a:gd name="connsiteX24" fmla="*/ 878258 w 1008797"/>
                  <a:gd name="connsiteY24" fmla="*/ 867840 h 2186243"/>
                  <a:gd name="connsiteX25" fmla="*/ 896329 w 1008797"/>
                  <a:gd name="connsiteY25" fmla="*/ 958196 h 2186243"/>
                  <a:gd name="connsiteX26" fmla="*/ 881872 w 1008797"/>
                  <a:gd name="connsiteY26" fmla="*/ 997952 h 2186243"/>
                  <a:gd name="connsiteX27" fmla="*/ 899943 w 1008797"/>
                  <a:gd name="connsiteY27" fmla="*/ 1120836 h 2186243"/>
                  <a:gd name="connsiteX28" fmla="*/ 946928 w 1008797"/>
                  <a:gd name="connsiteY28" fmla="*/ 1156978 h 2186243"/>
                  <a:gd name="connsiteX29" fmla="*/ 965000 w 1008797"/>
                  <a:gd name="connsiteY29" fmla="*/ 1269019 h 2186243"/>
                  <a:gd name="connsiteX30" fmla="*/ 957771 w 1008797"/>
                  <a:gd name="connsiteY30" fmla="*/ 1312390 h 2186243"/>
                  <a:gd name="connsiteX31" fmla="*/ 1008370 w 1008797"/>
                  <a:gd name="connsiteY31" fmla="*/ 1467802 h 2186243"/>
                  <a:gd name="connsiteX32" fmla="*/ 983071 w 1008797"/>
                  <a:gd name="connsiteY32" fmla="*/ 1525630 h 2186243"/>
                  <a:gd name="connsiteX33" fmla="*/ 1001142 w 1008797"/>
                  <a:gd name="connsiteY33" fmla="*/ 1630442 h 2186243"/>
                  <a:gd name="connsiteX34" fmla="*/ 968614 w 1008797"/>
                  <a:gd name="connsiteY34" fmla="*/ 1662970 h 2186243"/>
                  <a:gd name="connsiteX35" fmla="*/ 867415 w 1008797"/>
                  <a:gd name="connsiteY35" fmla="*/ 1666585 h 2186243"/>
                  <a:gd name="connsiteX36" fmla="*/ 827659 w 1008797"/>
                  <a:gd name="connsiteY36" fmla="*/ 1746098 h 2186243"/>
                  <a:gd name="connsiteX37" fmla="*/ 737303 w 1008797"/>
                  <a:gd name="connsiteY37" fmla="*/ 1749712 h 2186243"/>
                  <a:gd name="connsiteX38" fmla="*/ 700126 w 1008797"/>
                  <a:gd name="connsiteY38" fmla="*/ 1891194 h 2186243"/>
                  <a:gd name="connsiteX39" fmla="*/ 609638 w 1008797"/>
                  <a:gd name="connsiteY39" fmla="*/ 1934057 h 2186243"/>
                  <a:gd name="connsiteX40" fmla="*/ 438188 w 1008797"/>
                  <a:gd name="connsiteY40" fmla="*/ 2057882 h 2186243"/>
                  <a:gd name="connsiteX41" fmla="*/ 392747 w 1008797"/>
                  <a:gd name="connsiteY41" fmla="*/ 2186243 h 2186243"/>
                  <a:gd name="connsiteX0" fmla="*/ 0 w 1008797"/>
                  <a:gd name="connsiteY0" fmla="*/ 148608 h 2186243"/>
                  <a:gd name="connsiteX1" fmla="*/ 61442 w 1008797"/>
                  <a:gd name="connsiteY1" fmla="*/ 112466 h 2186243"/>
                  <a:gd name="connsiteX2" fmla="*/ 90356 w 1008797"/>
                  <a:gd name="connsiteY2" fmla="*/ 54638 h 2186243"/>
                  <a:gd name="connsiteX3" fmla="*/ 133727 w 1008797"/>
                  <a:gd name="connsiteY3" fmla="*/ 425 h 2186243"/>
                  <a:gd name="connsiteX4" fmla="*/ 225231 w 1008797"/>
                  <a:gd name="connsiteY4" fmla="*/ 29000 h 2186243"/>
                  <a:gd name="connsiteX5" fmla="*/ 277317 w 1008797"/>
                  <a:gd name="connsiteY5" fmla="*/ 21941 h 2186243"/>
                  <a:gd name="connsiteX6" fmla="*/ 301955 w 1008797"/>
                  <a:gd name="connsiteY6" fmla="*/ 47968 h 2186243"/>
                  <a:gd name="connsiteX7" fmla="*/ 343521 w 1008797"/>
                  <a:gd name="connsiteY7" fmla="*/ 73520 h 2186243"/>
                  <a:gd name="connsiteX8" fmla="*/ 384426 w 1008797"/>
                  <a:gd name="connsiteY8" fmla="*/ 121822 h 2186243"/>
                  <a:gd name="connsiteX9" fmla="*/ 441105 w 1008797"/>
                  <a:gd name="connsiteY9" fmla="*/ 184412 h 2186243"/>
                  <a:gd name="connsiteX10" fmla="*/ 495150 w 1008797"/>
                  <a:gd name="connsiteY10" fmla="*/ 221703 h 2186243"/>
                  <a:gd name="connsiteX11" fmla="*/ 552977 w 1008797"/>
                  <a:gd name="connsiteY11" fmla="*/ 242578 h 2186243"/>
                  <a:gd name="connsiteX12" fmla="*/ 585505 w 1008797"/>
                  <a:gd name="connsiteY12" fmla="*/ 307635 h 2186243"/>
                  <a:gd name="connsiteX13" fmla="*/ 589120 w 1008797"/>
                  <a:gd name="connsiteY13" fmla="*/ 376305 h 2186243"/>
                  <a:gd name="connsiteX14" fmla="*/ 571049 w 1008797"/>
                  <a:gd name="connsiteY14" fmla="*/ 405219 h 2186243"/>
                  <a:gd name="connsiteX15" fmla="*/ 599962 w 1008797"/>
                  <a:gd name="connsiteY15" fmla="*/ 459432 h 2186243"/>
                  <a:gd name="connsiteX16" fmla="*/ 605063 w 1008797"/>
                  <a:gd name="connsiteY16" fmla="*/ 521044 h 2186243"/>
                  <a:gd name="connsiteX17" fmla="*/ 673565 w 1008797"/>
                  <a:gd name="connsiteY17" fmla="*/ 584612 h 2186243"/>
                  <a:gd name="connsiteX18" fmla="*/ 679004 w 1008797"/>
                  <a:gd name="connsiteY18" fmla="*/ 649330 h 2186243"/>
                  <a:gd name="connsiteX19" fmla="*/ 751760 w 1008797"/>
                  <a:gd name="connsiteY19" fmla="*/ 670036 h 2186243"/>
                  <a:gd name="connsiteX20" fmla="*/ 820430 w 1008797"/>
                  <a:gd name="connsiteY20" fmla="*/ 672672 h 2186243"/>
                  <a:gd name="connsiteX21" fmla="*/ 842116 w 1008797"/>
                  <a:gd name="connsiteY21" fmla="*/ 723271 h 2186243"/>
                  <a:gd name="connsiteX22" fmla="*/ 845730 w 1008797"/>
                  <a:gd name="connsiteY22" fmla="*/ 784713 h 2186243"/>
                  <a:gd name="connsiteX23" fmla="*/ 824045 w 1008797"/>
                  <a:gd name="connsiteY23" fmla="*/ 842540 h 2186243"/>
                  <a:gd name="connsiteX24" fmla="*/ 878258 w 1008797"/>
                  <a:gd name="connsiteY24" fmla="*/ 867840 h 2186243"/>
                  <a:gd name="connsiteX25" fmla="*/ 896329 w 1008797"/>
                  <a:gd name="connsiteY25" fmla="*/ 958196 h 2186243"/>
                  <a:gd name="connsiteX26" fmla="*/ 881872 w 1008797"/>
                  <a:gd name="connsiteY26" fmla="*/ 997952 h 2186243"/>
                  <a:gd name="connsiteX27" fmla="*/ 899943 w 1008797"/>
                  <a:gd name="connsiteY27" fmla="*/ 1120836 h 2186243"/>
                  <a:gd name="connsiteX28" fmla="*/ 946928 w 1008797"/>
                  <a:gd name="connsiteY28" fmla="*/ 1156978 h 2186243"/>
                  <a:gd name="connsiteX29" fmla="*/ 965000 w 1008797"/>
                  <a:gd name="connsiteY29" fmla="*/ 1269019 h 2186243"/>
                  <a:gd name="connsiteX30" fmla="*/ 957771 w 1008797"/>
                  <a:gd name="connsiteY30" fmla="*/ 1312390 h 2186243"/>
                  <a:gd name="connsiteX31" fmla="*/ 1008370 w 1008797"/>
                  <a:gd name="connsiteY31" fmla="*/ 1467802 h 2186243"/>
                  <a:gd name="connsiteX32" fmla="*/ 983071 w 1008797"/>
                  <a:gd name="connsiteY32" fmla="*/ 1525630 h 2186243"/>
                  <a:gd name="connsiteX33" fmla="*/ 1001142 w 1008797"/>
                  <a:gd name="connsiteY33" fmla="*/ 1630442 h 2186243"/>
                  <a:gd name="connsiteX34" fmla="*/ 968614 w 1008797"/>
                  <a:gd name="connsiteY34" fmla="*/ 1662970 h 2186243"/>
                  <a:gd name="connsiteX35" fmla="*/ 867415 w 1008797"/>
                  <a:gd name="connsiteY35" fmla="*/ 1666585 h 2186243"/>
                  <a:gd name="connsiteX36" fmla="*/ 827659 w 1008797"/>
                  <a:gd name="connsiteY36" fmla="*/ 1746098 h 2186243"/>
                  <a:gd name="connsiteX37" fmla="*/ 737303 w 1008797"/>
                  <a:gd name="connsiteY37" fmla="*/ 1749712 h 2186243"/>
                  <a:gd name="connsiteX38" fmla="*/ 700126 w 1008797"/>
                  <a:gd name="connsiteY38" fmla="*/ 1891194 h 2186243"/>
                  <a:gd name="connsiteX39" fmla="*/ 609638 w 1008797"/>
                  <a:gd name="connsiteY39" fmla="*/ 1934057 h 2186243"/>
                  <a:gd name="connsiteX40" fmla="*/ 438188 w 1008797"/>
                  <a:gd name="connsiteY40" fmla="*/ 2057882 h 2186243"/>
                  <a:gd name="connsiteX41" fmla="*/ 392747 w 1008797"/>
                  <a:gd name="connsiteY41" fmla="*/ 2186243 h 2186243"/>
                  <a:gd name="connsiteX0" fmla="*/ 0 w 1008797"/>
                  <a:gd name="connsiteY0" fmla="*/ 148608 h 2186243"/>
                  <a:gd name="connsiteX1" fmla="*/ 61442 w 1008797"/>
                  <a:gd name="connsiteY1" fmla="*/ 112466 h 2186243"/>
                  <a:gd name="connsiteX2" fmla="*/ 90356 w 1008797"/>
                  <a:gd name="connsiteY2" fmla="*/ 54638 h 2186243"/>
                  <a:gd name="connsiteX3" fmla="*/ 133727 w 1008797"/>
                  <a:gd name="connsiteY3" fmla="*/ 425 h 2186243"/>
                  <a:gd name="connsiteX4" fmla="*/ 225231 w 1008797"/>
                  <a:gd name="connsiteY4" fmla="*/ 29000 h 2186243"/>
                  <a:gd name="connsiteX5" fmla="*/ 277317 w 1008797"/>
                  <a:gd name="connsiteY5" fmla="*/ 21941 h 2186243"/>
                  <a:gd name="connsiteX6" fmla="*/ 301955 w 1008797"/>
                  <a:gd name="connsiteY6" fmla="*/ 47968 h 2186243"/>
                  <a:gd name="connsiteX7" fmla="*/ 343521 w 1008797"/>
                  <a:gd name="connsiteY7" fmla="*/ 73520 h 2186243"/>
                  <a:gd name="connsiteX8" fmla="*/ 384426 w 1008797"/>
                  <a:gd name="connsiteY8" fmla="*/ 121822 h 2186243"/>
                  <a:gd name="connsiteX9" fmla="*/ 441105 w 1008797"/>
                  <a:gd name="connsiteY9" fmla="*/ 184412 h 2186243"/>
                  <a:gd name="connsiteX10" fmla="*/ 495150 w 1008797"/>
                  <a:gd name="connsiteY10" fmla="*/ 221703 h 2186243"/>
                  <a:gd name="connsiteX11" fmla="*/ 552977 w 1008797"/>
                  <a:gd name="connsiteY11" fmla="*/ 242578 h 2186243"/>
                  <a:gd name="connsiteX12" fmla="*/ 585505 w 1008797"/>
                  <a:gd name="connsiteY12" fmla="*/ 307635 h 2186243"/>
                  <a:gd name="connsiteX13" fmla="*/ 589120 w 1008797"/>
                  <a:gd name="connsiteY13" fmla="*/ 376305 h 2186243"/>
                  <a:gd name="connsiteX14" fmla="*/ 571049 w 1008797"/>
                  <a:gd name="connsiteY14" fmla="*/ 405219 h 2186243"/>
                  <a:gd name="connsiteX15" fmla="*/ 599962 w 1008797"/>
                  <a:gd name="connsiteY15" fmla="*/ 459432 h 2186243"/>
                  <a:gd name="connsiteX16" fmla="*/ 605063 w 1008797"/>
                  <a:gd name="connsiteY16" fmla="*/ 521044 h 2186243"/>
                  <a:gd name="connsiteX17" fmla="*/ 673565 w 1008797"/>
                  <a:gd name="connsiteY17" fmla="*/ 584612 h 2186243"/>
                  <a:gd name="connsiteX18" fmla="*/ 679004 w 1008797"/>
                  <a:gd name="connsiteY18" fmla="*/ 649330 h 2186243"/>
                  <a:gd name="connsiteX19" fmla="*/ 751760 w 1008797"/>
                  <a:gd name="connsiteY19" fmla="*/ 670036 h 2186243"/>
                  <a:gd name="connsiteX20" fmla="*/ 782330 w 1008797"/>
                  <a:gd name="connsiteY20" fmla="*/ 729822 h 2186243"/>
                  <a:gd name="connsiteX21" fmla="*/ 842116 w 1008797"/>
                  <a:gd name="connsiteY21" fmla="*/ 723271 h 2186243"/>
                  <a:gd name="connsiteX22" fmla="*/ 845730 w 1008797"/>
                  <a:gd name="connsiteY22" fmla="*/ 784713 h 2186243"/>
                  <a:gd name="connsiteX23" fmla="*/ 824045 w 1008797"/>
                  <a:gd name="connsiteY23" fmla="*/ 842540 h 2186243"/>
                  <a:gd name="connsiteX24" fmla="*/ 878258 w 1008797"/>
                  <a:gd name="connsiteY24" fmla="*/ 867840 h 2186243"/>
                  <a:gd name="connsiteX25" fmla="*/ 896329 w 1008797"/>
                  <a:gd name="connsiteY25" fmla="*/ 958196 h 2186243"/>
                  <a:gd name="connsiteX26" fmla="*/ 881872 w 1008797"/>
                  <a:gd name="connsiteY26" fmla="*/ 997952 h 2186243"/>
                  <a:gd name="connsiteX27" fmla="*/ 899943 w 1008797"/>
                  <a:gd name="connsiteY27" fmla="*/ 1120836 h 2186243"/>
                  <a:gd name="connsiteX28" fmla="*/ 946928 w 1008797"/>
                  <a:gd name="connsiteY28" fmla="*/ 1156978 h 2186243"/>
                  <a:gd name="connsiteX29" fmla="*/ 965000 w 1008797"/>
                  <a:gd name="connsiteY29" fmla="*/ 1269019 h 2186243"/>
                  <a:gd name="connsiteX30" fmla="*/ 957771 w 1008797"/>
                  <a:gd name="connsiteY30" fmla="*/ 1312390 h 2186243"/>
                  <a:gd name="connsiteX31" fmla="*/ 1008370 w 1008797"/>
                  <a:gd name="connsiteY31" fmla="*/ 1467802 h 2186243"/>
                  <a:gd name="connsiteX32" fmla="*/ 983071 w 1008797"/>
                  <a:gd name="connsiteY32" fmla="*/ 1525630 h 2186243"/>
                  <a:gd name="connsiteX33" fmla="*/ 1001142 w 1008797"/>
                  <a:gd name="connsiteY33" fmla="*/ 1630442 h 2186243"/>
                  <a:gd name="connsiteX34" fmla="*/ 968614 w 1008797"/>
                  <a:gd name="connsiteY34" fmla="*/ 1662970 h 2186243"/>
                  <a:gd name="connsiteX35" fmla="*/ 867415 w 1008797"/>
                  <a:gd name="connsiteY35" fmla="*/ 1666585 h 2186243"/>
                  <a:gd name="connsiteX36" fmla="*/ 827659 w 1008797"/>
                  <a:gd name="connsiteY36" fmla="*/ 1746098 h 2186243"/>
                  <a:gd name="connsiteX37" fmla="*/ 737303 w 1008797"/>
                  <a:gd name="connsiteY37" fmla="*/ 1749712 h 2186243"/>
                  <a:gd name="connsiteX38" fmla="*/ 700126 w 1008797"/>
                  <a:gd name="connsiteY38" fmla="*/ 1891194 h 2186243"/>
                  <a:gd name="connsiteX39" fmla="*/ 609638 w 1008797"/>
                  <a:gd name="connsiteY39" fmla="*/ 1934057 h 2186243"/>
                  <a:gd name="connsiteX40" fmla="*/ 438188 w 1008797"/>
                  <a:gd name="connsiteY40" fmla="*/ 2057882 h 2186243"/>
                  <a:gd name="connsiteX41" fmla="*/ 392747 w 1008797"/>
                  <a:gd name="connsiteY41" fmla="*/ 2186243 h 2186243"/>
                  <a:gd name="connsiteX0" fmla="*/ 0 w 1008797"/>
                  <a:gd name="connsiteY0" fmla="*/ 148608 h 2186243"/>
                  <a:gd name="connsiteX1" fmla="*/ 61442 w 1008797"/>
                  <a:gd name="connsiteY1" fmla="*/ 112466 h 2186243"/>
                  <a:gd name="connsiteX2" fmla="*/ 90356 w 1008797"/>
                  <a:gd name="connsiteY2" fmla="*/ 54638 h 2186243"/>
                  <a:gd name="connsiteX3" fmla="*/ 133727 w 1008797"/>
                  <a:gd name="connsiteY3" fmla="*/ 425 h 2186243"/>
                  <a:gd name="connsiteX4" fmla="*/ 225231 w 1008797"/>
                  <a:gd name="connsiteY4" fmla="*/ 29000 h 2186243"/>
                  <a:gd name="connsiteX5" fmla="*/ 277317 w 1008797"/>
                  <a:gd name="connsiteY5" fmla="*/ 21941 h 2186243"/>
                  <a:gd name="connsiteX6" fmla="*/ 301955 w 1008797"/>
                  <a:gd name="connsiteY6" fmla="*/ 47968 h 2186243"/>
                  <a:gd name="connsiteX7" fmla="*/ 343521 w 1008797"/>
                  <a:gd name="connsiteY7" fmla="*/ 73520 h 2186243"/>
                  <a:gd name="connsiteX8" fmla="*/ 384426 w 1008797"/>
                  <a:gd name="connsiteY8" fmla="*/ 121822 h 2186243"/>
                  <a:gd name="connsiteX9" fmla="*/ 441105 w 1008797"/>
                  <a:gd name="connsiteY9" fmla="*/ 184412 h 2186243"/>
                  <a:gd name="connsiteX10" fmla="*/ 495150 w 1008797"/>
                  <a:gd name="connsiteY10" fmla="*/ 221703 h 2186243"/>
                  <a:gd name="connsiteX11" fmla="*/ 552977 w 1008797"/>
                  <a:gd name="connsiteY11" fmla="*/ 242578 h 2186243"/>
                  <a:gd name="connsiteX12" fmla="*/ 585505 w 1008797"/>
                  <a:gd name="connsiteY12" fmla="*/ 307635 h 2186243"/>
                  <a:gd name="connsiteX13" fmla="*/ 589120 w 1008797"/>
                  <a:gd name="connsiteY13" fmla="*/ 376305 h 2186243"/>
                  <a:gd name="connsiteX14" fmla="*/ 571049 w 1008797"/>
                  <a:gd name="connsiteY14" fmla="*/ 405219 h 2186243"/>
                  <a:gd name="connsiteX15" fmla="*/ 599962 w 1008797"/>
                  <a:gd name="connsiteY15" fmla="*/ 459432 h 2186243"/>
                  <a:gd name="connsiteX16" fmla="*/ 605063 w 1008797"/>
                  <a:gd name="connsiteY16" fmla="*/ 521044 h 2186243"/>
                  <a:gd name="connsiteX17" fmla="*/ 673565 w 1008797"/>
                  <a:gd name="connsiteY17" fmla="*/ 584612 h 2186243"/>
                  <a:gd name="connsiteX18" fmla="*/ 679004 w 1008797"/>
                  <a:gd name="connsiteY18" fmla="*/ 649330 h 2186243"/>
                  <a:gd name="connsiteX19" fmla="*/ 751760 w 1008797"/>
                  <a:gd name="connsiteY19" fmla="*/ 670036 h 2186243"/>
                  <a:gd name="connsiteX20" fmla="*/ 782330 w 1008797"/>
                  <a:gd name="connsiteY20" fmla="*/ 729822 h 2186243"/>
                  <a:gd name="connsiteX21" fmla="*/ 842116 w 1008797"/>
                  <a:gd name="connsiteY21" fmla="*/ 742321 h 2186243"/>
                  <a:gd name="connsiteX22" fmla="*/ 845730 w 1008797"/>
                  <a:gd name="connsiteY22" fmla="*/ 784713 h 2186243"/>
                  <a:gd name="connsiteX23" fmla="*/ 824045 w 1008797"/>
                  <a:gd name="connsiteY23" fmla="*/ 842540 h 2186243"/>
                  <a:gd name="connsiteX24" fmla="*/ 878258 w 1008797"/>
                  <a:gd name="connsiteY24" fmla="*/ 867840 h 2186243"/>
                  <a:gd name="connsiteX25" fmla="*/ 896329 w 1008797"/>
                  <a:gd name="connsiteY25" fmla="*/ 958196 h 2186243"/>
                  <a:gd name="connsiteX26" fmla="*/ 881872 w 1008797"/>
                  <a:gd name="connsiteY26" fmla="*/ 997952 h 2186243"/>
                  <a:gd name="connsiteX27" fmla="*/ 899943 w 1008797"/>
                  <a:gd name="connsiteY27" fmla="*/ 1120836 h 2186243"/>
                  <a:gd name="connsiteX28" fmla="*/ 946928 w 1008797"/>
                  <a:gd name="connsiteY28" fmla="*/ 1156978 h 2186243"/>
                  <a:gd name="connsiteX29" fmla="*/ 965000 w 1008797"/>
                  <a:gd name="connsiteY29" fmla="*/ 1269019 h 2186243"/>
                  <a:gd name="connsiteX30" fmla="*/ 957771 w 1008797"/>
                  <a:gd name="connsiteY30" fmla="*/ 1312390 h 2186243"/>
                  <a:gd name="connsiteX31" fmla="*/ 1008370 w 1008797"/>
                  <a:gd name="connsiteY31" fmla="*/ 1467802 h 2186243"/>
                  <a:gd name="connsiteX32" fmla="*/ 983071 w 1008797"/>
                  <a:gd name="connsiteY32" fmla="*/ 1525630 h 2186243"/>
                  <a:gd name="connsiteX33" fmla="*/ 1001142 w 1008797"/>
                  <a:gd name="connsiteY33" fmla="*/ 1630442 h 2186243"/>
                  <a:gd name="connsiteX34" fmla="*/ 968614 w 1008797"/>
                  <a:gd name="connsiteY34" fmla="*/ 1662970 h 2186243"/>
                  <a:gd name="connsiteX35" fmla="*/ 867415 w 1008797"/>
                  <a:gd name="connsiteY35" fmla="*/ 1666585 h 2186243"/>
                  <a:gd name="connsiteX36" fmla="*/ 827659 w 1008797"/>
                  <a:gd name="connsiteY36" fmla="*/ 1746098 h 2186243"/>
                  <a:gd name="connsiteX37" fmla="*/ 737303 w 1008797"/>
                  <a:gd name="connsiteY37" fmla="*/ 1749712 h 2186243"/>
                  <a:gd name="connsiteX38" fmla="*/ 700126 w 1008797"/>
                  <a:gd name="connsiteY38" fmla="*/ 1891194 h 2186243"/>
                  <a:gd name="connsiteX39" fmla="*/ 609638 w 1008797"/>
                  <a:gd name="connsiteY39" fmla="*/ 1934057 h 2186243"/>
                  <a:gd name="connsiteX40" fmla="*/ 438188 w 1008797"/>
                  <a:gd name="connsiteY40" fmla="*/ 2057882 h 2186243"/>
                  <a:gd name="connsiteX41" fmla="*/ 392747 w 1008797"/>
                  <a:gd name="connsiteY41" fmla="*/ 2186243 h 2186243"/>
                  <a:gd name="connsiteX0" fmla="*/ 0 w 1008797"/>
                  <a:gd name="connsiteY0" fmla="*/ 148608 h 2186243"/>
                  <a:gd name="connsiteX1" fmla="*/ 61442 w 1008797"/>
                  <a:gd name="connsiteY1" fmla="*/ 112466 h 2186243"/>
                  <a:gd name="connsiteX2" fmla="*/ 90356 w 1008797"/>
                  <a:gd name="connsiteY2" fmla="*/ 54638 h 2186243"/>
                  <a:gd name="connsiteX3" fmla="*/ 133727 w 1008797"/>
                  <a:gd name="connsiteY3" fmla="*/ 425 h 2186243"/>
                  <a:gd name="connsiteX4" fmla="*/ 225231 w 1008797"/>
                  <a:gd name="connsiteY4" fmla="*/ 29000 h 2186243"/>
                  <a:gd name="connsiteX5" fmla="*/ 277317 w 1008797"/>
                  <a:gd name="connsiteY5" fmla="*/ 21941 h 2186243"/>
                  <a:gd name="connsiteX6" fmla="*/ 301955 w 1008797"/>
                  <a:gd name="connsiteY6" fmla="*/ 47968 h 2186243"/>
                  <a:gd name="connsiteX7" fmla="*/ 343521 w 1008797"/>
                  <a:gd name="connsiteY7" fmla="*/ 73520 h 2186243"/>
                  <a:gd name="connsiteX8" fmla="*/ 384426 w 1008797"/>
                  <a:gd name="connsiteY8" fmla="*/ 121822 h 2186243"/>
                  <a:gd name="connsiteX9" fmla="*/ 441105 w 1008797"/>
                  <a:gd name="connsiteY9" fmla="*/ 184412 h 2186243"/>
                  <a:gd name="connsiteX10" fmla="*/ 495150 w 1008797"/>
                  <a:gd name="connsiteY10" fmla="*/ 221703 h 2186243"/>
                  <a:gd name="connsiteX11" fmla="*/ 552977 w 1008797"/>
                  <a:gd name="connsiteY11" fmla="*/ 242578 h 2186243"/>
                  <a:gd name="connsiteX12" fmla="*/ 585505 w 1008797"/>
                  <a:gd name="connsiteY12" fmla="*/ 307635 h 2186243"/>
                  <a:gd name="connsiteX13" fmla="*/ 589120 w 1008797"/>
                  <a:gd name="connsiteY13" fmla="*/ 376305 h 2186243"/>
                  <a:gd name="connsiteX14" fmla="*/ 571049 w 1008797"/>
                  <a:gd name="connsiteY14" fmla="*/ 405219 h 2186243"/>
                  <a:gd name="connsiteX15" fmla="*/ 599962 w 1008797"/>
                  <a:gd name="connsiteY15" fmla="*/ 459432 h 2186243"/>
                  <a:gd name="connsiteX16" fmla="*/ 605063 w 1008797"/>
                  <a:gd name="connsiteY16" fmla="*/ 521044 h 2186243"/>
                  <a:gd name="connsiteX17" fmla="*/ 673565 w 1008797"/>
                  <a:gd name="connsiteY17" fmla="*/ 584612 h 2186243"/>
                  <a:gd name="connsiteX18" fmla="*/ 679004 w 1008797"/>
                  <a:gd name="connsiteY18" fmla="*/ 649330 h 2186243"/>
                  <a:gd name="connsiteX19" fmla="*/ 751760 w 1008797"/>
                  <a:gd name="connsiteY19" fmla="*/ 670036 h 2186243"/>
                  <a:gd name="connsiteX20" fmla="*/ 782330 w 1008797"/>
                  <a:gd name="connsiteY20" fmla="*/ 729822 h 2186243"/>
                  <a:gd name="connsiteX21" fmla="*/ 842116 w 1008797"/>
                  <a:gd name="connsiteY21" fmla="*/ 742321 h 2186243"/>
                  <a:gd name="connsiteX22" fmla="*/ 845730 w 1008797"/>
                  <a:gd name="connsiteY22" fmla="*/ 784713 h 2186243"/>
                  <a:gd name="connsiteX23" fmla="*/ 824045 w 1008797"/>
                  <a:gd name="connsiteY23" fmla="*/ 842540 h 2186243"/>
                  <a:gd name="connsiteX24" fmla="*/ 849683 w 1008797"/>
                  <a:gd name="connsiteY24" fmla="*/ 910702 h 2186243"/>
                  <a:gd name="connsiteX25" fmla="*/ 896329 w 1008797"/>
                  <a:gd name="connsiteY25" fmla="*/ 958196 h 2186243"/>
                  <a:gd name="connsiteX26" fmla="*/ 881872 w 1008797"/>
                  <a:gd name="connsiteY26" fmla="*/ 997952 h 2186243"/>
                  <a:gd name="connsiteX27" fmla="*/ 899943 w 1008797"/>
                  <a:gd name="connsiteY27" fmla="*/ 1120836 h 2186243"/>
                  <a:gd name="connsiteX28" fmla="*/ 946928 w 1008797"/>
                  <a:gd name="connsiteY28" fmla="*/ 1156978 h 2186243"/>
                  <a:gd name="connsiteX29" fmla="*/ 965000 w 1008797"/>
                  <a:gd name="connsiteY29" fmla="*/ 1269019 h 2186243"/>
                  <a:gd name="connsiteX30" fmla="*/ 957771 w 1008797"/>
                  <a:gd name="connsiteY30" fmla="*/ 1312390 h 2186243"/>
                  <a:gd name="connsiteX31" fmla="*/ 1008370 w 1008797"/>
                  <a:gd name="connsiteY31" fmla="*/ 1467802 h 2186243"/>
                  <a:gd name="connsiteX32" fmla="*/ 983071 w 1008797"/>
                  <a:gd name="connsiteY32" fmla="*/ 1525630 h 2186243"/>
                  <a:gd name="connsiteX33" fmla="*/ 1001142 w 1008797"/>
                  <a:gd name="connsiteY33" fmla="*/ 1630442 h 2186243"/>
                  <a:gd name="connsiteX34" fmla="*/ 968614 w 1008797"/>
                  <a:gd name="connsiteY34" fmla="*/ 1662970 h 2186243"/>
                  <a:gd name="connsiteX35" fmla="*/ 867415 w 1008797"/>
                  <a:gd name="connsiteY35" fmla="*/ 1666585 h 2186243"/>
                  <a:gd name="connsiteX36" fmla="*/ 827659 w 1008797"/>
                  <a:gd name="connsiteY36" fmla="*/ 1746098 h 2186243"/>
                  <a:gd name="connsiteX37" fmla="*/ 737303 w 1008797"/>
                  <a:gd name="connsiteY37" fmla="*/ 1749712 h 2186243"/>
                  <a:gd name="connsiteX38" fmla="*/ 700126 w 1008797"/>
                  <a:gd name="connsiteY38" fmla="*/ 1891194 h 2186243"/>
                  <a:gd name="connsiteX39" fmla="*/ 609638 w 1008797"/>
                  <a:gd name="connsiteY39" fmla="*/ 1934057 h 2186243"/>
                  <a:gd name="connsiteX40" fmla="*/ 438188 w 1008797"/>
                  <a:gd name="connsiteY40" fmla="*/ 2057882 h 2186243"/>
                  <a:gd name="connsiteX41" fmla="*/ 392747 w 1008797"/>
                  <a:gd name="connsiteY41" fmla="*/ 2186243 h 2186243"/>
                  <a:gd name="connsiteX0" fmla="*/ 0 w 1008797"/>
                  <a:gd name="connsiteY0" fmla="*/ 148608 h 2186243"/>
                  <a:gd name="connsiteX1" fmla="*/ 61442 w 1008797"/>
                  <a:gd name="connsiteY1" fmla="*/ 112466 h 2186243"/>
                  <a:gd name="connsiteX2" fmla="*/ 90356 w 1008797"/>
                  <a:gd name="connsiteY2" fmla="*/ 54638 h 2186243"/>
                  <a:gd name="connsiteX3" fmla="*/ 133727 w 1008797"/>
                  <a:gd name="connsiteY3" fmla="*/ 425 h 2186243"/>
                  <a:gd name="connsiteX4" fmla="*/ 225231 w 1008797"/>
                  <a:gd name="connsiteY4" fmla="*/ 29000 h 2186243"/>
                  <a:gd name="connsiteX5" fmla="*/ 277317 w 1008797"/>
                  <a:gd name="connsiteY5" fmla="*/ 21941 h 2186243"/>
                  <a:gd name="connsiteX6" fmla="*/ 301955 w 1008797"/>
                  <a:gd name="connsiteY6" fmla="*/ 47968 h 2186243"/>
                  <a:gd name="connsiteX7" fmla="*/ 343521 w 1008797"/>
                  <a:gd name="connsiteY7" fmla="*/ 73520 h 2186243"/>
                  <a:gd name="connsiteX8" fmla="*/ 384426 w 1008797"/>
                  <a:gd name="connsiteY8" fmla="*/ 121822 h 2186243"/>
                  <a:gd name="connsiteX9" fmla="*/ 441105 w 1008797"/>
                  <a:gd name="connsiteY9" fmla="*/ 184412 h 2186243"/>
                  <a:gd name="connsiteX10" fmla="*/ 495150 w 1008797"/>
                  <a:gd name="connsiteY10" fmla="*/ 221703 h 2186243"/>
                  <a:gd name="connsiteX11" fmla="*/ 552977 w 1008797"/>
                  <a:gd name="connsiteY11" fmla="*/ 242578 h 2186243"/>
                  <a:gd name="connsiteX12" fmla="*/ 585505 w 1008797"/>
                  <a:gd name="connsiteY12" fmla="*/ 307635 h 2186243"/>
                  <a:gd name="connsiteX13" fmla="*/ 589120 w 1008797"/>
                  <a:gd name="connsiteY13" fmla="*/ 376305 h 2186243"/>
                  <a:gd name="connsiteX14" fmla="*/ 571049 w 1008797"/>
                  <a:gd name="connsiteY14" fmla="*/ 405219 h 2186243"/>
                  <a:gd name="connsiteX15" fmla="*/ 599962 w 1008797"/>
                  <a:gd name="connsiteY15" fmla="*/ 459432 h 2186243"/>
                  <a:gd name="connsiteX16" fmla="*/ 605063 w 1008797"/>
                  <a:gd name="connsiteY16" fmla="*/ 521044 h 2186243"/>
                  <a:gd name="connsiteX17" fmla="*/ 673565 w 1008797"/>
                  <a:gd name="connsiteY17" fmla="*/ 584612 h 2186243"/>
                  <a:gd name="connsiteX18" fmla="*/ 679004 w 1008797"/>
                  <a:gd name="connsiteY18" fmla="*/ 649330 h 2186243"/>
                  <a:gd name="connsiteX19" fmla="*/ 751760 w 1008797"/>
                  <a:gd name="connsiteY19" fmla="*/ 670036 h 2186243"/>
                  <a:gd name="connsiteX20" fmla="*/ 782330 w 1008797"/>
                  <a:gd name="connsiteY20" fmla="*/ 729822 h 2186243"/>
                  <a:gd name="connsiteX21" fmla="*/ 842116 w 1008797"/>
                  <a:gd name="connsiteY21" fmla="*/ 742321 h 2186243"/>
                  <a:gd name="connsiteX22" fmla="*/ 845730 w 1008797"/>
                  <a:gd name="connsiteY22" fmla="*/ 784713 h 2186243"/>
                  <a:gd name="connsiteX23" fmla="*/ 824045 w 1008797"/>
                  <a:gd name="connsiteY23" fmla="*/ 842540 h 2186243"/>
                  <a:gd name="connsiteX24" fmla="*/ 849683 w 1008797"/>
                  <a:gd name="connsiteY24" fmla="*/ 910702 h 2186243"/>
                  <a:gd name="connsiteX25" fmla="*/ 896329 w 1008797"/>
                  <a:gd name="connsiteY25" fmla="*/ 958196 h 2186243"/>
                  <a:gd name="connsiteX26" fmla="*/ 867585 w 1008797"/>
                  <a:gd name="connsiteY26" fmla="*/ 997952 h 2186243"/>
                  <a:gd name="connsiteX27" fmla="*/ 899943 w 1008797"/>
                  <a:gd name="connsiteY27" fmla="*/ 1120836 h 2186243"/>
                  <a:gd name="connsiteX28" fmla="*/ 946928 w 1008797"/>
                  <a:gd name="connsiteY28" fmla="*/ 1156978 h 2186243"/>
                  <a:gd name="connsiteX29" fmla="*/ 965000 w 1008797"/>
                  <a:gd name="connsiteY29" fmla="*/ 1269019 h 2186243"/>
                  <a:gd name="connsiteX30" fmla="*/ 957771 w 1008797"/>
                  <a:gd name="connsiteY30" fmla="*/ 1312390 h 2186243"/>
                  <a:gd name="connsiteX31" fmla="*/ 1008370 w 1008797"/>
                  <a:gd name="connsiteY31" fmla="*/ 1467802 h 2186243"/>
                  <a:gd name="connsiteX32" fmla="*/ 983071 w 1008797"/>
                  <a:gd name="connsiteY32" fmla="*/ 1525630 h 2186243"/>
                  <a:gd name="connsiteX33" fmla="*/ 1001142 w 1008797"/>
                  <a:gd name="connsiteY33" fmla="*/ 1630442 h 2186243"/>
                  <a:gd name="connsiteX34" fmla="*/ 968614 w 1008797"/>
                  <a:gd name="connsiteY34" fmla="*/ 1662970 h 2186243"/>
                  <a:gd name="connsiteX35" fmla="*/ 867415 w 1008797"/>
                  <a:gd name="connsiteY35" fmla="*/ 1666585 h 2186243"/>
                  <a:gd name="connsiteX36" fmla="*/ 827659 w 1008797"/>
                  <a:gd name="connsiteY36" fmla="*/ 1746098 h 2186243"/>
                  <a:gd name="connsiteX37" fmla="*/ 737303 w 1008797"/>
                  <a:gd name="connsiteY37" fmla="*/ 1749712 h 2186243"/>
                  <a:gd name="connsiteX38" fmla="*/ 700126 w 1008797"/>
                  <a:gd name="connsiteY38" fmla="*/ 1891194 h 2186243"/>
                  <a:gd name="connsiteX39" fmla="*/ 609638 w 1008797"/>
                  <a:gd name="connsiteY39" fmla="*/ 1934057 h 2186243"/>
                  <a:gd name="connsiteX40" fmla="*/ 438188 w 1008797"/>
                  <a:gd name="connsiteY40" fmla="*/ 2057882 h 2186243"/>
                  <a:gd name="connsiteX41" fmla="*/ 392747 w 1008797"/>
                  <a:gd name="connsiteY41" fmla="*/ 2186243 h 2186243"/>
                  <a:gd name="connsiteX0" fmla="*/ 0 w 1008797"/>
                  <a:gd name="connsiteY0" fmla="*/ 148608 h 2186243"/>
                  <a:gd name="connsiteX1" fmla="*/ 61442 w 1008797"/>
                  <a:gd name="connsiteY1" fmla="*/ 112466 h 2186243"/>
                  <a:gd name="connsiteX2" fmla="*/ 90356 w 1008797"/>
                  <a:gd name="connsiteY2" fmla="*/ 54638 h 2186243"/>
                  <a:gd name="connsiteX3" fmla="*/ 133727 w 1008797"/>
                  <a:gd name="connsiteY3" fmla="*/ 425 h 2186243"/>
                  <a:gd name="connsiteX4" fmla="*/ 225231 w 1008797"/>
                  <a:gd name="connsiteY4" fmla="*/ 29000 h 2186243"/>
                  <a:gd name="connsiteX5" fmla="*/ 277317 w 1008797"/>
                  <a:gd name="connsiteY5" fmla="*/ 21941 h 2186243"/>
                  <a:gd name="connsiteX6" fmla="*/ 301955 w 1008797"/>
                  <a:gd name="connsiteY6" fmla="*/ 47968 h 2186243"/>
                  <a:gd name="connsiteX7" fmla="*/ 343521 w 1008797"/>
                  <a:gd name="connsiteY7" fmla="*/ 73520 h 2186243"/>
                  <a:gd name="connsiteX8" fmla="*/ 384426 w 1008797"/>
                  <a:gd name="connsiteY8" fmla="*/ 121822 h 2186243"/>
                  <a:gd name="connsiteX9" fmla="*/ 441105 w 1008797"/>
                  <a:gd name="connsiteY9" fmla="*/ 184412 h 2186243"/>
                  <a:gd name="connsiteX10" fmla="*/ 495150 w 1008797"/>
                  <a:gd name="connsiteY10" fmla="*/ 221703 h 2186243"/>
                  <a:gd name="connsiteX11" fmla="*/ 552977 w 1008797"/>
                  <a:gd name="connsiteY11" fmla="*/ 242578 h 2186243"/>
                  <a:gd name="connsiteX12" fmla="*/ 585505 w 1008797"/>
                  <a:gd name="connsiteY12" fmla="*/ 307635 h 2186243"/>
                  <a:gd name="connsiteX13" fmla="*/ 589120 w 1008797"/>
                  <a:gd name="connsiteY13" fmla="*/ 376305 h 2186243"/>
                  <a:gd name="connsiteX14" fmla="*/ 571049 w 1008797"/>
                  <a:gd name="connsiteY14" fmla="*/ 405219 h 2186243"/>
                  <a:gd name="connsiteX15" fmla="*/ 599962 w 1008797"/>
                  <a:gd name="connsiteY15" fmla="*/ 459432 h 2186243"/>
                  <a:gd name="connsiteX16" fmla="*/ 605063 w 1008797"/>
                  <a:gd name="connsiteY16" fmla="*/ 521044 h 2186243"/>
                  <a:gd name="connsiteX17" fmla="*/ 673565 w 1008797"/>
                  <a:gd name="connsiteY17" fmla="*/ 584612 h 2186243"/>
                  <a:gd name="connsiteX18" fmla="*/ 679004 w 1008797"/>
                  <a:gd name="connsiteY18" fmla="*/ 649330 h 2186243"/>
                  <a:gd name="connsiteX19" fmla="*/ 751760 w 1008797"/>
                  <a:gd name="connsiteY19" fmla="*/ 670036 h 2186243"/>
                  <a:gd name="connsiteX20" fmla="*/ 782330 w 1008797"/>
                  <a:gd name="connsiteY20" fmla="*/ 729822 h 2186243"/>
                  <a:gd name="connsiteX21" fmla="*/ 842116 w 1008797"/>
                  <a:gd name="connsiteY21" fmla="*/ 742321 h 2186243"/>
                  <a:gd name="connsiteX22" fmla="*/ 845730 w 1008797"/>
                  <a:gd name="connsiteY22" fmla="*/ 784713 h 2186243"/>
                  <a:gd name="connsiteX23" fmla="*/ 824045 w 1008797"/>
                  <a:gd name="connsiteY23" fmla="*/ 842540 h 2186243"/>
                  <a:gd name="connsiteX24" fmla="*/ 849683 w 1008797"/>
                  <a:gd name="connsiteY24" fmla="*/ 910702 h 2186243"/>
                  <a:gd name="connsiteX25" fmla="*/ 896329 w 1008797"/>
                  <a:gd name="connsiteY25" fmla="*/ 958196 h 2186243"/>
                  <a:gd name="connsiteX26" fmla="*/ 898065 w 1008797"/>
                  <a:gd name="connsiteY26" fmla="*/ 1020812 h 2186243"/>
                  <a:gd name="connsiteX27" fmla="*/ 899943 w 1008797"/>
                  <a:gd name="connsiteY27" fmla="*/ 1120836 h 2186243"/>
                  <a:gd name="connsiteX28" fmla="*/ 946928 w 1008797"/>
                  <a:gd name="connsiteY28" fmla="*/ 1156978 h 2186243"/>
                  <a:gd name="connsiteX29" fmla="*/ 965000 w 1008797"/>
                  <a:gd name="connsiteY29" fmla="*/ 1269019 h 2186243"/>
                  <a:gd name="connsiteX30" fmla="*/ 957771 w 1008797"/>
                  <a:gd name="connsiteY30" fmla="*/ 1312390 h 2186243"/>
                  <a:gd name="connsiteX31" fmla="*/ 1008370 w 1008797"/>
                  <a:gd name="connsiteY31" fmla="*/ 1467802 h 2186243"/>
                  <a:gd name="connsiteX32" fmla="*/ 983071 w 1008797"/>
                  <a:gd name="connsiteY32" fmla="*/ 1525630 h 2186243"/>
                  <a:gd name="connsiteX33" fmla="*/ 1001142 w 1008797"/>
                  <a:gd name="connsiteY33" fmla="*/ 1630442 h 2186243"/>
                  <a:gd name="connsiteX34" fmla="*/ 968614 w 1008797"/>
                  <a:gd name="connsiteY34" fmla="*/ 1662970 h 2186243"/>
                  <a:gd name="connsiteX35" fmla="*/ 867415 w 1008797"/>
                  <a:gd name="connsiteY35" fmla="*/ 1666585 h 2186243"/>
                  <a:gd name="connsiteX36" fmla="*/ 827659 w 1008797"/>
                  <a:gd name="connsiteY36" fmla="*/ 1746098 h 2186243"/>
                  <a:gd name="connsiteX37" fmla="*/ 737303 w 1008797"/>
                  <a:gd name="connsiteY37" fmla="*/ 1749712 h 2186243"/>
                  <a:gd name="connsiteX38" fmla="*/ 700126 w 1008797"/>
                  <a:gd name="connsiteY38" fmla="*/ 1891194 h 2186243"/>
                  <a:gd name="connsiteX39" fmla="*/ 609638 w 1008797"/>
                  <a:gd name="connsiteY39" fmla="*/ 1934057 h 2186243"/>
                  <a:gd name="connsiteX40" fmla="*/ 438188 w 1008797"/>
                  <a:gd name="connsiteY40" fmla="*/ 2057882 h 2186243"/>
                  <a:gd name="connsiteX41" fmla="*/ 392747 w 1008797"/>
                  <a:gd name="connsiteY41" fmla="*/ 2186243 h 21862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1008797" h="2186243">
                    <a:moveTo>
                      <a:pt x="0" y="148608"/>
                    </a:moveTo>
                    <a:cubicBezTo>
                      <a:pt x="23191" y="138368"/>
                      <a:pt x="46383" y="128128"/>
                      <a:pt x="61442" y="112466"/>
                    </a:cubicBezTo>
                    <a:cubicBezTo>
                      <a:pt x="76501" y="96804"/>
                      <a:pt x="78309" y="73311"/>
                      <a:pt x="90356" y="54638"/>
                    </a:cubicBezTo>
                    <a:cubicBezTo>
                      <a:pt x="102403" y="35965"/>
                      <a:pt x="111248" y="4698"/>
                      <a:pt x="133727" y="425"/>
                    </a:cubicBezTo>
                    <a:cubicBezTo>
                      <a:pt x="156206" y="-3848"/>
                      <a:pt x="201299" y="25414"/>
                      <a:pt x="225231" y="29000"/>
                    </a:cubicBezTo>
                    <a:cubicBezTo>
                      <a:pt x="249163" y="32586"/>
                      <a:pt x="264530" y="18780"/>
                      <a:pt x="277317" y="21941"/>
                    </a:cubicBezTo>
                    <a:cubicBezTo>
                      <a:pt x="290104" y="25102"/>
                      <a:pt x="291715" y="42547"/>
                      <a:pt x="301955" y="47968"/>
                    </a:cubicBezTo>
                    <a:cubicBezTo>
                      <a:pt x="312195" y="53389"/>
                      <a:pt x="329776" y="61211"/>
                      <a:pt x="343521" y="73520"/>
                    </a:cubicBezTo>
                    <a:cubicBezTo>
                      <a:pt x="357266" y="85829"/>
                      <a:pt x="368162" y="103340"/>
                      <a:pt x="384426" y="121822"/>
                    </a:cubicBezTo>
                    <a:cubicBezTo>
                      <a:pt x="400690" y="140304"/>
                      <a:pt x="422651" y="167765"/>
                      <a:pt x="441105" y="184412"/>
                    </a:cubicBezTo>
                    <a:cubicBezTo>
                      <a:pt x="459559" y="201059"/>
                      <a:pt x="476505" y="212009"/>
                      <a:pt x="495150" y="221703"/>
                    </a:cubicBezTo>
                    <a:cubicBezTo>
                      <a:pt x="513795" y="231397"/>
                      <a:pt x="537918" y="228256"/>
                      <a:pt x="552977" y="242578"/>
                    </a:cubicBezTo>
                    <a:cubicBezTo>
                      <a:pt x="568036" y="256900"/>
                      <a:pt x="579481" y="285347"/>
                      <a:pt x="585505" y="307635"/>
                    </a:cubicBezTo>
                    <a:cubicBezTo>
                      <a:pt x="591529" y="329923"/>
                      <a:pt x="591529" y="360041"/>
                      <a:pt x="589120" y="376305"/>
                    </a:cubicBezTo>
                    <a:cubicBezTo>
                      <a:pt x="586711" y="392569"/>
                      <a:pt x="569242" y="391365"/>
                      <a:pt x="571049" y="405219"/>
                    </a:cubicBezTo>
                    <a:cubicBezTo>
                      <a:pt x="572856" y="419073"/>
                      <a:pt x="594293" y="440128"/>
                      <a:pt x="599962" y="459432"/>
                    </a:cubicBezTo>
                    <a:cubicBezTo>
                      <a:pt x="605631" y="478736"/>
                      <a:pt x="592796" y="500181"/>
                      <a:pt x="605063" y="521044"/>
                    </a:cubicBezTo>
                    <a:cubicBezTo>
                      <a:pt x="617330" y="541907"/>
                      <a:pt x="661242" y="563231"/>
                      <a:pt x="673565" y="584612"/>
                    </a:cubicBezTo>
                    <a:cubicBezTo>
                      <a:pt x="685888" y="605993"/>
                      <a:pt x="665972" y="635093"/>
                      <a:pt x="679004" y="649330"/>
                    </a:cubicBezTo>
                    <a:cubicBezTo>
                      <a:pt x="692036" y="663567"/>
                      <a:pt x="734539" y="656621"/>
                      <a:pt x="751760" y="670036"/>
                    </a:cubicBezTo>
                    <a:cubicBezTo>
                      <a:pt x="768981" y="683451"/>
                      <a:pt x="767271" y="717775"/>
                      <a:pt x="782330" y="729822"/>
                    </a:cubicBezTo>
                    <a:cubicBezTo>
                      <a:pt x="797389" y="741869"/>
                      <a:pt x="831549" y="733173"/>
                      <a:pt x="842116" y="742321"/>
                    </a:cubicBezTo>
                    <a:cubicBezTo>
                      <a:pt x="852683" y="751470"/>
                      <a:pt x="848742" y="768010"/>
                      <a:pt x="845730" y="784713"/>
                    </a:cubicBezTo>
                    <a:cubicBezTo>
                      <a:pt x="842718" y="801416"/>
                      <a:pt x="823386" y="821542"/>
                      <a:pt x="824045" y="842540"/>
                    </a:cubicBezTo>
                    <a:cubicBezTo>
                      <a:pt x="824704" y="863538"/>
                      <a:pt x="837636" y="891426"/>
                      <a:pt x="849683" y="910702"/>
                    </a:cubicBezTo>
                    <a:cubicBezTo>
                      <a:pt x="861730" y="929978"/>
                      <a:pt x="888265" y="939844"/>
                      <a:pt x="896329" y="958196"/>
                    </a:cubicBezTo>
                    <a:cubicBezTo>
                      <a:pt x="904393" y="976548"/>
                      <a:pt x="897463" y="993705"/>
                      <a:pt x="898065" y="1020812"/>
                    </a:cubicBezTo>
                    <a:cubicBezTo>
                      <a:pt x="898667" y="1047919"/>
                      <a:pt x="891799" y="1098142"/>
                      <a:pt x="899943" y="1120836"/>
                    </a:cubicBezTo>
                    <a:cubicBezTo>
                      <a:pt x="908087" y="1143530"/>
                      <a:pt x="936085" y="1132281"/>
                      <a:pt x="946928" y="1156978"/>
                    </a:cubicBezTo>
                    <a:cubicBezTo>
                      <a:pt x="957771" y="1181675"/>
                      <a:pt x="963193" y="1243117"/>
                      <a:pt x="965000" y="1269019"/>
                    </a:cubicBezTo>
                    <a:cubicBezTo>
                      <a:pt x="966807" y="1294921"/>
                      <a:pt x="950543" y="1279260"/>
                      <a:pt x="957771" y="1312390"/>
                    </a:cubicBezTo>
                    <a:cubicBezTo>
                      <a:pt x="964999" y="1345520"/>
                      <a:pt x="1004153" y="1432262"/>
                      <a:pt x="1008370" y="1467802"/>
                    </a:cubicBezTo>
                    <a:cubicBezTo>
                      <a:pt x="1012587" y="1503342"/>
                      <a:pt x="984276" y="1498523"/>
                      <a:pt x="983071" y="1525630"/>
                    </a:cubicBezTo>
                    <a:cubicBezTo>
                      <a:pt x="981866" y="1552737"/>
                      <a:pt x="1003551" y="1607552"/>
                      <a:pt x="1001142" y="1630442"/>
                    </a:cubicBezTo>
                    <a:cubicBezTo>
                      <a:pt x="998733" y="1653332"/>
                      <a:pt x="990902" y="1656946"/>
                      <a:pt x="968614" y="1662970"/>
                    </a:cubicBezTo>
                    <a:cubicBezTo>
                      <a:pt x="946326" y="1668994"/>
                      <a:pt x="890907" y="1652730"/>
                      <a:pt x="867415" y="1666585"/>
                    </a:cubicBezTo>
                    <a:cubicBezTo>
                      <a:pt x="843923" y="1680440"/>
                      <a:pt x="849344" y="1732244"/>
                      <a:pt x="827659" y="1746098"/>
                    </a:cubicBezTo>
                    <a:cubicBezTo>
                      <a:pt x="805974" y="1759952"/>
                      <a:pt x="758559" y="1725529"/>
                      <a:pt x="737303" y="1749712"/>
                    </a:cubicBezTo>
                    <a:cubicBezTo>
                      <a:pt x="716048" y="1773895"/>
                      <a:pt x="719816" y="1858089"/>
                      <a:pt x="700126" y="1891194"/>
                    </a:cubicBezTo>
                    <a:cubicBezTo>
                      <a:pt x="680436" y="1924299"/>
                      <a:pt x="653294" y="1906276"/>
                      <a:pt x="609638" y="1934057"/>
                    </a:cubicBezTo>
                    <a:cubicBezTo>
                      <a:pt x="565982" y="1961838"/>
                      <a:pt x="475924" y="2018232"/>
                      <a:pt x="438188" y="2057882"/>
                    </a:cubicBezTo>
                    <a:cubicBezTo>
                      <a:pt x="442674" y="2140162"/>
                      <a:pt x="409052" y="2164056"/>
                      <a:pt x="392747" y="2186243"/>
                    </a:cubicBezTo>
                  </a:path>
                </a:pathLst>
              </a:custGeom>
              <a:noFill/>
              <a:ln w="15875" cmpd="sng">
                <a:solidFill>
                  <a:srgbClr val="00B050"/>
                </a:solidFill>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42" name="Freeform 41"/>
              <p:cNvSpPr/>
              <p:nvPr/>
            </p:nvSpPr>
            <p:spPr>
              <a:xfrm>
                <a:off x="1859805" y="4297916"/>
                <a:ext cx="1885983" cy="145524"/>
              </a:xfrm>
              <a:custGeom>
                <a:avLst/>
                <a:gdLst>
                  <a:gd name="connsiteX0" fmla="*/ 0 w 2761271"/>
                  <a:gd name="connsiteY0" fmla="*/ 212817 h 212817"/>
                  <a:gd name="connsiteX1" fmla="*/ 57828 w 2761271"/>
                  <a:gd name="connsiteY1" fmla="*/ 201974 h 212817"/>
                  <a:gd name="connsiteX2" fmla="*/ 144569 w 2761271"/>
                  <a:gd name="connsiteY2" fmla="*/ 180289 h 212817"/>
                  <a:gd name="connsiteX3" fmla="*/ 234925 w 2761271"/>
                  <a:gd name="connsiteY3" fmla="*/ 144147 h 212817"/>
                  <a:gd name="connsiteX4" fmla="*/ 354194 w 2761271"/>
                  <a:gd name="connsiteY4" fmla="*/ 136918 h 212817"/>
                  <a:gd name="connsiteX5" fmla="*/ 397565 w 2761271"/>
                  <a:gd name="connsiteY5" fmla="*/ 108004 h 212817"/>
                  <a:gd name="connsiteX6" fmla="*/ 513220 w 2761271"/>
                  <a:gd name="connsiteY6" fmla="*/ 64634 h 212817"/>
                  <a:gd name="connsiteX7" fmla="*/ 614419 w 2761271"/>
                  <a:gd name="connsiteY7" fmla="*/ 71862 h 212817"/>
                  <a:gd name="connsiteX8" fmla="*/ 679475 w 2761271"/>
                  <a:gd name="connsiteY8" fmla="*/ 100776 h 212817"/>
                  <a:gd name="connsiteX9" fmla="*/ 766217 w 2761271"/>
                  <a:gd name="connsiteY9" fmla="*/ 86319 h 212817"/>
                  <a:gd name="connsiteX10" fmla="*/ 838501 w 2761271"/>
                  <a:gd name="connsiteY10" fmla="*/ 86319 h 212817"/>
                  <a:gd name="connsiteX11" fmla="*/ 925243 w 2761271"/>
                  <a:gd name="connsiteY11" fmla="*/ 126076 h 212817"/>
                  <a:gd name="connsiteX12" fmla="*/ 1015598 w 2761271"/>
                  <a:gd name="connsiteY12" fmla="*/ 115233 h 212817"/>
                  <a:gd name="connsiteX13" fmla="*/ 1178239 w 2761271"/>
                  <a:gd name="connsiteY13" fmla="*/ 162218 h 212817"/>
                  <a:gd name="connsiteX14" fmla="*/ 1279437 w 2761271"/>
                  <a:gd name="connsiteY14" fmla="*/ 162218 h 212817"/>
                  <a:gd name="connsiteX15" fmla="*/ 1344493 w 2761271"/>
                  <a:gd name="connsiteY15" fmla="*/ 183903 h 212817"/>
                  <a:gd name="connsiteX16" fmla="*/ 1416778 w 2761271"/>
                  <a:gd name="connsiteY16" fmla="*/ 173061 h 212817"/>
                  <a:gd name="connsiteX17" fmla="*/ 1449306 w 2761271"/>
                  <a:gd name="connsiteY17" fmla="*/ 194746 h 212817"/>
                  <a:gd name="connsiteX18" fmla="*/ 1561347 w 2761271"/>
                  <a:gd name="connsiteY18" fmla="*/ 144147 h 212817"/>
                  <a:gd name="connsiteX19" fmla="*/ 1604718 w 2761271"/>
                  <a:gd name="connsiteY19" fmla="*/ 86319 h 212817"/>
                  <a:gd name="connsiteX20" fmla="*/ 1662545 w 2761271"/>
                  <a:gd name="connsiteY20" fmla="*/ 100776 h 212817"/>
                  <a:gd name="connsiteX21" fmla="*/ 1695073 w 2761271"/>
                  <a:gd name="connsiteY21" fmla="*/ 133304 h 212817"/>
                  <a:gd name="connsiteX22" fmla="*/ 1763744 w 2761271"/>
                  <a:gd name="connsiteY22" fmla="*/ 126076 h 212817"/>
                  <a:gd name="connsiteX23" fmla="*/ 1789043 w 2761271"/>
                  <a:gd name="connsiteY23" fmla="*/ 93548 h 212817"/>
                  <a:gd name="connsiteX24" fmla="*/ 1836028 w 2761271"/>
                  <a:gd name="connsiteY24" fmla="*/ 108004 h 212817"/>
                  <a:gd name="connsiteX25" fmla="*/ 1948069 w 2761271"/>
                  <a:gd name="connsiteY25" fmla="*/ 71862 h 212817"/>
                  <a:gd name="connsiteX26" fmla="*/ 2060111 w 2761271"/>
                  <a:gd name="connsiteY26" fmla="*/ 64634 h 212817"/>
                  <a:gd name="connsiteX27" fmla="*/ 2117938 w 2761271"/>
                  <a:gd name="connsiteY27" fmla="*/ 89933 h 212817"/>
                  <a:gd name="connsiteX28" fmla="*/ 2190223 w 2761271"/>
                  <a:gd name="connsiteY28" fmla="*/ 79091 h 212817"/>
                  <a:gd name="connsiteX29" fmla="*/ 2222751 w 2761271"/>
                  <a:gd name="connsiteY29" fmla="*/ 32106 h 212817"/>
                  <a:gd name="connsiteX30" fmla="*/ 2342020 w 2761271"/>
                  <a:gd name="connsiteY30" fmla="*/ 53791 h 212817"/>
                  <a:gd name="connsiteX31" fmla="*/ 2414305 w 2761271"/>
                  <a:gd name="connsiteY31" fmla="*/ 6806 h 212817"/>
                  <a:gd name="connsiteX32" fmla="*/ 2468518 w 2761271"/>
                  <a:gd name="connsiteY32" fmla="*/ 6806 h 212817"/>
                  <a:gd name="connsiteX33" fmla="*/ 2566103 w 2761271"/>
                  <a:gd name="connsiteY33" fmla="*/ 68248 h 212817"/>
                  <a:gd name="connsiteX34" fmla="*/ 2638387 w 2761271"/>
                  <a:gd name="connsiteY34" fmla="*/ 82705 h 212817"/>
                  <a:gd name="connsiteX35" fmla="*/ 2649230 w 2761271"/>
                  <a:gd name="connsiteY35" fmla="*/ 122461 h 212817"/>
                  <a:gd name="connsiteX36" fmla="*/ 2714286 w 2761271"/>
                  <a:gd name="connsiteY36" fmla="*/ 140532 h 212817"/>
                  <a:gd name="connsiteX37" fmla="*/ 2761271 w 2761271"/>
                  <a:gd name="connsiteY37" fmla="*/ 162218 h 212817"/>
                  <a:gd name="connsiteX0" fmla="*/ 0 w 2761271"/>
                  <a:gd name="connsiteY0" fmla="*/ 212817 h 212817"/>
                  <a:gd name="connsiteX1" fmla="*/ 57828 w 2761271"/>
                  <a:gd name="connsiteY1" fmla="*/ 201974 h 212817"/>
                  <a:gd name="connsiteX2" fmla="*/ 144569 w 2761271"/>
                  <a:gd name="connsiteY2" fmla="*/ 180289 h 212817"/>
                  <a:gd name="connsiteX3" fmla="*/ 234925 w 2761271"/>
                  <a:gd name="connsiteY3" fmla="*/ 144147 h 212817"/>
                  <a:gd name="connsiteX4" fmla="*/ 354194 w 2761271"/>
                  <a:gd name="connsiteY4" fmla="*/ 136918 h 212817"/>
                  <a:gd name="connsiteX5" fmla="*/ 397565 w 2761271"/>
                  <a:gd name="connsiteY5" fmla="*/ 108004 h 212817"/>
                  <a:gd name="connsiteX6" fmla="*/ 513220 w 2761271"/>
                  <a:gd name="connsiteY6" fmla="*/ 64634 h 212817"/>
                  <a:gd name="connsiteX7" fmla="*/ 614419 w 2761271"/>
                  <a:gd name="connsiteY7" fmla="*/ 71862 h 212817"/>
                  <a:gd name="connsiteX8" fmla="*/ 679475 w 2761271"/>
                  <a:gd name="connsiteY8" fmla="*/ 100776 h 212817"/>
                  <a:gd name="connsiteX9" fmla="*/ 766217 w 2761271"/>
                  <a:gd name="connsiteY9" fmla="*/ 86319 h 212817"/>
                  <a:gd name="connsiteX10" fmla="*/ 838501 w 2761271"/>
                  <a:gd name="connsiteY10" fmla="*/ 86319 h 212817"/>
                  <a:gd name="connsiteX11" fmla="*/ 925243 w 2761271"/>
                  <a:gd name="connsiteY11" fmla="*/ 126076 h 212817"/>
                  <a:gd name="connsiteX12" fmla="*/ 1015598 w 2761271"/>
                  <a:gd name="connsiteY12" fmla="*/ 115233 h 212817"/>
                  <a:gd name="connsiteX13" fmla="*/ 1178239 w 2761271"/>
                  <a:gd name="connsiteY13" fmla="*/ 162218 h 212817"/>
                  <a:gd name="connsiteX14" fmla="*/ 1279437 w 2761271"/>
                  <a:gd name="connsiteY14" fmla="*/ 162218 h 212817"/>
                  <a:gd name="connsiteX15" fmla="*/ 1344493 w 2761271"/>
                  <a:gd name="connsiteY15" fmla="*/ 183903 h 212817"/>
                  <a:gd name="connsiteX16" fmla="*/ 1416778 w 2761271"/>
                  <a:gd name="connsiteY16" fmla="*/ 173061 h 212817"/>
                  <a:gd name="connsiteX17" fmla="*/ 1449306 w 2761271"/>
                  <a:gd name="connsiteY17" fmla="*/ 194746 h 212817"/>
                  <a:gd name="connsiteX18" fmla="*/ 1561347 w 2761271"/>
                  <a:gd name="connsiteY18" fmla="*/ 144147 h 212817"/>
                  <a:gd name="connsiteX19" fmla="*/ 1604718 w 2761271"/>
                  <a:gd name="connsiteY19" fmla="*/ 86319 h 212817"/>
                  <a:gd name="connsiteX20" fmla="*/ 1662545 w 2761271"/>
                  <a:gd name="connsiteY20" fmla="*/ 100776 h 212817"/>
                  <a:gd name="connsiteX21" fmla="*/ 1695073 w 2761271"/>
                  <a:gd name="connsiteY21" fmla="*/ 133304 h 212817"/>
                  <a:gd name="connsiteX22" fmla="*/ 1763744 w 2761271"/>
                  <a:gd name="connsiteY22" fmla="*/ 126076 h 212817"/>
                  <a:gd name="connsiteX23" fmla="*/ 1789043 w 2761271"/>
                  <a:gd name="connsiteY23" fmla="*/ 93548 h 212817"/>
                  <a:gd name="connsiteX24" fmla="*/ 1836028 w 2761271"/>
                  <a:gd name="connsiteY24" fmla="*/ 108004 h 212817"/>
                  <a:gd name="connsiteX25" fmla="*/ 1948069 w 2761271"/>
                  <a:gd name="connsiteY25" fmla="*/ 71862 h 212817"/>
                  <a:gd name="connsiteX26" fmla="*/ 2060111 w 2761271"/>
                  <a:gd name="connsiteY26" fmla="*/ 64634 h 212817"/>
                  <a:gd name="connsiteX27" fmla="*/ 2117938 w 2761271"/>
                  <a:gd name="connsiteY27" fmla="*/ 89933 h 212817"/>
                  <a:gd name="connsiteX28" fmla="*/ 2190223 w 2761271"/>
                  <a:gd name="connsiteY28" fmla="*/ 79091 h 212817"/>
                  <a:gd name="connsiteX29" fmla="*/ 2222751 w 2761271"/>
                  <a:gd name="connsiteY29" fmla="*/ 42949 h 212817"/>
                  <a:gd name="connsiteX30" fmla="*/ 2342020 w 2761271"/>
                  <a:gd name="connsiteY30" fmla="*/ 53791 h 212817"/>
                  <a:gd name="connsiteX31" fmla="*/ 2414305 w 2761271"/>
                  <a:gd name="connsiteY31" fmla="*/ 6806 h 212817"/>
                  <a:gd name="connsiteX32" fmla="*/ 2468518 w 2761271"/>
                  <a:gd name="connsiteY32" fmla="*/ 6806 h 212817"/>
                  <a:gd name="connsiteX33" fmla="*/ 2566103 w 2761271"/>
                  <a:gd name="connsiteY33" fmla="*/ 68248 h 212817"/>
                  <a:gd name="connsiteX34" fmla="*/ 2638387 w 2761271"/>
                  <a:gd name="connsiteY34" fmla="*/ 82705 h 212817"/>
                  <a:gd name="connsiteX35" fmla="*/ 2649230 w 2761271"/>
                  <a:gd name="connsiteY35" fmla="*/ 122461 h 212817"/>
                  <a:gd name="connsiteX36" fmla="*/ 2714286 w 2761271"/>
                  <a:gd name="connsiteY36" fmla="*/ 140532 h 212817"/>
                  <a:gd name="connsiteX37" fmla="*/ 2761271 w 2761271"/>
                  <a:gd name="connsiteY37" fmla="*/ 162218 h 212817"/>
                  <a:gd name="connsiteX0" fmla="*/ 0 w 2754921"/>
                  <a:gd name="connsiteY0" fmla="*/ 212817 h 212817"/>
                  <a:gd name="connsiteX1" fmla="*/ 57828 w 2754921"/>
                  <a:gd name="connsiteY1" fmla="*/ 201974 h 212817"/>
                  <a:gd name="connsiteX2" fmla="*/ 144569 w 2754921"/>
                  <a:gd name="connsiteY2" fmla="*/ 180289 h 212817"/>
                  <a:gd name="connsiteX3" fmla="*/ 234925 w 2754921"/>
                  <a:gd name="connsiteY3" fmla="*/ 144147 h 212817"/>
                  <a:gd name="connsiteX4" fmla="*/ 354194 w 2754921"/>
                  <a:gd name="connsiteY4" fmla="*/ 136918 h 212817"/>
                  <a:gd name="connsiteX5" fmla="*/ 397565 w 2754921"/>
                  <a:gd name="connsiteY5" fmla="*/ 108004 h 212817"/>
                  <a:gd name="connsiteX6" fmla="*/ 513220 w 2754921"/>
                  <a:gd name="connsiteY6" fmla="*/ 64634 h 212817"/>
                  <a:gd name="connsiteX7" fmla="*/ 614419 w 2754921"/>
                  <a:gd name="connsiteY7" fmla="*/ 71862 h 212817"/>
                  <a:gd name="connsiteX8" fmla="*/ 679475 w 2754921"/>
                  <a:gd name="connsiteY8" fmla="*/ 100776 h 212817"/>
                  <a:gd name="connsiteX9" fmla="*/ 766217 w 2754921"/>
                  <a:gd name="connsiteY9" fmla="*/ 86319 h 212817"/>
                  <a:gd name="connsiteX10" fmla="*/ 838501 w 2754921"/>
                  <a:gd name="connsiteY10" fmla="*/ 86319 h 212817"/>
                  <a:gd name="connsiteX11" fmla="*/ 925243 w 2754921"/>
                  <a:gd name="connsiteY11" fmla="*/ 126076 h 212817"/>
                  <a:gd name="connsiteX12" fmla="*/ 1015598 w 2754921"/>
                  <a:gd name="connsiteY12" fmla="*/ 115233 h 212817"/>
                  <a:gd name="connsiteX13" fmla="*/ 1178239 w 2754921"/>
                  <a:gd name="connsiteY13" fmla="*/ 162218 h 212817"/>
                  <a:gd name="connsiteX14" fmla="*/ 1279437 w 2754921"/>
                  <a:gd name="connsiteY14" fmla="*/ 162218 h 212817"/>
                  <a:gd name="connsiteX15" fmla="*/ 1344493 w 2754921"/>
                  <a:gd name="connsiteY15" fmla="*/ 183903 h 212817"/>
                  <a:gd name="connsiteX16" fmla="*/ 1416778 w 2754921"/>
                  <a:gd name="connsiteY16" fmla="*/ 173061 h 212817"/>
                  <a:gd name="connsiteX17" fmla="*/ 1449306 w 2754921"/>
                  <a:gd name="connsiteY17" fmla="*/ 194746 h 212817"/>
                  <a:gd name="connsiteX18" fmla="*/ 1561347 w 2754921"/>
                  <a:gd name="connsiteY18" fmla="*/ 144147 h 212817"/>
                  <a:gd name="connsiteX19" fmla="*/ 1604718 w 2754921"/>
                  <a:gd name="connsiteY19" fmla="*/ 86319 h 212817"/>
                  <a:gd name="connsiteX20" fmla="*/ 1662545 w 2754921"/>
                  <a:gd name="connsiteY20" fmla="*/ 100776 h 212817"/>
                  <a:gd name="connsiteX21" fmla="*/ 1695073 w 2754921"/>
                  <a:gd name="connsiteY21" fmla="*/ 133304 h 212817"/>
                  <a:gd name="connsiteX22" fmla="*/ 1763744 w 2754921"/>
                  <a:gd name="connsiteY22" fmla="*/ 126076 h 212817"/>
                  <a:gd name="connsiteX23" fmla="*/ 1789043 w 2754921"/>
                  <a:gd name="connsiteY23" fmla="*/ 93548 h 212817"/>
                  <a:gd name="connsiteX24" fmla="*/ 1836028 w 2754921"/>
                  <a:gd name="connsiteY24" fmla="*/ 108004 h 212817"/>
                  <a:gd name="connsiteX25" fmla="*/ 1948069 w 2754921"/>
                  <a:gd name="connsiteY25" fmla="*/ 71862 h 212817"/>
                  <a:gd name="connsiteX26" fmla="*/ 2060111 w 2754921"/>
                  <a:gd name="connsiteY26" fmla="*/ 64634 h 212817"/>
                  <a:gd name="connsiteX27" fmla="*/ 2117938 w 2754921"/>
                  <a:gd name="connsiteY27" fmla="*/ 89933 h 212817"/>
                  <a:gd name="connsiteX28" fmla="*/ 2190223 w 2754921"/>
                  <a:gd name="connsiteY28" fmla="*/ 79091 h 212817"/>
                  <a:gd name="connsiteX29" fmla="*/ 2222751 w 2754921"/>
                  <a:gd name="connsiteY29" fmla="*/ 42949 h 212817"/>
                  <a:gd name="connsiteX30" fmla="*/ 2342020 w 2754921"/>
                  <a:gd name="connsiteY30" fmla="*/ 53791 h 212817"/>
                  <a:gd name="connsiteX31" fmla="*/ 2414305 w 2754921"/>
                  <a:gd name="connsiteY31" fmla="*/ 6806 h 212817"/>
                  <a:gd name="connsiteX32" fmla="*/ 2468518 w 2754921"/>
                  <a:gd name="connsiteY32" fmla="*/ 6806 h 212817"/>
                  <a:gd name="connsiteX33" fmla="*/ 2566103 w 2754921"/>
                  <a:gd name="connsiteY33" fmla="*/ 68248 h 212817"/>
                  <a:gd name="connsiteX34" fmla="*/ 2638387 w 2754921"/>
                  <a:gd name="connsiteY34" fmla="*/ 82705 h 212817"/>
                  <a:gd name="connsiteX35" fmla="*/ 2649230 w 2754921"/>
                  <a:gd name="connsiteY35" fmla="*/ 122461 h 212817"/>
                  <a:gd name="connsiteX36" fmla="*/ 2714286 w 2754921"/>
                  <a:gd name="connsiteY36" fmla="*/ 140532 h 212817"/>
                  <a:gd name="connsiteX37" fmla="*/ 2754921 w 2754921"/>
                  <a:gd name="connsiteY37" fmla="*/ 174918 h 212817"/>
                  <a:gd name="connsiteX0" fmla="*/ 0 w 2754921"/>
                  <a:gd name="connsiteY0" fmla="*/ 212817 h 212817"/>
                  <a:gd name="connsiteX1" fmla="*/ 57828 w 2754921"/>
                  <a:gd name="connsiteY1" fmla="*/ 201974 h 212817"/>
                  <a:gd name="connsiteX2" fmla="*/ 144569 w 2754921"/>
                  <a:gd name="connsiteY2" fmla="*/ 180289 h 212817"/>
                  <a:gd name="connsiteX3" fmla="*/ 234925 w 2754921"/>
                  <a:gd name="connsiteY3" fmla="*/ 144147 h 212817"/>
                  <a:gd name="connsiteX4" fmla="*/ 354194 w 2754921"/>
                  <a:gd name="connsiteY4" fmla="*/ 136918 h 212817"/>
                  <a:gd name="connsiteX5" fmla="*/ 397565 w 2754921"/>
                  <a:gd name="connsiteY5" fmla="*/ 108004 h 212817"/>
                  <a:gd name="connsiteX6" fmla="*/ 513220 w 2754921"/>
                  <a:gd name="connsiteY6" fmla="*/ 64634 h 212817"/>
                  <a:gd name="connsiteX7" fmla="*/ 614419 w 2754921"/>
                  <a:gd name="connsiteY7" fmla="*/ 71862 h 212817"/>
                  <a:gd name="connsiteX8" fmla="*/ 679475 w 2754921"/>
                  <a:gd name="connsiteY8" fmla="*/ 100776 h 212817"/>
                  <a:gd name="connsiteX9" fmla="*/ 766217 w 2754921"/>
                  <a:gd name="connsiteY9" fmla="*/ 86319 h 212817"/>
                  <a:gd name="connsiteX10" fmla="*/ 838501 w 2754921"/>
                  <a:gd name="connsiteY10" fmla="*/ 86319 h 212817"/>
                  <a:gd name="connsiteX11" fmla="*/ 925243 w 2754921"/>
                  <a:gd name="connsiteY11" fmla="*/ 126076 h 212817"/>
                  <a:gd name="connsiteX12" fmla="*/ 1015598 w 2754921"/>
                  <a:gd name="connsiteY12" fmla="*/ 115233 h 212817"/>
                  <a:gd name="connsiteX13" fmla="*/ 1178239 w 2754921"/>
                  <a:gd name="connsiteY13" fmla="*/ 162218 h 212817"/>
                  <a:gd name="connsiteX14" fmla="*/ 1279437 w 2754921"/>
                  <a:gd name="connsiteY14" fmla="*/ 162218 h 212817"/>
                  <a:gd name="connsiteX15" fmla="*/ 1344493 w 2754921"/>
                  <a:gd name="connsiteY15" fmla="*/ 183903 h 212817"/>
                  <a:gd name="connsiteX16" fmla="*/ 1416778 w 2754921"/>
                  <a:gd name="connsiteY16" fmla="*/ 173061 h 212817"/>
                  <a:gd name="connsiteX17" fmla="*/ 1449306 w 2754921"/>
                  <a:gd name="connsiteY17" fmla="*/ 194746 h 212817"/>
                  <a:gd name="connsiteX18" fmla="*/ 1561347 w 2754921"/>
                  <a:gd name="connsiteY18" fmla="*/ 144147 h 212817"/>
                  <a:gd name="connsiteX19" fmla="*/ 1604718 w 2754921"/>
                  <a:gd name="connsiteY19" fmla="*/ 86319 h 212817"/>
                  <a:gd name="connsiteX20" fmla="*/ 1662545 w 2754921"/>
                  <a:gd name="connsiteY20" fmla="*/ 100776 h 212817"/>
                  <a:gd name="connsiteX21" fmla="*/ 1695073 w 2754921"/>
                  <a:gd name="connsiteY21" fmla="*/ 133304 h 212817"/>
                  <a:gd name="connsiteX22" fmla="*/ 1763744 w 2754921"/>
                  <a:gd name="connsiteY22" fmla="*/ 126076 h 212817"/>
                  <a:gd name="connsiteX23" fmla="*/ 1789043 w 2754921"/>
                  <a:gd name="connsiteY23" fmla="*/ 93548 h 212817"/>
                  <a:gd name="connsiteX24" fmla="*/ 1836028 w 2754921"/>
                  <a:gd name="connsiteY24" fmla="*/ 108004 h 212817"/>
                  <a:gd name="connsiteX25" fmla="*/ 1948069 w 2754921"/>
                  <a:gd name="connsiteY25" fmla="*/ 71862 h 212817"/>
                  <a:gd name="connsiteX26" fmla="*/ 2060111 w 2754921"/>
                  <a:gd name="connsiteY26" fmla="*/ 64634 h 212817"/>
                  <a:gd name="connsiteX27" fmla="*/ 2117938 w 2754921"/>
                  <a:gd name="connsiteY27" fmla="*/ 89933 h 212817"/>
                  <a:gd name="connsiteX28" fmla="*/ 2190223 w 2754921"/>
                  <a:gd name="connsiteY28" fmla="*/ 79091 h 212817"/>
                  <a:gd name="connsiteX29" fmla="*/ 2222751 w 2754921"/>
                  <a:gd name="connsiteY29" fmla="*/ 42949 h 212817"/>
                  <a:gd name="connsiteX30" fmla="*/ 2342020 w 2754921"/>
                  <a:gd name="connsiteY30" fmla="*/ 53791 h 212817"/>
                  <a:gd name="connsiteX31" fmla="*/ 2414305 w 2754921"/>
                  <a:gd name="connsiteY31" fmla="*/ 6806 h 212817"/>
                  <a:gd name="connsiteX32" fmla="*/ 2468518 w 2754921"/>
                  <a:gd name="connsiteY32" fmla="*/ 6806 h 212817"/>
                  <a:gd name="connsiteX33" fmla="*/ 2566103 w 2754921"/>
                  <a:gd name="connsiteY33" fmla="*/ 68248 h 212817"/>
                  <a:gd name="connsiteX34" fmla="*/ 2638387 w 2754921"/>
                  <a:gd name="connsiteY34" fmla="*/ 82705 h 212817"/>
                  <a:gd name="connsiteX35" fmla="*/ 2674630 w 2754921"/>
                  <a:gd name="connsiteY35" fmla="*/ 144686 h 212817"/>
                  <a:gd name="connsiteX36" fmla="*/ 2714286 w 2754921"/>
                  <a:gd name="connsiteY36" fmla="*/ 140532 h 212817"/>
                  <a:gd name="connsiteX37" fmla="*/ 2754921 w 2754921"/>
                  <a:gd name="connsiteY37" fmla="*/ 174918 h 212817"/>
                  <a:gd name="connsiteX0" fmla="*/ 0 w 2754921"/>
                  <a:gd name="connsiteY0" fmla="*/ 212817 h 212817"/>
                  <a:gd name="connsiteX1" fmla="*/ 57828 w 2754921"/>
                  <a:gd name="connsiteY1" fmla="*/ 201974 h 212817"/>
                  <a:gd name="connsiteX2" fmla="*/ 144569 w 2754921"/>
                  <a:gd name="connsiteY2" fmla="*/ 180289 h 212817"/>
                  <a:gd name="connsiteX3" fmla="*/ 234925 w 2754921"/>
                  <a:gd name="connsiteY3" fmla="*/ 144147 h 212817"/>
                  <a:gd name="connsiteX4" fmla="*/ 354194 w 2754921"/>
                  <a:gd name="connsiteY4" fmla="*/ 136918 h 212817"/>
                  <a:gd name="connsiteX5" fmla="*/ 397565 w 2754921"/>
                  <a:gd name="connsiteY5" fmla="*/ 108004 h 212817"/>
                  <a:gd name="connsiteX6" fmla="*/ 513220 w 2754921"/>
                  <a:gd name="connsiteY6" fmla="*/ 64634 h 212817"/>
                  <a:gd name="connsiteX7" fmla="*/ 614419 w 2754921"/>
                  <a:gd name="connsiteY7" fmla="*/ 71862 h 212817"/>
                  <a:gd name="connsiteX8" fmla="*/ 679475 w 2754921"/>
                  <a:gd name="connsiteY8" fmla="*/ 100776 h 212817"/>
                  <a:gd name="connsiteX9" fmla="*/ 766217 w 2754921"/>
                  <a:gd name="connsiteY9" fmla="*/ 86319 h 212817"/>
                  <a:gd name="connsiteX10" fmla="*/ 838501 w 2754921"/>
                  <a:gd name="connsiteY10" fmla="*/ 86319 h 212817"/>
                  <a:gd name="connsiteX11" fmla="*/ 925243 w 2754921"/>
                  <a:gd name="connsiteY11" fmla="*/ 126076 h 212817"/>
                  <a:gd name="connsiteX12" fmla="*/ 1015598 w 2754921"/>
                  <a:gd name="connsiteY12" fmla="*/ 115233 h 212817"/>
                  <a:gd name="connsiteX13" fmla="*/ 1178239 w 2754921"/>
                  <a:gd name="connsiteY13" fmla="*/ 162218 h 212817"/>
                  <a:gd name="connsiteX14" fmla="*/ 1279437 w 2754921"/>
                  <a:gd name="connsiteY14" fmla="*/ 162218 h 212817"/>
                  <a:gd name="connsiteX15" fmla="*/ 1344493 w 2754921"/>
                  <a:gd name="connsiteY15" fmla="*/ 183903 h 212817"/>
                  <a:gd name="connsiteX16" fmla="*/ 1416778 w 2754921"/>
                  <a:gd name="connsiteY16" fmla="*/ 173061 h 212817"/>
                  <a:gd name="connsiteX17" fmla="*/ 1449306 w 2754921"/>
                  <a:gd name="connsiteY17" fmla="*/ 194746 h 212817"/>
                  <a:gd name="connsiteX18" fmla="*/ 1561347 w 2754921"/>
                  <a:gd name="connsiteY18" fmla="*/ 144147 h 212817"/>
                  <a:gd name="connsiteX19" fmla="*/ 1604718 w 2754921"/>
                  <a:gd name="connsiteY19" fmla="*/ 86319 h 212817"/>
                  <a:gd name="connsiteX20" fmla="*/ 1662545 w 2754921"/>
                  <a:gd name="connsiteY20" fmla="*/ 100776 h 212817"/>
                  <a:gd name="connsiteX21" fmla="*/ 1695073 w 2754921"/>
                  <a:gd name="connsiteY21" fmla="*/ 133304 h 212817"/>
                  <a:gd name="connsiteX22" fmla="*/ 1763744 w 2754921"/>
                  <a:gd name="connsiteY22" fmla="*/ 126076 h 212817"/>
                  <a:gd name="connsiteX23" fmla="*/ 1789043 w 2754921"/>
                  <a:gd name="connsiteY23" fmla="*/ 93548 h 212817"/>
                  <a:gd name="connsiteX24" fmla="*/ 1836028 w 2754921"/>
                  <a:gd name="connsiteY24" fmla="*/ 108004 h 212817"/>
                  <a:gd name="connsiteX25" fmla="*/ 1948069 w 2754921"/>
                  <a:gd name="connsiteY25" fmla="*/ 71862 h 212817"/>
                  <a:gd name="connsiteX26" fmla="*/ 2060111 w 2754921"/>
                  <a:gd name="connsiteY26" fmla="*/ 64634 h 212817"/>
                  <a:gd name="connsiteX27" fmla="*/ 2117938 w 2754921"/>
                  <a:gd name="connsiteY27" fmla="*/ 89933 h 212817"/>
                  <a:gd name="connsiteX28" fmla="*/ 2190223 w 2754921"/>
                  <a:gd name="connsiteY28" fmla="*/ 79091 h 212817"/>
                  <a:gd name="connsiteX29" fmla="*/ 2222751 w 2754921"/>
                  <a:gd name="connsiteY29" fmla="*/ 42949 h 212817"/>
                  <a:gd name="connsiteX30" fmla="*/ 2342020 w 2754921"/>
                  <a:gd name="connsiteY30" fmla="*/ 53791 h 212817"/>
                  <a:gd name="connsiteX31" fmla="*/ 2414305 w 2754921"/>
                  <a:gd name="connsiteY31" fmla="*/ 6806 h 212817"/>
                  <a:gd name="connsiteX32" fmla="*/ 2468518 w 2754921"/>
                  <a:gd name="connsiteY32" fmla="*/ 6806 h 212817"/>
                  <a:gd name="connsiteX33" fmla="*/ 2566103 w 2754921"/>
                  <a:gd name="connsiteY33" fmla="*/ 68248 h 212817"/>
                  <a:gd name="connsiteX34" fmla="*/ 2638387 w 2754921"/>
                  <a:gd name="connsiteY34" fmla="*/ 82705 h 212817"/>
                  <a:gd name="connsiteX35" fmla="*/ 2674630 w 2754921"/>
                  <a:gd name="connsiteY35" fmla="*/ 144686 h 212817"/>
                  <a:gd name="connsiteX36" fmla="*/ 2714286 w 2754921"/>
                  <a:gd name="connsiteY36" fmla="*/ 140532 h 212817"/>
                  <a:gd name="connsiteX37" fmla="*/ 2725050 w 2754921"/>
                  <a:gd name="connsiteY37" fmla="*/ 174748 h 212817"/>
                  <a:gd name="connsiteX38" fmla="*/ 2754921 w 2754921"/>
                  <a:gd name="connsiteY38" fmla="*/ 174918 h 212817"/>
                  <a:gd name="connsiteX0" fmla="*/ 0 w 2754921"/>
                  <a:gd name="connsiteY0" fmla="*/ 212817 h 212817"/>
                  <a:gd name="connsiteX1" fmla="*/ 57828 w 2754921"/>
                  <a:gd name="connsiteY1" fmla="*/ 201974 h 212817"/>
                  <a:gd name="connsiteX2" fmla="*/ 144569 w 2754921"/>
                  <a:gd name="connsiteY2" fmla="*/ 180289 h 212817"/>
                  <a:gd name="connsiteX3" fmla="*/ 234925 w 2754921"/>
                  <a:gd name="connsiteY3" fmla="*/ 144147 h 212817"/>
                  <a:gd name="connsiteX4" fmla="*/ 354194 w 2754921"/>
                  <a:gd name="connsiteY4" fmla="*/ 136918 h 212817"/>
                  <a:gd name="connsiteX5" fmla="*/ 397565 w 2754921"/>
                  <a:gd name="connsiteY5" fmla="*/ 108004 h 212817"/>
                  <a:gd name="connsiteX6" fmla="*/ 513220 w 2754921"/>
                  <a:gd name="connsiteY6" fmla="*/ 64634 h 212817"/>
                  <a:gd name="connsiteX7" fmla="*/ 614419 w 2754921"/>
                  <a:gd name="connsiteY7" fmla="*/ 71862 h 212817"/>
                  <a:gd name="connsiteX8" fmla="*/ 679475 w 2754921"/>
                  <a:gd name="connsiteY8" fmla="*/ 100776 h 212817"/>
                  <a:gd name="connsiteX9" fmla="*/ 766217 w 2754921"/>
                  <a:gd name="connsiteY9" fmla="*/ 86319 h 212817"/>
                  <a:gd name="connsiteX10" fmla="*/ 838501 w 2754921"/>
                  <a:gd name="connsiteY10" fmla="*/ 86319 h 212817"/>
                  <a:gd name="connsiteX11" fmla="*/ 925243 w 2754921"/>
                  <a:gd name="connsiteY11" fmla="*/ 126076 h 212817"/>
                  <a:gd name="connsiteX12" fmla="*/ 1015598 w 2754921"/>
                  <a:gd name="connsiteY12" fmla="*/ 115233 h 212817"/>
                  <a:gd name="connsiteX13" fmla="*/ 1178239 w 2754921"/>
                  <a:gd name="connsiteY13" fmla="*/ 162218 h 212817"/>
                  <a:gd name="connsiteX14" fmla="*/ 1279437 w 2754921"/>
                  <a:gd name="connsiteY14" fmla="*/ 162218 h 212817"/>
                  <a:gd name="connsiteX15" fmla="*/ 1344493 w 2754921"/>
                  <a:gd name="connsiteY15" fmla="*/ 183903 h 212817"/>
                  <a:gd name="connsiteX16" fmla="*/ 1416778 w 2754921"/>
                  <a:gd name="connsiteY16" fmla="*/ 173061 h 212817"/>
                  <a:gd name="connsiteX17" fmla="*/ 1449306 w 2754921"/>
                  <a:gd name="connsiteY17" fmla="*/ 194746 h 212817"/>
                  <a:gd name="connsiteX18" fmla="*/ 1561347 w 2754921"/>
                  <a:gd name="connsiteY18" fmla="*/ 144147 h 212817"/>
                  <a:gd name="connsiteX19" fmla="*/ 1604718 w 2754921"/>
                  <a:gd name="connsiteY19" fmla="*/ 86319 h 212817"/>
                  <a:gd name="connsiteX20" fmla="*/ 1662545 w 2754921"/>
                  <a:gd name="connsiteY20" fmla="*/ 100776 h 212817"/>
                  <a:gd name="connsiteX21" fmla="*/ 1695073 w 2754921"/>
                  <a:gd name="connsiteY21" fmla="*/ 133304 h 212817"/>
                  <a:gd name="connsiteX22" fmla="*/ 1763744 w 2754921"/>
                  <a:gd name="connsiteY22" fmla="*/ 126076 h 212817"/>
                  <a:gd name="connsiteX23" fmla="*/ 1789043 w 2754921"/>
                  <a:gd name="connsiteY23" fmla="*/ 93548 h 212817"/>
                  <a:gd name="connsiteX24" fmla="*/ 1836028 w 2754921"/>
                  <a:gd name="connsiteY24" fmla="*/ 108004 h 212817"/>
                  <a:gd name="connsiteX25" fmla="*/ 1948069 w 2754921"/>
                  <a:gd name="connsiteY25" fmla="*/ 71862 h 212817"/>
                  <a:gd name="connsiteX26" fmla="*/ 2060111 w 2754921"/>
                  <a:gd name="connsiteY26" fmla="*/ 64634 h 212817"/>
                  <a:gd name="connsiteX27" fmla="*/ 2117938 w 2754921"/>
                  <a:gd name="connsiteY27" fmla="*/ 89933 h 212817"/>
                  <a:gd name="connsiteX28" fmla="*/ 2190223 w 2754921"/>
                  <a:gd name="connsiteY28" fmla="*/ 79091 h 212817"/>
                  <a:gd name="connsiteX29" fmla="*/ 2222751 w 2754921"/>
                  <a:gd name="connsiteY29" fmla="*/ 42949 h 212817"/>
                  <a:gd name="connsiteX30" fmla="*/ 2342020 w 2754921"/>
                  <a:gd name="connsiteY30" fmla="*/ 53791 h 212817"/>
                  <a:gd name="connsiteX31" fmla="*/ 2414305 w 2754921"/>
                  <a:gd name="connsiteY31" fmla="*/ 6806 h 212817"/>
                  <a:gd name="connsiteX32" fmla="*/ 2468518 w 2754921"/>
                  <a:gd name="connsiteY32" fmla="*/ 6806 h 212817"/>
                  <a:gd name="connsiteX33" fmla="*/ 2566103 w 2754921"/>
                  <a:gd name="connsiteY33" fmla="*/ 68248 h 212817"/>
                  <a:gd name="connsiteX34" fmla="*/ 2638387 w 2754921"/>
                  <a:gd name="connsiteY34" fmla="*/ 82705 h 212817"/>
                  <a:gd name="connsiteX35" fmla="*/ 2674630 w 2754921"/>
                  <a:gd name="connsiteY35" fmla="*/ 144686 h 212817"/>
                  <a:gd name="connsiteX36" fmla="*/ 2704761 w 2754921"/>
                  <a:gd name="connsiteY36" fmla="*/ 150057 h 212817"/>
                  <a:gd name="connsiteX37" fmla="*/ 2725050 w 2754921"/>
                  <a:gd name="connsiteY37" fmla="*/ 174748 h 212817"/>
                  <a:gd name="connsiteX38" fmla="*/ 2754921 w 2754921"/>
                  <a:gd name="connsiteY38" fmla="*/ 174918 h 212817"/>
                  <a:gd name="connsiteX0" fmla="*/ 0 w 2754921"/>
                  <a:gd name="connsiteY0" fmla="*/ 212817 h 212817"/>
                  <a:gd name="connsiteX1" fmla="*/ 57828 w 2754921"/>
                  <a:gd name="connsiteY1" fmla="*/ 201974 h 212817"/>
                  <a:gd name="connsiteX2" fmla="*/ 144569 w 2754921"/>
                  <a:gd name="connsiteY2" fmla="*/ 180289 h 212817"/>
                  <a:gd name="connsiteX3" fmla="*/ 234925 w 2754921"/>
                  <a:gd name="connsiteY3" fmla="*/ 144147 h 212817"/>
                  <a:gd name="connsiteX4" fmla="*/ 354194 w 2754921"/>
                  <a:gd name="connsiteY4" fmla="*/ 136918 h 212817"/>
                  <a:gd name="connsiteX5" fmla="*/ 397565 w 2754921"/>
                  <a:gd name="connsiteY5" fmla="*/ 108004 h 212817"/>
                  <a:gd name="connsiteX6" fmla="*/ 513220 w 2754921"/>
                  <a:gd name="connsiteY6" fmla="*/ 64634 h 212817"/>
                  <a:gd name="connsiteX7" fmla="*/ 614419 w 2754921"/>
                  <a:gd name="connsiteY7" fmla="*/ 71862 h 212817"/>
                  <a:gd name="connsiteX8" fmla="*/ 679475 w 2754921"/>
                  <a:gd name="connsiteY8" fmla="*/ 100776 h 212817"/>
                  <a:gd name="connsiteX9" fmla="*/ 766217 w 2754921"/>
                  <a:gd name="connsiteY9" fmla="*/ 86319 h 212817"/>
                  <a:gd name="connsiteX10" fmla="*/ 838501 w 2754921"/>
                  <a:gd name="connsiteY10" fmla="*/ 86319 h 212817"/>
                  <a:gd name="connsiteX11" fmla="*/ 925243 w 2754921"/>
                  <a:gd name="connsiteY11" fmla="*/ 126076 h 212817"/>
                  <a:gd name="connsiteX12" fmla="*/ 1015598 w 2754921"/>
                  <a:gd name="connsiteY12" fmla="*/ 115233 h 212817"/>
                  <a:gd name="connsiteX13" fmla="*/ 1178239 w 2754921"/>
                  <a:gd name="connsiteY13" fmla="*/ 162218 h 212817"/>
                  <a:gd name="connsiteX14" fmla="*/ 1279437 w 2754921"/>
                  <a:gd name="connsiteY14" fmla="*/ 162218 h 212817"/>
                  <a:gd name="connsiteX15" fmla="*/ 1344493 w 2754921"/>
                  <a:gd name="connsiteY15" fmla="*/ 183903 h 212817"/>
                  <a:gd name="connsiteX16" fmla="*/ 1416778 w 2754921"/>
                  <a:gd name="connsiteY16" fmla="*/ 173061 h 212817"/>
                  <a:gd name="connsiteX17" fmla="*/ 1449306 w 2754921"/>
                  <a:gd name="connsiteY17" fmla="*/ 194746 h 212817"/>
                  <a:gd name="connsiteX18" fmla="*/ 1561347 w 2754921"/>
                  <a:gd name="connsiteY18" fmla="*/ 144147 h 212817"/>
                  <a:gd name="connsiteX19" fmla="*/ 1604718 w 2754921"/>
                  <a:gd name="connsiteY19" fmla="*/ 86319 h 212817"/>
                  <a:gd name="connsiteX20" fmla="*/ 1662545 w 2754921"/>
                  <a:gd name="connsiteY20" fmla="*/ 100776 h 212817"/>
                  <a:gd name="connsiteX21" fmla="*/ 1695073 w 2754921"/>
                  <a:gd name="connsiteY21" fmla="*/ 133304 h 212817"/>
                  <a:gd name="connsiteX22" fmla="*/ 1763744 w 2754921"/>
                  <a:gd name="connsiteY22" fmla="*/ 126076 h 212817"/>
                  <a:gd name="connsiteX23" fmla="*/ 1789043 w 2754921"/>
                  <a:gd name="connsiteY23" fmla="*/ 93548 h 212817"/>
                  <a:gd name="connsiteX24" fmla="*/ 1836028 w 2754921"/>
                  <a:gd name="connsiteY24" fmla="*/ 108004 h 212817"/>
                  <a:gd name="connsiteX25" fmla="*/ 1948069 w 2754921"/>
                  <a:gd name="connsiteY25" fmla="*/ 71862 h 212817"/>
                  <a:gd name="connsiteX26" fmla="*/ 2060111 w 2754921"/>
                  <a:gd name="connsiteY26" fmla="*/ 64634 h 212817"/>
                  <a:gd name="connsiteX27" fmla="*/ 2117938 w 2754921"/>
                  <a:gd name="connsiteY27" fmla="*/ 89933 h 212817"/>
                  <a:gd name="connsiteX28" fmla="*/ 2190223 w 2754921"/>
                  <a:gd name="connsiteY28" fmla="*/ 79091 h 212817"/>
                  <a:gd name="connsiteX29" fmla="*/ 2222751 w 2754921"/>
                  <a:gd name="connsiteY29" fmla="*/ 42949 h 212817"/>
                  <a:gd name="connsiteX30" fmla="*/ 2342020 w 2754921"/>
                  <a:gd name="connsiteY30" fmla="*/ 53791 h 212817"/>
                  <a:gd name="connsiteX31" fmla="*/ 2414305 w 2754921"/>
                  <a:gd name="connsiteY31" fmla="*/ 6806 h 212817"/>
                  <a:gd name="connsiteX32" fmla="*/ 2468518 w 2754921"/>
                  <a:gd name="connsiteY32" fmla="*/ 6806 h 212817"/>
                  <a:gd name="connsiteX33" fmla="*/ 2566103 w 2754921"/>
                  <a:gd name="connsiteY33" fmla="*/ 68248 h 212817"/>
                  <a:gd name="connsiteX34" fmla="*/ 2670137 w 2754921"/>
                  <a:gd name="connsiteY34" fmla="*/ 108105 h 212817"/>
                  <a:gd name="connsiteX35" fmla="*/ 2674630 w 2754921"/>
                  <a:gd name="connsiteY35" fmla="*/ 144686 h 212817"/>
                  <a:gd name="connsiteX36" fmla="*/ 2704761 w 2754921"/>
                  <a:gd name="connsiteY36" fmla="*/ 150057 h 212817"/>
                  <a:gd name="connsiteX37" fmla="*/ 2725050 w 2754921"/>
                  <a:gd name="connsiteY37" fmla="*/ 174748 h 212817"/>
                  <a:gd name="connsiteX38" fmla="*/ 2754921 w 2754921"/>
                  <a:gd name="connsiteY38" fmla="*/ 174918 h 212817"/>
                  <a:gd name="connsiteX0" fmla="*/ 0 w 2758096"/>
                  <a:gd name="connsiteY0" fmla="*/ 212817 h 212817"/>
                  <a:gd name="connsiteX1" fmla="*/ 57828 w 2758096"/>
                  <a:gd name="connsiteY1" fmla="*/ 201974 h 212817"/>
                  <a:gd name="connsiteX2" fmla="*/ 144569 w 2758096"/>
                  <a:gd name="connsiteY2" fmla="*/ 180289 h 212817"/>
                  <a:gd name="connsiteX3" fmla="*/ 234925 w 2758096"/>
                  <a:gd name="connsiteY3" fmla="*/ 144147 h 212817"/>
                  <a:gd name="connsiteX4" fmla="*/ 354194 w 2758096"/>
                  <a:gd name="connsiteY4" fmla="*/ 136918 h 212817"/>
                  <a:gd name="connsiteX5" fmla="*/ 397565 w 2758096"/>
                  <a:gd name="connsiteY5" fmla="*/ 108004 h 212817"/>
                  <a:gd name="connsiteX6" fmla="*/ 513220 w 2758096"/>
                  <a:gd name="connsiteY6" fmla="*/ 64634 h 212817"/>
                  <a:gd name="connsiteX7" fmla="*/ 614419 w 2758096"/>
                  <a:gd name="connsiteY7" fmla="*/ 71862 h 212817"/>
                  <a:gd name="connsiteX8" fmla="*/ 679475 w 2758096"/>
                  <a:gd name="connsiteY8" fmla="*/ 100776 h 212817"/>
                  <a:gd name="connsiteX9" fmla="*/ 766217 w 2758096"/>
                  <a:gd name="connsiteY9" fmla="*/ 86319 h 212817"/>
                  <a:gd name="connsiteX10" fmla="*/ 838501 w 2758096"/>
                  <a:gd name="connsiteY10" fmla="*/ 86319 h 212817"/>
                  <a:gd name="connsiteX11" fmla="*/ 925243 w 2758096"/>
                  <a:gd name="connsiteY11" fmla="*/ 126076 h 212817"/>
                  <a:gd name="connsiteX12" fmla="*/ 1015598 w 2758096"/>
                  <a:gd name="connsiteY12" fmla="*/ 115233 h 212817"/>
                  <a:gd name="connsiteX13" fmla="*/ 1178239 w 2758096"/>
                  <a:gd name="connsiteY13" fmla="*/ 162218 h 212817"/>
                  <a:gd name="connsiteX14" fmla="*/ 1279437 w 2758096"/>
                  <a:gd name="connsiteY14" fmla="*/ 162218 h 212817"/>
                  <a:gd name="connsiteX15" fmla="*/ 1344493 w 2758096"/>
                  <a:gd name="connsiteY15" fmla="*/ 183903 h 212817"/>
                  <a:gd name="connsiteX16" fmla="*/ 1416778 w 2758096"/>
                  <a:gd name="connsiteY16" fmla="*/ 173061 h 212817"/>
                  <a:gd name="connsiteX17" fmla="*/ 1449306 w 2758096"/>
                  <a:gd name="connsiteY17" fmla="*/ 194746 h 212817"/>
                  <a:gd name="connsiteX18" fmla="*/ 1561347 w 2758096"/>
                  <a:gd name="connsiteY18" fmla="*/ 144147 h 212817"/>
                  <a:gd name="connsiteX19" fmla="*/ 1604718 w 2758096"/>
                  <a:gd name="connsiteY19" fmla="*/ 86319 h 212817"/>
                  <a:gd name="connsiteX20" fmla="*/ 1662545 w 2758096"/>
                  <a:gd name="connsiteY20" fmla="*/ 100776 h 212817"/>
                  <a:gd name="connsiteX21" fmla="*/ 1695073 w 2758096"/>
                  <a:gd name="connsiteY21" fmla="*/ 133304 h 212817"/>
                  <a:gd name="connsiteX22" fmla="*/ 1763744 w 2758096"/>
                  <a:gd name="connsiteY22" fmla="*/ 126076 h 212817"/>
                  <a:gd name="connsiteX23" fmla="*/ 1789043 w 2758096"/>
                  <a:gd name="connsiteY23" fmla="*/ 93548 h 212817"/>
                  <a:gd name="connsiteX24" fmla="*/ 1836028 w 2758096"/>
                  <a:gd name="connsiteY24" fmla="*/ 108004 h 212817"/>
                  <a:gd name="connsiteX25" fmla="*/ 1948069 w 2758096"/>
                  <a:gd name="connsiteY25" fmla="*/ 71862 h 212817"/>
                  <a:gd name="connsiteX26" fmla="*/ 2060111 w 2758096"/>
                  <a:gd name="connsiteY26" fmla="*/ 64634 h 212817"/>
                  <a:gd name="connsiteX27" fmla="*/ 2117938 w 2758096"/>
                  <a:gd name="connsiteY27" fmla="*/ 89933 h 212817"/>
                  <a:gd name="connsiteX28" fmla="*/ 2190223 w 2758096"/>
                  <a:gd name="connsiteY28" fmla="*/ 79091 h 212817"/>
                  <a:gd name="connsiteX29" fmla="*/ 2222751 w 2758096"/>
                  <a:gd name="connsiteY29" fmla="*/ 42949 h 212817"/>
                  <a:gd name="connsiteX30" fmla="*/ 2342020 w 2758096"/>
                  <a:gd name="connsiteY30" fmla="*/ 53791 h 212817"/>
                  <a:gd name="connsiteX31" fmla="*/ 2414305 w 2758096"/>
                  <a:gd name="connsiteY31" fmla="*/ 6806 h 212817"/>
                  <a:gd name="connsiteX32" fmla="*/ 2468518 w 2758096"/>
                  <a:gd name="connsiteY32" fmla="*/ 6806 h 212817"/>
                  <a:gd name="connsiteX33" fmla="*/ 2566103 w 2758096"/>
                  <a:gd name="connsiteY33" fmla="*/ 68248 h 212817"/>
                  <a:gd name="connsiteX34" fmla="*/ 2670137 w 2758096"/>
                  <a:gd name="connsiteY34" fmla="*/ 108105 h 212817"/>
                  <a:gd name="connsiteX35" fmla="*/ 2674630 w 2758096"/>
                  <a:gd name="connsiteY35" fmla="*/ 144686 h 212817"/>
                  <a:gd name="connsiteX36" fmla="*/ 2704761 w 2758096"/>
                  <a:gd name="connsiteY36" fmla="*/ 150057 h 212817"/>
                  <a:gd name="connsiteX37" fmla="*/ 2725050 w 2758096"/>
                  <a:gd name="connsiteY37" fmla="*/ 174748 h 212817"/>
                  <a:gd name="connsiteX38" fmla="*/ 2758096 w 2758096"/>
                  <a:gd name="connsiteY38" fmla="*/ 181268 h 2128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2758096" h="212817">
                    <a:moveTo>
                      <a:pt x="0" y="212817"/>
                    </a:moveTo>
                    <a:cubicBezTo>
                      <a:pt x="16866" y="210106"/>
                      <a:pt x="33733" y="207395"/>
                      <a:pt x="57828" y="201974"/>
                    </a:cubicBezTo>
                    <a:cubicBezTo>
                      <a:pt x="81923" y="196553"/>
                      <a:pt x="115053" y="189927"/>
                      <a:pt x="144569" y="180289"/>
                    </a:cubicBezTo>
                    <a:cubicBezTo>
                      <a:pt x="174085" y="170651"/>
                      <a:pt x="199988" y="151375"/>
                      <a:pt x="234925" y="144147"/>
                    </a:cubicBezTo>
                    <a:cubicBezTo>
                      <a:pt x="269863" y="136918"/>
                      <a:pt x="327087" y="142942"/>
                      <a:pt x="354194" y="136918"/>
                    </a:cubicBezTo>
                    <a:cubicBezTo>
                      <a:pt x="381301" y="130894"/>
                      <a:pt x="371061" y="120051"/>
                      <a:pt x="397565" y="108004"/>
                    </a:cubicBezTo>
                    <a:cubicBezTo>
                      <a:pt x="424069" y="95957"/>
                      <a:pt x="477078" y="70658"/>
                      <a:pt x="513220" y="64634"/>
                    </a:cubicBezTo>
                    <a:cubicBezTo>
                      <a:pt x="549362" y="58610"/>
                      <a:pt x="586710" y="65838"/>
                      <a:pt x="614419" y="71862"/>
                    </a:cubicBezTo>
                    <a:cubicBezTo>
                      <a:pt x="642128" y="77886"/>
                      <a:pt x="654175" y="98366"/>
                      <a:pt x="679475" y="100776"/>
                    </a:cubicBezTo>
                    <a:cubicBezTo>
                      <a:pt x="704775" y="103185"/>
                      <a:pt x="739713" y="88728"/>
                      <a:pt x="766217" y="86319"/>
                    </a:cubicBezTo>
                    <a:cubicBezTo>
                      <a:pt x="792721" y="83910"/>
                      <a:pt x="811997" y="79693"/>
                      <a:pt x="838501" y="86319"/>
                    </a:cubicBezTo>
                    <a:cubicBezTo>
                      <a:pt x="865005" y="92945"/>
                      <a:pt x="895727" y="121257"/>
                      <a:pt x="925243" y="126076"/>
                    </a:cubicBezTo>
                    <a:cubicBezTo>
                      <a:pt x="954759" y="130895"/>
                      <a:pt x="973432" y="109209"/>
                      <a:pt x="1015598" y="115233"/>
                    </a:cubicBezTo>
                    <a:cubicBezTo>
                      <a:pt x="1057764" y="121257"/>
                      <a:pt x="1134266" y="154387"/>
                      <a:pt x="1178239" y="162218"/>
                    </a:cubicBezTo>
                    <a:cubicBezTo>
                      <a:pt x="1222212" y="170049"/>
                      <a:pt x="1251728" y="158604"/>
                      <a:pt x="1279437" y="162218"/>
                    </a:cubicBezTo>
                    <a:cubicBezTo>
                      <a:pt x="1307146" y="165832"/>
                      <a:pt x="1321603" y="182096"/>
                      <a:pt x="1344493" y="183903"/>
                    </a:cubicBezTo>
                    <a:cubicBezTo>
                      <a:pt x="1367383" y="185710"/>
                      <a:pt x="1399309" y="171254"/>
                      <a:pt x="1416778" y="173061"/>
                    </a:cubicBezTo>
                    <a:cubicBezTo>
                      <a:pt x="1434247" y="174868"/>
                      <a:pt x="1425211" y="199565"/>
                      <a:pt x="1449306" y="194746"/>
                    </a:cubicBezTo>
                    <a:cubicBezTo>
                      <a:pt x="1473401" y="189927"/>
                      <a:pt x="1535445" y="162218"/>
                      <a:pt x="1561347" y="144147"/>
                    </a:cubicBezTo>
                    <a:cubicBezTo>
                      <a:pt x="1587249" y="126076"/>
                      <a:pt x="1587852" y="93547"/>
                      <a:pt x="1604718" y="86319"/>
                    </a:cubicBezTo>
                    <a:cubicBezTo>
                      <a:pt x="1621584" y="79090"/>
                      <a:pt x="1647486" y="92945"/>
                      <a:pt x="1662545" y="100776"/>
                    </a:cubicBezTo>
                    <a:cubicBezTo>
                      <a:pt x="1677604" y="108607"/>
                      <a:pt x="1678207" y="129087"/>
                      <a:pt x="1695073" y="133304"/>
                    </a:cubicBezTo>
                    <a:cubicBezTo>
                      <a:pt x="1711940" y="137521"/>
                      <a:pt x="1748082" y="132702"/>
                      <a:pt x="1763744" y="126076"/>
                    </a:cubicBezTo>
                    <a:cubicBezTo>
                      <a:pt x="1779406" y="119450"/>
                      <a:pt x="1776996" y="96560"/>
                      <a:pt x="1789043" y="93548"/>
                    </a:cubicBezTo>
                    <a:cubicBezTo>
                      <a:pt x="1801090" y="90536"/>
                      <a:pt x="1809524" y="111618"/>
                      <a:pt x="1836028" y="108004"/>
                    </a:cubicBezTo>
                    <a:cubicBezTo>
                      <a:pt x="1862532" y="104390"/>
                      <a:pt x="1910722" y="79090"/>
                      <a:pt x="1948069" y="71862"/>
                    </a:cubicBezTo>
                    <a:cubicBezTo>
                      <a:pt x="1985416" y="64634"/>
                      <a:pt x="2031800" y="61622"/>
                      <a:pt x="2060111" y="64634"/>
                    </a:cubicBezTo>
                    <a:cubicBezTo>
                      <a:pt x="2088423" y="67646"/>
                      <a:pt x="2096253" y="87524"/>
                      <a:pt x="2117938" y="89933"/>
                    </a:cubicBezTo>
                    <a:cubicBezTo>
                      <a:pt x="2139623" y="92342"/>
                      <a:pt x="2172754" y="86922"/>
                      <a:pt x="2190223" y="79091"/>
                    </a:cubicBezTo>
                    <a:cubicBezTo>
                      <a:pt x="2207692" y="71260"/>
                      <a:pt x="2197452" y="47166"/>
                      <a:pt x="2222751" y="42949"/>
                    </a:cubicBezTo>
                    <a:cubicBezTo>
                      <a:pt x="2248050" y="38732"/>
                      <a:pt x="2310094" y="59815"/>
                      <a:pt x="2342020" y="53791"/>
                    </a:cubicBezTo>
                    <a:cubicBezTo>
                      <a:pt x="2373946" y="47767"/>
                      <a:pt x="2393222" y="14637"/>
                      <a:pt x="2414305" y="6806"/>
                    </a:cubicBezTo>
                    <a:cubicBezTo>
                      <a:pt x="2435388" y="-1025"/>
                      <a:pt x="2443218" y="-3434"/>
                      <a:pt x="2468518" y="6806"/>
                    </a:cubicBezTo>
                    <a:cubicBezTo>
                      <a:pt x="2493818" y="17046"/>
                      <a:pt x="2532500" y="51365"/>
                      <a:pt x="2566103" y="68248"/>
                    </a:cubicBezTo>
                    <a:cubicBezTo>
                      <a:pt x="2599706" y="85131"/>
                      <a:pt x="2652049" y="95365"/>
                      <a:pt x="2670137" y="108105"/>
                    </a:cubicBezTo>
                    <a:cubicBezTo>
                      <a:pt x="2688225" y="120845"/>
                      <a:pt x="2668859" y="137694"/>
                      <a:pt x="2674630" y="144686"/>
                    </a:cubicBezTo>
                    <a:cubicBezTo>
                      <a:pt x="2680401" y="151678"/>
                      <a:pt x="2696358" y="145047"/>
                      <a:pt x="2704761" y="150057"/>
                    </a:cubicBezTo>
                    <a:cubicBezTo>
                      <a:pt x="2713164" y="155067"/>
                      <a:pt x="2718278" y="169017"/>
                      <a:pt x="2725050" y="174748"/>
                    </a:cubicBezTo>
                    <a:cubicBezTo>
                      <a:pt x="2731822" y="180479"/>
                      <a:pt x="2753117" y="176477"/>
                      <a:pt x="2758096" y="181268"/>
                    </a:cubicBezTo>
                  </a:path>
                </a:pathLst>
              </a:custGeom>
              <a:noFill/>
              <a:ln w="15875" cmpd="sng">
                <a:solidFill>
                  <a:schemeClr val="tx2"/>
                </a:solidFill>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43" name="Freeform 42"/>
              <p:cNvSpPr/>
              <p:nvPr/>
            </p:nvSpPr>
            <p:spPr>
              <a:xfrm>
                <a:off x="1047027" y="2837265"/>
                <a:ext cx="832733" cy="1605205"/>
              </a:xfrm>
              <a:custGeom>
                <a:avLst/>
                <a:gdLst>
                  <a:gd name="connsiteX0" fmla="*/ 93863 w 855863"/>
                  <a:gd name="connsiteY0" fmla="*/ 0 h 2092325"/>
                  <a:gd name="connsiteX1" fmla="*/ 46238 w 855863"/>
                  <a:gd name="connsiteY1" fmla="*/ 98425 h 2092325"/>
                  <a:gd name="connsiteX2" fmla="*/ 4963 w 855863"/>
                  <a:gd name="connsiteY2" fmla="*/ 307975 h 2092325"/>
                  <a:gd name="connsiteX3" fmla="*/ 1788 w 855863"/>
                  <a:gd name="connsiteY3" fmla="*/ 346075 h 2092325"/>
                  <a:gd name="connsiteX4" fmla="*/ 14488 w 855863"/>
                  <a:gd name="connsiteY4" fmla="*/ 409575 h 2092325"/>
                  <a:gd name="connsiteX5" fmla="*/ 4963 w 855863"/>
                  <a:gd name="connsiteY5" fmla="*/ 542925 h 2092325"/>
                  <a:gd name="connsiteX6" fmla="*/ 43063 w 855863"/>
                  <a:gd name="connsiteY6" fmla="*/ 568325 h 2092325"/>
                  <a:gd name="connsiteX7" fmla="*/ 65288 w 855863"/>
                  <a:gd name="connsiteY7" fmla="*/ 615950 h 2092325"/>
                  <a:gd name="connsiteX8" fmla="*/ 141488 w 855863"/>
                  <a:gd name="connsiteY8" fmla="*/ 606425 h 2092325"/>
                  <a:gd name="connsiteX9" fmla="*/ 192288 w 855863"/>
                  <a:gd name="connsiteY9" fmla="*/ 615950 h 2092325"/>
                  <a:gd name="connsiteX10" fmla="*/ 271663 w 855863"/>
                  <a:gd name="connsiteY10" fmla="*/ 688975 h 2092325"/>
                  <a:gd name="connsiteX11" fmla="*/ 239913 w 855863"/>
                  <a:gd name="connsiteY11" fmla="*/ 762000 h 2092325"/>
                  <a:gd name="connsiteX12" fmla="*/ 163713 w 855863"/>
                  <a:gd name="connsiteY12" fmla="*/ 796925 h 2092325"/>
                  <a:gd name="connsiteX13" fmla="*/ 192288 w 855863"/>
                  <a:gd name="connsiteY13" fmla="*/ 838200 h 2092325"/>
                  <a:gd name="connsiteX14" fmla="*/ 163713 w 855863"/>
                  <a:gd name="connsiteY14" fmla="*/ 889000 h 2092325"/>
                  <a:gd name="connsiteX15" fmla="*/ 220863 w 855863"/>
                  <a:gd name="connsiteY15" fmla="*/ 904875 h 2092325"/>
                  <a:gd name="connsiteX16" fmla="*/ 284363 w 855863"/>
                  <a:gd name="connsiteY16" fmla="*/ 898525 h 2092325"/>
                  <a:gd name="connsiteX17" fmla="*/ 325638 w 855863"/>
                  <a:gd name="connsiteY17" fmla="*/ 914400 h 2092325"/>
                  <a:gd name="connsiteX18" fmla="*/ 424063 w 855863"/>
                  <a:gd name="connsiteY18" fmla="*/ 895350 h 2092325"/>
                  <a:gd name="connsiteX19" fmla="*/ 449463 w 855863"/>
                  <a:gd name="connsiteY19" fmla="*/ 936625 h 2092325"/>
                  <a:gd name="connsiteX20" fmla="*/ 490738 w 855863"/>
                  <a:gd name="connsiteY20" fmla="*/ 977900 h 2092325"/>
                  <a:gd name="connsiteX21" fmla="*/ 490738 w 855863"/>
                  <a:gd name="connsiteY21" fmla="*/ 1031875 h 2092325"/>
                  <a:gd name="connsiteX22" fmla="*/ 528838 w 855863"/>
                  <a:gd name="connsiteY22" fmla="*/ 1117600 h 2092325"/>
                  <a:gd name="connsiteX23" fmla="*/ 509788 w 855863"/>
                  <a:gd name="connsiteY23" fmla="*/ 1212850 h 2092325"/>
                  <a:gd name="connsiteX24" fmla="*/ 512963 w 855863"/>
                  <a:gd name="connsiteY24" fmla="*/ 1250950 h 2092325"/>
                  <a:gd name="connsiteX25" fmla="*/ 519313 w 855863"/>
                  <a:gd name="connsiteY25" fmla="*/ 1295400 h 2092325"/>
                  <a:gd name="connsiteX26" fmla="*/ 509788 w 855863"/>
                  <a:gd name="connsiteY26" fmla="*/ 1333500 h 2092325"/>
                  <a:gd name="connsiteX27" fmla="*/ 544713 w 855863"/>
                  <a:gd name="connsiteY27" fmla="*/ 1374775 h 2092325"/>
                  <a:gd name="connsiteX28" fmla="*/ 563763 w 855863"/>
                  <a:gd name="connsiteY28" fmla="*/ 1419225 h 2092325"/>
                  <a:gd name="connsiteX29" fmla="*/ 532013 w 855863"/>
                  <a:gd name="connsiteY29" fmla="*/ 1482725 h 2092325"/>
                  <a:gd name="connsiteX30" fmla="*/ 538363 w 855863"/>
                  <a:gd name="connsiteY30" fmla="*/ 1530350 h 2092325"/>
                  <a:gd name="connsiteX31" fmla="*/ 563763 w 855863"/>
                  <a:gd name="connsiteY31" fmla="*/ 1616075 h 2092325"/>
                  <a:gd name="connsiteX32" fmla="*/ 614563 w 855863"/>
                  <a:gd name="connsiteY32" fmla="*/ 1663700 h 2092325"/>
                  <a:gd name="connsiteX33" fmla="*/ 611388 w 855863"/>
                  <a:gd name="connsiteY33" fmla="*/ 1720850 h 2092325"/>
                  <a:gd name="connsiteX34" fmla="*/ 585988 w 855863"/>
                  <a:gd name="connsiteY34" fmla="*/ 1736725 h 2092325"/>
                  <a:gd name="connsiteX35" fmla="*/ 585988 w 855863"/>
                  <a:gd name="connsiteY35" fmla="*/ 1784350 h 2092325"/>
                  <a:gd name="connsiteX36" fmla="*/ 570113 w 855863"/>
                  <a:gd name="connsiteY36" fmla="*/ 1825625 h 2092325"/>
                  <a:gd name="connsiteX37" fmla="*/ 608213 w 855863"/>
                  <a:gd name="connsiteY37" fmla="*/ 1819275 h 2092325"/>
                  <a:gd name="connsiteX38" fmla="*/ 643138 w 855863"/>
                  <a:gd name="connsiteY38" fmla="*/ 1800225 h 2092325"/>
                  <a:gd name="connsiteX39" fmla="*/ 687588 w 855863"/>
                  <a:gd name="connsiteY39" fmla="*/ 1806575 h 2092325"/>
                  <a:gd name="connsiteX40" fmla="*/ 760613 w 855863"/>
                  <a:gd name="connsiteY40" fmla="*/ 1908175 h 2092325"/>
                  <a:gd name="connsiteX41" fmla="*/ 792363 w 855863"/>
                  <a:gd name="connsiteY41" fmla="*/ 1965325 h 2092325"/>
                  <a:gd name="connsiteX42" fmla="*/ 798713 w 855863"/>
                  <a:gd name="connsiteY42" fmla="*/ 2016125 h 2092325"/>
                  <a:gd name="connsiteX43" fmla="*/ 855863 w 855863"/>
                  <a:gd name="connsiteY43" fmla="*/ 2092325 h 2092325"/>
                  <a:gd name="connsiteX0" fmla="*/ 93863 w 855863"/>
                  <a:gd name="connsiteY0" fmla="*/ 0 h 2092325"/>
                  <a:gd name="connsiteX1" fmla="*/ 46238 w 855863"/>
                  <a:gd name="connsiteY1" fmla="*/ 98425 h 2092325"/>
                  <a:gd name="connsiteX2" fmla="*/ 4963 w 855863"/>
                  <a:gd name="connsiteY2" fmla="*/ 307975 h 2092325"/>
                  <a:gd name="connsiteX3" fmla="*/ 1788 w 855863"/>
                  <a:gd name="connsiteY3" fmla="*/ 346075 h 2092325"/>
                  <a:gd name="connsiteX4" fmla="*/ 14488 w 855863"/>
                  <a:gd name="connsiteY4" fmla="*/ 409575 h 2092325"/>
                  <a:gd name="connsiteX5" fmla="*/ 4963 w 855863"/>
                  <a:gd name="connsiteY5" fmla="*/ 542925 h 2092325"/>
                  <a:gd name="connsiteX6" fmla="*/ 43063 w 855863"/>
                  <a:gd name="connsiteY6" fmla="*/ 568325 h 2092325"/>
                  <a:gd name="connsiteX7" fmla="*/ 65288 w 855863"/>
                  <a:gd name="connsiteY7" fmla="*/ 615950 h 2092325"/>
                  <a:gd name="connsiteX8" fmla="*/ 141488 w 855863"/>
                  <a:gd name="connsiteY8" fmla="*/ 606425 h 2092325"/>
                  <a:gd name="connsiteX9" fmla="*/ 192288 w 855863"/>
                  <a:gd name="connsiteY9" fmla="*/ 615950 h 2092325"/>
                  <a:gd name="connsiteX10" fmla="*/ 271663 w 855863"/>
                  <a:gd name="connsiteY10" fmla="*/ 688975 h 2092325"/>
                  <a:gd name="connsiteX11" fmla="*/ 239913 w 855863"/>
                  <a:gd name="connsiteY11" fmla="*/ 762000 h 2092325"/>
                  <a:gd name="connsiteX12" fmla="*/ 163713 w 855863"/>
                  <a:gd name="connsiteY12" fmla="*/ 796925 h 2092325"/>
                  <a:gd name="connsiteX13" fmla="*/ 192288 w 855863"/>
                  <a:gd name="connsiteY13" fmla="*/ 838200 h 2092325"/>
                  <a:gd name="connsiteX14" fmla="*/ 163713 w 855863"/>
                  <a:gd name="connsiteY14" fmla="*/ 889000 h 2092325"/>
                  <a:gd name="connsiteX15" fmla="*/ 220863 w 855863"/>
                  <a:gd name="connsiteY15" fmla="*/ 904875 h 2092325"/>
                  <a:gd name="connsiteX16" fmla="*/ 284363 w 855863"/>
                  <a:gd name="connsiteY16" fmla="*/ 898525 h 2092325"/>
                  <a:gd name="connsiteX17" fmla="*/ 325638 w 855863"/>
                  <a:gd name="connsiteY17" fmla="*/ 914400 h 2092325"/>
                  <a:gd name="connsiteX18" fmla="*/ 424063 w 855863"/>
                  <a:gd name="connsiteY18" fmla="*/ 895350 h 2092325"/>
                  <a:gd name="connsiteX19" fmla="*/ 449463 w 855863"/>
                  <a:gd name="connsiteY19" fmla="*/ 936625 h 2092325"/>
                  <a:gd name="connsiteX20" fmla="*/ 490738 w 855863"/>
                  <a:gd name="connsiteY20" fmla="*/ 977900 h 2092325"/>
                  <a:gd name="connsiteX21" fmla="*/ 490738 w 855863"/>
                  <a:gd name="connsiteY21" fmla="*/ 1031875 h 2092325"/>
                  <a:gd name="connsiteX22" fmla="*/ 528838 w 855863"/>
                  <a:gd name="connsiteY22" fmla="*/ 1117600 h 2092325"/>
                  <a:gd name="connsiteX23" fmla="*/ 509788 w 855863"/>
                  <a:gd name="connsiteY23" fmla="*/ 1212850 h 2092325"/>
                  <a:gd name="connsiteX24" fmla="*/ 512963 w 855863"/>
                  <a:gd name="connsiteY24" fmla="*/ 1250950 h 2092325"/>
                  <a:gd name="connsiteX25" fmla="*/ 519313 w 855863"/>
                  <a:gd name="connsiteY25" fmla="*/ 1295400 h 2092325"/>
                  <a:gd name="connsiteX26" fmla="*/ 509788 w 855863"/>
                  <a:gd name="connsiteY26" fmla="*/ 1333500 h 2092325"/>
                  <a:gd name="connsiteX27" fmla="*/ 544713 w 855863"/>
                  <a:gd name="connsiteY27" fmla="*/ 1374775 h 2092325"/>
                  <a:gd name="connsiteX28" fmla="*/ 554238 w 855863"/>
                  <a:gd name="connsiteY28" fmla="*/ 1419225 h 2092325"/>
                  <a:gd name="connsiteX29" fmla="*/ 532013 w 855863"/>
                  <a:gd name="connsiteY29" fmla="*/ 1482725 h 2092325"/>
                  <a:gd name="connsiteX30" fmla="*/ 538363 w 855863"/>
                  <a:gd name="connsiteY30" fmla="*/ 1530350 h 2092325"/>
                  <a:gd name="connsiteX31" fmla="*/ 563763 w 855863"/>
                  <a:gd name="connsiteY31" fmla="*/ 1616075 h 2092325"/>
                  <a:gd name="connsiteX32" fmla="*/ 614563 w 855863"/>
                  <a:gd name="connsiteY32" fmla="*/ 1663700 h 2092325"/>
                  <a:gd name="connsiteX33" fmla="*/ 611388 w 855863"/>
                  <a:gd name="connsiteY33" fmla="*/ 1720850 h 2092325"/>
                  <a:gd name="connsiteX34" fmla="*/ 585988 w 855863"/>
                  <a:gd name="connsiteY34" fmla="*/ 1736725 h 2092325"/>
                  <a:gd name="connsiteX35" fmla="*/ 585988 w 855863"/>
                  <a:gd name="connsiteY35" fmla="*/ 1784350 h 2092325"/>
                  <a:gd name="connsiteX36" fmla="*/ 570113 w 855863"/>
                  <a:gd name="connsiteY36" fmla="*/ 1825625 h 2092325"/>
                  <a:gd name="connsiteX37" fmla="*/ 608213 w 855863"/>
                  <a:gd name="connsiteY37" fmla="*/ 1819275 h 2092325"/>
                  <a:gd name="connsiteX38" fmla="*/ 643138 w 855863"/>
                  <a:gd name="connsiteY38" fmla="*/ 1800225 h 2092325"/>
                  <a:gd name="connsiteX39" fmla="*/ 687588 w 855863"/>
                  <a:gd name="connsiteY39" fmla="*/ 1806575 h 2092325"/>
                  <a:gd name="connsiteX40" fmla="*/ 760613 w 855863"/>
                  <a:gd name="connsiteY40" fmla="*/ 1908175 h 2092325"/>
                  <a:gd name="connsiteX41" fmla="*/ 792363 w 855863"/>
                  <a:gd name="connsiteY41" fmla="*/ 1965325 h 2092325"/>
                  <a:gd name="connsiteX42" fmla="*/ 798713 w 855863"/>
                  <a:gd name="connsiteY42" fmla="*/ 2016125 h 2092325"/>
                  <a:gd name="connsiteX43" fmla="*/ 855863 w 855863"/>
                  <a:gd name="connsiteY43" fmla="*/ 2092325 h 2092325"/>
                  <a:gd name="connsiteX0" fmla="*/ 93863 w 855863"/>
                  <a:gd name="connsiteY0" fmla="*/ 0 h 2092325"/>
                  <a:gd name="connsiteX1" fmla="*/ 46238 w 855863"/>
                  <a:gd name="connsiteY1" fmla="*/ 98425 h 2092325"/>
                  <a:gd name="connsiteX2" fmla="*/ 4963 w 855863"/>
                  <a:gd name="connsiteY2" fmla="*/ 307975 h 2092325"/>
                  <a:gd name="connsiteX3" fmla="*/ 1788 w 855863"/>
                  <a:gd name="connsiteY3" fmla="*/ 346075 h 2092325"/>
                  <a:gd name="connsiteX4" fmla="*/ 14488 w 855863"/>
                  <a:gd name="connsiteY4" fmla="*/ 409575 h 2092325"/>
                  <a:gd name="connsiteX5" fmla="*/ 4963 w 855863"/>
                  <a:gd name="connsiteY5" fmla="*/ 542925 h 2092325"/>
                  <a:gd name="connsiteX6" fmla="*/ 43063 w 855863"/>
                  <a:gd name="connsiteY6" fmla="*/ 568325 h 2092325"/>
                  <a:gd name="connsiteX7" fmla="*/ 65288 w 855863"/>
                  <a:gd name="connsiteY7" fmla="*/ 615950 h 2092325"/>
                  <a:gd name="connsiteX8" fmla="*/ 141488 w 855863"/>
                  <a:gd name="connsiteY8" fmla="*/ 606425 h 2092325"/>
                  <a:gd name="connsiteX9" fmla="*/ 192288 w 855863"/>
                  <a:gd name="connsiteY9" fmla="*/ 615950 h 2092325"/>
                  <a:gd name="connsiteX10" fmla="*/ 271663 w 855863"/>
                  <a:gd name="connsiteY10" fmla="*/ 688975 h 2092325"/>
                  <a:gd name="connsiteX11" fmla="*/ 239913 w 855863"/>
                  <a:gd name="connsiteY11" fmla="*/ 762000 h 2092325"/>
                  <a:gd name="connsiteX12" fmla="*/ 163713 w 855863"/>
                  <a:gd name="connsiteY12" fmla="*/ 796925 h 2092325"/>
                  <a:gd name="connsiteX13" fmla="*/ 192288 w 855863"/>
                  <a:gd name="connsiteY13" fmla="*/ 838200 h 2092325"/>
                  <a:gd name="connsiteX14" fmla="*/ 163713 w 855863"/>
                  <a:gd name="connsiteY14" fmla="*/ 889000 h 2092325"/>
                  <a:gd name="connsiteX15" fmla="*/ 220863 w 855863"/>
                  <a:gd name="connsiteY15" fmla="*/ 904875 h 2092325"/>
                  <a:gd name="connsiteX16" fmla="*/ 284363 w 855863"/>
                  <a:gd name="connsiteY16" fmla="*/ 898525 h 2092325"/>
                  <a:gd name="connsiteX17" fmla="*/ 347863 w 855863"/>
                  <a:gd name="connsiteY17" fmla="*/ 917575 h 2092325"/>
                  <a:gd name="connsiteX18" fmla="*/ 424063 w 855863"/>
                  <a:gd name="connsiteY18" fmla="*/ 895350 h 2092325"/>
                  <a:gd name="connsiteX19" fmla="*/ 449463 w 855863"/>
                  <a:gd name="connsiteY19" fmla="*/ 936625 h 2092325"/>
                  <a:gd name="connsiteX20" fmla="*/ 490738 w 855863"/>
                  <a:gd name="connsiteY20" fmla="*/ 977900 h 2092325"/>
                  <a:gd name="connsiteX21" fmla="*/ 490738 w 855863"/>
                  <a:gd name="connsiteY21" fmla="*/ 1031875 h 2092325"/>
                  <a:gd name="connsiteX22" fmla="*/ 528838 w 855863"/>
                  <a:gd name="connsiteY22" fmla="*/ 1117600 h 2092325"/>
                  <a:gd name="connsiteX23" fmla="*/ 509788 w 855863"/>
                  <a:gd name="connsiteY23" fmla="*/ 1212850 h 2092325"/>
                  <a:gd name="connsiteX24" fmla="*/ 512963 w 855863"/>
                  <a:gd name="connsiteY24" fmla="*/ 1250950 h 2092325"/>
                  <a:gd name="connsiteX25" fmla="*/ 519313 w 855863"/>
                  <a:gd name="connsiteY25" fmla="*/ 1295400 h 2092325"/>
                  <a:gd name="connsiteX26" fmla="*/ 509788 w 855863"/>
                  <a:gd name="connsiteY26" fmla="*/ 1333500 h 2092325"/>
                  <a:gd name="connsiteX27" fmla="*/ 544713 w 855863"/>
                  <a:gd name="connsiteY27" fmla="*/ 1374775 h 2092325"/>
                  <a:gd name="connsiteX28" fmla="*/ 554238 w 855863"/>
                  <a:gd name="connsiteY28" fmla="*/ 1419225 h 2092325"/>
                  <a:gd name="connsiteX29" fmla="*/ 532013 w 855863"/>
                  <a:gd name="connsiteY29" fmla="*/ 1482725 h 2092325"/>
                  <a:gd name="connsiteX30" fmla="*/ 538363 w 855863"/>
                  <a:gd name="connsiteY30" fmla="*/ 1530350 h 2092325"/>
                  <a:gd name="connsiteX31" fmla="*/ 563763 w 855863"/>
                  <a:gd name="connsiteY31" fmla="*/ 1616075 h 2092325"/>
                  <a:gd name="connsiteX32" fmla="*/ 614563 w 855863"/>
                  <a:gd name="connsiteY32" fmla="*/ 1663700 h 2092325"/>
                  <a:gd name="connsiteX33" fmla="*/ 611388 w 855863"/>
                  <a:gd name="connsiteY33" fmla="*/ 1720850 h 2092325"/>
                  <a:gd name="connsiteX34" fmla="*/ 585988 w 855863"/>
                  <a:gd name="connsiteY34" fmla="*/ 1736725 h 2092325"/>
                  <a:gd name="connsiteX35" fmla="*/ 585988 w 855863"/>
                  <a:gd name="connsiteY35" fmla="*/ 1784350 h 2092325"/>
                  <a:gd name="connsiteX36" fmla="*/ 570113 w 855863"/>
                  <a:gd name="connsiteY36" fmla="*/ 1825625 h 2092325"/>
                  <a:gd name="connsiteX37" fmla="*/ 608213 w 855863"/>
                  <a:gd name="connsiteY37" fmla="*/ 1819275 h 2092325"/>
                  <a:gd name="connsiteX38" fmla="*/ 643138 w 855863"/>
                  <a:gd name="connsiteY38" fmla="*/ 1800225 h 2092325"/>
                  <a:gd name="connsiteX39" fmla="*/ 687588 w 855863"/>
                  <a:gd name="connsiteY39" fmla="*/ 1806575 h 2092325"/>
                  <a:gd name="connsiteX40" fmla="*/ 760613 w 855863"/>
                  <a:gd name="connsiteY40" fmla="*/ 1908175 h 2092325"/>
                  <a:gd name="connsiteX41" fmla="*/ 792363 w 855863"/>
                  <a:gd name="connsiteY41" fmla="*/ 1965325 h 2092325"/>
                  <a:gd name="connsiteX42" fmla="*/ 798713 w 855863"/>
                  <a:gd name="connsiteY42" fmla="*/ 2016125 h 2092325"/>
                  <a:gd name="connsiteX43" fmla="*/ 855863 w 855863"/>
                  <a:gd name="connsiteY43" fmla="*/ 2092325 h 2092325"/>
                  <a:gd name="connsiteX0" fmla="*/ 92884 w 854884"/>
                  <a:gd name="connsiteY0" fmla="*/ 0 h 2092325"/>
                  <a:gd name="connsiteX1" fmla="*/ 25807 w 854884"/>
                  <a:gd name="connsiteY1" fmla="*/ 89890 h 2092325"/>
                  <a:gd name="connsiteX2" fmla="*/ 3984 w 854884"/>
                  <a:gd name="connsiteY2" fmla="*/ 307975 h 2092325"/>
                  <a:gd name="connsiteX3" fmla="*/ 809 w 854884"/>
                  <a:gd name="connsiteY3" fmla="*/ 346075 h 2092325"/>
                  <a:gd name="connsiteX4" fmla="*/ 13509 w 854884"/>
                  <a:gd name="connsiteY4" fmla="*/ 409575 h 2092325"/>
                  <a:gd name="connsiteX5" fmla="*/ 3984 w 854884"/>
                  <a:gd name="connsiteY5" fmla="*/ 542925 h 2092325"/>
                  <a:gd name="connsiteX6" fmla="*/ 42084 w 854884"/>
                  <a:gd name="connsiteY6" fmla="*/ 568325 h 2092325"/>
                  <a:gd name="connsiteX7" fmla="*/ 64309 w 854884"/>
                  <a:gd name="connsiteY7" fmla="*/ 615950 h 2092325"/>
                  <a:gd name="connsiteX8" fmla="*/ 140509 w 854884"/>
                  <a:gd name="connsiteY8" fmla="*/ 606425 h 2092325"/>
                  <a:gd name="connsiteX9" fmla="*/ 191309 w 854884"/>
                  <a:gd name="connsiteY9" fmla="*/ 615950 h 2092325"/>
                  <a:gd name="connsiteX10" fmla="*/ 270684 w 854884"/>
                  <a:gd name="connsiteY10" fmla="*/ 688975 h 2092325"/>
                  <a:gd name="connsiteX11" fmla="*/ 238934 w 854884"/>
                  <a:gd name="connsiteY11" fmla="*/ 762000 h 2092325"/>
                  <a:gd name="connsiteX12" fmla="*/ 162734 w 854884"/>
                  <a:gd name="connsiteY12" fmla="*/ 796925 h 2092325"/>
                  <a:gd name="connsiteX13" fmla="*/ 191309 w 854884"/>
                  <a:gd name="connsiteY13" fmla="*/ 838200 h 2092325"/>
                  <a:gd name="connsiteX14" fmla="*/ 162734 w 854884"/>
                  <a:gd name="connsiteY14" fmla="*/ 889000 h 2092325"/>
                  <a:gd name="connsiteX15" fmla="*/ 219884 w 854884"/>
                  <a:gd name="connsiteY15" fmla="*/ 904875 h 2092325"/>
                  <a:gd name="connsiteX16" fmla="*/ 283384 w 854884"/>
                  <a:gd name="connsiteY16" fmla="*/ 898525 h 2092325"/>
                  <a:gd name="connsiteX17" fmla="*/ 346884 w 854884"/>
                  <a:gd name="connsiteY17" fmla="*/ 917575 h 2092325"/>
                  <a:gd name="connsiteX18" fmla="*/ 423084 w 854884"/>
                  <a:gd name="connsiteY18" fmla="*/ 895350 h 2092325"/>
                  <a:gd name="connsiteX19" fmla="*/ 448484 w 854884"/>
                  <a:gd name="connsiteY19" fmla="*/ 936625 h 2092325"/>
                  <a:gd name="connsiteX20" fmla="*/ 489759 w 854884"/>
                  <a:gd name="connsiteY20" fmla="*/ 977900 h 2092325"/>
                  <a:gd name="connsiteX21" fmla="*/ 489759 w 854884"/>
                  <a:gd name="connsiteY21" fmla="*/ 1031875 h 2092325"/>
                  <a:gd name="connsiteX22" fmla="*/ 527859 w 854884"/>
                  <a:gd name="connsiteY22" fmla="*/ 1117600 h 2092325"/>
                  <a:gd name="connsiteX23" fmla="*/ 508809 w 854884"/>
                  <a:gd name="connsiteY23" fmla="*/ 1212850 h 2092325"/>
                  <a:gd name="connsiteX24" fmla="*/ 511984 w 854884"/>
                  <a:gd name="connsiteY24" fmla="*/ 1250950 h 2092325"/>
                  <a:gd name="connsiteX25" fmla="*/ 518334 w 854884"/>
                  <a:gd name="connsiteY25" fmla="*/ 1295400 h 2092325"/>
                  <a:gd name="connsiteX26" fmla="*/ 508809 w 854884"/>
                  <a:gd name="connsiteY26" fmla="*/ 1333500 h 2092325"/>
                  <a:gd name="connsiteX27" fmla="*/ 543734 w 854884"/>
                  <a:gd name="connsiteY27" fmla="*/ 1374775 h 2092325"/>
                  <a:gd name="connsiteX28" fmla="*/ 553259 w 854884"/>
                  <a:gd name="connsiteY28" fmla="*/ 1419225 h 2092325"/>
                  <a:gd name="connsiteX29" fmla="*/ 531034 w 854884"/>
                  <a:gd name="connsiteY29" fmla="*/ 1482725 h 2092325"/>
                  <a:gd name="connsiteX30" fmla="*/ 537384 w 854884"/>
                  <a:gd name="connsiteY30" fmla="*/ 1530350 h 2092325"/>
                  <a:gd name="connsiteX31" fmla="*/ 562784 w 854884"/>
                  <a:gd name="connsiteY31" fmla="*/ 1616075 h 2092325"/>
                  <a:gd name="connsiteX32" fmla="*/ 613584 w 854884"/>
                  <a:gd name="connsiteY32" fmla="*/ 1663700 h 2092325"/>
                  <a:gd name="connsiteX33" fmla="*/ 610409 w 854884"/>
                  <a:gd name="connsiteY33" fmla="*/ 1720850 h 2092325"/>
                  <a:gd name="connsiteX34" fmla="*/ 585009 w 854884"/>
                  <a:gd name="connsiteY34" fmla="*/ 1736725 h 2092325"/>
                  <a:gd name="connsiteX35" fmla="*/ 585009 w 854884"/>
                  <a:gd name="connsiteY35" fmla="*/ 1784350 h 2092325"/>
                  <a:gd name="connsiteX36" fmla="*/ 569134 w 854884"/>
                  <a:gd name="connsiteY36" fmla="*/ 1825625 h 2092325"/>
                  <a:gd name="connsiteX37" fmla="*/ 607234 w 854884"/>
                  <a:gd name="connsiteY37" fmla="*/ 1819275 h 2092325"/>
                  <a:gd name="connsiteX38" fmla="*/ 642159 w 854884"/>
                  <a:gd name="connsiteY38" fmla="*/ 1800225 h 2092325"/>
                  <a:gd name="connsiteX39" fmla="*/ 686609 w 854884"/>
                  <a:gd name="connsiteY39" fmla="*/ 1806575 h 2092325"/>
                  <a:gd name="connsiteX40" fmla="*/ 759634 w 854884"/>
                  <a:gd name="connsiteY40" fmla="*/ 1908175 h 2092325"/>
                  <a:gd name="connsiteX41" fmla="*/ 791384 w 854884"/>
                  <a:gd name="connsiteY41" fmla="*/ 1965325 h 2092325"/>
                  <a:gd name="connsiteX42" fmla="*/ 797734 w 854884"/>
                  <a:gd name="connsiteY42" fmla="*/ 2016125 h 2092325"/>
                  <a:gd name="connsiteX43" fmla="*/ 854884 w 854884"/>
                  <a:gd name="connsiteY43" fmla="*/ 2092325 h 2092325"/>
                  <a:gd name="connsiteX0" fmla="*/ 79917 w 854884"/>
                  <a:gd name="connsiteY0" fmla="*/ 0 h 2169137"/>
                  <a:gd name="connsiteX1" fmla="*/ 25807 w 854884"/>
                  <a:gd name="connsiteY1" fmla="*/ 166702 h 2169137"/>
                  <a:gd name="connsiteX2" fmla="*/ 3984 w 854884"/>
                  <a:gd name="connsiteY2" fmla="*/ 384787 h 2169137"/>
                  <a:gd name="connsiteX3" fmla="*/ 809 w 854884"/>
                  <a:gd name="connsiteY3" fmla="*/ 422887 h 2169137"/>
                  <a:gd name="connsiteX4" fmla="*/ 13509 w 854884"/>
                  <a:gd name="connsiteY4" fmla="*/ 486387 h 2169137"/>
                  <a:gd name="connsiteX5" fmla="*/ 3984 w 854884"/>
                  <a:gd name="connsiteY5" fmla="*/ 619737 h 2169137"/>
                  <a:gd name="connsiteX6" fmla="*/ 42084 w 854884"/>
                  <a:gd name="connsiteY6" fmla="*/ 645137 h 2169137"/>
                  <a:gd name="connsiteX7" fmla="*/ 64309 w 854884"/>
                  <a:gd name="connsiteY7" fmla="*/ 692762 h 2169137"/>
                  <a:gd name="connsiteX8" fmla="*/ 140509 w 854884"/>
                  <a:gd name="connsiteY8" fmla="*/ 683237 h 2169137"/>
                  <a:gd name="connsiteX9" fmla="*/ 191309 w 854884"/>
                  <a:gd name="connsiteY9" fmla="*/ 692762 h 2169137"/>
                  <a:gd name="connsiteX10" fmla="*/ 270684 w 854884"/>
                  <a:gd name="connsiteY10" fmla="*/ 765787 h 2169137"/>
                  <a:gd name="connsiteX11" fmla="*/ 238934 w 854884"/>
                  <a:gd name="connsiteY11" fmla="*/ 838812 h 2169137"/>
                  <a:gd name="connsiteX12" fmla="*/ 162734 w 854884"/>
                  <a:gd name="connsiteY12" fmla="*/ 873737 h 2169137"/>
                  <a:gd name="connsiteX13" fmla="*/ 191309 w 854884"/>
                  <a:gd name="connsiteY13" fmla="*/ 915012 h 2169137"/>
                  <a:gd name="connsiteX14" fmla="*/ 162734 w 854884"/>
                  <a:gd name="connsiteY14" fmla="*/ 965812 h 2169137"/>
                  <a:gd name="connsiteX15" fmla="*/ 219884 w 854884"/>
                  <a:gd name="connsiteY15" fmla="*/ 981687 h 2169137"/>
                  <a:gd name="connsiteX16" fmla="*/ 283384 w 854884"/>
                  <a:gd name="connsiteY16" fmla="*/ 975337 h 2169137"/>
                  <a:gd name="connsiteX17" fmla="*/ 346884 w 854884"/>
                  <a:gd name="connsiteY17" fmla="*/ 994387 h 2169137"/>
                  <a:gd name="connsiteX18" fmla="*/ 423084 w 854884"/>
                  <a:gd name="connsiteY18" fmla="*/ 972162 h 2169137"/>
                  <a:gd name="connsiteX19" fmla="*/ 448484 w 854884"/>
                  <a:gd name="connsiteY19" fmla="*/ 1013437 h 2169137"/>
                  <a:gd name="connsiteX20" fmla="*/ 489759 w 854884"/>
                  <a:gd name="connsiteY20" fmla="*/ 1054712 h 2169137"/>
                  <a:gd name="connsiteX21" fmla="*/ 489759 w 854884"/>
                  <a:gd name="connsiteY21" fmla="*/ 1108687 h 2169137"/>
                  <a:gd name="connsiteX22" fmla="*/ 527859 w 854884"/>
                  <a:gd name="connsiteY22" fmla="*/ 1194412 h 2169137"/>
                  <a:gd name="connsiteX23" fmla="*/ 508809 w 854884"/>
                  <a:gd name="connsiteY23" fmla="*/ 1289662 h 2169137"/>
                  <a:gd name="connsiteX24" fmla="*/ 511984 w 854884"/>
                  <a:gd name="connsiteY24" fmla="*/ 1327762 h 2169137"/>
                  <a:gd name="connsiteX25" fmla="*/ 518334 w 854884"/>
                  <a:gd name="connsiteY25" fmla="*/ 1372212 h 2169137"/>
                  <a:gd name="connsiteX26" fmla="*/ 508809 w 854884"/>
                  <a:gd name="connsiteY26" fmla="*/ 1410312 h 2169137"/>
                  <a:gd name="connsiteX27" fmla="*/ 543734 w 854884"/>
                  <a:gd name="connsiteY27" fmla="*/ 1451587 h 2169137"/>
                  <a:gd name="connsiteX28" fmla="*/ 553259 w 854884"/>
                  <a:gd name="connsiteY28" fmla="*/ 1496037 h 2169137"/>
                  <a:gd name="connsiteX29" fmla="*/ 531034 w 854884"/>
                  <a:gd name="connsiteY29" fmla="*/ 1559537 h 2169137"/>
                  <a:gd name="connsiteX30" fmla="*/ 537384 w 854884"/>
                  <a:gd name="connsiteY30" fmla="*/ 1607162 h 2169137"/>
                  <a:gd name="connsiteX31" fmla="*/ 562784 w 854884"/>
                  <a:gd name="connsiteY31" fmla="*/ 1692887 h 2169137"/>
                  <a:gd name="connsiteX32" fmla="*/ 613584 w 854884"/>
                  <a:gd name="connsiteY32" fmla="*/ 1740512 h 2169137"/>
                  <a:gd name="connsiteX33" fmla="*/ 610409 w 854884"/>
                  <a:gd name="connsiteY33" fmla="*/ 1797662 h 2169137"/>
                  <a:gd name="connsiteX34" fmla="*/ 585009 w 854884"/>
                  <a:gd name="connsiteY34" fmla="*/ 1813537 h 2169137"/>
                  <a:gd name="connsiteX35" fmla="*/ 585009 w 854884"/>
                  <a:gd name="connsiteY35" fmla="*/ 1861162 h 2169137"/>
                  <a:gd name="connsiteX36" fmla="*/ 569134 w 854884"/>
                  <a:gd name="connsiteY36" fmla="*/ 1902437 h 2169137"/>
                  <a:gd name="connsiteX37" fmla="*/ 607234 w 854884"/>
                  <a:gd name="connsiteY37" fmla="*/ 1896087 h 2169137"/>
                  <a:gd name="connsiteX38" fmla="*/ 642159 w 854884"/>
                  <a:gd name="connsiteY38" fmla="*/ 1877037 h 2169137"/>
                  <a:gd name="connsiteX39" fmla="*/ 686609 w 854884"/>
                  <a:gd name="connsiteY39" fmla="*/ 1883387 h 2169137"/>
                  <a:gd name="connsiteX40" fmla="*/ 759634 w 854884"/>
                  <a:gd name="connsiteY40" fmla="*/ 1984987 h 2169137"/>
                  <a:gd name="connsiteX41" fmla="*/ 791384 w 854884"/>
                  <a:gd name="connsiteY41" fmla="*/ 2042137 h 2169137"/>
                  <a:gd name="connsiteX42" fmla="*/ 797734 w 854884"/>
                  <a:gd name="connsiteY42" fmla="*/ 2092937 h 2169137"/>
                  <a:gd name="connsiteX43" fmla="*/ 854884 w 854884"/>
                  <a:gd name="connsiteY43" fmla="*/ 2169137 h 21691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854884" h="2169137">
                    <a:moveTo>
                      <a:pt x="79917" y="0"/>
                    </a:moveTo>
                    <a:cubicBezTo>
                      <a:pt x="63513" y="23548"/>
                      <a:pt x="38462" y="102571"/>
                      <a:pt x="25807" y="166702"/>
                    </a:cubicBezTo>
                    <a:cubicBezTo>
                      <a:pt x="13152" y="230833"/>
                      <a:pt x="8150" y="342090"/>
                      <a:pt x="3984" y="384787"/>
                    </a:cubicBezTo>
                    <a:cubicBezTo>
                      <a:pt x="-182" y="427485"/>
                      <a:pt x="-779" y="405954"/>
                      <a:pt x="809" y="422887"/>
                    </a:cubicBezTo>
                    <a:cubicBezTo>
                      <a:pt x="2396" y="439820"/>
                      <a:pt x="12980" y="453579"/>
                      <a:pt x="13509" y="486387"/>
                    </a:cubicBezTo>
                    <a:cubicBezTo>
                      <a:pt x="14038" y="519195"/>
                      <a:pt x="-778" y="593279"/>
                      <a:pt x="3984" y="619737"/>
                    </a:cubicBezTo>
                    <a:cubicBezTo>
                      <a:pt x="8746" y="646195"/>
                      <a:pt x="32030" y="632966"/>
                      <a:pt x="42084" y="645137"/>
                    </a:cubicBezTo>
                    <a:cubicBezTo>
                      <a:pt x="52138" y="657308"/>
                      <a:pt x="47905" y="686412"/>
                      <a:pt x="64309" y="692762"/>
                    </a:cubicBezTo>
                    <a:cubicBezTo>
                      <a:pt x="80713" y="699112"/>
                      <a:pt x="119342" y="683237"/>
                      <a:pt x="140509" y="683237"/>
                    </a:cubicBezTo>
                    <a:cubicBezTo>
                      <a:pt x="161676" y="683237"/>
                      <a:pt x="169613" y="679004"/>
                      <a:pt x="191309" y="692762"/>
                    </a:cubicBezTo>
                    <a:cubicBezTo>
                      <a:pt x="213005" y="706520"/>
                      <a:pt x="262747" y="741445"/>
                      <a:pt x="270684" y="765787"/>
                    </a:cubicBezTo>
                    <a:cubicBezTo>
                      <a:pt x="278621" y="790129"/>
                      <a:pt x="256926" y="820820"/>
                      <a:pt x="238934" y="838812"/>
                    </a:cubicBezTo>
                    <a:cubicBezTo>
                      <a:pt x="220942" y="856804"/>
                      <a:pt x="170671" y="861037"/>
                      <a:pt x="162734" y="873737"/>
                    </a:cubicBezTo>
                    <a:cubicBezTo>
                      <a:pt x="154797" y="886437"/>
                      <a:pt x="191309" y="899666"/>
                      <a:pt x="191309" y="915012"/>
                    </a:cubicBezTo>
                    <a:cubicBezTo>
                      <a:pt x="191309" y="930358"/>
                      <a:pt x="157972" y="954700"/>
                      <a:pt x="162734" y="965812"/>
                    </a:cubicBezTo>
                    <a:cubicBezTo>
                      <a:pt x="167496" y="976924"/>
                      <a:pt x="199776" y="980100"/>
                      <a:pt x="219884" y="981687"/>
                    </a:cubicBezTo>
                    <a:cubicBezTo>
                      <a:pt x="239992" y="983275"/>
                      <a:pt x="262217" y="973220"/>
                      <a:pt x="283384" y="975337"/>
                    </a:cubicBezTo>
                    <a:cubicBezTo>
                      <a:pt x="304551" y="977454"/>
                      <a:pt x="323601" y="994916"/>
                      <a:pt x="346884" y="994387"/>
                    </a:cubicBezTo>
                    <a:cubicBezTo>
                      <a:pt x="370167" y="993858"/>
                      <a:pt x="406151" y="968987"/>
                      <a:pt x="423084" y="972162"/>
                    </a:cubicBezTo>
                    <a:cubicBezTo>
                      <a:pt x="440017" y="975337"/>
                      <a:pt x="437371" y="999679"/>
                      <a:pt x="448484" y="1013437"/>
                    </a:cubicBezTo>
                    <a:cubicBezTo>
                      <a:pt x="459597" y="1027195"/>
                      <a:pt x="482880" y="1038837"/>
                      <a:pt x="489759" y="1054712"/>
                    </a:cubicBezTo>
                    <a:cubicBezTo>
                      <a:pt x="496638" y="1070587"/>
                      <a:pt x="483409" y="1085404"/>
                      <a:pt x="489759" y="1108687"/>
                    </a:cubicBezTo>
                    <a:cubicBezTo>
                      <a:pt x="496109" y="1131970"/>
                      <a:pt x="524684" y="1164249"/>
                      <a:pt x="527859" y="1194412"/>
                    </a:cubicBezTo>
                    <a:cubicBezTo>
                      <a:pt x="531034" y="1224575"/>
                      <a:pt x="511455" y="1267437"/>
                      <a:pt x="508809" y="1289662"/>
                    </a:cubicBezTo>
                    <a:cubicBezTo>
                      <a:pt x="506163" y="1311887"/>
                      <a:pt x="510397" y="1314004"/>
                      <a:pt x="511984" y="1327762"/>
                    </a:cubicBezTo>
                    <a:cubicBezTo>
                      <a:pt x="513571" y="1341520"/>
                      <a:pt x="518863" y="1358454"/>
                      <a:pt x="518334" y="1372212"/>
                    </a:cubicBezTo>
                    <a:cubicBezTo>
                      <a:pt x="517805" y="1385970"/>
                      <a:pt x="504576" y="1397083"/>
                      <a:pt x="508809" y="1410312"/>
                    </a:cubicBezTo>
                    <a:cubicBezTo>
                      <a:pt x="513042" y="1423541"/>
                      <a:pt x="536326" y="1437300"/>
                      <a:pt x="543734" y="1451587"/>
                    </a:cubicBezTo>
                    <a:cubicBezTo>
                      <a:pt x="551142" y="1465874"/>
                      <a:pt x="555376" y="1478045"/>
                      <a:pt x="553259" y="1496037"/>
                    </a:cubicBezTo>
                    <a:cubicBezTo>
                      <a:pt x="551142" y="1514029"/>
                      <a:pt x="533680" y="1541016"/>
                      <a:pt x="531034" y="1559537"/>
                    </a:cubicBezTo>
                    <a:cubicBezTo>
                      <a:pt x="528388" y="1578058"/>
                      <a:pt x="532092" y="1584937"/>
                      <a:pt x="537384" y="1607162"/>
                    </a:cubicBezTo>
                    <a:cubicBezTo>
                      <a:pt x="542676" y="1629387"/>
                      <a:pt x="550084" y="1670662"/>
                      <a:pt x="562784" y="1692887"/>
                    </a:cubicBezTo>
                    <a:cubicBezTo>
                      <a:pt x="575484" y="1715112"/>
                      <a:pt x="605647" y="1723050"/>
                      <a:pt x="613584" y="1740512"/>
                    </a:cubicBezTo>
                    <a:cubicBezTo>
                      <a:pt x="621521" y="1757974"/>
                      <a:pt x="615171" y="1785491"/>
                      <a:pt x="610409" y="1797662"/>
                    </a:cubicBezTo>
                    <a:cubicBezTo>
                      <a:pt x="605647" y="1809833"/>
                      <a:pt x="589242" y="1802954"/>
                      <a:pt x="585009" y="1813537"/>
                    </a:cubicBezTo>
                    <a:cubicBezTo>
                      <a:pt x="580776" y="1824120"/>
                      <a:pt x="587655" y="1846345"/>
                      <a:pt x="585009" y="1861162"/>
                    </a:cubicBezTo>
                    <a:cubicBezTo>
                      <a:pt x="582363" y="1875979"/>
                      <a:pt x="565430" y="1896616"/>
                      <a:pt x="569134" y="1902437"/>
                    </a:cubicBezTo>
                    <a:cubicBezTo>
                      <a:pt x="572838" y="1908258"/>
                      <a:pt x="595063" y="1900320"/>
                      <a:pt x="607234" y="1896087"/>
                    </a:cubicBezTo>
                    <a:cubicBezTo>
                      <a:pt x="619405" y="1891854"/>
                      <a:pt x="628930" y="1879154"/>
                      <a:pt x="642159" y="1877037"/>
                    </a:cubicBezTo>
                    <a:cubicBezTo>
                      <a:pt x="655388" y="1874920"/>
                      <a:pt x="667030" y="1865395"/>
                      <a:pt x="686609" y="1883387"/>
                    </a:cubicBezTo>
                    <a:cubicBezTo>
                      <a:pt x="706188" y="1901379"/>
                      <a:pt x="742171" y="1958529"/>
                      <a:pt x="759634" y="1984987"/>
                    </a:cubicBezTo>
                    <a:cubicBezTo>
                      <a:pt x="777097" y="2011445"/>
                      <a:pt x="785034" y="2024145"/>
                      <a:pt x="791384" y="2042137"/>
                    </a:cubicBezTo>
                    <a:cubicBezTo>
                      <a:pt x="797734" y="2060129"/>
                      <a:pt x="787151" y="2071770"/>
                      <a:pt x="797734" y="2092937"/>
                    </a:cubicBezTo>
                    <a:cubicBezTo>
                      <a:pt x="808317" y="2114104"/>
                      <a:pt x="831600" y="2141620"/>
                      <a:pt x="854884" y="2169137"/>
                    </a:cubicBezTo>
                  </a:path>
                </a:pathLst>
              </a:custGeom>
              <a:noFill/>
              <a:ln w="15875" cmpd="sng">
                <a:solidFill>
                  <a:srgbClr val="AE7FC3"/>
                </a:solidFill>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44" name="Freeform 43"/>
              <p:cNvSpPr/>
              <p:nvPr/>
            </p:nvSpPr>
            <p:spPr>
              <a:xfrm>
                <a:off x="2380780" y="2313745"/>
                <a:ext cx="454098" cy="1077932"/>
              </a:xfrm>
              <a:custGeom>
                <a:avLst/>
                <a:gdLst>
                  <a:gd name="connsiteX0" fmla="*/ 664081 w 664081"/>
                  <a:gd name="connsiteY0" fmla="*/ 0 h 1576387"/>
                  <a:gd name="connsiteX1" fmla="*/ 625981 w 664081"/>
                  <a:gd name="connsiteY1" fmla="*/ 33337 h 1576387"/>
                  <a:gd name="connsiteX2" fmla="*/ 597406 w 664081"/>
                  <a:gd name="connsiteY2" fmla="*/ 23812 h 1576387"/>
                  <a:gd name="connsiteX3" fmla="*/ 554544 w 664081"/>
                  <a:gd name="connsiteY3" fmla="*/ 90487 h 1576387"/>
                  <a:gd name="connsiteX4" fmla="*/ 554544 w 664081"/>
                  <a:gd name="connsiteY4" fmla="*/ 138112 h 1576387"/>
                  <a:gd name="connsiteX5" fmla="*/ 540256 w 664081"/>
                  <a:gd name="connsiteY5" fmla="*/ 200025 h 1576387"/>
                  <a:gd name="connsiteX6" fmla="*/ 525969 w 664081"/>
                  <a:gd name="connsiteY6" fmla="*/ 223837 h 1576387"/>
                  <a:gd name="connsiteX7" fmla="*/ 497394 w 664081"/>
                  <a:gd name="connsiteY7" fmla="*/ 252412 h 1576387"/>
                  <a:gd name="connsiteX8" fmla="*/ 511681 w 664081"/>
                  <a:gd name="connsiteY8" fmla="*/ 319087 h 1576387"/>
                  <a:gd name="connsiteX9" fmla="*/ 449769 w 664081"/>
                  <a:gd name="connsiteY9" fmla="*/ 404812 h 1576387"/>
                  <a:gd name="connsiteX10" fmla="*/ 449769 w 664081"/>
                  <a:gd name="connsiteY10" fmla="*/ 442912 h 1576387"/>
                  <a:gd name="connsiteX11" fmla="*/ 435481 w 664081"/>
                  <a:gd name="connsiteY11" fmla="*/ 504825 h 1576387"/>
                  <a:gd name="connsiteX12" fmla="*/ 468819 w 664081"/>
                  <a:gd name="connsiteY12" fmla="*/ 547687 h 1576387"/>
                  <a:gd name="connsiteX13" fmla="*/ 502156 w 664081"/>
                  <a:gd name="connsiteY13" fmla="*/ 614362 h 1576387"/>
                  <a:gd name="connsiteX14" fmla="*/ 445006 w 664081"/>
                  <a:gd name="connsiteY14" fmla="*/ 728662 h 1576387"/>
                  <a:gd name="connsiteX15" fmla="*/ 378331 w 664081"/>
                  <a:gd name="connsiteY15" fmla="*/ 842962 h 1576387"/>
                  <a:gd name="connsiteX16" fmla="*/ 373569 w 664081"/>
                  <a:gd name="connsiteY16" fmla="*/ 914400 h 1576387"/>
                  <a:gd name="connsiteX17" fmla="*/ 325944 w 664081"/>
                  <a:gd name="connsiteY17" fmla="*/ 947737 h 1576387"/>
                  <a:gd name="connsiteX18" fmla="*/ 335469 w 664081"/>
                  <a:gd name="connsiteY18" fmla="*/ 1009650 h 1576387"/>
                  <a:gd name="connsiteX19" fmla="*/ 330706 w 664081"/>
                  <a:gd name="connsiteY19" fmla="*/ 1033462 h 1576387"/>
                  <a:gd name="connsiteX20" fmla="*/ 264031 w 664081"/>
                  <a:gd name="connsiteY20" fmla="*/ 1090612 h 1576387"/>
                  <a:gd name="connsiteX21" fmla="*/ 206881 w 664081"/>
                  <a:gd name="connsiteY21" fmla="*/ 1219200 h 1576387"/>
                  <a:gd name="connsiteX22" fmla="*/ 149731 w 664081"/>
                  <a:gd name="connsiteY22" fmla="*/ 1252537 h 1576387"/>
                  <a:gd name="connsiteX23" fmla="*/ 111631 w 664081"/>
                  <a:gd name="connsiteY23" fmla="*/ 1304925 h 1576387"/>
                  <a:gd name="connsiteX24" fmla="*/ 21144 w 664081"/>
                  <a:gd name="connsiteY24" fmla="*/ 1319212 h 1576387"/>
                  <a:gd name="connsiteX25" fmla="*/ 16381 w 664081"/>
                  <a:gd name="connsiteY25" fmla="*/ 1366837 h 1576387"/>
                  <a:gd name="connsiteX26" fmla="*/ 2094 w 664081"/>
                  <a:gd name="connsiteY26" fmla="*/ 1428750 h 1576387"/>
                  <a:gd name="connsiteX27" fmla="*/ 2094 w 664081"/>
                  <a:gd name="connsiteY27" fmla="*/ 1466850 h 1576387"/>
                  <a:gd name="connsiteX28" fmla="*/ 21144 w 664081"/>
                  <a:gd name="connsiteY28" fmla="*/ 1500187 h 1576387"/>
                  <a:gd name="connsiteX29" fmla="*/ 6856 w 664081"/>
                  <a:gd name="connsiteY29" fmla="*/ 1562100 h 1576387"/>
                  <a:gd name="connsiteX30" fmla="*/ 2094 w 664081"/>
                  <a:gd name="connsiteY30" fmla="*/ 1576387 h 1576387"/>
                  <a:gd name="connsiteX31" fmla="*/ 2094 w 664081"/>
                  <a:gd name="connsiteY31" fmla="*/ 1576387 h 15763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664081" h="1576387">
                    <a:moveTo>
                      <a:pt x="664081" y="0"/>
                    </a:moveTo>
                    <a:cubicBezTo>
                      <a:pt x="650587" y="14684"/>
                      <a:pt x="637093" y="29368"/>
                      <a:pt x="625981" y="33337"/>
                    </a:cubicBezTo>
                    <a:cubicBezTo>
                      <a:pt x="614869" y="37306"/>
                      <a:pt x="609312" y="14287"/>
                      <a:pt x="597406" y="23812"/>
                    </a:cubicBezTo>
                    <a:cubicBezTo>
                      <a:pt x="585500" y="33337"/>
                      <a:pt x="561688" y="71437"/>
                      <a:pt x="554544" y="90487"/>
                    </a:cubicBezTo>
                    <a:cubicBezTo>
                      <a:pt x="547400" y="109537"/>
                      <a:pt x="556925" y="119856"/>
                      <a:pt x="554544" y="138112"/>
                    </a:cubicBezTo>
                    <a:cubicBezTo>
                      <a:pt x="552163" y="156368"/>
                      <a:pt x="545019" y="185737"/>
                      <a:pt x="540256" y="200025"/>
                    </a:cubicBezTo>
                    <a:cubicBezTo>
                      <a:pt x="535493" y="214313"/>
                      <a:pt x="533113" y="215106"/>
                      <a:pt x="525969" y="223837"/>
                    </a:cubicBezTo>
                    <a:cubicBezTo>
                      <a:pt x="518825" y="232568"/>
                      <a:pt x="499775" y="236537"/>
                      <a:pt x="497394" y="252412"/>
                    </a:cubicBezTo>
                    <a:cubicBezTo>
                      <a:pt x="495013" y="268287"/>
                      <a:pt x="519618" y="293687"/>
                      <a:pt x="511681" y="319087"/>
                    </a:cubicBezTo>
                    <a:cubicBezTo>
                      <a:pt x="503744" y="344487"/>
                      <a:pt x="460088" y="384175"/>
                      <a:pt x="449769" y="404812"/>
                    </a:cubicBezTo>
                    <a:cubicBezTo>
                      <a:pt x="439450" y="425450"/>
                      <a:pt x="452150" y="426243"/>
                      <a:pt x="449769" y="442912"/>
                    </a:cubicBezTo>
                    <a:cubicBezTo>
                      <a:pt x="447388" y="459581"/>
                      <a:pt x="432306" y="487363"/>
                      <a:pt x="435481" y="504825"/>
                    </a:cubicBezTo>
                    <a:cubicBezTo>
                      <a:pt x="438656" y="522288"/>
                      <a:pt x="457706" y="529431"/>
                      <a:pt x="468819" y="547687"/>
                    </a:cubicBezTo>
                    <a:cubicBezTo>
                      <a:pt x="479931" y="565943"/>
                      <a:pt x="506125" y="584200"/>
                      <a:pt x="502156" y="614362"/>
                    </a:cubicBezTo>
                    <a:cubicBezTo>
                      <a:pt x="498187" y="644524"/>
                      <a:pt x="465643" y="690562"/>
                      <a:pt x="445006" y="728662"/>
                    </a:cubicBezTo>
                    <a:cubicBezTo>
                      <a:pt x="424369" y="766762"/>
                      <a:pt x="390237" y="812006"/>
                      <a:pt x="378331" y="842962"/>
                    </a:cubicBezTo>
                    <a:cubicBezTo>
                      <a:pt x="366425" y="873918"/>
                      <a:pt x="382300" y="896938"/>
                      <a:pt x="373569" y="914400"/>
                    </a:cubicBezTo>
                    <a:cubicBezTo>
                      <a:pt x="364838" y="931862"/>
                      <a:pt x="332294" y="931862"/>
                      <a:pt x="325944" y="947737"/>
                    </a:cubicBezTo>
                    <a:cubicBezTo>
                      <a:pt x="319594" y="963612"/>
                      <a:pt x="334675" y="995363"/>
                      <a:pt x="335469" y="1009650"/>
                    </a:cubicBezTo>
                    <a:cubicBezTo>
                      <a:pt x="336263" y="1023937"/>
                      <a:pt x="342612" y="1019968"/>
                      <a:pt x="330706" y="1033462"/>
                    </a:cubicBezTo>
                    <a:cubicBezTo>
                      <a:pt x="318800" y="1046956"/>
                      <a:pt x="284668" y="1059656"/>
                      <a:pt x="264031" y="1090612"/>
                    </a:cubicBezTo>
                    <a:cubicBezTo>
                      <a:pt x="243394" y="1121568"/>
                      <a:pt x="225931" y="1192213"/>
                      <a:pt x="206881" y="1219200"/>
                    </a:cubicBezTo>
                    <a:cubicBezTo>
                      <a:pt x="187831" y="1246187"/>
                      <a:pt x="165606" y="1238250"/>
                      <a:pt x="149731" y="1252537"/>
                    </a:cubicBezTo>
                    <a:cubicBezTo>
                      <a:pt x="133856" y="1266825"/>
                      <a:pt x="133062" y="1293812"/>
                      <a:pt x="111631" y="1304925"/>
                    </a:cubicBezTo>
                    <a:cubicBezTo>
                      <a:pt x="90200" y="1316038"/>
                      <a:pt x="37019" y="1308893"/>
                      <a:pt x="21144" y="1319212"/>
                    </a:cubicBezTo>
                    <a:cubicBezTo>
                      <a:pt x="5269" y="1329531"/>
                      <a:pt x="19556" y="1348581"/>
                      <a:pt x="16381" y="1366837"/>
                    </a:cubicBezTo>
                    <a:cubicBezTo>
                      <a:pt x="13206" y="1385093"/>
                      <a:pt x="4475" y="1412081"/>
                      <a:pt x="2094" y="1428750"/>
                    </a:cubicBezTo>
                    <a:cubicBezTo>
                      <a:pt x="-287" y="1445419"/>
                      <a:pt x="-1081" y="1454944"/>
                      <a:pt x="2094" y="1466850"/>
                    </a:cubicBezTo>
                    <a:cubicBezTo>
                      <a:pt x="5269" y="1478756"/>
                      <a:pt x="20350" y="1484312"/>
                      <a:pt x="21144" y="1500187"/>
                    </a:cubicBezTo>
                    <a:cubicBezTo>
                      <a:pt x="21938" y="1516062"/>
                      <a:pt x="10031" y="1549400"/>
                      <a:pt x="6856" y="1562100"/>
                    </a:cubicBezTo>
                    <a:cubicBezTo>
                      <a:pt x="3681" y="1574800"/>
                      <a:pt x="2094" y="1576387"/>
                      <a:pt x="2094" y="1576387"/>
                    </a:cubicBezTo>
                    <a:lnTo>
                      <a:pt x="2094" y="1576387"/>
                    </a:lnTo>
                  </a:path>
                </a:pathLst>
              </a:custGeom>
              <a:noFill/>
              <a:ln w="15875" cmpd="sng">
                <a:solidFill>
                  <a:srgbClr val="9E3422"/>
                </a:solidFill>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45" name="Freeform 44"/>
              <p:cNvSpPr/>
              <p:nvPr/>
            </p:nvSpPr>
            <p:spPr>
              <a:xfrm>
                <a:off x="2153293" y="3387328"/>
                <a:ext cx="225764" cy="349541"/>
              </a:xfrm>
              <a:custGeom>
                <a:avLst/>
                <a:gdLst>
                  <a:gd name="connsiteX0" fmla="*/ 445812 w 445812"/>
                  <a:gd name="connsiteY0" fmla="*/ 0 h 2095500"/>
                  <a:gd name="connsiteX1" fmla="*/ 407712 w 445812"/>
                  <a:gd name="connsiteY1" fmla="*/ 66675 h 2095500"/>
                  <a:gd name="connsiteX2" fmla="*/ 353737 w 445812"/>
                  <a:gd name="connsiteY2" fmla="*/ 85725 h 2095500"/>
                  <a:gd name="connsiteX3" fmla="*/ 283887 w 445812"/>
                  <a:gd name="connsiteY3" fmla="*/ 98425 h 2095500"/>
                  <a:gd name="connsiteX4" fmla="*/ 223562 w 445812"/>
                  <a:gd name="connsiteY4" fmla="*/ 133350 h 2095500"/>
                  <a:gd name="connsiteX5" fmla="*/ 121962 w 445812"/>
                  <a:gd name="connsiteY5" fmla="*/ 196850 h 2095500"/>
                  <a:gd name="connsiteX6" fmla="*/ 131487 w 445812"/>
                  <a:gd name="connsiteY6" fmla="*/ 247650 h 2095500"/>
                  <a:gd name="connsiteX7" fmla="*/ 172762 w 445812"/>
                  <a:gd name="connsiteY7" fmla="*/ 276225 h 2095500"/>
                  <a:gd name="connsiteX8" fmla="*/ 185462 w 445812"/>
                  <a:gd name="connsiteY8" fmla="*/ 327025 h 2095500"/>
                  <a:gd name="connsiteX9" fmla="*/ 239437 w 445812"/>
                  <a:gd name="connsiteY9" fmla="*/ 368300 h 2095500"/>
                  <a:gd name="connsiteX10" fmla="*/ 239437 w 445812"/>
                  <a:gd name="connsiteY10" fmla="*/ 412750 h 2095500"/>
                  <a:gd name="connsiteX11" fmla="*/ 207687 w 445812"/>
                  <a:gd name="connsiteY11" fmla="*/ 454025 h 2095500"/>
                  <a:gd name="connsiteX12" fmla="*/ 287062 w 445812"/>
                  <a:gd name="connsiteY12" fmla="*/ 479425 h 2095500"/>
                  <a:gd name="connsiteX13" fmla="*/ 302937 w 445812"/>
                  <a:gd name="connsiteY13" fmla="*/ 511175 h 2095500"/>
                  <a:gd name="connsiteX14" fmla="*/ 210862 w 445812"/>
                  <a:gd name="connsiteY14" fmla="*/ 581025 h 2095500"/>
                  <a:gd name="connsiteX15" fmla="*/ 160062 w 445812"/>
                  <a:gd name="connsiteY15" fmla="*/ 638175 h 2095500"/>
                  <a:gd name="connsiteX16" fmla="*/ 160062 w 445812"/>
                  <a:gd name="connsiteY16" fmla="*/ 695325 h 2095500"/>
                  <a:gd name="connsiteX17" fmla="*/ 185462 w 445812"/>
                  <a:gd name="connsiteY17" fmla="*/ 784225 h 2095500"/>
                  <a:gd name="connsiteX18" fmla="*/ 194987 w 445812"/>
                  <a:gd name="connsiteY18" fmla="*/ 835025 h 2095500"/>
                  <a:gd name="connsiteX19" fmla="*/ 204512 w 445812"/>
                  <a:gd name="connsiteY19" fmla="*/ 885825 h 2095500"/>
                  <a:gd name="connsiteX20" fmla="*/ 220387 w 445812"/>
                  <a:gd name="connsiteY20" fmla="*/ 923925 h 2095500"/>
                  <a:gd name="connsiteX21" fmla="*/ 163237 w 445812"/>
                  <a:gd name="connsiteY21" fmla="*/ 1022350 h 2095500"/>
                  <a:gd name="connsiteX22" fmla="*/ 96562 w 445812"/>
                  <a:gd name="connsiteY22" fmla="*/ 1057275 h 2095500"/>
                  <a:gd name="connsiteX23" fmla="*/ 52112 w 445812"/>
                  <a:gd name="connsiteY23" fmla="*/ 1143000 h 2095500"/>
                  <a:gd name="connsiteX24" fmla="*/ 20362 w 445812"/>
                  <a:gd name="connsiteY24" fmla="*/ 1244600 h 2095500"/>
                  <a:gd name="connsiteX25" fmla="*/ 1312 w 445812"/>
                  <a:gd name="connsiteY25" fmla="*/ 1346200 h 2095500"/>
                  <a:gd name="connsiteX26" fmla="*/ 10837 w 445812"/>
                  <a:gd name="connsiteY26" fmla="*/ 1438275 h 2095500"/>
                  <a:gd name="connsiteX27" fmla="*/ 83862 w 445812"/>
                  <a:gd name="connsiteY27" fmla="*/ 1511300 h 2095500"/>
                  <a:gd name="connsiteX28" fmla="*/ 112437 w 445812"/>
                  <a:gd name="connsiteY28" fmla="*/ 1558925 h 2095500"/>
                  <a:gd name="connsiteX29" fmla="*/ 150537 w 445812"/>
                  <a:gd name="connsiteY29" fmla="*/ 1590675 h 2095500"/>
                  <a:gd name="connsiteX30" fmla="*/ 169587 w 445812"/>
                  <a:gd name="connsiteY30" fmla="*/ 1644650 h 2095500"/>
                  <a:gd name="connsiteX31" fmla="*/ 226737 w 445812"/>
                  <a:gd name="connsiteY31" fmla="*/ 1685925 h 2095500"/>
                  <a:gd name="connsiteX32" fmla="*/ 264837 w 445812"/>
                  <a:gd name="connsiteY32" fmla="*/ 1730375 h 2095500"/>
                  <a:gd name="connsiteX33" fmla="*/ 277537 w 445812"/>
                  <a:gd name="connsiteY33" fmla="*/ 1758950 h 2095500"/>
                  <a:gd name="connsiteX34" fmla="*/ 277537 w 445812"/>
                  <a:gd name="connsiteY34" fmla="*/ 1828800 h 2095500"/>
                  <a:gd name="connsiteX35" fmla="*/ 325162 w 445812"/>
                  <a:gd name="connsiteY35" fmla="*/ 1905000 h 2095500"/>
                  <a:gd name="connsiteX36" fmla="*/ 363262 w 445812"/>
                  <a:gd name="connsiteY36" fmla="*/ 1962150 h 2095500"/>
                  <a:gd name="connsiteX37" fmla="*/ 369612 w 445812"/>
                  <a:gd name="connsiteY37" fmla="*/ 2028825 h 2095500"/>
                  <a:gd name="connsiteX38" fmla="*/ 417237 w 445812"/>
                  <a:gd name="connsiteY38" fmla="*/ 2095500 h 2095500"/>
                  <a:gd name="connsiteX0" fmla="*/ 445812 w 445812"/>
                  <a:gd name="connsiteY0" fmla="*/ 0 h 2495550"/>
                  <a:gd name="connsiteX1" fmla="*/ 407712 w 445812"/>
                  <a:gd name="connsiteY1" fmla="*/ 66675 h 2495550"/>
                  <a:gd name="connsiteX2" fmla="*/ 353737 w 445812"/>
                  <a:gd name="connsiteY2" fmla="*/ 85725 h 2495550"/>
                  <a:gd name="connsiteX3" fmla="*/ 283887 w 445812"/>
                  <a:gd name="connsiteY3" fmla="*/ 98425 h 2495550"/>
                  <a:gd name="connsiteX4" fmla="*/ 223562 w 445812"/>
                  <a:gd name="connsiteY4" fmla="*/ 133350 h 2495550"/>
                  <a:gd name="connsiteX5" fmla="*/ 121962 w 445812"/>
                  <a:gd name="connsiteY5" fmla="*/ 196850 h 2495550"/>
                  <a:gd name="connsiteX6" fmla="*/ 131487 w 445812"/>
                  <a:gd name="connsiteY6" fmla="*/ 247650 h 2495550"/>
                  <a:gd name="connsiteX7" fmla="*/ 172762 w 445812"/>
                  <a:gd name="connsiteY7" fmla="*/ 276225 h 2495550"/>
                  <a:gd name="connsiteX8" fmla="*/ 185462 w 445812"/>
                  <a:gd name="connsiteY8" fmla="*/ 327025 h 2495550"/>
                  <a:gd name="connsiteX9" fmla="*/ 239437 w 445812"/>
                  <a:gd name="connsiteY9" fmla="*/ 368300 h 2495550"/>
                  <a:gd name="connsiteX10" fmla="*/ 239437 w 445812"/>
                  <a:gd name="connsiteY10" fmla="*/ 412750 h 2495550"/>
                  <a:gd name="connsiteX11" fmla="*/ 207687 w 445812"/>
                  <a:gd name="connsiteY11" fmla="*/ 454025 h 2495550"/>
                  <a:gd name="connsiteX12" fmla="*/ 287062 w 445812"/>
                  <a:gd name="connsiteY12" fmla="*/ 479425 h 2495550"/>
                  <a:gd name="connsiteX13" fmla="*/ 302937 w 445812"/>
                  <a:gd name="connsiteY13" fmla="*/ 511175 h 2495550"/>
                  <a:gd name="connsiteX14" fmla="*/ 210862 w 445812"/>
                  <a:gd name="connsiteY14" fmla="*/ 581025 h 2495550"/>
                  <a:gd name="connsiteX15" fmla="*/ 160062 w 445812"/>
                  <a:gd name="connsiteY15" fmla="*/ 638175 h 2495550"/>
                  <a:gd name="connsiteX16" fmla="*/ 160062 w 445812"/>
                  <a:gd name="connsiteY16" fmla="*/ 695325 h 2495550"/>
                  <a:gd name="connsiteX17" fmla="*/ 185462 w 445812"/>
                  <a:gd name="connsiteY17" fmla="*/ 784225 h 2495550"/>
                  <a:gd name="connsiteX18" fmla="*/ 194987 w 445812"/>
                  <a:gd name="connsiteY18" fmla="*/ 835025 h 2495550"/>
                  <a:gd name="connsiteX19" fmla="*/ 204512 w 445812"/>
                  <a:gd name="connsiteY19" fmla="*/ 885825 h 2495550"/>
                  <a:gd name="connsiteX20" fmla="*/ 220387 w 445812"/>
                  <a:gd name="connsiteY20" fmla="*/ 923925 h 2495550"/>
                  <a:gd name="connsiteX21" fmla="*/ 163237 w 445812"/>
                  <a:gd name="connsiteY21" fmla="*/ 1022350 h 2495550"/>
                  <a:gd name="connsiteX22" fmla="*/ 96562 w 445812"/>
                  <a:gd name="connsiteY22" fmla="*/ 1057275 h 2495550"/>
                  <a:gd name="connsiteX23" fmla="*/ 52112 w 445812"/>
                  <a:gd name="connsiteY23" fmla="*/ 1143000 h 2495550"/>
                  <a:gd name="connsiteX24" fmla="*/ 20362 w 445812"/>
                  <a:gd name="connsiteY24" fmla="*/ 1244600 h 2495550"/>
                  <a:gd name="connsiteX25" fmla="*/ 1312 w 445812"/>
                  <a:gd name="connsiteY25" fmla="*/ 1346200 h 2495550"/>
                  <a:gd name="connsiteX26" fmla="*/ 10837 w 445812"/>
                  <a:gd name="connsiteY26" fmla="*/ 1438275 h 2495550"/>
                  <a:gd name="connsiteX27" fmla="*/ 83862 w 445812"/>
                  <a:gd name="connsiteY27" fmla="*/ 1511300 h 2495550"/>
                  <a:gd name="connsiteX28" fmla="*/ 112437 w 445812"/>
                  <a:gd name="connsiteY28" fmla="*/ 1558925 h 2495550"/>
                  <a:gd name="connsiteX29" fmla="*/ 150537 w 445812"/>
                  <a:gd name="connsiteY29" fmla="*/ 1590675 h 2495550"/>
                  <a:gd name="connsiteX30" fmla="*/ 169587 w 445812"/>
                  <a:gd name="connsiteY30" fmla="*/ 1644650 h 2495550"/>
                  <a:gd name="connsiteX31" fmla="*/ 226737 w 445812"/>
                  <a:gd name="connsiteY31" fmla="*/ 1685925 h 2495550"/>
                  <a:gd name="connsiteX32" fmla="*/ 264837 w 445812"/>
                  <a:gd name="connsiteY32" fmla="*/ 1730375 h 2495550"/>
                  <a:gd name="connsiteX33" fmla="*/ 277537 w 445812"/>
                  <a:gd name="connsiteY33" fmla="*/ 1758950 h 2495550"/>
                  <a:gd name="connsiteX34" fmla="*/ 277537 w 445812"/>
                  <a:gd name="connsiteY34" fmla="*/ 1828800 h 2495550"/>
                  <a:gd name="connsiteX35" fmla="*/ 325162 w 445812"/>
                  <a:gd name="connsiteY35" fmla="*/ 1905000 h 2495550"/>
                  <a:gd name="connsiteX36" fmla="*/ 363262 w 445812"/>
                  <a:gd name="connsiteY36" fmla="*/ 1962150 h 2495550"/>
                  <a:gd name="connsiteX37" fmla="*/ 369612 w 445812"/>
                  <a:gd name="connsiteY37" fmla="*/ 2028825 h 2495550"/>
                  <a:gd name="connsiteX38" fmla="*/ 226737 w 445812"/>
                  <a:gd name="connsiteY38" fmla="*/ 2495550 h 2495550"/>
                  <a:gd name="connsiteX0" fmla="*/ 445812 w 445812"/>
                  <a:gd name="connsiteY0" fmla="*/ 0 h 2495550"/>
                  <a:gd name="connsiteX1" fmla="*/ 407712 w 445812"/>
                  <a:gd name="connsiteY1" fmla="*/ 66675 h 2495550"/>
                  <a:gd name="connsiteX2" fmla="*/ 353737 w 445812"/>
                  <a:gd name="connsiteY2" fmla="*/ 85725 h 2495550"/>
                  <a:gd name="connsiteX3" fmla="*/ 283887 w 445812"/>
                  <a:gd name="connsiteY3" fmla="*/ 98425 h 2495550"/>
                  <a:gd name="connsiteX4" fmla="*/ 223562 w 445812"/>
                  <a:gd name="connsiteY4" fmla="*/ 133350 h 2495550"/>
                  <a:gd name="connsiteX5" fmla="*/ 121962 w 445812"/>
                  <a:gd name="connsiteY5" fmla="*/ 196850 h 2495550"/>
                  <a:gd name="connsiteX6" fmla="*/ 131487 w 445812"/>
                  <a:gd name="connsiteY6" fmla="*/ 247650 h 2495550"/>
                  <a:gd name="connsiteX7" fmla="*/ 172762 w 445812"/>
                  <a:gd name="connsiteY7" fmla="*/ 276225 h 2495550"/>
                  <a:gd name="connsiteX8" fmla="*/ 185462 w 445812"/>
                  <a:gd name="connsiteY8" fmla="*/ 327025 h 2495550"/>
                  <a:gd name="connsiteX9" fmla="*/ 239437 w 445812"/>
                  <a:gd name="connsiteY9" fmla="*/ 368300 h 2495550"/>
                  <a:gd name="connsiteX10" fmla="*/ 239437 w 445812"/>
                  <a:gd name="connsiteY10" fmla="*/ 412750 h 2495550"/>
                  <a:gd name="connsiteX11" fmla="*/ 207687 w 445812"/>
                  <a:gd name="connsiteY11" fmla="*/ 454025 h 2495550"/>
                  <a:gd name="connsiteX12" fmla="*/ 287062 w 445812"/>
                  <a:gd name="connsiteY12" fmla="*/ 479425 h 2495550"/>
                  <a:gd name="connsiteX13" fmla="*/ 302937 w 445812"/>
                  <a:gd name="connsiteY13" fmla="*/ 511175 h 2495550"/>
                  <a:gd name="connsiteX14" fmla="*/ 210862 w 445812"/>
                  <a:gd name="connsiteY14" fmla="*/ 581025 h 2495550"/>
                  <a:gd name="connsiteX15" fmla="*/ 160062 w 445812"/>
                  <a:gd name="connsiteY15" fmla="*/ 638175 h 2495550"/>
                  <a:gd name="connsiteX16" fmla="*/ 160062 w 445812"/>
                  <a:gd name="connsiteY16" fmla="*/ 695325 h 2495550"/>
                  <a:gd name="connsiteX17" fmla="*/ 185462 w 445812"/>
                  <a:gd name="connsiteY17" fmla="*/ 784225 h 2495550"/>
                  <a:gd name="connsiteX18" fmla="*/ 194987 w 445812"/>
                  <a:gd name="connsiteY18" fmla="*/ 835025 h 2495550"/>
                  <a:gd name="connsiteX19" fmla="*/ 204512 w 445812"/>
                  <a:gd name="connsiteY19" fmla="*/ 885825 h 2495550"/>
                  <a:gd name="connsiteX20" fmla="*/ 220387 w 445812"/>
                  <a:gd name="connsiteY20" fmla="*/ 923925 h 2495550"/>
                  <a:gd name="connsiteX21" fmla="*/ 163237 w 445812"/>
                  <a:gd name="connsiteY21" fmla="*/ 1022350 h 2495550"/>
                  <a:gd name="connsiteX22" fmla="*/ 96562 w 445812"/>
                  <a:gd name="connsiteY22" fmla="*/ 1057275 h 2495550"/>
                  <a:gd name="connsiteX23" fmla="*/ 52112 w 445812"/>
                  <a:gd name="connsiteY23" fmla="*/ 1143000 h 2495550"/>
                  <a:gd name="connsiteX24" fmla="*/ 20362 w 445812"/>
                  <a:gd name="connsiteY24" fmla="*/ 1244600 h 2495550"/>
                  <a:gd name="connsiteX25" fmla="*/ 1312 w 445812"/>
                  <a:gd name="connsiteY25" fmla="*/ 1346200 h 2495550"/>
                  <a:gd name="connsiteX26" fmla="*/ 10837 w 445812"/>
                  <a:gd name="connsiteY26" fmla="*/ 1438275 h 2495550"/>
                  <a:gd name="connsiteX27" fmla="*/ 83862 w 445812"/>
                  <a:gd name="connsiteY27" fmla="*/ 1511300 h 2495550"/>
                  <a:gd name="connsiteX28" fmla="*/ 112437 w 445812"/>
                  <a:gd name="connsiteY28" fmla="*/ 1558925 h 2495550"/>
                  <a:gd name="connsiteX29" fmla="*/ 150537 w 445812"/>
                  <a:gd name="connsiteY29" fmla="*/ 1590675 h 2495550"/>
                  <a:gd name="connsiteX30" fmla="*/ 169587 w 445812"/>
                  <a:gd name="connsiteY30" fmla="*/ 1644650 h 2495550"/>
                  <a:gd name="connsiteX31" fmla="*/ 226737 w 445812"/>
                  <a:gd name="connsiteY31" fmla="*/ 1685925 h 2495550"/>
                  <a:gd name="connsiteX32" fmla="*/ 264837 w 445812"/>
                  <a:gd name="connsiteY32" fmla="*/ 1730375 h 2495550"/>
                  <a:gd name="connsiteX33" fmla="*/ 277537 w 445812"/>
                  <a:gd name="connsiteY33" fmla="*/ 1758950 h 2495550"/>
                  <a:gd name="connsiteX34" fmla="*/ 277537 w 445812"/>
                  <a:gd name="connsiteY34" fmla="*/ 1828800 h 2495550"/>
                  <a:gd name="connsiteX35" fmla="*/ 325162 w 445812"/>
                  <a:gd name="connsiteY35" fmla="*/ 1905000 h 2495550"/>
                  <a:gd name="connsiteX36" fmla="*/ 363262 w 445812"/>
                  <a:gd name="connsiteY36" fmla="*/ 1962150 h 2495550"/>
                  <a:gd name="connsiteX37" fmla="*/ 369612 w 445812"/>
                  <a:gd name="connsiteY37" fmla="*/ 2028825 h 2495550"/>
                  <a:gd name="connsiteX38" fmla="*/ 414062 w 445812"/>
                  <a:gd name="connsiteY38" fmla="*/ 2209800 h 2495550"/>
                  <a:gd name="connsiteX39" fmla="*/ 226737 w 445812"/>
                  <a:gd name="connsiteY39" fmla="*/ 2495550 h 2495550"/>
                  <a:gd name="connsiteX0" fmla="*/ 445812 w 445812"/>
                  <a:gd name="connsiteY0" fmla="*/ 0 h 2495550"/>
                  <a:gd name="connsiteX1" fmla="*/ 407712 w 445812"/>
                  <a:gd name="connsiteY1" fmla="*/ 66675 h 2495550"/>
                  <a:gd name="connsiteX2" fmla="*/ 353737 w 445812"/>
                  <a:gd name="connsiteY2" fmla="*/ 85725 h 2495550"/>
                  <a:gd name="connsiteX3" fmla="*/ 283887 w 445812"/>
                  <a:gd name="connsiteY3" fmla="*/ 98425 h 2495550"/>
                  <a:gd name="connsiteX4" fmla="*/ 223562 w 445812"/>
                  <a:gd name="connsiteY4" fmla="*/ 133350 h 2495550"/>
                  <a:gd name="connsiteX5" fmla="*/ 121962 w 445812"/>
                  <a:gd name="connsiteY5" fmla="*/ 196850 h 2495550"/>
                  <a:gd name="connsiteX6" fmla="*/ 131487 w 445812"/>
                  <a:gd name="connsiteY6" fmla="*/ 247650 h 2495550"/>
                  <a:gd name="connsiteX7" fmla="*/ 172762 w 445812"/>
                  <a:gd name="connsiteY7" fmla="*/ 276225 h 2495550"/>
                  <a:gd name="connsiteX8" fmla="*/ 185462 w 445812"/>
                  <a:gd name="connsiteY8" fmla="*/ 327025 h 2495550"/>
                  <a:gd name="connsiteX9" fmla="*/ 239437 w 445812"/>
                  <a:gd name="connsiteY9" fmla="*/ 368300 h 2495550"/>
                  <a:gd name="connsiteX10" fmla="*/ 239437 w 445812"/>
                  <a:gd name="connsiteY10" fmla="*/ 412750 h 2495550"/>
                  <a:gd name="connsiteX11" fmla="*/ 207687 w 445812"/>
                  <a:gd name="connsiteY11" fmla="*/ 454025 h 2495550"/>
                  <a:gd name="connsiteX12" fmla="*/ 287062 w 445812"/>
                  <a:gd name="connsiteY12" fmla="*/ 479425 h 2495550"/>
                  <a:gd name="connsiteX13" fmla="*/ 302937 w 445812"/>
                  <a:gd name="connsiteY13" fmla="*/ 511175 h 2495550"/>
                  <a:gd name="connsiteX14" fmla="*/ 210862 w 445812"/>
                  <a:gd name="connsiteY14" fmla="*/ 581025 h 2495550"/>
                  <a:gd name="connsiteX15" fmla="*/ 160062 w 445812"/>
                  <a:gd name="connsiteY15" fmla="*/ 638175 h 2495550"/>
                  <a:gd name="connsiteX16" fmla="*/ 160062 w 445812"/>
                  <a:gd name="connsiteY16" fmla="*/ 695325 h 2495550"/>
                  <a:gd name="connsiteX17" fmla="*/ 185462 w 445812"/>
                  <a:gd name="connsiteY17" fmla="*/ 784225 h 2495550"/>
                  <a:gd name="connsiteX18" fmla="*/ 194987 w 445812"/>
                  <a:gd name="connsiteY18" fmla="*/ 835025 h 2495550"/>
                  <a:gd name="connsiteX19" fmla="*/ 204512 w 445812"/>
                  <a:gd name="connsiteY19" fmla="*/ 885825 h 2495550"/>
                  <a:gd name="connsiteX20" fmla="*/ 220387 w 445812"/>
                  <a:gd name="connsiteY20" fmla="*/ 923925 h 2495550"/>
                  <a:gd name="connsiteX21" fmla="*/ 163237 w 445812"/>
                  <a:gd name="connsiteY21" fmla="*/ 1022350 h 2495550"/>
                  <a:gd name="connsiteX22" fmla="*/ 96562 w 445812"/>
                  <a:gd name="connsiteY22" fmla="*/ 1057275 h 2495550"/>
                  <a:gd name="connsiteX23" fmla="*/ 52112 w 445812"/>
                  <a:gd name="connsiteY23" fmla="*/ 1143000 h 2495550"/>
                  <a:gd name="connsiteX24" fmla="*/ 20362 w 445812"/>
                  <a:gd name="connsiteY24" fmla="*/ 1244600 h 2495550"/>
                  <a:gd name="connsiteX25" fmla="*/ 1312 w 445812"/>
                  <a:gd name="connsiteY25" fmla="*/ 1346200 h 2495550"/>
                  <a:gd name="connsiteX26" fmla="*/ 10837 w 445812"/>
                  <a:gd name="connsiteY26" fmla="*/ 1438275 h 2495550"/>
                  <a:gd name="connsiteX27" fmla="*/ 83862 w 445812"/>
                  <a:gd name="connsiteY27" fmla="*/ 1511300 h 2495550"/>
                  <a:gd name="connsiteX28" fmla="*/ 112437 w 445812"/>
                  <a:gd name="connsiteY28" fmla="*/ 1558925 h 2495550"/>
                  <a:gd name="connsiteX29" fmla="*/ 150537 w 445812"/>
                  <a:gd name="connsiteY29" fmla="*/ 1590675 h 2495550"/>
                  <a:gd name="connsiteX30" fmla="*/ 169587 w 445812"/>
                  <a:gd name="connsiteY30" fmla="*/ 1644650 h 2495550"/>
                  <a:gd name="connsiteX31" fmla="*/ 226737 w 445812"/>
                  <a:gd name="connsiteY31" fmla="*/ 1685925 h 2495550"/>
                  <a:gd name="connsiteX32" fmla="*/ 264837 w 445812"/>
                  <a:gd name="connsiteY32" fmla="*/ 1730375 h 2495550"/>
                  <a:gd name="connsiteX33" fmla="*/ 277537 w 445812"/>
                  <a:gd name="connsiteY33" fmla="*/ 1758950 h 2495550"/>
                  <a:gd name="connsiteX34" fmla="*/ 277537 w 445812"/>
                  <a:gd name="connsiteY34" fmla="*/ 1828800 h 2495550"/>
                  <a:gd name="connsiteX35" fmla="*/ 325162 w 445812"/>
                  <a:gd name="connsiteY35" fmla="*/ 1905000 h 2495550"/>
                  <a:gd name="connsiteX36" fmla="*/ 363262 w 445812"/>
                  <a:gd name="connsiteY36" fmla="*/ 1962150 h 2495550"/>
                  <a:gd name="connsiteX37" fmla="*/ 369612 w 445812"/>
                  <a:gd name="connsiteY37" fmla="*/ 2028825 h 2495550"/>
                  <a:gd name="connsiteX38" fmla="*/ 407712 w 445812"/>
                  <a:gd name="connsiteY38" fmla="*/ 2085975 h 2495550"/>
                  <a:gd name="connsiteX39" fmla="*/ 414062 w 445812"/>
                  <a:gd name="connsiteY39" fmla="*/ 2209800 h 2495550"/>
                  <a:gd name="connsiteX40" fmla="*/ 226737 w 445812"/>
                  <a:gd name="connsiteY40" fmla="*/ 2495550 h 2495550"/>
                  <a:gd name="connsiteX0" fmla="*/ 445812 w 445812"/>
                  <a:gd name="connsiteY0" fmla="*/ 0 h 2495550"/>
                  <a:gd name="connsiteX1" fmla="*/ 407712 w 445812"/>
                  <a:gd name="connsiteY1" fmla="*/ 66675 h 2495550"/>
                  <a:gd name="connsiteX2" fmla="*/ 353737 w 445812"/>
                  <a:gd name="connsiteY2" fmla="*/ 85725 h 2495550"/>
                  <a:gd name="connsiteX3" fmla="*/ 283887 w 445812"/>
                  <a:gd name="connsiteY3" fmla="*/ 98425 h 2495550"/>
                  <a:gd name="connsiteX4" fmla="*/ 223562 w 445812"/>
                  <a:gd name="connsiteY4" fmla="*/ 133350 h 2495550"/>
                  <a:gd name="connsiteX5" fmla="*/ 121962 w 445812"/>
                  <a:gd name="connsiteY5" fmla="*/ 196850 h 2495550"/>
                  <a:gd name="connsiteX6" fmla="*/ 131487 w 445812"/>
                  <a:gd name="connsiteY6" fmla="*/ 247650 h 2495550"/>
                  <a:gd name="connsiteX7" fmla="*/ 172762 w 445812"/>
                  <a:gd name="connsiteY7" fmla="*/ 276225 h 2495550"/>
                  <a:gd name="connsiteX8" fmla="*/ 185462 w 445812"/>
                  <a:gd name="connsiteY8" fmla="*/ 327025 h 2495550"/>
                  <a:gd name="connsiteX9" fmla="*/ 239437 w 445812"/>
                  <a:gd name="connsiteY9" fmla="*/ 368300 h 2495550"/>
                  <a:gd name="connsiteX10" fmla="*/ 239437 w 445812"/>
                  <a:gd name="connsiteY10" fmla="*/ 412750 h 2495550"/>
                  <a:gd name="connsiteX11" fmla="*/ 207687 w 445812"/>
                  <a:gd name="connsiteY11" fmla="*/ 454025 h 2495550"/>
                  <a:gd name="connsiteX12" fmla="*/ 287062 w 445812"/>
                  <a:gd name="connsiteY12" fmla="*/ 479425 h 2495550"/>
                  <a:gd name="connsiteX13" fmla="*/ 302937 w 445812"/>
                  <a:gd name="connsiteY13" fmla="*/ 511175 h 2495550"/>
                  <a:gd name="connsiteX14" fmla="*/ 210862 w 445812"/>
                  <a:gd name="connsiteY14" fmla="*/ 581025 h 2495550"/>
                  <a:gd name="connsiteX15" fmla="*/ 160062 w 445812"/>
                  <a:gd name="connsiteY15" fmla="*/ 638175 h 2495550"/>
                  <a:gd name="connsiteX16" fmla="*/ 160062 w 445812"/>
                  <a:gd name="connsiteY16" fmla="*/ 695325 h 2495550"/>
                  <a:gd name="connsiteX17" fmla="*/ 185462 w 445812"/>
                  <a:gd name="connsiteY17" fmla="*/ 784225 h 2495550"/>
                  <a:gd name="connsiteX18" fmla="*/ 194987 w 445812"/>
                  <a:gd name="connsiteY18" fmla="*/ 835025 h 2495550"/>
                  <a:gd name="connsiteX19" fmla="*/ 204512 w 445812"/>
                  <a:gd name="connsiteY19" fmla="*/ 885825 h 2495550"/>
                  <a:gd name="connsiteX20" fmla="*/ 220387 w 445812"/>
                  <a:gd name="connsiteY20" fmla="*/ 923925 h 2495550"/>
                  <a:gd name="connsiteX21" fmla="*/ 163237 w 445812"/>
                  <a:gd name="connsiteY21" fmla="*/ 1022350 h 2495550"/>
                  <a:gd name="connsiteX22" fmla="*/ 96562 w 445812"/>
                  <a:gd name="connsiteY22" fmla="*/ 1057275 h 2495550"/>
                  <a:gd name="connsiteX23" fmla="*/ 52112 w 445812"/>
                  <a:gd name="connsiteY23" fmla="*/ 1143000 h 2495550"/>
                  <a:gd name="connsiteX24" fmla="*/ 20362 w 445812"/>
                  <a:gd name="connsiteY24" fmla="*/ 1244600 h 2495550"/>
                  <a:gd name="connsiteX25" fmla="*/ 1312 w 445812"/>
                  <a:gd name="connsiteY25" fmla="*/ 1346200 h 2495550"/>
                  <a:gd name="connsiteX26" fmla="*/ 10837 w 445812"/>
                  <a:gd name="connsiteY26" fmla="*/ 1438275 h 2495550"/>
                  <a:gd name="connsiteX27" fmla="*/ 83862 w 445812"/>
                  <a:gd name="connsiteY27" fmla="*/ 1511300 h 2495550"/>
                  <a:gd name="connsiteX28" fmla="*/ 112437 w 445812"/>
                  <a:gd name="connsiteY28" fmla="*/ 1558925 h 2495550"/>
                  <a:gd name="connsiteX29" fmla="*/ 150537 w 445812"/>
                  <a:gd name="connsiteY29" fmla="*/ 1590675 h 2495550"/>
                  <a:gd name="connsiteX30" fmla="*/ 169587 w 445812"/>
                  <a:gd name="connsiteY30" fmla="*/ 1644650 h 2495550"/>
                  <a:gd name="connsiteX31" fmla="*/ 226737 w 445812"/>
                  <a:gd name="connsiteY31" fmla="*/ 1685925 h 2495550"/>
                  <a:gd name="connsiteX32" fmla="*/ 264837 w 445812"/>
                  <a:gd name="connsiteY32" fmla="*/ 1730375 h 2495550"/>
                  <a:gd name="connsiteX33" fmla="*/ 277537 w 445812"/>
                  <a:gd name="connsiteY33" fmla="*/ 1758950 h 2495550"/>
                  <a:gd name="connsiteX34" fmla="*/ 277537 w 445812"/>
                  <a:gd name="connsiteY34" fmla="*/ 1828800 h 2495550"/>
                  <a:gd name="connsiteX35" fmla="*/ 325162 w 445812"/>
                  <a:gd name="connsiteY35" fmla="*/ 1905000 h 2495550"/>
                  <a:gd name="connsiteX36" fmla="*/ 363262 w 445812"/>
                  <a:gd name="connsiteY36" fmla="*/ 1962150 h 2495550"/>
                  <a:gd name="connsiteX37" fmla="*/ 369612 w 445812"/>
                  <a:gd name="connsiteY37" fmla="*/ 2028825 h 2495550"/>
                  <a:gd name="connsiteX38" fmla="*/ 407712 w 445812"/>
                  <a:gd name="connsiteY38" fmla="*/ 2085975 h 2495550"/>
                  <a:gd name="connsiteX39" fmla="*/ 414062 w 445812"/>
                  <a:gd name="connsiteY39" fmla="*/ 2209800 h 2495550"/>
                  <a:gd name="connsiteX40" fmla="*/ 252137 w 445812"/>
                  <a:gd name="connsiteY40" fmla="*/ 2251075 h 2495550"/>
                  <a:gd name="connsiteX41" fmla="*/ 226737 w 445812"/>
                  <a:gd name="connsiteY41" fmla="*/ 2495550 h 2495550"/>
                  <a:gd name="connsiteX0" fmla="*/ 445812 w 445812"/>
                  <a:gd name="connsiteY0" fmla="*/ 0 h 2495550"/>
                  <a:gd name="connsiteX1" fmla="*/ 407712 w 445812"/>
                  <a:gd name="connsiteY1" fmla="*/ 66675 h 2495550"/>
                  <a:gd name="connsiteX2" fmla="*/ 353737 w 445812"/>
                  <a:gd name="connsiteY2" fmla="*/ 85725 h 2495550"/>
                  <a:gd name="connsiteX3" fmla="*/ 283887 w 445812"/>
                  <a:gd name="connsiteY3" fmla="*/ 98425 h 2495550"/>
                  <a:gd name="connsiteX4" fmla="*/ 223562 w 445812"/>
                  <a:gd name="connsiteY4" fmla="*/ 133350 h 2495550"/>
                  <a:gd name="connsiteX5" fmla="*/ 121962 w 445812"/>
                  <a:gd name="connsiteY5" fmla="*/ 196850 h 2495550"/>
                  <a:gd name="connsiteX6" fmla="*/ 131487 w 445812"/>
                  <a:gd name="connsiteY6" fmla="*/ 247650 h 2495550"/>
                  <a:gd name="connsiteX7" fmla="*/ 172762 w 445812"/>
                  <a:gd name="connsiteY7" fmla="*/ 276225 h 2495550"/>
                  <a:gd name="connsiteX8" fmla="*/ 185462 w 445812"/>
                  <a:gd name="connsiteY8" fmla="*/ 327025 h 2495550"/>
                  <a:gd name="connsiteX9" fmla="*/ 239437 w 445812"/>
                  <a:gd name="connsiteY9" fmla="*/ 368300 h 2495550"/>
                  <a:gd name="connsiteX10" fmla="*/ 239437 w 445812"/>
                  <a:gd name="connsiteY10" fmla="*/ 412750 h 2495550"/>
                  <a:gd name="connsiteX11" fmla="*/ 207687 w 445812"/>
                  <a:gd name="connsiteY11" fmla="*/ 454025 h 2495550"/>
                  <a:gd name="connsiteX12" fmla="*/ 287062 w 445812"/>
                  <a:gd name="connsiteY12" fmla="*/ 479425 h 2495550"/>
                  <a:gd name="connsiteX13" fmla="*/ 302937 w 445812"/>
                  <a:gd name="connsiteY13" fmla="*/ 511175 h 2495550"/>
                  <a:gd name="connsiteX14" fmla="*/ 210862 w 445812"/>
                  <a:gd name="connsiteY14" fmla="*/ 581025 h 2495550"/>
                  <a:gd name="connsiteX15" fmla="*/ 160062 w 445812"/>
                  <a:gd name="connsiteY15" fmla="*/ 638175 h 2495550"/>
                  <a:gd name="connsiteX16" fmla="*/ 160062 w 445812"/>
                  <a:gd name="connsiteY16" fmla="*/ 695325 h 2495550"/>
                  <a:gd name="connsiteX17" fmla="*/ 185462 w 445812"/>
                  <a:gd name="connsiteY17" fmla="*/ 784225 h 2495550"/>
                  <a:gd name="connsiteX18" fmla="*/ 194987 w 445812"/>
                  <a:gd name="connsiteY18" fmla="*/ 835025 h 2495550"/>
                  <a:gd name="connsiteX19" fmla="*/ 204512 w 445812"/>
                  <a:gd name="connsiteY19" fmla="*/ 885825 h 2495550"/>
                  <a:gd name="connsiteX20" fmla="*/ 220387 w 445812"/>
                  <a:gd name="connsiteY20" fmla="*/ 923925 h 2495550"/>
                  <a:gd name="connsiteX21" fmla="*/ 163237 w 445812"/>
                  <a:gd name="connsiteY21" fmla="*/ 1022350 h 2495550"/>
                  <a:gd name="connsiteX22" fmla="*/ 96562 w 445812"/>
                  <a:gd name="connsiteY22" fmla="*/ 1057275 h 2495550"/>
                  <a:gd name="connsiteX23" fmla="*/ 52112 w 445812"/>
                  <a:gd name="connsiteY23" fmla="*/ 1143000 h 2495550"/>
                  <a:gd name="connsiteX24" fmla="*/ 20362 w 445812"/>
                  <a:gd name="connsiteY24" fmla="*/ 1244600 h 2495550"/>
                  <a:gd name="connsiteX25" fmla="*/ 1312 w 445812"/>
                  <a:gd name="connsiteY25" fmla="*/ 1346200 h 2495550"/>
                  <a:gd name="connsiteX26" fmla="*/ 10837 w 445812"/>
                  <a:gd name="connsiteY26" fmla="*/ 1438275 h 2495550"/>
                  <a:gd name="connsiteX27" fmla="*/ 83862 w 445812"/>
                  <a:gd name="connsiteY27" fmla="*/ 1511300 h 2495550"/>
                  <a:gd name="connsiteX28" fmla="*/ 112437 w 445812"/>
                  <a:gd name="connsiteY28" fmla="*/ 1558925 h 2495550"/>
                  <a:gd name="connsiteX29" fmla="*/ 150537 w 445812"/>
                  <a:gd name="connsiteY29" fmla="*/ 1590675 h 2495550"/>
                  <a:gd name="connsiteX30" fmla="*/ 169587 w 445812"/>
                  <a:gd name="connsiteY30" fmla="*/ 1644650 h 2495550"/>
                  <a:gd name="connsiteX31" fmla="*/ 226737 w 445812"/>
                  <a:gd name="connsiteY31" fmla="*/ 1685925 h 2495550"/>
                  <a:gd name="connsiteX32" fmla="*/ 264837 w 445812"/>
                  <a:gd name="connsiteY32" fmla="*/ 1730375 h 2495550"/>
                  <a:gd name="connsiteX33" fmla="*/ 277537 w 445812"/>
                  <a:gd name="connsiteY33" fmla="*/ 1758950 h 2495550"/>
                  <a:gd name="connsiteX34" fmla="*/ 277537 w 445812"/>
                  <a:gd name="connsiteY34" fmla="*/ 1828800 h 2495550"/>
                  <a:gd name="connsiteX35" fmla="*/ 325162 w 445812"/>
                  <a:gd name="connsiteY35" fmla="*/ 1905000 h 2495550"/>
                  <a:gd name="connsiteX36" fmla="*/ 363262 w 445812"/>
                  <a:gd name="connsiteY36" fmla="*/ 1962150 h 2495550"/>
                  <a:gd name="connsiteX37" fmla="*/ 369612 w 445812"/>
                  <a:gd name="connsiteY37" fmla="*/ 2028825 h 2495550"/>
                  <a:gd name="connsiteX38" fmla="*/ 407712 w 445812"/>
                  <a:gd name="connsiteY38" fmla="*/ 2085975 h 2495550"/>
                  <a:gd name="connsiteX39" fmla="*/ 414062 w 445812"/>
                  <a:gd name="connsiteY39" fmla="*/ 2209800 h 2495550"/>
                  <a:gd name="connsiteX40" fmla="*/ 252137 w 445812"/>
                  <a:gd name="connsiteY40" fmla="*/ 2251075 h 2495550"/>
                  <a:gd name="connsiteX41" fmla="*/ 226737 w 445812"/>
                  <a:gd name="connsiteY41" fmla="*/ 2495550 h 2495550"/>
                  <a:gd name="connsiteX0" fmla="*/ 445812 w 445812"/>
                  <a:gd name="connsiteY0" fmla="*/ 0 h 2968625"/>
                  <a:gd name="connsiteX1" fmla="*/ 407712 w 445812"/>
                  <a:gd name="connsiteY1" fmla="*/ 66675 h 2968625"/>
                  <a:gd name="connsiteX2" fmla="*/ 353737 w 445812"/>
                  <a:gd name="connsiteY2" fmla="*/ 85725 h 2968625"/>
                  <a:gd name="connsiteX3" fmla="*/ 283887 w 445812"/>
                  <a:gd name="connsiteY3" fmla="*/ 98425 h 2968625"/>
                  <a:gd name="connsiteX4" fmla="*/ 223562 w 445812"/>
                  <a:gd name="connsiteY4" fmla="*/ 133350 h 2968625"/>
                  <a:gd name="connsiteX5" fmla="*/ 121962 w 445812"/>
                  <a:gd name="connsiteY5" fmla="*/ 196850 h 2968625"/>
                  <a:gd name="connsiteX6" fmla="*/ 131487 w 445812"/>
                  <a:gd name="connsiteY6" fmla="*/ 247650 h 2968625"/>
                  <a:gd name="connsiteX7" fmla="*/ 172762 w 445812"/>
                  <a:gd name="connsiteY7" fmla="*/ 276225 h 2968625"/>
                  <a:gd name="connsiteX8" fmla="*/ 185462 w 445812"/>
                  <a:gd name="connsiteY8" fmla="*/ 327025 h 2968625"/>
                  <a:gd name="connsiteX9" fmla="*/ 239437 w 445812"/>
                  <a:gd name="connsiteY9" fmla="*/ 368300 h 2968625"/>
                  <a:gd name="connsiteX10" fmla="*/ 239437 w 445812"/>
                  <a:gd name="connsiteY10" fmla="*/ 412750 h 2968625"/>
                  <a:gd name="connsiteX11" fmla="*/ 207687 w 445812"/>
                  <a:gd name="connsiteY11" fmla="*/ 454025 h 2968625"/>
                  <a:gd name="connsiteX12" fmla="*/ 287062 w 445812"/>
                  <a:gd name="connsiteY12" fmla="*/ 479425 h 2968625"/>
                  <a:gd name="connsiteX13" fmla="*/ 302937 w 445812"/>
                  <a:gd name="connsiteY13" fmla="*/ 511175 h 2968625"/>
                  <a:gd name="connsiteX14" fmla="*/ 210862 w 445812"/>
                  <a:gd name="connsiteY14" fmla="*/ 581025 h 2968625"/>
                  <a:gd name="connsiteX15" fmla="*/ 160062 w 445812"/>
                  <a:gd name="connsiteY15" fmla="*/ 638175 h 2968625"/>
                  <a:gd name="connsiteX16" fmla="*/ 160062 w 445812"/>
                  <a:gd name="connsiteY16" fmla="*/ 695325 h 2968625"/>
                  <a:gd name="connsiteX17" fmla="*/ 185462 w 445812"/>
                  <a:gd name="connsiteY17" fmla="*/ 784225 h 2968625"/>
                  <a:gd name="connsiteX18" fmla="*/ 194987 w 445812"/>
                  <a:gd name="connsiteY18" fmla="*/ 835025 h 2968625"/>
                  <a:gd name="connsiteX19" fmla="*/ 204512 w 445812"/>
                  <a:gd name="connsiteY19" fmla="*/ 885825 h 2968625"/>
                  <a:gd name="connsiteX20" fmla="*/ 220387 w 445812"/>
                  <a:gd name="connsiteY20" fmla="*/ 923925 h 2968625"/>
                  <a:gd name="connsiteX21" fmla="*/ 163237 w 445812"/>
                  <a:gd name="connsiteY21" fmla="*/ 1022350 h 2968625"/>
                  <a:gd name="connsiteX22" fmla="*/ 96562 w 445812"/>
                  <a:gd name="connsiteY22" fmla="*/ 1057275 h 2968625"/>
                  <a:gd name="connsiteX23" fmla="*/ 52112 w 445812"/>
                  <a:gd name="connsiteY23" fmla="*/ 1143000 h 2968625"/>
                  <a:gd name="connsiteX24" fmla="*/ 20362 w 445812"/>
                  <a:gd name="connsiteY24" fmla="*/ 1244600 h 2968625"/>
                  <a:gd name="connsiteX25" fmla="*/ 1312 w 445812"/>
                  <a:gd name="connsiteY25" fmla="*/ 1346200 h 2968625"/>
                  <a:gd name="connsiteX26" fmla="*/ 10837 w 445812"/>
                  <a:gd name="connsiteY26" fmla="*/ 1438275 h 2968625"/>
                  <a:gd name="connsiteX27" fmla="*/ 83862 w 445812"/>
                  <a:gd name="connsiteY27" fmla="*/ 1511300 h 2968625"/>
                  <a:gd name="connsiteX28" fmla="*/ 112437 w 445812"/>
                  <a:gd name="connsiteY28" fmla="*/ 1558925 h 2968625"/>
                  <a:gd name="connsiteX29" fmla="*/ 150537 w 445812"/>
                  <a:gd name="connsiteY29" fmla="*/ 1590675 h 2968625"/>
                  <a:gd name="connsiteX30" fmla="*/ 169587 w 445812"/>
                  <a:gd name="connsiteY30" fmla="*/ 1644650 h 2968625"/>
                  <a:gd name="connsiteX31" fmla="*/ 226737 w 445812"/>
                  <a:gd name="connsiteY31" fmla="*/ 1685925 h 2968625"/>
                  <a:gd name="connsiteX32" fmla="*/ 264837 w 445812"/>
                  <a:gd name="connsiteY32" fmla="*/ 1730375 h 2968625"/>
                  <a:gd name="connsiteX33" fmla="*/ 277537 w 445812"/>
                  <a:gd name="connsiteY33" fmla="*/ 1758950 h 2968625"/>
                  <a:gd name="connsiteX34" fmla="*/ 277537 w 445812"/>
                  <a:gd name="connsiteY34" fmla="*/ 1828800 h 2968625"/>
                  <a:gd name="connsiteX35" fmla="*/ 325162 w 445812"/>
                  <a:gd name="connsiteY35" fmla="*/ 1905000 h 2968625"/>
                  <a:gd name="connsiteX36" fmla="*/ 363262 w 445812"/>
                  <a:gd name="connsiteY36" fmla="*/ 1962150 h 2968625"/>
                  <a:gd name="connsiteX37" fmla="*/ 369612 w 445812"/>
                  <a:gd name="connsiteY37" fmla="*/ 2028825 h 2968625"/>
                  <a:gd name="connsiteX38" fmla="*/ 407712 w 445812"/>
                  <a:gd name="connsiteY38" fmla="*/ 2085975 h 2968625"/>
                  <a:gd name="connsiteX39" fmla="*/ 414062 w 445812"/>
                  <a:gd name="connsiteY39" fmla="*/ 2209800 h 2968625"/>
                  <a:gd name="connsiteX40" fmla="*/ 252137 w 445812"/>
                  <a:gd name="connsiteY40" fmla="*/ 2251075 h 2968625"/>
                  <a:gd name="connsiteX41" fmla="*/ 134662 w 445812"/>
                  <a:gd name="connsiteY41" fmla="*/ 2968625 h 2968625"/>
                  <a:gd name="connsiteX0" fmla="*/ 445812 w 445812"/>
                  <a:gd name="connsiteY0" fmla="*/ 0 h 2968625"/>
                  <a:gd name="connsiteX1" fmla="*/ 407712 w 445812"/>
                  <a:gd name="connsiteY1" fmla="*/ 66675 h 2968625"/>
                  <a:gd name="connsiteX2" fmla="*/ 353737 w 445812"/>
                  <a:gd name="connsiteY2" fmla="*/ 85725 h 2968625"/>
                  <a:gd name="connsiteX3" fmla="*/ 283887 w 445812"/>
                  <a:gd name="connsiteY3" fmla="*/ 98425 h 2968625"/>
                  <a:gd name="connsiteX4" fmla="*/ 223562 w 445812"/>
                  <a:gd name="connsiteY4" fmla="*/ 133350 h 2968625"/>
                  <a:gd name="connsiteX5" fmla="*/ 121962 w 445812"/>
                  <a:gd name="connsiteY5" fmla="*/ 196850 h 2968625"/>
                  <a:gd name="connsiteX6" fmla="*/ 131487 w 445812"/>
                  <a:gd name="connsiteY6" fmla="*/ 247650 h 2968625"/>
                  <a:gd name="connsiteX7" fmla="*/ 172762 w 445812"/>
                  <a:gd name="connsiteY7" fmla="*/ 276225 h 2968625"/>
                  <a:gd name="connsiteX8" fmla="*/ 185462 w 445812"/>
                  <a:gd name="connsiteY8" fmla="*/ 327025 h 2968625"/>
                  <a:gd name="connsiteX9" fmla="*/ 239437 w 445812"/>
                  <a:gd name="connsiteY9" fmla="*/ 368300 h 2968625"/>
                  <a:gd name="connsiteX10" fmla="*/ 239437 w 445812"/>
                  <a:gd name="connsiteY10" fmla="*/ 412750 h 2968625"/>
                  <a:gd name="connsiteX11" fmla="*/ 207687 w 445812"/>
                  <a:gd name="connsiteY11" fmla="*/ 454025 h 2968625"/>
                  <a:gd name="connsiteX12" fmla="*/ 287062 w 445812"/>
                  <a:gd name="connsiteY12" fmla="*/ 479425 h 2968625"/>
                  <a:gd name="connsiteX13" fmla="*/ 302937 w 445812"/>
                  <a:gd name="connsiteY13" fmla="*/ 511175 h 2968625"/>
                  <a:gd name="connsiteX14" fmla="*/ 210862 w 445812"/>
                  <a:gd name="connsiteY14" fmla="*/ 581025 h 2968625"/>
                  <a:gd name="connsiteX15" fmla="*/ 160062 w 445812"/>
                  <a:gd name="connsiteY15" fmla="*/ 638175 h 2968625"/>
                  <a:gd name="connsiteX16" fmla="*/ 160062 w 445812"/>
                  <a:gd name="connsiteY16" fmla="*/ 695325 h 2968625"/>
                  <a:gd name="connsiteX17" fmla="*/ 185462 w 445812"/>
                  <a:gd name="connsiteY17" fmla="*/ 784225 h 2968625"/>
                  <a:gd name="connsiteX18" fmla="*/ 194987 w 445812"/>
                  <a:gd name="connsiteY18" fmla="*/ 835025 h 2968625"/>
                  <a:gd name="connsiteX19" fmla="*/ 204512 w 445812"/>
                  <a:gd name="connsiteY19" fmla="*/ 885825 h 2968625"/>
                  <a:gd name="connsiteX20" fmla="*/ 220387 w 445812"/>
                  <a:gd name="connsiteY20" fmla="*/ 923925 h 2968625"/>
                  <a:gd name="connsiteX21" fmla="*/ 163237 w 445812"/>
                  <a:gd name="connsiteY21" fmla="*/ 1022350 h 2968625"/>
                  <a:gd name="connsiteX22" fmla="*/ 96562 w 445812"/>
                  <a:gd name="connsiteY22" fmla="*/ 1057275 h 2968625"/>
                  <a:gd name="connsiteX23" fmla="*/ 52112 w 445812"/>
                  <a:gd name="connsiteY23" fmla="*/ 1143000 h 2968625"/>
                  <a:gd name="connsiteX24" fmla="*/ 20362 w 445812"/>
                  <a:gd name="connsiteY24" fmla="*/ 1244600 h 2968625"/>
                  <a:gd name="connsiteX25" fmla="*/ 1312 w 445812"/>
                  <a:gd name="connsiteY25" fmla="*/ 1346200 h 2968625"/>
                  <a:gd name="connsiteX26" fmla="*/ 10837 w 445812"/>
                  <a:gd name="connsiteY26" fmla="*/ 1438275 h 2968625"/>
                  <a:gd name="connsiteX27" fmla="*/ 83862 w 445812"/>
                  <a:gd name="connsiteY27" fmla="*/ 1511300 h 2968625"/>
                  <a:gd name="connsiteX28" fmla="*/ 112437 w 445812"/>
                  <a:gd name="connsiteY28" fmla="*/ 1558925 h 2968625"/>
                  <a:gd name="connsiteX29" fmla="*/ 150537 w 445812"/>
                  <a:gd name="connsiteY29" fmla="*/ 1590675 h 2968625"/>
                  <a:gd name="connsiteX30" fmla="*/ 169587 w 445812"/>
                  <a:gd name="connsiteY30" fmla="*/ 1644650 h 2968625"/>
                  <a:gd name="connsiteX31" fmla="*/ 226737 w 445812"/>
                  <a:gd name="connsiteY31" fmla="*/ 1685925 h 2968625"/>
                  <a:gd name="connsiteX32" fmla="*/ 264837 w 445812"/>
                  <a:gd name="connsiteY32" fmla="*/ 1730375 h 2968625"/>
                  <a:gd name="connsiteX33" fmla="*/ 277537 w 445812"/>
                  <a:gd name="connsiteY33" fmla="*/ 1758950 h 2968625"/>
                  <a:gd name="connsiteX34" fmla="*/ 277537 w 445812"/>
                  <a:gd name="connsiteY34" fmla="*/ 1828800 h 2968625"/>
                  <a:gd name="connsiteX35" fmla="*/ 325162 w 445812"/>
                  <a:gd name="connsiteY35" fmla="*/ 1905000 h 2968625"/>
                  <a:gd name="connsiteX36" fmla="*/ 363262 w 445812"/>
                  <a:gd name="connsiteY36" fmla="*/ 1962150 h 2968625"/>
                  <a:gd name="connsiteX37" fmla="*/ 369612 w 445812"/>
                  <a:gd name="connsiteY37" fmla="*/ 2028825 h 2968625"/>
                  <a:gd name="connsiteX38" fmla="*/ 407712 w 445812"/>
                  <a:gd name="connsiteY38" fmla="*/ 2085975 h 2968625"/>
                  <a:gd name="connsiteX39" fmla="*/ 414062 w 445812"/>
                  <a:gd name="connsiteY39" fmla="*/ 2209800 h 2968625"/>
                  <a:gd name="connsiteX40" fmla="*/ 252137 w 445812"/>
                  <a:gd name="connsiteY40" fmla="*/ 2251075 h 2968625"/>
                  <a:gd name="connsiteX41" fmla="*/ 201337 w 445812"/>
                  <a:gd name="connsiteY41" fmla="*/ 2390775 h 2968625"/>
                  <a:gd name="connsiteX42" fmla="*/ 134662 w 445812"/>
                  <a:gd name="connsiteY42" fmla="*/ 2968625 h 2968625"/>
                  <a:gd name="connsiteX0" fmla="*/ 445812 w 445812"/>
                  <a:gd name="connsiteY0" fmla="*/ 0 h 2968625"/>
                  <a:gd name="connsiteX1" fmla="*/ 407712 w 445812"/>
                  <a:gd name="connsiteY1" fmla="*/ 66675 h 2968625"/>
                  <a:gd name="connsiteX2" fmla="*/ 353737 w 445812"/>
                  <a:gd name="connsiteY2" fmla="*/ 85725 h 2968625"/>
                  <a:gd name="connsiteX3" fmla="*/ 283887 w 445812"/>
                  <a:gd name="connsiteY3" fmla="*/ 98425 h 2968625"/>
                  <a:gd name="connsiteX4" fmla="*/ 223562 w 445812"/>
                  <a:gd name="connsiteY4" fmla="*/ 133350 h 2968625"/>
                  <a:gd name="connsiteX5" fmla="*/ 121962 w 445812"/>
                  <a:gd name="connsiteY5" fmla="*/ 196850 h 2968625"/>
                  <a:gd name="connsiteX6" fmla="*/ 131487 w 445812"/>
                  <a:gd name="connsiteY6" fmla="*/ 247650 h 2968625"/>
                  <a:gd name="connsiteX7" fmla="*/ 172762 w 445812"/>
                  <a:gd name="connsiteY7" fmla="*/ 276225 h 2968625"/>
                  <a:gd name="connsiteX8" fmla="*/ 185462 w 445812"/>
                  <a:gd name="connsiteY8" fmla="*/ 327025 h 2968625"/>
                  <a:gd name="connsiteX9" fmla="*/ 239437 w 445812"/>
                  <a:gd name="connsiteY9" fmla="*/ 368300 h 2968625"/>
                  <a:gd name="connsiteX10" fmla="*/ 239437 w 445812"/>
                  <a:gd name="connsiteY10" fmla="*/ 412750 h 2968625"/>
                  <a:gd name="connsiteX11" fmla="*/ 207687 w 445812"/>
                  <a:gd name="connsiteY11" fmla="*/ 454025 h 2968625"/>
                  <a:gd name="connsiteX12" fmla="*/ 287062 w 445812"/>
                  <a:gd name="connsiteY12" fmla="*/ 479425 h 2968625"/>
                  <a:gd name="connsiteX13" fmla="*/ 302937 w 445812"/>
                  <a:gd name="connsiteY13" fmla="*/ 511175 h 2968625"/>
                  <a:gd name="connsiteX14" fmla="*/ 210862 w 445812"/>
                  <a:gd name="connsiteY14" fmla="*/ 581025 h 2968625"/>
                  <a:gd name="connsiteX15" fmla="*/ 160062 w 445812"/>
                  <a:gd name="connsiteY15" fmla="*/ 638175 h 2968625"/>
                  <a:gd name="connsiteX16" fmla="*/ 160062 w 445812"/>
                  <a:gd name="connsiteY16" fmla="*/ 695325 h 2968625"/>
                  <a:gd name="connsiteX17" fmla="*/ 185462 w 445812"/>
                  <a:gd name="connsiteY17" fmla="*/ 784225 h 2968625"/>
                  <a:gd name="connsiteX18" fmla="*/ 194987 w 445812"/>
                  <a:gd name="connsiteY18" fmla="*/ 835025 h 2968625"/>
                  <a:gd name="connsiteX19" fmla="*/ 204512 w 445812"/>
                  <a:gd name="connsiteY19" fmla="*/ 885825 h 2968625"/>
                  <a:gd name="connsiteX20" fmla="*/ 220387 w 445812"/>
                  <a:gd name="connsiteY20" fmla="*/ 923925 h 2968625"/>
                  <a:gd name="connsiteX21" fmla="*/ 163237 w 445812"/>
                  <a:gd name="connsiteY21" fmla="*/ 1022350 h 2968625"/>
                  <a:gd name="connsiteX22" fmla="*/ 96562 w 445812"/>
                  <a:gd name="connsiteY22" fmla="*/ 1057275 h 2968625"/>
                  <a:gd name="connsiteX23" fmla="*/ 52112 w 445812"/>
                  <a:gd name="connsiteY23" fmla="*/ 1143000 h 2968625"/>
                  <a:gd name="connsiteX24" fmla="*/ 20362 w 445812"/>
                  <a:gd name="connsiteY24" fmla="*/ 1244600 h 2968625"/>
                  <a:gd name="connsiteX25" fmla="*/ 1312 w 445812"/>
                  <a:gd name="connsiteY25" fmla="*/ 1346200 h 2968625"/>
                  <a:gd name="connsiteX26" fmla="*/ 10837 w 445812"/>
                  <a:gd name="connsiteY26" fmla="*/ 1438275 h 2968625"/>
                  <a:gd name="connsiteX27" fmla="*/ 83862 w 445812"/>
                  <a:gd name="connsiteY27" fmla="*/ 1511300 h 2968625"/>
                  <a:gd name="connsiteX28" fmla="*/ 112437 w 445812"/>
                  <a:gd name="connsiteY28" fmla="*/ 1558925 h 2968625"/>
                  <a:gd name="connsiteX29" fmla="*/ 150537 w 445812"/>
                  <a:gd name="connsiteY29" fmla="*/ 1590675 h 2968625"/>
                  <a:gd name="connsiteX30" fmla="*/ 169587 w 445812"/>
                  <a:gd name="connsiteY30" fmla="*/ 1644650 h 2968625"/>
                  <a:gd name="connsiteX31" fmla="*/ 226737 w 445812"/>
                  <a:gd name="connsiteY31" fmla="*/ 1685925 h 2968625"/>
                  <a:gd name="connsiteX32" fmla="*/ 264837 w 445812"/>
                  <a:gd name="connsiteY32" fmla="*/ 1730375 h 2968625"/>
                  <a:gd name="connsiteX33" fmla="*/ 277537 w 445812"/>
                  <a:gd name="connsiteY33" fmla="*/ 1758950 h 2968625"/>
                  <a:gd name="connsiteX34" fmla="*/ 277537 w 445812"/>
                  <a:gd name="connsiteY34" fmla="*/ 1828800 h 2968625"/>
                  <a:gd name="connsiteX35" fmla="*/ 325162 w 445812"/>
                  <a:gd name="connsiteY35" fmla="*/ 1905000 h 2968625"/>
                  <a:gd name="connsiteX36" fmla="*/ 363262 w 445812"/>
                  <a:gd name="connsiteY36" fmla="*/ 1962150 h 2968625"/>
                  <a:gd name="connsiteX37" fmla="*/ 369612 w 445812"/>
                  <a:gd name="connsiteY37" fmla="*/ 2028825 h 2968625"/>
                  <a:gd name="connsiteX38" fmla="*/ 407712 w 445812"/>
                  <a:gd name="connsiteY38" fmla="*/ 2085975 h 2968625"/>
                  <a:gd name="connsiteX39" fmla="*/ 414062 w 445812"/>
                  <a:gd name="connsiteY39" fmla="*/ 2209800 h 2968625"/>
                  <a:gd name="connsiteX40" fmla="*/ 252137 w 445812"/>
                  <a:gd name="connsiteY40" fmla="*/ 2251075 h 2968625"/>
                  <a:gd name="connsiteX41" fmla="*/ 201337 w 445812"/>
                  <a:gd name="connsiteY41" fmla="*/ 2390775 h 2968625"/>
                  <a:gd name="connsiteX42" fmla="*/ 134662 w 445812"/>
                  <a:gd name="connsiteY42" fmla="*/ 2968625 h 2968625"/>
                  <a:gd name="connsiteX0" fmla="*/ 445812 w 445812"/>
                  <a:gd name="connsiteY0" fmla="*/ 0 h 2968625"/>
                  <a:gd name="connsiteX1" fmla="*/ 407712 w 445812"/>
                  <a:gd name="connsiteY1" fmla="*/ 66675 h 2968625"/>
                  <a:gd name="connsiteX2" fmla="*/ 353737 w 445812"/>
                  <a:gd name="connsiteY2" fmla="*/ 85725 h 2968625"/>
                  <a:gd name="connsiteX3" fmla="*/ 283887 w 445812"/>
                  <a:gd name="connsiteY3" fmla="*/ 98425 h 2968625"/>
                  <a:gd name="connsiteX4" fmla="*/ 223562 w 445812"/>
                  <a:gd name="connsiteY4" fmla="*/ 133350 h 2968625"/>
                  <a:gd name="connsiteX5" fmla="*/ 121962 w 445812"/>
                  <a:gd name="connsiteY5" fmla="*/ 196850 h 2968625"/>
                  <a:gd name="connsiteX6" fmla="*/ 131487 w 445812"/>
                  <a:gd name="connsiteY6" fmla="*/ 247650 h 2968625"/>
                  <a:gd name="connsiteX7" fmla="*/ 172762 w 445812"/>
                  <a:gd name="connsiteY7" fmla="*/ 276225 h 2968625"/>
                  <a:gd name="connsiteX8" fmla="*/ 185462 w 445812"/>
                  <a:gd name="connsiteY8" fmla="*/ 327025 h 2968625"/>
                  <a:gd name="connsiteX9" fmla="*/ 239437 w 445812"/>
                  <a:gd name="connsiteY9" fmla="*/ 368300 h 2968625"/>
                  <a:gd name="connsiteX10" fmla="*/ 239437 w 445812"/>
                  <a:gd name="connsiteY10" fmla="*/ 412750 h 2968625"/>
                  <a:gd name="connsiteX11" fmla="*/ 207687 w 445812"/>
                  <a:gd name="connsiteY11" fmla="*/ 454025 h 2968625"/>
                  <a:gd name="connsiteX12" fmla="*/ 287062 w 445812"/>
                  <a:gd name="connsiteY12" fmla="*/ 479425 h 2968625"/>
                  <a:gd name="connsiteX13" fmla="*/ 302937 w 445812"/>
                  <a:gd name="connsiteY13" fmla="*/ 511175 h 2968625"/>
                  <a:gd name="connsiteX14" fmla="*/ 210862 w 445812"/>
                  <a:gd name="connsiteY14" fmla="*/ 581025 h 2968625"/>
                  <a:gd name="connsiteX15" fmla="*/ 160062 w 445812"/>
                  <a:gd name="connsiteY15" fmla="*/ 638175 h 2968625"/>
                  <a:gd name="connsiteX16" fmla="*/ 160062 w 445812"/>
                  <a:gd name="connsiteY16" fmla="*/ 695325 h 2968625"/>
                  <a:gd name="connsiteX17" fmla="*/ 185462 w 445812"/>
                  <a:gd name="connsiteY17" fmla="*/ 784225 h 2968625"/>
                  <a:gd name="connsiteX18" fmla="*/ 194987 w 445812"/>
                  <a:gd name="connsiteY18" fmla="*/ 835025 h 2968625"/>
                  <a:gd name="connsiteX19" fmla="*/ 204512 w 445812"/>
                  <a:gd name="connsiteY19" fmla="*/ 885825 h 2968625"/>
                  <a:gd name="connsiteX20" fmla="*/ 220387 w 445812"/>
                  <a:gd name="connsiteY20" fmla="*/ 923925 h 2968625"/>
                  <a:gd name="connsiteX21" fmla="*/ 163237 w 445812"/>
                  <a:gd name="connsiteY21" fmla="*/ 1022350 h 2968625"/>
                  <a:gd name="connsiteX22" fmla="*/ 96562 w 445812"/>
                  <a:gd name="connsiteY22" fmla="*/ 1057275 h 2968625"/>
                  <a:gd name="connsiteX23" fmla="*/ 52112 w 445812"/>
                  <a:gd name="connsiteY23" fmla="*/ 1143000 h 2968625"/>
                  <a:gd name="connsiteX24" fmla="*/ 20362 w 445812"/>
                  <a:gd name="connsiteY24" fmla="*/ 1244600 h 2968625"/>
                  <a:gd name="connsiteX25" fmla="*/ 1312 w 445812"/>
                  <a:gd name="connsiteY25" fmla="*/ 1346200 h 2968625"/>
                  <a:gd name="connsiteX26" fmla="*/ 10837 w 445812"/>
                  <a:gd name="connsiteY26" fmla="*/ 1438275 h 2968625"/>
                  <a:gd name="connsiteX27" fmla="*/ 83862 w 445812"/>
                  <a:gd name="connsiteY27" fmla="*/ 1511300 h 2968625"/>
                  <a:gd name="connsiteX28" fmla="*/ 112437 w 445812"/>
                  <a:gd name="connsiteY28" fmla="*/ 1558925 h 2968625"/>
                  <a:gd name="connsiteX29" fmla="*/ 150537 w 445812"/>
                  <a:gd name="connsiteY29" fmla="*/ 1590675 h 2968625"/>
                  <a:gd name="connsiteX30" fmla="*/ 169587 w 445812"/>
                  <a:gd name="connsiteY30" fmla="*/ 1644650 h 2968625"/>
                  <a:gd name="connsiteX31" fmla="*/ 226737 w 445812"/>
                  <a:gd name="connsiteY31" fmla="*/ 1685925 h 2968625"/>
                  <a:gd name="connsiteX32" fmla="*/ 264837 w 445812"/>
                  <a:gd name="connsiteY32" fmla="*/ 1730375 h 2968625"/>
                  <a:gd name="connsiteX33" fmla="*/ 277537 w 445812"/>
                  <a:gd name="connsiteY33" fmla="*/ 1758950 h 2968625"/>
                  <a:gd name="connsiteX34" fmla="*/ 277537 w 445812"/>
                  <a:gd name="connsiteY34" fmla="*/ 1828800 h 2968625"/>
                  <a:gd name="connsiteX35" fmla="*/ 325162 w 445812"/>
                  <a:gd name="connsiteY35" fmla="*/ 1905000 h 2968625"/>
                  <a:gd name="connsiteX36" fmla="*/ 363262 w 445812"/>
                  <a:gd name="connsiteY36" fmla="*/ 1962150 h 2968625"/>
                  <a:gd name="connsiteX37" fmla="*/ 369612 w 445812"/>
                  <a:gd name="connsiteY37" fmla="*/ 2028825 h 2968625"/>
                  <a:gd name="connsiteX38" fmla="*/ 407712 w 445812"/>
                  <a:gd name="connsiteY38" fmla="*/ 2085975 h 2968625"/>
                  <a:gd name="connsiteX39" fmla="*/ 414062 w 445812"/>
                  <a:gd name="connsiteY39" fmla="*/ 2209800 h 2968625"/>
                  <a:gd name="connsiteX40" fmla="*/ 252137 w 445812"/>
                  <a:gd name="connsiteY40" fmla="*/ 2251075 h 2968625"/>
                  <a:gd name="connsiteX41" fmla="*/ 201337 w 445812"/>
                  <a:gd name="connsiteY41" fmla="*/ 2390775 h 2968625"/>
                  <a:gd name="connsiteX42" fmla="*/ 236262 w 445812"/>
                  <a:gd name="connsiteY42" fmla="*/ 2517775 h 2968625"/>
                  <a:gd name="connsiteX43" fmla="*/ 134662 w 445812"/>
                  <a:gd name="connsiteY43" fmla="*/ 2968625 h 2968625"/>
                  <a:gd name="connsiteX0" fmla="*/ 445812 w 445812"/>
                  <a:gd name="connsiteY0" fmla="*/ 0 h 2968625"/>
                  <a:gd name="connsiteX1" fmla="*/ 407712 w 445812"/>
                  <a:gd name="connsiteY1" fmla="*/ 66675 h 2968625"/>
                  <a:gd name="connsiteX2" fmla="*/ 353737 w 445812"/>
                  <a:gd name="connsiteY2" fmla="*/ 85725 h 2968625"/>
                  <a:gd name="connsiteX3" fmla="*/ 283887 w 445812"/>
                  <a:gd name="connsiteY3" fmla="*/ 98425 h 2968625"/>
                  <a:gd name="connsiteX4" fmla="*/ 223562 w 445812"/>
                  <a:gd name="connsiteY4" fmla="*/ 133350 h 2968625"/>
                  <a:gd name="connsiteX5" fmla="*/ 121962 w 445812"/>
                  <a:gd name="connsiteY5" fmla="*/ 196850 h 2968625"/>
                  <a:gd name="connsiteX6" fmla="*/ 131487 w 445812"/>
                  <a:gd name="connsiteY6" fmla="*/ 247650 h 2968625"/>
                  <a:gd name="connsiteX7" fmla="*/ 172762 w 445812"/>
                  <a:gd name="connsiteY7" fmla="*/ 276225 h 2968625"/>
                  <a:gd name="connsiteX8" fmla="*/ 185462 w 445812"/>
                  <a:gd name="connsiteY8" fmla="*/ 327025 h 2968625"/>
                  <a:gd name="connsiteX9" fmla="*/ 239437 w 445812"/>
                  <a:gd name="connsiteY9" fmla="*/ 368300 h 2968625"/>
                  <a:gd name="connsiteX10" fmla="*/ 239437 w 445812"/>
                  <a:gd name="connsiteY10" fmla="*/ 412750 h 2968625"/>
                  <a:gd name="connsiteX11" fmla="*/ 207687 w 445812"/>
                  <a:gd name="connsiteY11" fmla="*/ 454025 h 2968625"/>
                  <a:gd name="connsiteX12" fmla="*/ 287062 w 445812"/>
                  <a:gd name="connsiteY12" fmla="*/ 479425 h 2968625"/>
                  <a:gd name="connsiteX13" fmla="*/ 302937 w 445812"/>
                  <a:gd name="connsiteY13" fmla="*/ 511175 h 2968625"/>
                  <a:gd name="connsiteX14" fmla="*/ 210862 w 445812"/>
                  <a:gd name="connsiteY14" fmla="*/ 581025 h 2968625"/>
                  <a:gd name="connsiteX15" fmla="*/ 160062 w 445812"/>
                  <a:gd name="connsiteY15" fmla="*/ 638175 h 2968625"/>
                  <a:gd name="connsiteX16" fmla="*/ 160062 w 445812"/>
                  <a:gd name="connsiteY16" fmla="*/ 695325 h 2968625"/>
                  <a:gd name="connsiteX17" fmla="*/ 185462 w 445812"/>
                  <a:gd name="connsiteY17" fmla="*/ 784225 h 2968625"/>
                  <a:gd name="connsiteX18" fmla="*/ 194987 w 445812"/>
                  <a:gd name="connsiteY18" fmla="*/ 835025 h 2968625"/>
                  <a:gd name="connsiteX19" fmla="*/ 204512 w 445812"/>
                  <a:gd name="connsiteY19" fmla="*/ 885825 h 2968625"/>
                  <a:gd name="connsiteX20" fmla="*/ 220387 w 445812"/>
                  <a:gd name="connsiteY20" fmla="*/ 923925 h 2968625"/>
                  <a:gd name="connsiteX21" fmla="*/ 163237 w 445812"/>
                  <a:gd name="connsiteY21" fmla="*/ 1022350 h 2968625"/>
                  <a:gd name="connsiteX22" fmla="*/ 96562 w 445812"/>
                  <a:gd name="connsiteY22" fmla="*/ 1057275 h 2968625"/>
                  <a:gd name="connsiteX23" fmla="*/ 52112 w 445812"/>
                  <a:gd name="connsiteY23" fmla="*/ 1143000 h 2968625"/>
                  <a:gd name="connsiteX24" fmla="*/ 20362 w 445812"/>
                  <a:gd name="connsiteY24" fmla="*/ 1244600 h 2968625"/>
                  <a:gd name="connsiteX25" fmla="*/ 1312 w 445812"/>
                  <a:gd name="connsiteY25" fmla="*/ 1346200 h 2968625"/>
                  <a:gd name="connsiteX26" fmla="*/ 10837 w 445812"/>
                  <a:gd name="connsiteY26" fmla="*/ 1438275 h 2968625"/>
                  <a:gd name="connsiteX27" fmla="*/ 83862 w 445812"/>
                  <a:gd name="connsiteY27" fmla="*/ 1511300 h 2968625"/>
                  <a:gd name="connsiteX28" fmla="*/ 112437 w 445812"/>
                  <a:gd name="connsiteY28" fmla="*/ 1558925 h 2968625"/>
                  <a:gd name="connsiteX29" fmla="*/ 150537 w 445812"/>
                  <a:gd name="connsiteY29" fmla="*/ 1590675 h 2968625"/>
                  <a:gd name="connsiteX30" fmla="*/ 169587 w 445812"/>
                  <a:gd name="connsiteY30" fmla="*/ 1644650 h 2968625"/>
                  <a:gd name="connsiteX31" fmla="*/ 226737 w 445812"/>
                  <a:gd name="connsiteY31" fmla="*/ 1685925 h 2968625"/>
                  <a:gd name="connsiteX32" fmla="*/ 264837 w 445812"/>
                  <a:gd name="connsiteY32" fmla="*/ 1730375 h 2968625"/>
                  <a:gd name="connsiteX33" fmla="*/ 277537 w 445812"/>
                  <a:gd name="connsiteY33" fmla="*/ 1758950 h 2968625"/>
                  <a:gd name="connsiteX34" fmla="*/ 277537 w 445812"/>
                  <a:gd name="connsiteY34" fmla="*/ 1828800 h 2968625"/>
                  <a:gd name="connsiteX35" fmla="*/ 325162 w 445812"/>
                  <a:gd name="connsiteY35" fmla="*/ 1905000 h 2968625"/>
                  <a:gd name="connsiteX36" fmla="*/ 363262 w 445812"/>
                  <a:gd name="connsiteY36" fmla="*/ 1962150 h 2968625"/>
                  <a:gd name="connsiteX37" fmla="*/ 369612 w 445812"/>
                  <a:gd name="connsiteY37" fmla="*/ 2028825 h 2968625"/>
                  <a:gd name="connsiteX38" fmla="*/ 407712 w 445812"/>
                  <a:gd name="connsiteY38" fmla="*/ 2085975 h 2968625"/>
                  <a:gd name="connsiteX39" fmla="*/ 414062 w 445812"/>
                  <a:gd name="connsiteY39" fmla="*/ 2209800 h 2968625"/>
                  <a:gd name="connsiteX40" fmla="*/ 252137 w 445812"/>
                  <a:gd name="connsiteY40" fmla="*/ 2251075 h 2968625"/>
                  <a:gd name="connsiteX41" fmla="*/ 201337 w 445812"/>
                  <a:gd name="connsiteY41" fmla="*/ 2390775 h 2968625"/>
                  <a:gd name="connsiteX42" fmla="*/ 210862 w 445812"/>
                  <a:gd name="connsiteY42" fmla="*/ 2454275 h 2968625"/>
                  <a:gd name="connsiteX43" fmla="*/ 236262 w 445812"/>
                  <a:gd name="connsiteY43" fmla="*/ 2517775 h 2968625"/>
                  <a:gd name="connsiteX44" fmla="*/ 134662 w 445812"/>
                  <a:gd name="connsiteY44" fmla="*/ 2968625 h 2968625"/>
                  <a:gd name="connsiteX0" fmla="*/ 445812 w 445812"/>
                  <a:gd name="connsiteY0" fmla="*/ 0 h 2968625"/>
                  <a:gd name="connsiteX1" fmla="*/ 407712 w 445812"/>
                  <a:gd name="connsiteY1" fmla="*/ 66675 h 2968625"/>
                  <a:gd name="connsiteX2" fmla="*/ 353737 w 445812"/>
                  <a:gd name="connsiteY2" fmla="*/ 85725 h 2968625"/>
                  <a:gd name="connsiteX3" fmla="*/ 283887 w 445812"/>
                  <a:gd name="connsiteY3" fmla="*/ 98425 h 2968625"/>
                  <a:gd name="connsiteX4" fmla="*/ 223562 w 445812"/>
                  <a:gd name="connsiteY4" fmla="*/ 133350 h 2968625"/>
                  <a:gd name="connsiteX5" fmla="*/ 121962 w 445812"/>
                  <a:gd name="connsiteY5" fmla="*/ 196850 h 2968625"/>
                  <a:gd name="connsiteX6" fmla="*/ 131487 w 445812"/>
                  <a:gd name="connsiteY6" fmla="*/ 247650 h 2968625"/>
                  <a:gd name="connsiteX7" fmla="*/ 172762 w 445812"/>
                  <a:gd name="connsiteY7" fmla="*/ 276225 h 2968625"/>
                  <a:gd name="connsiteX8" fmla="*/ 185462 w 445812"/>
                  <a:gd name="connsiteY8" fmla="*/ 327025 h 2968625"/>
                  <a:gd name="connsiteX9" fmla="*/ 239437 w 445812"/>
                  <a:gd name="connsiteY9" fmla="*/ 368300 h 2968625"/>
                  <a:gd name="connsiteX10" fmla="*/ 239437 w 445812"/>
                  <a:gd name="connsiteY10" fmla="*/ 412750 h 2968625"/>
                  <a:gd name="connsiteX11" fmla="*/ 207687 w 445812"/>
                  <a:gd name="connsiteY11" fmla="*/ 454025 h 2968625"/>
                  <a:gd name="connsiteX12" fmla="*/ 287062 w 445812"/>
                  <a:gd name="connsiteY12" fmla="*/ 479425 h 2968625"/>
                  <a:gd name="connsiteX13" fmla="*/ 302937 w 445812"/>
                  <a:gd name="connsiteY13" fmla="*/ 511175 h 2968625"/>
                  <a:gd name="connsiteX14" fmla="*/ 210862 w 445812"/>
                  <a:gd name="connsiteY14" fmla="*/ 581025 h 2968625"/>
                  <a:gd name="connsiteX15" fmla="*/ 160062 w 445812"/>
                  <a:gd name="connsiteY15" fmla="*/ 638175 h 2968625"/>
                  <a:gd name="connsiteX16" fmla="*/ 160062 w 445812"/>
                  <a:gd name="connsiteY16" fmla="*/ 695325 h 2968625"/>
                  <a:gd name="connsiteX17" fmla="*/ 185462 w 445812"/>
                  <a:gd name="connsiteY17" fmla="*/ 784225 h 2968625"/>
                  <a:gd name="connsiteX18" fmla="*/ 194987 w 445812"/>
                  <a:gd name="connsiteY18" fmla="*/ 835025 h 2968625"/>
                  <a:gd name="connsiteX19" fmla="*/ 204512 w 445812"/>
                  <a:gd name="connsiteY19" fmla="*/ 885825 h 2968625"/>
                  <a:gd name="connsiteX20" fmla="*/ 220387 w 445812"/>
                  <a:gd name="connsiteY20" fmla="*/ 923925 h 2968625"/>
                  <a:gd name="connsiteX21" fmla="*/ 163237 w 445812"/>
                  <a:gd name="connsiteY21" fmla="*/ 1022350 h 2968625"/>
                  <a:gd name="connsiteX22" fmla="*/ 96562 w 445812"/>
                  <a:gd name="connsiteY22" fmla="*/ 1057275 h 2968625"/>
                  <a:gd name="connsiteX23" fmla="*/ 52112 w 445812"/>
                  <a:gd name="connsiteY23" fmla="*/ 1143000 h 2968625"/>
                  <a:gd name="connsiteX24" fmla="*/ 20362 w 445812"/>
                  <a:gd name="connsiteY24" fmla="*/ 1244600 h 2968625"/>
                  <a:gd name="connsiteX25" fmla="*/ 1312 w 445812"/>
                  <a:gd name="connsiteY25" fmla="*/ 1346200 h 2968625"/>
                  <a:gd name="connsiteX26" fmla="*/ 10837 w 445812"/>
                  <a:gd name="connsiteY26" fmla="*/ 1438275 h 2968625"/>
                  <a:gd name="connsiteX27" fmla="*/ 83862 w 445812"/>
                  <a:gd name="connsiteY27" fmla="*/ 1511300 h 2968625"/>
                  <a:gd name="connsiteX28" fmla="*/ 112437 w 445812"/>
                  <a:gd name="connsiteY28" fmla="*/ 1558925 h 2968625"/>
                  <a:gd name="connsiteX29" fmla="*/ 150537 w 445812"/>
                  <a:gd name="connsiteY29" fmla="*/ 1590675 h 2968625"/>
                  <a:gd name="connsiteX30" fmla="*/ 169587 w 445812"/>
                  <a:gd name="connsiteY30" fmla="*/ 1644650 h 2968625"/>
                  <a:gd name="connsiteX31" fmla="*/ 226737 w 445812"/>
                  <a:gd name="connsiteY31" fmla="*/ 1685925 h 2968625"/>
                  <a:gd name="connsiteX32" fmla="*/ 264837 w 445812"/>
                  <a:gd name="connsiteY32" fmla="*/ 1730375 h 2968625"/>
                  <a:gd name="connsiteX33" fmla="*/ 277537 w 445812"/>
                  <a:gd name="connsiteY33" fmla="*/ 1758950 h 2968625"/>
                  <a:gd name="connsiteX34" fmla="*/ 277537 w 445812"/>
                  <a:gd name="connsiteY34" fmla="*/ 1828800 h 2968625"/>
                  <a:gd name="connsiteX35" fmla="*/ 325162 w 445812"/>
                  <a:gd name="connsiteY35" fmla="*/ 1905000 h 2968625"/>
                  <a:gd name="connsiteX36" fmla="*/ 363262 w 445812"/>
                  <a:gd name="connsiteY36" fmla="*/ 1962150 h 2968625"/>
                  <a:gd name="connsiteX37" fmla="*/ 369612 w 445812"/>
                  <a:gd name="connsiteY37" fmla="*/ 2028825 h 2968625"/>
                  <a:gd name="connsiteX38" fmla="*/ 407712 w 445812"/>
                  <a:gd name="connsiteY38" fmla="*/ 2085975 h 2968625"/>
                  <a:gd name="connsiteX39" fmla="*/ 414062 w 445812"/>
                  <a:gd name="connsiteY39" fmla="*/ 2209800 h 2968625"/>
                  <a:gd name="connsiteX40" fmla="*/ 252137 w 445812"/>
                  <a:gd name="connsiteY40" fmla="*/ 2251075 h 2968625"/>
                  <a:gd name="connsiteX41" fmla="*/ 201337 w 445812"/>
                  <a:gd name="connsiteY41" fmla="*/ 2390775 h 2968625"/>
                  <a:gd name="connsiteX42" fmla="*/ 210862 w 445812"/>
                  <a:gd name="connsiteY42" fmla="*/ 2454275 h 2968625"/>
                  <a:gd name="connsiteX43" fmla="*/ 236262 w 445812"/>
                  <a:gd name="connsiteY43" fmla="*/ 2517775 h 2968625"/>
                  <a:gd name="connsiteX44" fmla="*/ 248962 w 445812"/>
                  <a:gd name="connsiteY44" fmla="*/ 2559050 h 2968625"/>
                  <a:gd name="connsiteX45" fmla="*/ 134662 w 445812"/>
                  <a:gd name="connsiteY45" fmla="*/ 2968625 h 2968625"/>
                  <a:gd name="connsiteX0" fmla="*/ 445812 w 445812"/>
                  <a:gd name="connsiteY0" fmla="*/ 0 h 2968625"/>
                  <a:gd name="connsiteX1" fmla="*/ 407712 w 445812"/>
                  <a:gd name="connsiteY1" fmla="*/ 66675 h 2968625"/>
                  <a:gd name="connsiteX2" fmla="*/ 353737 w 445812"/>
                  <a:gd name="connsiteY2" fmla="*/ 85725 h 2968625"/>
                  <a:gd name="connsiteX3" fmla="*/ 283887 w 445812"/>
                  <a:gd name="connsiteY3" fmla="*/ 98425 h 2968625"/>
                  <a:gd name="connsiteX4" fmla="*/ 223562 w 445812"/>
                  <a:gd name="connsiteY4" fmla="*/ 133350 h 2968625"/>
                  <a:gd name="connsiteX5" fmla="*/ 121962 w 445812"/>
                  <a:gd name="connsiteY5" fmla="*/ 196850 h 2968625"/>
                  <a:gd name="connsiteX6" fmla="*/ 131487 w 445812"/>
                  <a:gd name="connsiteY6" fmla="*/ 247650 h 2968625"/>
                  <a:gd name="connsiteX7" fmla="*/ 172762 w 445812"/>
                  <a:gd name="connsiteY7" fmla="*/ 276225 h 2968625"/>
                  <a:gd name="connsiteX8" fmla="*/ 185462 w 445812"/>
                  <a:gd name="connsiteY8" fmla="*/ 327025 h 2968625"/>
                  <a:gd name="connsiteX9" fmla="*/ 239437 w 445812"/>
                  <a:gd name="connsiteY9" fmla="*/ 368300 h 2968625"/>
                  <a:gd name="connsiteX10" fmla="*/ 239437 w 445812"/>
                  <a:gd name="connsiteY10" fmla="*/ 412750 h 2968625"/>
                  <a:gd name="connsiteX11" fmla="*/ 207687 w 445812"/>
                  <a:gd name="connsiteY11" fmla="*/ 454025 h 2968625"/>
                  <a:gd name="connsiteX12" fmla="*/ 287062 w 445812"/>
                  <a:gd name="connsiteY12" fmla="*/ 479425 h 2968625"/>
                  <a:gd name="connsiteX13" fmla="*/ 302937 w 445812"/>
                  <a:gd name="connsiteY13" fmla="*/ 511175 h 2968625"/>
                  <a:gd name="connsiteX14" fmla="*/ 210862 w 445812"/>
                  <a:gd name="connsiteY14" fmla="*/ 581025 h 2968625"/>
                  <a:gd name="connsiteX15" fmla="*/ 160062 w 445812"/>
                  <a:gd name="connsiteY15" fmla="*/ 638175 h 2968625"/>
                  <a:gd name="connsiteX16" fmla="*/ 160062 w 445812"/>
                  <a:gd name="connsiteY16" fmla="*/ 695325 h 2968625"/>
                  <a:gd name="connsiteX17" fmla="*/ 185462 w 445812"/>
                  <a:gd name="connsiteY17" fmla="*/ 784225 h 2968625"/>
                  <a:gd name="connsiteX18" fmla="*/ 194987 w 445812"/>
                  <a:gd name="connsiteY18" fmla="*/ 835025 h 2968625"/>
                  <a:gd name="connsiteX19" fmla="*/ 204512 w 445812"/>
                  <a:gd name="connsiteY19" fmla="*/ 885825 h 2968625"/>
                  <a:gd name="connsiteX20" fmla="*/ 220387 w 445812"/>
                  <a:gd name="connsiteY20" fmla="*/ 923925 h 2968625"/>
                  <a:gd name="connsiteX21" fmla="*/ 163237 w 445812"/>
                  <a:gd name="connsiteY21" fmla="*/ 1022350 h 2968625"/>
                  <a:gd name="connsiteX22" fmla="*/ 96562 w 445812"/>
                  <a:gd name="connsiteY22" fmla="*/ 1057275 h 2968625"/>
                  <a:gd name="connsiteX23" fmla="*/ 52112 w 445812"/>
                  <a:gd name="connsiteY23" fmla="*/ 1143000 h 2968625"/>
                  <a:gd name="connsiteX24" fmla="*/ 20362 w 445812"/>
                  <a:gd name="connsiteY24" fmla="*/ 1244600 h 2968625"/>
                  <a:gd name="connsiteX25" fmla="*/ 1312 w 445812"/>
                  <a:gd name="connsiteY25" fmla="*/ 1346200 h 2968625"/>
                  <a:gd name="connsiteX26" fmla="*/ 10837 w 445812"/>
                  <a:gd name="connsiteY26" fmla="*/ 1438275 h 2968625"/>
                  <a:gd name="connsiteX27" fmla="*/ 83862 w 445812"/>
                  <a:gd name="connsiteY27" fmla="*/ 1511300 h 2968625"/>
                  <a:gd name="connsiteX28" fmla="*/ 112437 w 445812"/>
                  <a:gd name="connsiteY28" fmla="*/ 1558925 h 2968625"/>
                  <a:gd name="connsiteX29" fmla="*/ 150537 w 445812"/>
                  <a:gd name="connsiteY29" fmla="*/ 1590675 h 2968625"/>
                  <a:gd name="connsiteX30" fmla="*/ 169587 w 445812"/>
                  <a:gd name="connsiteY30" fmla="*/ 1644650 h 2968625"/>
                  <a:gd name="connsiteX31" fmla="*/ 226737 w 445812"/>
                  <a:gd name="connsiteY31" fmla="*/ 1685925 h 2968625"/>
                  <a:gd name="connsiteX32" fmla="*/ 264837 w 445812"/>
                  <a:gd name="connsiteY32" fmla="*/ 1730375 h 2968625"/>
                  <a:gd name="connsiteX33" fmla="*/ 277537 w 445812"/>
                  <a:gd name="connsiteY33" fmla="*/ 1758950 h 2968625"/>
                  <a:gd name="connsiteX34" fmla="*/ 277537 w 445812"/>
                  <a:gd name="connsiteY34" fmla="*/ 1828800 h 2968625"/>
                  <a:gd name="connsiteX35" fmla="*/ 325162 w 445812"/>
                  <a:gd name="connsiteY35" fmla="*/ 1905000 h 2968625"/>
                  <a:gd name="connsiteX36" fmla="*/ 363262 w 445812"/>
                  <a:gd name="connsiteY36" fmla="*/ 1962150 h 2968625"/>
                  <a:gd name="connsiteX37" fmla="*/ 369612 w 445812"/>
                  <a:gd name="connsiteY37" fmla="*/ 2028825 h 2968625"/>
                  <a:gd name="connsiteX38" fmla="*/ 407712 w 445812"/>
                  <a:gd name="connsiteY38" fmla="*/ 2085975 h 2968625"/>
                  <a:gd name="connsiteX39" fmla="*/ 414062 w 445812"/>
                  <a:gd name="connsiteY39" fmla="*/ 2209800 h 2968625"/>
                  <a:gd name="connsiteX40" fmla="*/ 252137 w 445812"/>
                  <a:gd name="connsiteY40" fmla="*/ 2251075 h 2968625"/>
                  <a:gd name="connsiteX41" fmla="*/ 201337 w 445812"/>
                  <a:gd name="connsiteY41" fmla="*/ 2390775 h 2968625"/>
                  <a:gd name="connsiteX42" fmla="*/ 210862 w 445812"/>
                  <a:gd name="connsiteY42" fmla="*/ 2454275 h 2968625"/>
                  <a:gd name="connsiteX43" fmla="*/ 242612 w 445812"/>
                  <a:gd name="connsiteY43" fmla="*/ 2470150 h 2968625"/>
                  <a:gd name="connsiteX44" fmla="*/ 236262 w 445812"/>
                  <a:gd name="connsiteY44" fmla="*/ 2517775 h 2968625"/>
                  <a:gd name="connsiteX45" fmla="*/ 248962 w 445812"/>
                  <a:gd name="connsiteY45" fmla="*/ 2559050 h 2968625"/>
                  <a:gd name="connsiteX46" fmla="*/ 134662 w 445812"/>
                  <a:gd name="connsiteY46" fmla="*/ 2968625 h 2968625"/>
                  <a:gd name="connsiteX0" fmla="*/ 445812 w 445812"/>
                  <a:gd name="connsiteY0" fmla="*/ 0 h 2968625"/>
                  <a:gd name="connsiteX1" fmla="*/ 407712 w 445812"/>
                  <a:gd name="connsiteY1" fmla="*/ 66675 h 2968625"/>
                  <a:gd name="connsiteX2" fmla="*/ 353737 w 445812"/>
                  <a:gd name="connsiteY2" fmla="*/ 85725 h 2968625"/>
                  <a:gd name="connsiteX3" fmla="*/ 283887 w 445812"/>
                  <a:gd name="connsiteY3" fmla="*/ 98425 h 2968625"/>
                  <a:gd name="connsiteX4" fmla="*/ 223562 w 445812"/>
                  <a:gd name="connsiteY4" fmla="*/ 133350 h 2968625"/>
                  <a:gd name="connsiteX5" fmla="*/ 121962 w 445812"/>
                  <a:gd name="connsiteY5" fmla="*/ 196850 h 2968625"/>
                  <a:gd name="connsiteX6" fmla="*/ 131487 w 445812"/>
                  <a:gd name="connsiteY6" fmla="*/ 247650 h 2968625"/>
                  <a:gd name="connsiteX7" fmla="*/ 172762 w 445812"/>
                  <a:gd name="connsiteY7" fmla="*/ 276225 h 2968625"/>
                  <a:gd name="connsiteX8" fmla="*/ 185462 w 445812"/>
                  <a:gd name="connsiteY8" fmla="*/ 327025 h 2968625"/>
                  <a:gd name="connsiteX9" fmla="*/ 239437 w 445812"/>
                  <a:gd name="connsiteY9" fmla="*/ 368300 h 2968625"/>
                  <a:gd name="connsiteX10" fmla="*/ 239437 w 445812"/>
                  <a:gd name="connsiteY10" fmla="*/ 412750 h 2968625"/>
                  <a:gd name="connsiteX11" fmla="*/ 207687 w 445812"/>
                  <a:gd name="connsiteY11" fmla="*/ 454025 h 2968625"/>
                  <a:gd name="connsiteX12" fmla="*/ 287062 w 445812"/>
                  <a:gd name="connsiteY12" fmla="*/ 479425 h 2968625"/>
                  <a:gd name="connsiteX13" fmla="*/ 302937 w 445812"/>
                  <a:gd name="connsiteY13" fmla="*/ 511175 h 2968625"/>
                  <a:gd name="connsiteX14" fmla="*/ 210862 w 445812"/>
                  <a:gd name="connsiteY14" fmla="*/ 581025 h 2968625"/>
                  <a:gd name="connsiteX15" fmla="*/ 160062 w 445812"/>
                  <a:gd name="connsiteY15" fmla="*/ 638175 h 2968625"/>
                  <a:gd name="connsiteX16" fmla="*/ 160062 w 445812"/>
                  <a:gd name="connsiteY16" fmla="*/ 695325 h 2968625"/>
                  <a:gd name="connsiteX17" fmla="*/ 185462 w 445812"/>
                  <a:gd name="connsiteY17" fmla="*/ 784225 h 2968625"/>
                  <a:gd name="connsiteX18" fmla="*/ 194987 w 445812"/>
                  <a:gd name="connsiteY18" fmla="*/ 835025 h 2968625"/>
                  <a:gd name="connsiteX19" fmla="*/ 204512 w 445812"/>
                  <a:gd name="connsiteY19" fmla="*/ 885825 h 2968625"/>
                  <a:gd name="connsiteX20" fmla="*/ 220387 w 445812"/>
                  <a:gd name="connsiteY20" fmla="*/ 923925 h 2968625"/>
                  <a:gd name="connsiteX21" fmla="*/ 163237 w 445812"/>
                  <a:gd name="connsiteY21" fmla="*/ 1022350 h 2968625"/>
                  <a:gd name="connsiteX22" fmla="*/ 96562 w 445812"/>
                  <a:gd name="connsiteY22" fmla="*/ 1057275 h 2968625"/>
                  <a:gd name="connsiteX23" fmla="*/ 52112 w 445812"/>
                  <a:gd name="connsiteY23" fmla="*/ 1143000 h 2968625"/>
                  <a:gd name="connsiteX24" fmla="*/ 20362 w 445812"/>
                  <a:gd name="connsiteY24" fmla="*/ 1244600 h 2968625"/>
                  <a:gd name="connsiteX25" fmla="*/ 1312 w 445812"/>
                  <a:gd name="connsiteY25" fmla="*/ 1346200 h 2968625"/>
                  <a:gd name="connsiteX26" fmla="*/ 10837 w 445812"/>
                  <a:gd name="connsiteY26" fmla="*/ 1438275 h 2968625"/>
                  <a:gd name="connsiteX27" fmla="*/ 83862 w 445812"/>
                  <a:gd name="connsiteY27" fmla="*/ 1511300 h 2968625"/>
                  <a:gd name="connsiteX28" fmla="*/ 112437 w 445812"/>
                  <a:gd name="connsiteY28" fmla="*/ 1558925 h 2968625"/>
                  <a:gd name="connsiteX29" fmla="*/ 150537 w 445812"/>
                  <a:gd name="connsiteY29" fmla="*/ 1590675 h 2968625"/>
                  <a:gd name="connsiteX30" fmla="*/ 169587 w 445812"/>
                  <a:gd name="connsiteY30" fmla="*/ 1644650 h 2968625"/>
                  <a:gd name="connsiteX31" fmla="*/ 226737 w 445812"/>
                  <a:gd name="connsiteY31" fmla="*/ 1685925 h 2968625"/>
                  <a:gd name="connsiteX32" fmla="*/ 264837 w 445812"/>
                  <a:gd name="connsiteY32" fmla="*/ 1730375 h 2968625"/>
                  <a:gd name="connsiteX33" fmla="*/ 277537 w 445812"/>
                  <a:gd name="connsiteY33" fmla="*/ 1758950 h 2968625"/>
                  <a:gd name="connsiteX34" fmla="*/ 277537 w 445812"/>
                  <a:gd name="connsiteY34" fmla="*/ 1828800 h 2968625"/>
                  <a:gd name="connsiteX35" fmla="*/ 325162 w 445812"/>
                  <a:gd name="connsiteY35" fmla="*/ 1905000 h 2968625"/>
                  <a:gd name="connsiteX36" fmla="*/ 363262 w 445812"/>
                  <a:gd name="connsiteY36" fmla="*/ 1962150 h 2968625"/>
                  <a:gd name="connsiteX37" fmla="*/ 369612 w 445812"/>
                  <a:gd name="connsiteY37" fmla="*/ 2028825 h 2968625"/>
                  <a:gd name="connsiteX38" fmla="*/ 407712 w 445812"/>
                  <a:gd name="connsiteY38" fmla="*/ 2085975 h 2968625"/>
                  <a:gd name="connsiteX39" fmla="*/ 414062 w 445812"/>
                  <a:gd name="connsiteY39" fmla="*/ 2209800 h 2968625"/>
                  <a:gd name="connsiteX40" fmla="*/ 252137 w 445812"/>
                  <a:gd name="connsiteY40" fmla="*/ 2251075 h 2968625"/>
                  <a:gd name="connsiteX41" fmla="*/ 201337 w 445812"/>
                  <a:gd name="connsiteY41" fmla="*/ 2390775 h 2968625"/>
                  <a:gd name="connsiteX42" fmla="*/ 210862 w 445812"/>
                  <a:gd name="connsiteY42" fmla="*/ 2454275 h 2968625"/>
                  <a:gd name="connsiteX43" fmla="*/ 242612 w 445812"/>
                  <a:gd name="connsiteY43" fmla="*/ 2470150 h 2968625"/>
                  <a:gd name="connsiteX44" fmla="*/ 226737 w 445812"/>
                  <a:gd name="connsiteY44" fmla="*/ 2527300 h 2968625"/>
                  <a:gd name="connsiteX45" fmla="*/ 248962 w 445812"/>
                  <a:gd name="connsiteY45" fmla="*/ 2559050 h 2968625"/>
                  <a:gd name="connsiteX46" fmla="*/ 134662 w 445812"/>
                  <a:gd name="connsiteY46" fmla="*/ 2968625 h 2968625"/>
                  <a:gd name="connsiteX0" fmla="*/ 445812 w 445812"/>
                  <a:gd name="connsiteY0" fmla="*/ 0 h 2968625"/>
                  <a:gd name="connsiteX1" fmla="*/ 407712 w 445812"/>
                  <a:gd name="connsiteY1" fmla="*/ 66675 h 2968625"/>
                  <a:gd name="connsiteX2" fmla="*/ 353737 w 445812"/>
                  <a:gd name="connsiteY2" fmla="*/ 85725 h 2968625"/>
                  <a:gd name="connsiteX3" fmla="*/ 283887 w 445812"/>
                  <a:gd name="connsiteY3" fmla="*/ 98425 h 2968625"/>
                  <a:gd name="connsiteX4" fmla="*/ 223562 w 445812"/>
                  <a:gd name="connsiteY4" fmla="*/ 133350 h 2968625"/>
                  <a:gd name="connsiteX5" fmla="*/ 121962 w 445812"/>
                  <a:gd name="connsiteY5" fmla="*/ 196850 h 2968625"/>
                  <a:gd name="connsiteX6" fmla="*/ 131487 w 445812"/>
                  <a:gd name="connsiteY6" fmla="*/ 247650 h 2968625"/>
                  <a:gd name="connsiteX7" fmla="*/ 172762 w 445812"/>
                  <a:gd name="connsiteY7" fmla="*/ 276225 h 2968625"/>
                  <a:gd name="connsiteX8" fmla="*/ 185462 w 445812"/>
                  <a:gd name="connsiteY8" fmla="*/ 327025 h 2968625"/>
                  <a:gd name="connsiteX9" fmla="*/ 239437 w 445812"/>
                  <a:gd name="connsiteY9" fmla="*/ 368300 h 2968625"/>
                  <a:gd name="connsiteX10" fmla="*/ 239437 w 445812"/>
                  <a:gd name="connsiteY10" fmla="*/ 412750 h 2968625"/>
                  <a:gd name="connsiteX11" fmla="*/ 207687 w 445812"/>
                  <a:gd name="connsiteY11" fmla="*/ 454025 h 2968625"/>
                  <a:gd name="connsiteX12" fmla="*/ 287062 w 445812"/>
                  <a:gd name="connsiteY12" fmla="*/ 479425 h 2968625"/>
                  <a:gd name="connsiteX13" fmla="*/ 302937 w 445812"/>
                  <a:gd name="connsiteY13" fmla="*/ 511175 h 2968625"/>
                  <a:gd name="connsiteX14" fmla="*/ 210862 w 445812"/>
                  <a:gd name="connsiteY14" fmla="*/ 581025 h 2968625"/>
                  <a:gd name="connsiteX15" fmla="*/ 160062 w 445812"/>
                  <a:gd name="connsiteY15" fmla="*/ 638175 h 2968625"/>
                  <a:gd name="connsiteX16" fmla="*/ 160062 w 445812"/>
                  <a:gd name="connsiteY16" fmla="*/ 695325 h 2968625"/>
                  <a:gd name="connsiteX17" fmla="*/ 185462 w 445812"/>
                  <a:gd name="connsiteY17" fmla="*/ 784225 h 2968625"/>
                  <a:gd name="connsiteX18" fmla="*/ 194987 w 445812"/>
                  <a:gd name="connsiteY18" fmla="*/ 835025 h 2968625"/>
                  <a:gd name="connsiteX19" fmla="*/ 204512 w 445812"/>
                  <a:gd name="connsiteY19" fmla="*/ 885825 h 2968625"/>
                  <a:gd name="connsiteX20" fmla="*/ 220387 w 445812"/>
                  <a:gd name="connsiteY20" fmla="*/ 923925 h 2968625"/>
                  <a:gd name="connsiteX21" fmla="*/ 163237 w 445812"/>
                  <a:gd name="connsiteY21" fmla="*/ 1022350 h 2968625"/>
                  <a:gd name="connsiteX22" fmla="*/ 96562 w 445812"/>
                  <a:gd name="connsiteY22" fmla="*/ 1057275 h 2968625"/>
                  <a:gd name="connsiteX23" fmla="*/ 52112 w 445812"/>
                  <a:gd name="connsiteY23" fmla="*/ 1143000 h 2968625"/>
                  <a:gd name="connsiteX24" fmla="*/ 20362 w 445812"/>
                  <a:gd name="connsiteY24" fmla="*/ 1244600 h 2968625"/>
                  <a:gd name="connsiteX25" fmla="*/ 1312 w 445812"/>
                  <a:gd name="connsiteY25" fmla="*/ 1346200 h 2968625"/>
                  <a:gd name="connsiteX26" fmla="*/ 10837 w 445812"/>
                  <a:gd name="connsiteY26" fmla="*/ 1438275 h 2968625"/>
                  <a:gd name="connsiteX27" fmla="*/ 83862 w 445812"/>
                  <a:gd name="connsiteY27" fmla="*/ 1511300 h 2968625"/>
                  <a:gd name="connsiteX28" fmla="*/ 112437 w 445812"/>
                  <a:gd name="connsiteY28" fmla="*/ 1558925 h 2968625"/>
                  <a:gd name="connsiteX29" fmla="*/ 150537 w 445812"/>
                  <a:gd name="connsiteY29" fmla="*/ 1590675 h 2968625"/>
                  <a:gd name="connsiteX30" fmla="*/ 169587 w 445812"/>
                  <a:gd name="connsiteY30" fmla="*/ 1644650 h 2968625"/>
                  <a:gd name="connsiteX31" fmla="*/ 226737 w 445812"/>
                  <a:gd name="connsiteY31" fmla="*/ 1685925 h 2968625"/>
                  <a:gd name="connsiteX32" fmla="*/ 264837 w 445812"/>
                  <a:gd name="connsiteY32" fmla="*/ 1730375 h 2968625"/>
                  <a:gd name="connsiteX33" fmla="*/ 277537 w 445812"/>
                  <a:gd name="connsiteY33" fmla="*/ 1758950 h 2968625"/>
                  <a:gd name="connsiteX34" fmla="*/ 277537 w 445812"/>
                  <a:gd name="connsiteY34" fmla="*/ 1828800 h 2968625"/>
                  <a:gd name="connsiteX35" fmla="*/ 325162 w 445812"/>
                  <a:gd name="connsiteY35" fmla="*/ 1905000 h 2968625"/>
                  <a:gd name="connsiteX36" fmla="*/ 363262 w 445812"/>
                  <a:gd name="connsiteY36" fmla="*/ 1962150 h 2968625"/>
                  <a:gd name="connsiteX37" fmla="*/ 369612 w 445812"/>
                  <a:gd name="connsiteY37" fmla="*/ 2028825 h 2968625"/>
                  <a:gd name="connsiteX38" fmla="*/ 407712 w 445812"/>
                  <a:gd name="connsiteY38" fmla="*/ 2085975 h 2968625"/>
                  <a:gd name="connsiteX39" fmla="*/ 414062 w 445812"/>
                  <a:gd name="connsiteY39" fmla="*/ 2209800 h 2968625"/>
                  <a:gd name="connsiteX40" fmla="*/ 252137 w 445812"/>
                  <a:gd name="connsiteY40" fmla="*/ 2251075 h 2968625"/>
                  <a:gd name="connsiteX41" fmla="*/ 201337 w 445812"/>
                  <a:gd name="connsiteY41" fmla="*/ 2390775 h 2968625"/>
                  <a:gd name="connsiteX42" fmla="*/ 210862 w 445812"/>
                  <a:gd name="connsiteY42" fmla="*/ 2454275 h 2968625"/>
                  <a:gd name="connsiteX43" fmla="*/ 226737 w 445812"/>
                  <a:gd name="connsiteY43" fmla="*/ 2482850 h 2968625"/>
                  <a:gd name="connsiteX44" fmla="*/ 226737 w 445812"/>
                  <a:gd name="connsiteY44" fmla="*/ 2527300 h 2968625"/>
                  <a:gd name="connsiteX45" fmla="*/ 248962 w 445812"/>
                  <a:gd name="connsiteY45" fmla="*/ 2559050 h 2968625"/>
                  <a:gd name="connsiteX46" fmla="*/ 134662 w 445812"/>
                  <a:gd name="connsiteY46" fmla="*/ 2968625 h 2968625"/>
                  <a:gd name="connsiteX0" fmla="*/ 445812 w 445812"/>
                  <a:gd name="connsiteY0" fmla="*/ 0 h 2968625"/>
                  <a:gd name="connsiteX1" fmla="*/ 407712 w 445812"/>
                  <a:gd name="connsiteY1" fmla="*/ 66675 h 2968625"/>
                  <a:gd name="connsiteX2" fmla="*/ 353737 w 445812"/>
                  <a:gd name="connsiteY2" fmla="*/ 85725 h 2968625"/>
                  <a:gd name="connsiteX3" fmla="*/ 283887 w 445812"/>
                  <a:gd name="connsiteY3" fmla="*/ 98425 h 2968625"/>
                  <a:gd name="connsiteX4" fmla="*/ 223562 w 445812"/>
                  <a:gd name="connsiteY4" fmla="*/ 133350 h 2968625"/>
                  <a:gd name="connsiteX5" fmla="*/ 121962 w 445812"/>
                  <a:gd name="connsiteY5" fmla="*/ 196850 h 2968625"/>
                  <a:gd name="connsiteX6" fmla="*/ 131487 w 445812"/>
                  <a:gd name="connsiteY6" fmla="*/ 247650 h 2968625"/>
                  <a:gd name="connsiteX7" fmla="*/ 172762 w 445812"/>
                  <a:gd name="connsiteY7" fmla="*/ 276225 h 2968625"/>
                  <a:gd name="connsiteX8" fmla="*/ 185462 w 445812"/>
                  <a:gd name="connsiteY8" fmla="*/ 327025 h 2968625"/>
                  <a:gd name="connsiteX9" fmla="*/ 239437 w 445812"/>
                  <a:gd name="connsiteY9" fmla="*/ 368300 h 2968625"/>
                  <a:gd name="connsiteX10" fmla="*/ 239437 w 445812"/>
                  <a:gd name="connsiteY10" fmla="*/ 412750 h 2968625"/>
                  <a:gd name="connsiteX11" fmla="*/ 207687 w 445812"/>
                  <a:gd name="connsiteY11" fmla="*/ 454025 h 2968625"/>
                  <a:gd name="connsiteX12" fmla="*/ 287062 w 445812"/>
                  <a:gd name="connsiteY12" fmla="*/ 479425 h 2968625"/>
                  <a:gd name="connsiteX13" fmla="*/ 302937 w 445812"/>
                  <a:gd name="connsiteY13" fmla="*/ 511175 h 2968625"/>
                  <a:gd name="connsiteX14" fmla="*/ 210862 w 445812"/>
                  <a:gd name="connsiteY14" fmla="*/ 581025 h 2968625"/>
                  <a:gd name="connsiteX15" fmla="*/ 160062 w 445812"/>
                  <a:gd name="connsiteY15" fmla="*/ 638175 h 2968625"/>
                  <a:gd name="connsiteX16" fmla="*/ 160062 w 445812"/>
                  <a:gd name="connsiteY16" fmla="*/ 695325 h 2968625"/>
                  <a:gd name="connsiteX17" fmla="*/ 185462 w 445812"/>
                  <a:gd name="connsiteY17" fmla="*/ 784225 h 2968625"/>
                  <a:gd name="connsiteX18" fmla="*/ 194987 w 445812"/>
                  <a:gd name="connsiteY18" fmla="*/ 835025 h 2968625"/>
                  <a:gd name="connsiteX19" fmla="*/ 204512 w 445812"/>
                  <a:gd name="connsiteY19" fmla="*/ 885825 h 2968625"/>
                  <a:gd name="connsiteX20" fmla="*/ 220387 w 445812"/>
                  <a:gd name="connsiteY20" fmla="*/ 923925 h 2968625"/>
                  <a:gd name="connsiteX21" fmla="*/ 163237 w 445812"/>
                  <a:gd name="connsiteY21" fmla="*/ 1022350 h 2968625"/>
                  <a:gd name="connsiteX22" fmla="*/ 96562 w 445812"/>
                  <a:gd name="connsiteY22" fmla="*/ 1057275 h 2968625"/>
                  <a:gd name="connsiteX23" fmla="*/ 52112 w 445812"/>
                  <a:gd name="connsiteY23" fmla="*/ 1143000 h 2968625"/>
                  <a:gd name="connsiteX24" fmla="*/ 20362 w 445812"/>
                  <a:gd name="connsiteY24" fmla="*/ 1244600 h 2968625"/>
                  <a:gd name="connsiteX25" fmla="*/ 1312 w 445812"/>
                  <a:gd name="connsiteY25" fmla="*/ 1346200 h 2968625"/>
                  <a:gd name="connsiteX26" fmla="*/ 10837 w 445812"/>
                  <a:gd name="connsiteY26" fmla="*/ 1438275 h 2968625"/>
                  <a:gd name="connsiteX27" fmla="*/ 83862 w 445812"/>
                  <a:gd name="connsiteY27" fmla="*/ 1511300 h 2968625"/>
                  <a:gd name="connsiteX28" fmla="*/ 112437 w 445812"/>
                  <a:gd name="connsiteY28" fmla="*/ 1558925 h 2968625"/>
                  <a:gd name="connsiteX29" fmla="*/ 150537 w 445812"/>
                  <a:gd name="connsiteY29" fmla="*/ 1590675 h 2968625"/>
                  <a:gd name="connsiteX30" fmla="*/ 169587 w 445812"/>
                  <a:gd name="connsiteY30" fmla="*/ 1644650 h 2968625"/>
                  <a:gd name="connsiteX31" fmla="*/ 226737 w 445812"/>
                  <a:gd name="connsiteY31" fmla="*/ 1685925 h 2968625"/>
                  <a:gd name="connsiteX32" fmla="*/ 264837 w 445812"/>
                  <a:gd name="connsiteY32" fmla="*/ 1730375 h 2968625"/>
                  <a:gd name="connsiteX33" fmla="*/ 277537 w 445812"/>
                  <a:gd name="connsiteY33" fmla="*/ 1758950 h 2968625"/>
                  <a:gd name="connsiteX34" fmla="*/ 277537 w 445812"/>
                  <a:gd name="connsiteY34" fmla="*/ 1828800 h 2968625"/>
                  <a:gd name="connsiteX35" fmla="*/ 325162 w 445812"/>
                  <a:gd name="connsiteY35" fmla="*/ 1905000 h 2968625"/>
                  <a:gd name="connsiteX36" fmla="*/ 363262 w 445812"/>
                  <a:gd name="connsiteY36" fmla="*/ 1962150 h 2968625"/>
                  <a:gd name="connsiteX37" fmla="*/ 369612 w 445812"/>
                  <a:gd name="connsiteY37" fmla="*/ 2028825 h 2968625"/>
                  <a:gd name="connsiteX38" fmla="*/ 407712 w 445812"/>
                  <a:gd name="connsiteY38" fmla="*/ 2085975 h 2968625"/>
                  <a:gd name="connsiteX39" fmla="*/ 414062 w 445812"/>
                  <a:gd name="connsiteY39" fmla="*/ 2209800 h 2968625"/>
                  <a:gd name="connsiteX40" fmla="*/ 252137 w 445812"/>
                  <a:gd name="connsiteY40" fmla="*/ 2251075 h 2968625"/>
                  <a:gd name="connsiteX41" fmla="*/ 201337 w 445812"/>
                  <a:gd name="connsiteY41" fmla="*/ 2390775 h 2968625"/>
                  <a:gd name="connsiteX42" fmla="*/ 210862 w 445812"/>
                  <a:gd name="connsiteY42" fmla="*/ 2454275 h 2968625"/>
                  <a:gd name="connsiteX43" fmla="*/ 226737 w 445812"/>
                  <a:gd name="connsiteY43" fmla="*/ 2482850 h 2968625"/>
                  <a:gd name="connsiteX44" fmla="*/ 226737 w 445812"/>
                  <a:gd name="connsiteY44" fmla="*/ 2527300 h 2968625"/>
                  <a:gd name="connsiteX45" fmla="*/ 236262 w 445812"/>
                  <a:gd name="connsiteY45" fmla="*/ 2603500 h 2968625"/>
                  <a:gd name="connsiteX46" fmla="*/ 134662 w 445812"/>
                  <a:gd name="connsiteY46" fmla="*/ 2968625 h 2968625"/>
                  <a:gd name="connsiteX0" fmla="*/ 445812 w 445812"/>
                  <a:gd name="connsiteY0" fmla="*/ 0 h 2968625"/>
                  <a:gd name="connsiteX1" fmla="*/ 407712 w 445812"/>
                  <a:gd name="connsiteY1" fmla="*/ 66675 h 2968625"/>
                  <a:gd name="connsiteX2" fmla="*/ 353737 w 445812"/>
                  <a:gd name="connsiteY2" fmla="*/ 85725 h 2968625"/>
                  <a:gd name="connsiteX3" fmla="*/ 283887 w 445812"/>
                  <a:gd name="connsiteY3" fmla="*/ 98425 h 2968625"/>
                  <a:gd name="connsiteX4" fmla="*/ 223562 w 445812"/>
                  <a:gd name="connsiteY4" fmla="*/ 133350 h 2968625"/>
                  <a:gd name="connsiteX5" fmla="*/ 121962 w 445812"/>
                  <a:gd name="connsiteY5" fmla="*/ 196850 h 2968625"/>
                  <a:gd name="connsiteX6" fmla="*/ 131487 w 445812"/>
                  <a:gd name="connsiteY6" fmla="*/ 247650 h 2968625"/>
                  <a:gd name="connsiteX7" fmla="*/ 172762 w 445812"/>
                  <a:gd name="connsiteY7" fmla="*/ 276225 h 2968625"/>
                  <a:gd name="connsiteX8" fmla="*/ 185462 w 445812"/>
                  <a:gd name="connsiteY8" fmla="*/ 327025 h 2968625"/>
                  <a:gd name="connsiteX9" fmla="*/ 239437 w 445812"/>
                  <a:gd name="connsiteY9" fmla="*/ 368300 h 2968625"/>
                  <a:gd name="connsiteX10" fmla="*/ 239437 w 445812"/>
                  <a:gd name="connsiteY10" fmla="*/ 412750 h 2968625"/>
                  <a:gd name="connsiteX11" fmla="*/ 207687 w 445812"/>
                  <a:gd name="connsiteY11" fmla="*/ 454025 h 2968625"/>
                  <a:gd name="connsiteX12" fmla="*/ 287062 w 445812"/>
                  <a:gd name="connsiteY12" fmla="*/ 479425 h 2968625"/>
                  <a:gd name="connsiteX13" fmla="*/ 302937 w 445812"/>
                  <a:gd name="connsiteY13" fmla="*/ 511175 h 2968625"/>
                  <a:gd name="connsiteX14" fmla="*/ 210862 w 445812"/>
                  <a:gd name="connsiteY14" fmla="*/ 581025 h 2968625"/>
                  <a:gd name="connsiteX15" fmla="*/ 160062 w 445812"/>
                  <a:gd name="connsiteY15" fmla="*/ 638175 h 2968625"/>
                  <a:gd name="connsiteX16" fmla="*/ 160062 w 445812"/>
                  <a:gd name="connsiteY16" fmla="*/ 695325 h 2968625"/>
                  <a:gd name="connsiteX17" fmla="*/ 185462 w 445812"/>
                  <a:gd name="connsiteY17" fmla="*/ 784225 h 2968625"/>
                  <a:gd name="connsiteX18" fmla="*/ 194987 w 445812"/>
                  <a:gd name="connsiteY18" fmla="*/ 835025 h 2968625"/>
                  <a:gd name="connsiteX19" fmla="*/ 204512 w 445812"/>
                  <a:gd name="connsiteY19" fmla="*/ 885825 h 2968625"/>
                  <a:gd name="connsiteX20" fmla="*/ 220387 w 445812"/>
                  <a:gd name="connsiteY20" fmla="*/ 923925 h 2968625"/>
                  <a:gd name="connsiteX21" fmla="*/ 163237 w 445812"/>
                  <a:gd name="connsiteY21" fmla="*/ 1022350 h 2968625"/>
                  <a:gd name="connsiteX22" fmla="*/ 96562 w 445812"/>
                  <a:gd name="connsiteY22" fmla="*/ 1057275 h 2968625"/>
                  <a:gd name="connsiteX23" fmla="*/ 52112 w 445812"/>
                  <a:gd name="connsiteY23" fmla="*/ 1143000 h 2968625"/>
                  <a:gd name="connsiteX24" fmla="*/ 20362 w 445812"/>
                  <a:gd name="connsiteY24" fmla="*/ 1244600 h 2968625"/>
                  <a:gd name="connsiteX25" fmla="*/ 1312 w 445812"/>
                  <a:gd name="connsiteY25" fmla="*/ 1346200 h 2968625"/>
                  <a:gd name="connsiteX26" fmla="*/ 10837 w 445812"/>
                  <a:gd name="connsiteY26" fmla="*/ 1438275 h 2968625"/>
                  <a:gd name="connsiteX27" fmla="*/ 83862 w 445812"/>
                  <a:gd name="connsiteY27" fmla="*/ 1511300 h 2968625"/>
                  <a:gd name="connsiteX28" fmla="*/ 112437 w 445812"/>
                  <a:gd name="connsiteY28" fmla="*/ 1558925 h 2968625"/>
                  <a:gd name="connsiteX29" fmla="*/ 150537 w 445812"/>
                  <a:gd name="connsiteY29" fmla="*/ 1590675 h 2968625"/>
                  <a:gd name="connsiteX30" fmla="*/ 169587 w 445812"/>
                  <a:gd name="connsiteY30" fmla="*/ 1644650 h 2968625"/>
                  <a:gd name="connsiteX31" fmla="*/ 226737 w 445812"/>
                  <a:gd name="connsiteY31" fmla="*/ 1685925 h 2968625"/>
                  <a:gd name="connsiteX32" fmla="*/ 264837 w 445812"/>
                  <a:gd name="connsiteY32" fmla="*/ 1730375 h 2968625"/>
                  <a:gd name="connsiteX33" fmla="*/ 277537 w 445812"/>
                  <a:gd name="connsiteY33" fmla="*/ 1758950 h 2968625"/>
                  <a:gd name="connsiteX34" fmla="*/ 277537 w 445812"/>
                  <a:gd name="connsiteY34" fmla="*/ 1828800 h 2968625"/>
                  <a:gd name="connsiteX35" fmla="*/ 325162 w 445812"/>
                  <a:gd name="connsiteY35" fmla="*/ 1905000 h 2968625"/>
                  <a:gd name="connsiteX36" fmla="*/ 363262 w 445812"/>
                  <a:gd name="connsiteY36" fmla="*/ 1962150 h 2968625"/>
                  <a:gd name="connsiteX37" fmla="*/ 369612 w 445812"/>
                  <a:gd name="connsiteY37" fmla="*/ 2028825 h 2968625"/>
                  <a:gd name="connsiteX38" fmla="*/ 407712 w 445812"/>
                  <a:gd name="connsiteY38" fmla="*/ 2085975 h 2968625"/>
                  <a:gd name="connsiteX39" fmla="*/ 414062 w 445812"/>
                  <a:gd name="connsiteY39" fmla="*/ 2209800 h 2968625"/>
                  <a:gd name="connsiteX40" fmla="*/ 252137 w 445812"/>
                  <a:gd name="connsiteY40" fmla="*/ 2251075 h 2968625"/>
                  <a:gd name="connsiteX41" fmla="*/ 201337 w 445812"/>
                  <a:gd name="connsiteY41" fmla="*/ 2390775 h 2968625"/>
                  <a:gd name="connsiteX42" fmla="*/ 210862 w 445812"/>
                  <a:gd name="connsiteY42" fmla="*/ 2454275 h 2968625"/>
                  <a:gd name="connsiteX43" fmla="*/ 226737 w 445812"/>
                  <a:gd name="connsiteY43" fmla="*/ 2482850 h 2968625"/>
                  <a:gd name="connsiteX44" fmla="*/ 226737 w 445812"/>
                  <a:gd name="connsiteY44" fmla="*/ 2527300 h 2968625"/>
                  <a:gd name="connsiteX45" fmla="*/ 236262 w 445812"/>
                  <a:gd name="connsiteY45" fmla="*/ 2603500 h 2968625"/>
                  <a:gd name="connsiteX46" fmla="*/ 134662 w 445812"/>
                  <a:gd name="connsiteY46" fmla="*/ 2968625 h 2968625"/>
                  <a:gd name="connsiteX0" fmla="*/ 445812 w 445812"/>
                  <a:gd name="connsiteY0" fmla="*/ 0 h 3657600"/>
                  <a:gd name="connsiteX1" fmla="*/ 407712 w 445812"/>
                  <a:gd name="connsiteY1" fmla="*/ 66675 h 3657600"/>
                  <a:gd name="connsiteX2" fmla="*/ 353737 w 445812"/>
                  <a:gd name="connsiteY2" fmla="*/ 85725 h 3657600"/>
                  <a:gd name="connsiteX3" fmla="*/ 283887 w 445812"/>
                  <a:gd name="connsiteY3" fmla="*/ 98425 h 3657600"/>
                  <a:gd name="connsiteX4" fmla="*/ 223562 w 445812"/>
                  <a:gd name="connsiteY4" fmla="*/ 133350 h 3657600"/>
                  <a:gd name="connsiteX5" fmla="*/ 121962 w 445812"/>
                  <a:gd name="connsiteY5" fmla="*/ 196850 h 3657600"/>
                  <a:gd name="connsiteX6" fmla="*/ 131487 w 445812"/>
                  <a:gd name="connsiteY6" fmla="*/ 247650 h 3657600"/>
                  <a:gd name="connsiteX7" fmla="*/ 172762 w 445812"/>
                  <a:gd name="connsiteY7" fmla="*/ 276225 h 3657600"/>
                  <a:gd name="connsiteX8" fmla="*/ 185462 w 445812"/>
                  <a:gd name="connsiteY8" fmla="*/ 327025 h 3657600"/>
                  <a:gd name="connsiteX9" fmla="*/ 239437 w 445812"/>
                  <a:gd name="connsiteY9" fmla="*/ 368300 h 3657600"/>
                  <a:gd name="connsiteX10" fmla="*/ 239437 w 445812"/>
                  <a:gd name="connsiteY10" fmla="*/ 412750 h 3657600"/>
                  <a:gd name="connsiteX11" fmla="*/ 207687 w 445812"/>
                  <a:gd name="connsiteY11" fmla="*/ 454025 h 3657600"/>
                  <a:gd name="connsiteX12" fmla="*/ 287062 w 445812"/>
                  <a:gd name="connsiteY12" fmla="*/ 479425 h 3657600"/>
                  <a:gd name="connsiteX13" fmla="*/ 302937 w 445812"/>
                  <a:gd name="connsiteY13" fmla="*/ 511175 h 3657600"/>
                  <a:gd name="connsiteX14" fmla="*/ 210862 w 445812"/>
                  <a:gd name="connsiteY14" fmla="*/ 581025 h 3657600"/>
                  <a:gd name="connsiteX15" fmla="*/ 160062 w 445812"/>
                  <a:gd name="connsiteY15" fmla="*/ 638175 h 3657600"/>
                  <a:gd name="connsiteX16" fmla="*/ 160062 w 445812"/>
                  <a:gd name="connsiteY16" fmla="*/ 695325 h 3657600"/>
                  <a:gd name="connsiteX17" fmla="*/ 185462 w 445812"/>
                  <a:gd name="connsiteY17" fmla="*/ 784225 h 3657600"/>
                  <a:gd name="connsiteX18" fmla="*/ 194987 w 445812"/>
                  <a:gd name="connsiteY18" fmla="*/ 835025 h 3657600"/>
                  <a:gd name="connsiteX19" fmla="*/ 204512 w 445812"/>
                  <a:gd name="connsiteY19" fmla="*/ 885825 h 3657600"/>
                  <a:gd name="connsiteX20" fmla="*/ 220387 w 445812"/>
                  <a:gd name="connsiteY20" fmla="*/ 923925 h 3657600"/>
                  <a:gd name="connsiteX21" fmla="*/ 163237 w 445812"/>
                  <a:gd name="connsiteY21" fmla="*/ 1022350 h 3657600"/>
                  <a:gd name="connsiteX22" fmla="*/ 96562 w 445812"/>
                  <a:gd name="connsiteY22" fmla="*/ 1057275 h 3657600"/>
                  <a:gd name="connsiteX23" fmla="*/ 52112 w 445812"/>
                  <a:gd name="connsiteY23" fmla="*/ 1143000 h 3657600"/>
                  <a:gd name="connsiteX24" fmla="*/ 20362 w 445812"/>
                  <a:gd name="connsiteY24" fmla="*/ 1244600 h 3657600"/>
                  <a:gd name="connsiteX25" fmla="*/ 1312 w 445812"/>
                  <a:gd name="connsiteY25" fmla="*/ 1346200 h 3657600"/>
                  <a:gd name="connsiteX26" fmla="*/ 10837 w 445812"/>
                  <a:gd name="connsiteY26" fmla="*/ 1438275 h 3657600"/>
                  <a:gd name="connsiteX27" fmla="*/ 83862 w 445812"/>
                  <a:gd name="connsiteY27" fmla="*/ 1511300 h 3657600"/>
                  <a:gd name="connsiteX28" fmla="*/ 112437 w 445812"/>
                  <a:gd name="connsiteY28" fmla="*/ 1558925 h 3657600"/>
                  <a:gd name="connsiteX29" fmla="*/ 150537 w 445812"/>
                  <a:gd name="connsiteY29" fmla="*/ 1590675 h 3657600"/>
                  <a:gd name="connsiteX30" fmla="*/ 169587 w 445812"/>
                  <a:gd name="connsiteY30" fmla="*/ 1644650 h 3657600"/>
                  <a:gd name="connsiteX31" fmla="*/ 226737 w 445812"/>
                  <a:gd name="connsiteY31" fmla="*/ 1685925 h 3657600"/>
                  <a:gd name="connsiteX32" fmla="*/ 264837 w 445812"/>
                  <a:gd name="connsiteY32" fmla="*/ 1730375 h 3657600"/>
                  <a:gd name="connsiteX33" fmla="*/ 277537 w 445812"/>
                  <a:gd name="connsiteY33" fmla="*/ 1758950 h 3657600"/>
                  <a:gd name="connsiteX34" fmla="*/ 277537 w 445812"/>
                  <a:gd name="connsiteY34" fmla="*/ 1828800 h 3657600"/>
                  <a:gd name="connsiteX35" fmla="*/ 325162 w 445812"/>
                  <a:gd name="connsiteY35" fmla="*/ 1905000 h 3657600"/>
                  <a:gd name="connsiteX36" fmla="*/ 363262 w 445812"/>
                  <a:gd name="connsiteY36" fmla="*/ 1962150 h 3657600"/>
                  <a:gd name="connsiteX37" fmla="*/ 369612 w 445812"/>
                  <a:gd name="connsiteY37" fmla="*/ 2028825 h 3657600"/>
                  <a:gd name="connsiteX38" fmla="*/ 407712 w 445812"/>
                  <a:gd name="connsiteY38" fmla="*/ 2085975 h 3657600"/>
                  <a:gd name="connsiteX39" fmla="*/ 414062 w 445812"/>
                  <a:gd name="connsiteY39" fmla="*/ 2209800 h 3657600"/>
                  <a:gd name="connsiteX40" fmla="*/ 252137 w 445812"/>
                  <a:gd name="connsiteY40" fmla="*/ 2251075 h 3657600"/>
                  <a:gd name="connsiteX41" fmla="*/ 201337 w 445812"/>
                  <a:gd name="connsiteY41" fmla="*/ 2390775 h 3657600"/>
                  <a:gd name="connsiteX42" fmla="*/ 210862 w 445812"/>
                  <a:gd name="connsiteY42" fmla="*/ 2454275 h 3657600"/>
                  <a:gd name="connsiteX43" fmla="*/ 226737 w 445812"/>
                  <a:gd name="connsiteY43" fmla="*/ 2482850 h 3657600"/>
                  <a:gd name="connsiteX44" fmla="*/ 226737 w 445812"/>
                  <a:gd name="connsiteY44" fmla="*/ 2527300 h 3657600"/>
                  <a:gd name="connsiteX45" fmla="*/ 236262 w 445812"/>
                  <a:gd name="connsiteY45" fmla="*/ 2603500 h 3657600"/>
                  <a:gd name="connsiteX46" fmla="*/ 58462 w 445812"/>
                  <a:gd name="connsiteY46" fmla="*/ 3657600 h 3657600"/>
                  <a:gd name="connsiteX0" fmla="*/ 445812 w 445812"/>
                  <a:gd name="connsiteY0" fmla="*/ 0 h 3657600"/>
                  <a:gd name="connsiteX1" fmla="*/ 407712 w 445812"/>
                  <a:gd name="connsiteY1" fmla="*/ 66675 h 3657600"/>
                  <a:gd name="connsiteX2" fmla="*/ 353737 w 445812"/>
                  <a:gd name="connsiteY2" fmla="*/ 85725 h 3657600"/>
                  <a:gd name="connsiteX3" fmla="*/ 283887 w 445812"/>
                  <a:gd name="connsiteY3" fmla="*/ 98425 h 3657600"/>
                  <a:gd name="connsiteX4" fmla="*/ 223562 w 445812"/>
                  <a:gd name="connsiteY4" fmla="*/ 133350 h 3657600"/>
                  <a:gd name="connsiteX5" fmla="*/ 121962 w 445812"/>
                  <a:gd name="connsiteY5" fmla="*/ 196850 h 3657600"/>
                  <a:gd name="connsiteX6" fmla="*/ 131487 w 445812"/>
                  <a:gd name="connsiteY6" fmla="*/ 247650 h 3657600"/>
                  <a:gd name="connsiteX7" fmla="*/ 172762 w 445812"/>
                  <a:gd name="connsiteY7" fmla="*/ 276225 h 3657600"/>
                  <a:gd name="connsiteX8" fmla="*/ 185462 w 445812"/>
                  <a:gd name="connsiteY8" fmla="*/ 327025 h 3657600"/>
                  <a:gd name="connsiteX9" fmla="*/ 239437 w 445812"/>
                  <a:gd name="connsiteY9" fmla="*/ 368300 h 3657600"/>
                  <a:gd name="connsiteX10" fmla="*/ 239437 w 445812"/>
                  <a:gd name="connsiteY10" fmla="*/ 412750 h 3657600"/>
                  <a:gd name="connsiteX11" fmla="*/ 207687 w 445812"/>
                  <a:gd name="connsiteY11" fmla="*/ 454025 h 3657600"/>
                  <a:gd name="connsiteX12" fmla="*/ 287062 w 445812"/>
                  <a:gd name="connsiteY12" fmla="*/ 479425 h 3657600"/>
                  <a:gd name="connsiteX13" fmla="*/ 302937 w 445812"/>
                  <a:gd name="connsiteY13" fmla="*/ 511175 h 3657600"/>
                  <a:gd name="connsiteX14" fmla="*/ 210862 w 445812"/>
                  <a:gd name="connsiteY14" fmla="*/ 581025 h 3657600"/>
                  <a:gd name="connsiteX15" fmla="*/ 160062 w 445812"/>
                  <a:gd name="connsiteY15" fmla="*/ 638175 h 3657600"/>
                  <a:gd name="connsiteX16" fmla="*/ 160062 w 445812"/>
                  <a:gd name="connsiteY16" fmla="*/ 695325 h 3657600"/>
                  <a:gd name="connsiteX17" fmla="*/ 185462 w 445812"/>
                  <a:gd name="connsiteY17" fmla="*/ 784225 h 3657600"/>
                  <a:gd name="connsiteX18" fmla="*/ 194987 w 445812"/>
                  <a:gd name="connsiteY18" fmla="*/ 835025 h 3657600"/>
                  <a:gd name="connsiteX19" fmla="*/ 204512 w 445812"/>
                  <a:gd name="connsiteY19" fmla="*/ 885825 h 3657600"/>
                  <a:gd name="connsiteX20" fmla="*/ 220387 w 445812"/>
                  <a:gd name="connsiteY20" fmla="*/ 923925 h 3657600"/>
                  <a:gd name="connsiteX21" fmla="*/ 163237 w 445812"/>
                  <a:gd name="connsiteY21" fmla="*/ 1022350 h 3657600"/>
                  <a:gd name="connsiteX22" fmla="*/ 96562 w 445812"/>
                  <a:gd name="connsiteY22" fmla="*/ 1057275 h 3657600"/>
                  <a:gd name="connsiteX23" fmla="*/ 52112 w 445812"/>
                  <a:gd name="connsiteY23" fmla="*/ 1143000 h 3657600"/>
                  <a:gd name="connsiteX24" fmla="*/ 20362 w 445812"/>
                  <a:gd name="connsiteY24" fmla="*/ 1244600 h 3657600"/>
                  <a:gd name="connsiteX25" fmla="*/ 1312 w 445812"/>
                  <a:gd name="connsiteY25" fmla="*/ 1346200 h 3657600"/>
                  <a:gd name="connsiteX26" fmla="*/ 10837 w 445812"/>
                  <a:gd name="connsiteY26" fmla="*/ 1438275 h 3657600"/>
                  <a:gd name="connsiteX27" fmla="*/ 83862 w 445812"/>
                  <a:gd name="connsiteY27" fmla="*/ 1511300 h 3657600"/>
                  <a:gd name="connsiteX28" fmla="*/ 112437 w 445812"/>
                  <a:gd name="connsiteY28" fmla="*/ 1558925 h 3657600"/>
                  <a:gd name="connsiteX29" fmla="*/ 150537 w 445812"/>
                  <a:gd name="connsiteY29" fmla="*/ 1590675 h 3657600"/>
                  <a:gd name="connsiteX30" fmla="*/ 169587 w 445812"/>
                  <a:gd name="connsiteY30" fmla="*/ 1644650 h 3657600"/>
                  <a:gd name="connsiteX31" fmla="*/ 226737 w 445812"/>
                  <a:gd name="connsiteY31" fmla="*/ 1685925 h 3657600"/>
                  <a:gd name="connsiteX32" fmla="*/ 264837 w 445812"/>
                  <a:gd name="connsiteY32" fmla="*/ 1730375 h 3657600"/>
                  <a:gd name="connsiteX33" fmla="*/ 277537 w 445812"/>
                  <a:gd name="connsiteY33" fmla="*/ 1758950 h 3657600"/>
                  <a:gd name="connsiteX34" fmla="*/ 277537 w 445812"/>
                  <a:gd name="connsiteY34" fmla="*/ 1828800 h 3657600"/>
                  <a:gd name="connsiteX35" fmla="*/ 325162 w 445812"/>
                  <a:gd name="connsiteY35" fmla="*/ 1905000 h 3657600"/>
                  <a:gd name="connsiteX36" fmla="*/ 363262 w 445812"/>
                  <a:gd name="connsiteY36" fmla="*/ 1962150 h 3657600"/>
                  <a:gd name="connsiteX37" fmla="*/ 369612 w 445812"/>
                  <a:gd name="connsiteY37" fmla="*/ 2028825 h 3657600"/>
                  <a:gd name="connsiteX38" fmla="*/ 407712 w 445812"/>
                  <a:gd name="connsiteY38" fmla="*/ 2085975 h 3657600"/>
                  <a:gd name="connsiteX39" fmla="*/ 414062 w 445812"/>
                  <a:gd name="connsiteY39" fmla="*/ 2209800 h 3657600"/>
                  <a:gd name="connsiteX40" fmla="*/ 252137 w 445812"/>
                  <a:gd name="connsiteY40" fmla="*/ 2251075 h 3657600"/>
                  <a:gd name="connsiteX41" fmla="*/ 201337 w 445812"/>
                  <a:gd name="connsiteY41" fmla="*/ 2390775 h 3657600"/>
                  <a:gd name="connsiteX42" fmla="*/ 210862 w 445812"/>
                  <a:gd name="connsiteY42" fmla="*/ 2454275 h 3657600"/>
                  <a:gd name="connsiteX43" fmla="*/ 226737 w 445812"/>
                  <a:gd name="connsiteY43" fmla="*/ 2482850 h 3657600"/>
                  <a:gd name="connsiteX44" fmla="*/ 226737 w 445812"/>
                  <a:gd name="connsiteY44" fmla="*/ 2527300 h 3657600"/>
                  <a:gd name="connsiteX45" fmla="*/ 236262 w 445812"/>
                  <a:gd name="connsiteY45" fmla="*/ 2603500 h 3657600"/>
                  <a:gd name="connsiteX46" fmla="*/ 96562 w 445812"/>
                  <a:gd name="connsiteY46" fmla="*/ 3028949 h 3657600"/>
                  <a:gd name="connsiteX47" fmla="*/ 58462 w 445812"/>
                  <a:gd name="connsiteY47" fmla="*/ 3657600 h 3657600"/>
                  <a:gd name="connsiteX0" fmla="*/ 445812 w 445812"/>
                  <a:gd name="connsiteY0" fmla="*/ 0 h 3657600"/>
                  <a:gd name="connsiteX1" fmla="*/ 407712 w 445812"/>
                  <a:gd name="connsiteY1" fmla="*/ 66675 h 3657600"/>
                  <a:gd name="connsiteX2" fmla="*/ 353737 w 445812"/>
                  <a:gd name="connsiteY2" fmla="*/ 85725 h 3657600"/>
                  <a:gd name="connsiteX3" fmla="*/ 283887 w 445812"/>
                  <a:gd name="connsiteY3" fmla="*/ 98425 h 3657600"/>
                  <a:gd name="connsiteX4" fmla="*/ 223562 w 445812"/>
                  <a:gd name="connsiteY4" fmla="*/ 133350 h 3657600"/>
                  <a:gd name="connsiteX5" fmla="*/ 121962 w 445812"/>
                  <a:gd name="connsiteY5" fmla="*/ 196850 h 3657600"/>
                  <a:gd name="connsiteX6" fmla="*/ 131487 w 445812"/>
                  <a:gd name="connsiteY6" fmla="*/ 247650 h 3657600"/>
                  <a:gd name="connsiteX7" fmla="*/ 172762 w 445812"/>
                  <a:gd name="connsiteY7" fmla="*/ 276225 h 3657600"/>
                  <a:gd name="connsiteX8" fmla="*/ 185462 w 445812"/>
                  <a:gd name="connsiteY8" fmla="*/ 327025 h 3657600"/>
                  <a:gd name="connsiteX9" fmla="*/ 239437 w 445812"/>
                  <a:gd name="connsiteY9" fmla="*/ 368300 h 3657600"/>
                  <a:gd name="connsiteX10" fmla="*/ 239437 w 445812"/>
                  <a:gd name="connsiteY10" fmla="*/ 412750 h 3657600"/>
                  <a:gd name="connsiteX11" fmla="*/ 207687 w 445812"/>
                  <a:gd name="connsiteY11" fmla="*/ 454025 h 3657600"/>
                  <a:gd name="connsiteX12" fmla="*/ 287062 w 445812"/>
                  <a:gd name="connsiteY12" fmla="*/ 479425 h 3657600"/>
                  <a:gd name="connsiteX13" fmla="*/ 302937 w 445812"/>
                  <a:gd name="connsiteY13" fmla="*/ 511175 h 3657600"/>
                  <a:gd name="connsiteX14" fmla="*/ 210862 w 445812"/>
                  <a:gd name="connsiteY14" fmla="*/ 581025 h 3657600"/>
                  <a:gd name="connsiteX15" fmla="*/ 160062 w 445812"/>
                  <a:gd name="connsiteY15" fmla="*/ 638175 h 3657600"/>
                  <a:gd name="connsiteX16" fmla="*/ 160062 w 445812"/>
                  <a:gd name="connsiteY16" fmla="*/ 695325 h 3657600"/>
                  <a:gd name="connsiteX17" fmla="*/ 185462 w 445812"/>
                  <a:gd name="connsiteY17" fmla="*/ 784225 h 3657600"/>
                  <a:gd name="connsiteX18" fmla="*/ 194987 w 445812"/>
                  <a:gd name="connsiteY18" fmla="*/ 835025 h 3657600"/>
                  <a:gd name="connsiteX19" fmla="*/ 204512 w 445812"/>
                  <a:gd name="connsiteY19" fmla="*/ 885825 h 3657600"/>
                  <a:gd name="connsiteX20" fmla="*/ 220387 w 445812"/>
                  <a:gd name="connsiteY20" fmla="*/ 923925 h 3657600"/>
                  <a:gd name="connsiteX21" fmla="*/ 163237 w 445812"/>
                  <a:gd name="connsiteY21" fmla="*/ 1022350 h 3657600"/>
                  <a:gd name="connsiteX22" fmla="*/ 96562 w 445812"/>
                  <a:gd name="connsiteY22" fmla="*/ 1057275 h 3657600"/>
                  <a:gd name="connsiteX23" fmla="*/ 52112 w 445812"/>
                  <a:gd name="connsiteY23" fmla="*/ 1143000 h 3657600"/>
                  <a:gd name="connsiteX24" fmla="*/ 20362 w 445812"/>
                  <a:gd name="connsiteY24" fmla="*/ 1244600 h 3657600"/>
                  <a:gd name="connsiteX25" fmla="*/ 1312 w 445812"/>
                  <a:gd name="connsiteY25" fmla="*/ 1346200 h 3657600"/>
                  <a:gd name="connsiteX26" fmla="*/ 10837 w 445812"/>
                  <a:gd name="connsiteY26" fmla="*/ 1438275 h 3657600"/>
                  <a:gd name="connsiteX27" fmla="*/ 83862 w 445812"/>
                  <a:gd name="connsiteY27" fmla="*/ 1511300 h 3657600"/>
                  <a:gd name="connsiteX28" fmla="*/ 112437 w 445812"/>
                  <a:gd name="connsiteY28" fmla="*/ 1558925 h 3657600"/>
                  <a:gd name="connsiteX29" fmla="*/ 150537 w 445812"/>
                  <a:gd name="connsiteY29" fmla="*/ 1590675 h 3657600"/>
                  <a:gd name="connsiteX30" fmla="*/ 169587 w 445812"/>
                  <a:gd name="connsiteY30" fmla="*/ 1644650 h 3657600"/>
                  <a:gd name="connsiteX31" fmla="*/ 226737 w 445812"/>
                  <a:gd name="connsiteY31" fmla="*/ 1685925 h 3657600"/>
                  <a:gd name="connsiteX32" fmla="*/ 264837 w 445812"/>
                  <a:gd name="connsiteY32" fmla="*/ 1730375 h 3657600"/>
                  <a:gd name="connsiteX33" fmla="*/ 277537 w 445812"/>
                  <a:gd name="connsiteY33" fmla="*/ 1758950 h 3657600"/>
                  <a:gd name="connsiteX34" fmla="*/ 277537 w 445812"/>
                  <a:gd name="connsiteY34" fmla="*/ 1828800 h 3657600"/>
                  <a:gd name="connsiteX35" fmla="*/ 325162 w 445812"/>
                  <a:gd name="connsiteY35" fmla="*/ 1905000 h 3657600"/>
                  <a:gd name="connsiteX36" fmla="*/ 363262 w 445812"/>
                  <a:gd name="connsiteY36" fmla="*/ 1962150 h 3657600"/>
                  <a:gd name="connsiteX37" fmla="*/ 369612 w 445812"/>
                  <a:gd name="connsiteY37" fmla="*/ 2028825 h 3657600"/>
                  <a:gd name="connsiteX38" fmla="*/ 407712 w 445812"/>
                  <a:gd name="connsiteY38" fmla="*/ 2085975 h 3657600"/>
                  <a:gd name="connsiteX39" fmla="*/ 414062 w 445812"/>
                  <a:gd name="connsiteY39" fmla="*/ 2209800 h 3657600"/>
                  <a:gd name="connsiteX40" fmla="*/ 252137 w 445812"/>
                  <a:gd name="connsiteY40" fmla="*/ 2251075 h 3657600"/>
                  <a:gd name="connsiteX41" fmla="*/ 201337 w 445812"/>
                  <a:gd name="connsiteY41" fmla="*/ 2390775 h 3657600"/>
                  <a:gd name="connsiteX42" fmla="*/ 210862 w 445812"/>
                  <a:gd name="connsiteY42" fmla="*/ 2454275 h 3657600"/>
                  <a:gd name="connsiteX43" fmla="*/ 226737 w 445812"/>
                  <a:gd name="connsiteY43" fmla="*/ 2482850 h 3657600"/>
                  <a:gd name="connsiteX44" fmla="*/ 226737 w 445812"/>
                  <a:gd name="connsiteY44" fmla="*/ 2527300 h 3657600"/>
                  <a:gd name="connsiteX45" fmla="*/ 236262 w 445812"/>
                  <a:gd name="connsiteY45" fmla="*/ 2603500 h 3657600"/>
                  <a:gd name="connsiteX46" fmla="*/ 96562 w 445812"/>
                  <a:gd name="connsiteY46" fmla="*/ 3028949 h 3657600"/>
                  <a:gd name="connsiteX47" fmla="*/ 58462 w 445812"/>
                  <a:gd name="connsiteY47" fmla="*/ 3657600 h 3657600"/>
                  <a:gd name="connsiteX0" fmla="*/ 445812 w 445812"/>
                  <a:gd name="connsiteY0" fmla="*/ 0 h 3657600"/>
                  <a:gd name="connsiteX1" fmla="*/ 407712 w 445812"/>
                  <a:gd name="connsiteY1" fmla="*/ 66675 h 3657600"/>
                  <a:gd name="connsiteX2" fmla="*/ 353737 w 445812"/>
                  <a:gd name="connsiteY2" fmla="*/ 85725 h 3657600"/>
                  <a:gd name="connsiteX3" fmla="*/ 283887 w 445812"/>
                  <a:gd name="connsiteY3" fmla="*/ 98425 h 3657600"/>
                  <a:gd name="connsiteX4" fmla="*/ 223562 w 445812"/>
                  <a:gd name="connsiteY4" fmla="*/ 133350 h 3657600"/>
                  <a:gd name="connsiteX5" fmla="*/ 121962 w 445812"/>
                  <a:gd name="connsiteY5" fmla="*/ 196850 h 3657600"/>
                  <a:gd name="connsiteX6" fmla="*/ 131487 w 445812"/>
                  <a:gd name="connsiteY6" fmla="*/ 247650 h 3657600"/>
                  <a:gd name="connsiteX7" fmla="*/ 172762 w 445812"/>
                  <a:gd name="connsiteY7" fmla="*/ 276225 h 3657600"/>
                  <a:gd name="connsiteX8" fmla="*/ 185462 w 445812"/>
                  <a:gd name="connsiteY8" fmla="*/ 327025 h 3657600"/>
                  <a:gd name="connsiteX9" fmla="*/ 239437 w 445812"/>
                  <a:gd name="connsiteY9" fmla="*/ 368300 h 3657600"/>
                  <a:gd name="connsiteX10" fmla="*/ 239437 w 445812"/>
                  <a:gd name="connsiteY10" fmla="*/ 412750 h 3657600"/>
                  <a:gd name="connsiteX11" fmla="*/ 207687 w 445812"/>
                  <a:gd name="connsiteY11" fmla="*/ 454025 h 3657600"/>
                  <a:gd name="connsiteX12" fmla="*/ 287062 w 445812"/>
                  <a:gd name="connsiteY12" fmla="*/ 479425 h 3657600"/>
                  <a:gd name="connsiteX13" fmla="*/ 302937 w 445812"/>
                  <a:gd name="connsiteY13" fmla="*/ 511175 h 3657600"/>
                  <a:gd name="connsiteX14" fmla="*/ 210862 w 445812"/>
                  <a:gd name="connsiteY14" fmla="*/ 581025 h 3657600"/>
                  <a:gd name="connsiteX15" fmla="*/ 160062 w 445812"/>
                  <a:gd name="connsiteY15" fmla="*/ 638175 h 3657600"/>
                  <a:gd name="connsiteX16" fmla="*/ 160062 w 445812"/>
                  <a:gd name="connsiteY16" fmla="*/ 695325 h 3657600"/>
                  <a:gd name="connsiteX17" fmla="*/ 185462 w 445812"/>
                  <a:gd name="connsiteY17" fmla="*/ 784225 h 3657600"/>
                  <a:gd name="connsiteX18" fmla="*/ 194987 w 445812"/>
                  <a:gd name="connsiteY18" fmla="*/ 835025 h 3657600"/>
                  <a:gd name="connsiteX19" fmla="*/ 204512 w 445812"/>
                  <a:gd name="connsiteY19" fmla="*/ 885825 h 3657600"/>
                  <a:gd name="connsiteX20" fmla="*/ 220387 w 445812"/>
                  <a:gd name="connsiteY20" fmla="*/ 923925 h 3657600"/>
                  <a:gd name="connsiteX21" fmla="*/ 163237 w 445812"/>
                  <a:gd name="connsiteY21" fmla="*/ 1022350 h 3657600"/>
                  <a:gd name="connsiteX22" fmla="*/ 96562 w 445812"/>
                  <a:gd name="connsiteY22" fmla="*/ 1057275 h 3657600"/>
                  <a:gd name="connsiteX23" fmla="*/ 52112 w 445812"/>
                  <a:gd name="connsiteY23" fmla="*/ 1143000 h 3657600"/>
                  <a:gd name="connsiteX24" fmla="*/ 20362 w 445812"/>
                  <a:gd name="connsiteY24" fmla="*/ 1244600 h 3657600"/>
                  <a:gd name="connsiteX25" fmla="*/ 1312 w 445812"/>
                  <a:gd name="connsiteY25" fmla="*/ 1346200 h 3657600"/>
                  <a:gd name="connsiteX26" fmla="*/ 10837 w 445812"/>
                  <a:gd name="connsiteY26" fmla="*/ 1438275 h 3657600"/>
                  <a:gd name="connsiteX27" fmla="*/ 83862 w 445812"/>
                  <a:gd name="connsiteY27" fmla="*/ 1511300 h 3657600"/>
                  <a:gd name="connsiteX28" fmla="*/ 112437 w 445812"/>
                  <a:gd name="connsiteY28" fmla="*/ 1558925 h 3657600"/>
                  <a:gd name="connsiteX29" fmla="*/ 150537 w 445812"/>
                  <a:gd name="connsiteY29" fmla="*/ 1590675 h 3657600"/>
                  <a:gd name="connsiteX30" fmla="*/ 169587 w 445812"/>
                  <a:gd name="connsiteY30" fmla="*/ 1644650 h 3657600"/>
                  <a:gd name="connsiteX31" fmla="*/ 226737 w 445812"/>
                  <a:gd name="connsiteY31" fmla="*/ 1685925 h 3657600"/>
                  <a:gd name="connsiteX32" fmla="*/ 264837 w 445812"/>
                  <a:gd name="connsiteY32" fmla="*/ 1730375 h 3657600"/>
                  <a:gd name="connsiteX33" fmla="*/ 277537 w 445812"/>
                  <a:gd name="connsiteY33" fmla="*/ 1758950 h 3657600"/>
                  <a:gd name="connsiteX34" fmla="*/ 277537 w 445812"/>
                  <a:gd name="connsiteY34" fmla="*/ 1828800 h 3657600"/>
                  <a:gd name="connsiteX35" fmla="*/ 325162 w 445812"/>
                  <a:gd name="connsiteY35" fmla="*/ 1905000 h 3657600"/>
                  <a:gd name="connsiteX36" fmla="*/ 363262 w 445812"/>
                  <a:gd name="connsiteY36" fmla="*/ 1962150 h 3657600"/>
                  <a:gd name="connsiteX37" fmla="*/ 369612 w 445812"/>
                  <a:gd name="connsiteY37" fmla="*/ 2028825 h 3657600"/>
                  <a:gd name="connsiteX38" fmla="*/ 407712 w 445812"/>
                  <a:gd name="connsiteY38" fmla="*/ 2085975 h 3657600"/>
                  <a:gd name="connsiteX39" fmla="*/ 414062 w 445812"/>
                  <a:gd name="connsiteY39" fmla="*/ 2209800 h 3657600"/>
                  <a:gd name="connsiteX40" fmla="*/ 252137 w 445812"/>
                  <a:gd name="connsiteY40" fmla="*/ 2251075 h 3657600"/>
                  <a:gd name="connsiteX41" fmla="*/ 201337 w 445812"/>
                  <a:gd name="connsiteY41" fmla="*/ 2390775 h 3657600"/>
                  <a:gd name="connsiteX42" fmla="*/ 210862 w 445812"/>
                  <a:gd name="connsiteY42" fmla="*/ 2454275 h 3657600"/>
                  <a:gd name="connsiteX43" fmla="*/ 226737 w 445812"/>
                  <a:gd name="connsiteY43" fmla="*/ 2482850 h 3657600"/>
                  <a:gd name="connsiteX44" fmla="*/ 226737 w 445812"/>
                  <a:gd name="connsiteY44" fmla="*/ 2527300 h 3657600"/>
                  <a:gd name="connsiteX45" fmla="*/ 236262 w 445812"/>
                  <a:gd name="connsiteY45" fmla="*/ 2603500 h 3657600"/>
                  <a:gd name="connsiteX46" fmla="*/ 83862 w 445812"/>
                  <a:gd name="connsiteY46" fmla="*/ 3028949 h 3657600"/>
                  <a:gd name="connsiteX47" fmla="*/ 58462 w 445812"/>
                  <a:gd name="connsiteY47" fmla="*/ 3657600 h 3657600"/>
                  <a:gd name="connsiteX0" fmla="*/ 445812 w 445812"/>
                  <a:gd name="connsiteY0" fmla="*/ 0 h 3657600"/>
                  <a:gd name="connsiteX1" fmla="*/ 407712 w 445812"/>
                  <a:gd name="connsiteY1" fmla="*/ 66675 h 3657600"/>
                  <a:gd name="connsiteX2" fmla="*/ 353737 w 445812"/>
                  <a:gd name="connsiteY2" fmla="*/ 85725 h 3657600"/>
                  <a:gd name="connsiteX3" fmla="*/ 283887 w 445812"/>
                  <a:gd name="connsiteY3" fmla="*/ 98425 h 3657600"/>
                  <a:gd name="connsiteX4" fmla="*/ 223562 w 445812"/>
                  <a:gd name="connsiteY4" fmla="*/ 133350 h 3657600"/>
                  <a:gd name="connsiteX5" fmla="*/ 121962 w 445812"/>
                  <a:gd name="connsiteY5" fmla="*/ 196850 h 3657600"/>
                  <a:gd name="connsiteX6" fmla="*/ 131487 w 445812"/>
                  <a:gd name="connsiteY6" fmla="*/ 247650 h 3657600"/>
                  <a:gd name="connsiteX7" fmla="*/ 172762 w 445812"/>
                  <a:gd name="connsiteY7" fmla="*/ 276225 h 3657600"/>
                  <a:gd name="connsiteX8" fmla="*/ 185462 w 445812"/>
                  <a:gd name="connsiteY8" fmla="*/ 327025 h 3657600"/>
                  <a:gd name="connsiteX9" fmla="*/ 239437 w 445812"/>
                  <a:gd name="connsiteY9" fmla="*/ 368300 h 3657600"/>
                  <a:gd name="connsiteX10" fmla="*/ 239437 w 445812"/>
                  <a:gd name="connsiteY10" fmla="*/ 412750 h 3657600"/>
                  <a:gd name="connsiteX11" fmla="*/ 207687 w 445812"/>
                  <a:gd name="connsiteY11" fmla="*/ 454025 h 3657600"/>
                  <a:gd name="connsiteX12" fmla="*/ 287062 w 445812"/>
                  <a:gd name="connsiteY12" fmla="*/ 479425 h 3657600"/>
                  <a:gd name="connsiteX13" fmla="*/ 302937 w 445812"/>
                  <a:gd name="connsiteY13" fmla="*/ 511175 h 3657600"/>
                  <a:gd name="connsiteX14" fmla="*/ 210862 w 445812"/>
                  <a:gd name="connsiteY14" fmla="*/ 581025 h 3657600"/>
                  <a:gd name="connsiteX15" fmla="*/ 160062 w 445812"/>
                  <a:gd name="connsiteY15" fmla="*/ 638175 h 3657600"/>
                  <a:gd name="connsiteX16" fmla="*/ 160062 w 445812"/>
                  <a:gd name="connsiteY16" fmla="*/ 695325 h 3657600"/>
                  <a:gd name="connsiteX17" fmla="*/ 185462 w 445812"/>
                  <a:gd name="connsiteY17" fmla="*/ 784225 h 3657600"/>
                  <a:gd name="connsiteX18" fmla="*/ 194987 w 445812"/>
                  <a:gd name="connsiteY18" fmla="*/ 835025 h 3657600"/>
                  <a:gd name="connsiteX19" fmla="*/ 204512 w 445812"/>
                  <a:gd name="connsiteY19" fmla="*/ 885825 h 3657600"/>
                  <a:gd name="connsiteX20" fmla="*/ 220387 w 445812"/>
                  <a:gd name="connsiteY20" fmla="*/ 923925 h 3657600"/>
                  <a:gd name="connsiteX21" fmla="*/ 163237 w 445812"/>
                  <a:gd name="connsiteY21" fmla="*/ 1022350 h 3657600"/>
                  <a:gd name="connsiteX22" fmla="*/ 96562 w 445812"/>
                  <a:gd name="connsiteY22" fmla="*/ 1057275 h 3657600"/>
                  <a:gd name="connsiteX23" fmla="*/ 52112 w 445812"/>
                  <a:gd name="connsiteY23" fmla="*/ 1143000 h 3657600"/>
                  <a:gd name="connsiteX24" fmla="*/ 20362 w 445812"/>
                  <a:gd name="connsiteY24" fmla="*/ 1244600 h 3657600"/>
                  <a:gd name="connsiteX25" fmla="*/ 1312 w 445812"/>
                  <a:gd name="connsiteY25" fmla="*/ 1346200 h 3657600"/>
                  <a:gd name="connsiteX26" fmla="*/ 10837 w 445812"/>
                  <a:gd name="connsiteY26" fmla="*/ 1438275 h 3657600"/>
                  <a:gd name="connsiteX27" fmla="*/ 83862 w 445812"/>
                  <a:gd name="connsiteY27" fmla="*/ 1511300 h 3657600"/>
                  <a:gd name="connsiteX28" fmla="*/ 112437 w 445812"/>
                  <a:gd name="connsiteY28" fmla="*/ 1558925 h 3657600"/>
                  <a:gd name="connsiteX29" fmla="*/ 150537 w 445812"/>
                  <a:gd name="connsiteY29" fmla="*/ 1590675 h 3657600"/>
                  <a:gd name="connsiteX30" fmla="*/ 169587 w 445812"/>
                  <a:gd name="connsiteY30" fmla="*/ 1644650 h 3657600"/>
                  <a:gd name="connsiteX31" fmla="*/ 226737 w 445812"/>
                  <a:gd name="connsiteY31" fmla="*/ 1685925 h 3657600"/>
                  <a:gd name="connsiteX32" fmla="*/ 264837 w 445812"/>
                  <a:gd name="connsiteY32" fmla="*/ 1730375 h 3657600"/>
                  <a:gd name="connsiteX33" fmla="*/ 277537 w 445812"/>
                  <a:gd name="connsiteY33" fmla="*/ 1758950 h 3657600"/>
                  <a:gd name="connsiteX34" fmla="*/ 277537 w 445812"/>
                  <a:gd name="connsiteY34" fmla="*/ 1828800 h 3657600"/>
                  <a:gd name="connsiteX35" fmla="*/ 325162 w 445812"/>
                  <a:gd name="connsiteY35" fmla="*/ 1905000 h 3657600"/>
                  <a:gd name="connsiteX36" fmla="*/ 363262 w 445812"/>
                  <a:gd name="connsiteY36" fmla="*/ 1962150 h 3657600"/>
                  <a:gd name="connsiteX37" fmla="*/ 369612 w 445812"/>
                  <a:gd name="connsiteY37" fmla="*/ 2028825 h 3657600"/>
                  <a:gd name="connsiteX38" fmla="*/ 407712 w 445812"/>
                  <a:gd name="connsiteY38" fmla="*/ 2085975 h 3657600"/>
                  <a:gd name="connsiteX39" fmla="*/ 414062 w 445812"/>
                  <a:gd name="connsiteY39" fmla="*/ 2209800 h 3657600"/>
                  <a:gd name="connsiteX40" fmla="*/ 252137 w 445812"/>
                  <a:gd name="connsiteY40" fmla="*/ 2251075 h 3657600"/>
                  <a:gd name="connsiteX41" fmla="*/ 201337 w 445812"/>
                  <a:gd name="connsiteY41" fmla="*/ 2390775 h 3657600"/>
                  <a:gd name="connsiteX42" fmla="*/ 210862 w 445812"/>
                  <a:gd name="connsiteY42" fmla="*/ 2454275 h 3657600"/>
                  <a:gd name="connsiteX43" fmla="*/ 226737 w 445812"/>
                  <a:gd name="connsiteY43" fmla="*/ 2482850 h 3657600"/>
                  <a:gd name="connsiteX44" fmla="*/ 226737 w 445812"/>
                  <a:gd name="connsiteY44" fmla="*/ 2527300 h 3657600"/>
                  <a:gd name="connsiteX45" fmla="*/ 236262 w 445812"/>
                  <a:gd name="connsiteY45" fmla="*/ 2603500 h 3657600"/>
                  <a:gd name="connsiteX46" fmla="*/ 83862 w 445812"/>
                  <a:gd name="connsiteY46" fmla="*/ 3028949 h 3657600"/>
                  <a:gd name="connsiteX47" fmla="*/ 17187 w 445812"/>
                  <a:gd name="connsiteY47" fmla="*/ 3365499 h 3657600"/>
                  <a:gd name="connsiteX48" fmla="*/ 58462 w 445812"/>
                  <a:gd name="connsiteY48" fmla="*/ 3657600 h 3657600"/>
                  <a:gd name="connsiteX0" fmla="*/ 445812 w 445812"/>
                  <a:gd name="connsiteY0" fmla="*/ 0 h 3657600"/>
                  <a:gd name="connsiteX1" fmla="*/ 407712 w 445812"/>
                  <a:gd name="connsiteY1" fmla="*/ 66675 h 3657600"/>
                  <a:gd name="connsiteX2" fmla="*/ 353737 w 445812"/>
                  <a:gd name="connsiteY2" fmla="*/ 85725 h 3657600"/>
                  <a:gd name="connsiteX3" fmla="*/ 283887 w 445812"/>
                  <a:gd name="connsiteY3" fmla="*/ 98425 h 3657600"/>
                  <a:gd name="connsiteX4" fmla="*/ 223562 w 445812"/>
                  <a:gd name="connsiteY4" fmla="*/ 133350 h 3657600"/>
                  <a:gd name="connsiteX5" fmla="*/ 121962 w 445812"/>
                  <a:gd name="connsiteY5" fmla="*/ 196850 h 3657600"/>
                  <a:gd name="connsiteX6" fmla="*/ 131487 w 445812"/>
                  <a:gd name="connsiteY6" fmla="*/ 247650 h 3657600"/>
                  <a:gd name="connsiteX7" fmla="*/ 172762 w 445812"/>
                  <a:gd name="connsiteY7" fmla="*/ 276225 h 3657600"/>
                  <a:gd name="connsiteX8" fmla="*/ 185462 w 445812"/>
                  <a:gd name="connsiteY8" fmla="*/ 327025 h 3657600"/>
                  <a:gd name="connsiteX9" fmla="*/ 239437 w 445812"/>
                  <a:gd name="connsiteY9" fmla="*/ 368300 h 3657600"/>
                  <a:gd name="connsiteX10" fmla="*/ 239437 w 445812"/>
                  <a:gd name="connsiteY10" fmla="*/ 412750 h 3657600"/>
                  <a:gd name="connsiteX11" fmla="*/ 207687 w 445812"/>
                  <a:gd name="connsiteY11" fmla="*/ 454025 h 3657600"/>
                  <a:gd name="connsiteX12" fmla="*/ 287062 w 445812"/>
                  <a:gd name="connsiteY12" fmla="*/ 479425 h 3657600"/>
                  <a:gd name="connsiteX13" fmla="*/ 302937 w 445812"/>
                  <a:gd name="connsiteY13" fmla="*/ 511175 h 3657600"/>
                  <a:gd name="connsiteX14" fmla="*/ 210862 w 445812"/>
                  <a:gd name="connsiteY14" fmla="*/ 581025 h 3657600"/>
                  <a:gd name="connsiteX15" fmla="*/ 160062 w 445812"/>
                  <a:gd name="connsiteY15" fmla="*/ 638175 h 3657600"/>
                  <a:gd name="connsiteX16" fmla="*/ 160062 w 445812"/>
                  <a:gd name="connsiteY16" fmla="*/ 695325 h 3657600"/>
                  <a:gd name="connsiteX17" fmla="*/ 185462 w 445812"/>
                  <a:gd name="connsiteY17" fmla="*/ 784225 h 3657600"/>
                  <a:gd name="connsiteX18" fmla="*/ 194987 w 445812"/>
                  <a:gd name="connsiteY18" fmla="*/ 835025 h 3657600"/>
                  <a:gd name="connsiteX19" fmla="*/ 204512 w 445812"/>
                  <a:gd name="connsiteY19" fmla="*/ 885825 h 3657600"/>
                  <a:gd name="connsiteX20" fmla="*/ 220387 w 445812"/>
                  <a:gd name="connsiteY20" fmla="*/ 923925 h 3657600"/>
                  <a:gd name="connsiteX21" fmla="*/ 163237 w 445812"/>
                  <a:gd name="connsiteY21" fmla="*/ 1022350 h 3657600"/>
                  <a:gd name="connsiteX22" fmla="*/ 96562 w 445812"/>
                  <a:gd name="connsiteY22" fmla="*/ 1057275 h 3657600"/>
                  <a:gd name="connsiteX23" fmla="*/ 52112 w 445812"/>
                  <a:gd name="connsiteY23" fmla="*/ 1143000 h 3657600"/>
                  <a:gd name="connsiteX24" fmla="*/ 20362 w 445812"/>
                  <a:gd name="connsiteY24" fmla="*/ 1244600 h 3657600"/>
                  <a:gd name="connsiteX25" fmla="*/ 1312 w 445812"/>
                  <a:gd name="connsiteY25" fmla="*/ 1346200 h 3657600"/>
                  <a:gd name="connsiteX26" fmla="*/ 10837 w 445812"/>
                  <a:gd name="connsiteY26" fmla="*/ 1438275 h 3657600"/>
                  <a:gd name="connsiteX27" fmla="*/ 83862 w 445812"/>
                  <a:gd name="connsiteY27" fmla="*/ 1511300 h 3657600"/>
                  <a:gd name="connsiteX28" fmla="*/ 112437 w 445812"/>
                  <a:gd name="connsiteY28" fmla="*/ 1558925 h 3657600"/>
                  <a:gd name="connsiteX29" fmla="*/ 150537 w 445812"/>
                  <a:gd name="connsiteY29" fmla="*/ 1590675 h 3657600"/>
                  <a:gd name="connsiteX30" fmla="*/ 169587 w 445812"/>
                  <a:gd name="connsiteY30" fmla="*/ 1644650 h 3657600"/>
                  <a:gd name="connsiteX31" fmla="*/ 226737 w 445812"/>
                  <a:gd name="connsiteY31" fmla="*/ 1685925 h 3657600"/>
                  <a:gd name="connsiteX32" fmla="*/ 264837 w 445812"/>
                  <a:gd name="connsiteY32" fmla="*/ 1730375 h 3657600"/>
                  <a:gd name="connsiteX33" fmla="*/ 277537 w 445812"/>
                  <a:gd name="connsiteY33" fmla="*/ 1758950 h 3657600"/>
                  <a:gd name="connsiteX34" fmla="*/ 277537 w 445812"/>
                  <a:gd name="connsiteY34" fmla="*/ 1828800 h 3657600"/>
                  <a:gd name="connsiteX35" fmla="*/ 325162 w 445812"/>
                  <a:gd name="connsiteY35" fmla="*/ 1905000 h 3657600"/>
                  <a:gd name="connsiteX36" fmla="*/ 363262 w 445812"/>
                  <a:gd name="connsiteY36" fmla="*/ 1962150 h 3657600"/>
                  <a:gd name="connsiteX37" fmla="*/ 369612 w 445812"/>
                  <a:gd name="connsiteY37" fmla="*/ 2028825 h 3657600"/>
                  <a:gd name="connsiteX38" fmla="*/ 407712 w 445812"/>
                  <a:gd name="connsiteY38" fmla="*/ 2085975 h 3657600"/>
                  <a:gd name="connsiteX39" fmla="*/ 414062 w 445812"/>
                  <a:gd name="connsiteY39" fmla="*/ 2209800 h 3657600"/>
                  <a:gd name="connsiteX40" fmla="*/ 252137 w 445812"/>
                  <a:gd name="connsiteY40" fmla="*/ 2251075 h 3657600"/>
                  <a:gd name="connsiteX41" fmla="*/ 201337 w 445812"/>
                  <a:gd name="connsiteY41" fmla="*/ 2390775 h 3657600"/>
                  <a:gd name="connsiteX42" fmla="*/ 210862 w 445812"/>
                  <a:gd name="connsiteY42" fmla="*/ 2454275 h 3657600"/>
                  <a:gd name="connsiteX43" fmla="*/ 226737 w 445812"/>
                  <a:gd name="connsiteY43" fmla="*/ 2482850 h 3657600"/>
                  <a:gd name="connsiteX44" fmla="*/ 226737 w 445812"/>
                  <a:gd name="connsiteY44" fmla="*/ 2527300 h 3657600"/>
                  <a:gd name="connsiteX45" fmla="*/ 236262 w 445812"/>
                  <a:gd name="connsiteY45" fmla="*/ 2603500 h 3657600"/>
                  <a:gd name="connsiteX46" fmla="*/ 83862 w 445812"/>
                  <a:gd name="connsiteY46" fmla="*/ 3028949 h 3657600"/>
                  <a:gd name="connsiteX47" fmla="*/ 17187 w 445812"/>
                  <a:gd name="connsiteY47" fmla="*/ 3365499 h 3657600"/>
                  <a:gd name="connsiteX48" fmla="*/ 45762 w 445812"/>
                  <a:gd name="connsiteY48" fmla="*/ 3492499 h 3657600"/>
                  <a:gd name="connsiteX49" fmla="*/ 58462 w 445812"/>
                  <a:gd name="connsiteY49" fmla="*/ 3657600 h 3657600"/>
                  <a:gd name="connsiteX0" fmla="*/ 445812 w 445812"/>
                  <a:gd name="connsiteY0" fmla="*/ 0 h 3657600"/>
                  <a:gd name="connsiteX1" fmla="*/ 407712 w 445812"/>
                  <a:gd name="connsiteY1" fmla="*/ 66675 h 3657600"/>
                  <a:gd name="connsiteX2" fmla="*/ 353737 w 445812"/>
                  <a:gd name="connsiteY2" fmla="*/ 85725 h 3657600"/>
                  <a:gd name="connsiteX3" fmla="*/ 283887 w 445812"/>
                  <a:gd name="connsiteY3" fmla="*/ 98425 h 3657600"/>
                  <a:gd name="connsiteX4" fmla="*/ 223562 w 445812"/>
                  <a:gd name="connsiteY4" fmla="*/ 133350 h 3657600"/>
                  <a:gd name="connsiteX5" fmla="*/ 121962 w 445812"/>
                  <a:gd name="connsiteY5" fmla="*/ 196850 h 3657600"/>
                  <a:gd name="connsiteX6" fmla="*/ 131487 w 445812"/>
                  <a:gd name="connsiteY6" fmla="*/ 247650 h 3657600"/>
                  <a:gd name="connsiteX7" fmla="*/ 172762 w 445812"/>
                  <a:gd name="connsiteY7" fmla="*/ 276225 h 3657600"/>
                  <a:gd name="connsiteX8" fmla="*/ 185462 w 445812"/>
                  <a:gd name="connsiteY8" fmla="*/ 327025 h 3657600"/>
                  <a:gd name="connsiteX9" fmla="*/ 239437 w 445812"/>
                  <a:gd name="connsiteY9" fmla="*/ 368300 h 3657600"/>
                  <a:gd name="connsiteX10" fmla="*/ 239437 w 445812"/>
                  <a:gd name="connsiteY10" fmla="*/ 412750 h 3657600"/>
                  <a:gd name="connsiteX11" fmla="*/ 207687 w 445812"/>
                  <a:gd name="connsiteY11" fmla="*/ 454025 h 3657600"/>
                  <a:gd name="connsiteX12" fmla="*/ 287062 w 445812"/>
                  <a:gd name="connsiteY12" fmla="*/ 479425 h 3657600"/>
                  <a:gd name="connsiteX13" fmla="*/ 302937 w 445812"/>
                  <a:gd name="connsiteY13" fmla="*/ 511175 h 3657600"/>
                  <a:gd name="connsiteX14" fmla="*/ 210862 w 445812"/>
                  <a:gd name="connsiteY14" fmla="*/ 581025 h 3657600"/>
                  <a:gd name="connsiteX15" fmla="*/ 160062 w 445812"/>
                  <a:gd name="connsiteY15" fmla="*/ 638175 h 3657600"/>
                  <a:gd name="connsiteX16" fmla="*/ 160062 w 445812"/>
                  <a:gd name="connsiteY16" fmla="*/ 695325 h 3657600"/>
                  <a:gd name="connsiteX17" fmla="*/ 185462 w 445812"/>
                  <a:gd name="connsiteY17" fmla="*/ 784225 h 3657600"/>
                  <a:gd name="connsiteX18" fmla="*/ 194987 w 445812"/>
                  <a:gd name="connsiteY18" fmla="*/ 835025 h 3657600"/>
                  <a:gd name="connsiteX19" fmla="*/ 204512 w 445812"/>
                  <a:gd name="connsiteY19" fmla="*/ 885825 h 3657600"/>
                  <a:gd name="connsiteX20" fmla="*/ 220387 w 445812"/>
                  <a:gd name="connsiteY20" fmla="*/ 923925 h 3657600"/>
                  <a:gd name="connsiteX21" fmla="*/ 163237 w 445812"/>
                  <a:gd name="connsiteY21" fmla="*/ 1022350 h 3657600"/>
                  <a:gd name="connsiteX22" fmla="*/ 96562 w 445812"/>
                  <a:gd name="connsiteY22" fmla="*/ 1057275 h 3657600"/>
                  <a:gd name="connsiteX23" fmla="*/ 52112 w 445812"/>
                  <a:gd name="connsiteY23" fmla="*/ 1143000 h 3657600"/>
                  <a:gd name="connsiteX24" fmla="*/ 20362 w 445812"/>
                  <a:gd name="connsiteY24" fmla="*/ 1244600 h 3657600"/>
                  <a:gd name="connsiteX25" fmla="*/ 1312 w 445812"/>
                  <a:gd name="connsiteY25" fmla="*/ 1346200 h 3657600"/>
                  <a:gd name="connsiteX26" fmla="*/ 10837 w 445812"/>
                  <a:gd name="connsiteY26" fmla="*/ 1438275 h 3657600"/>
                  <a:gd name="connsiteX27" fmla="*/ 83862 w 445812"/>
                  <a:gd name="connsiteY27" fmla="*/ 1511300 h 3657600"/>
                  <a:gd name="connsiteX28" fmla="*/ 112437 w 445812"/>
                  <a:gd name="connsiteY28" fmla="*/ 1558925 h 3657600"/>
                  <a:gd name="connsiteX29" fmla="*/ 150537 w 445812"/>
                  <a:gd name="connsiteY29" fmla="*/ 1590675 h 3657600"/>
                  <a:gd name="connsiteX30" fmla="*/ 169587 w 445812"/>
                  <a:gd name="connsiteY30" fmla="*/ 1644650 h 3657600"/>
                  <a:gd name="connsiteX31" fmla="*/ 226737 w 445812"/>
                  <a:gd name="connsiteY31" fmla="*/ 1685925 h 3657600"/>
                  <a:gd name="connsiteX32" fmla="*/ 264837 w 445812"/>
                  <a:gd name="connsiteY32" fmla="*/ 1730375 h 3657600"/>
                  <a:gd name="connsiteX33" fmla="*/ 277537 w 445812"/>
                  <a:gd name="connsiteY33" fmla="*/ 1758950 h 3657600"/>
                  <a:gd name="connsiteX34" fmla="*/ 277537 w 445812"/>
                  <a:gd name="connsiteY34" fmla="*/ 1828800 h 3657600"/>
                  <a:gd name="connsiteX35" fmla="*/ 325162 w 445812"/>
                  <a:gd name="connsiteY35" fmla="*/ 1905000 h 3657600"/>
                  <a:gd name="connsiteX36" fmla="*/ 363262 w 445812"/>
                  <a:gd name="connsiteY36" fmla="*/ 1962150 h 3657600"/>
                  <a:gd name="connsiteX37" fmla="*/ 369612 w 445812"/>
                  <a:gd name="connsiteY37" fmla="*/ 2028825 h 3657600"/>
                  <a:gd name="connsiteX38" fmla="*/ 407712 w 445812"/>
                  <a:gd name="connsiteY38" fmla="*/ 2085975 h 3657600"/>
                  <a:gd name="connsiteX39" fmla="*/ 414062 w 445812"/>
                  <a:gd name="connsiteY39" fmla="*/ 2209800 h 3657600"/>
                  <a:gd name="connsiteX40" fmla="*/ 252137 w 445812"/>
                  <a:gd name="connsiteY40" fmla="*/ 2251075 h 3657600"/>
                  <a:gd name="connsiteX41" fmla="*/ 201337 w 445812"/>
                  <a:gd name="connsiteY41" fmla="*/ 2390775 h 3657600"/>
                  <a:gd name="connsiteX42" fmla="*/ 210862 w 445812"/>
                  <a:gd name="connsiteY42" fmla="*/ 2454275 h 3657600"/>
                  <a:gd name="connsiteX43" fmla="*/ 226737 w 445812"/>
                  <a:gd name="connsiteY43" fmla="*/ 2482850 h 3657600"/>
                  <a:gd name="connsiteX44" fmla="*/ 226737 w 445812"/>
                  <a:gd name="connsiteY44" fmla="*/ 2527300 h 3657600"/>
                  <a:gd name="connsiteX45" fmla="*/ 236262 w 445812"/>
                  <a:gd name="connsiteY45" fmla="*/ 2603500 h 3657600"/>
                  <a:gd name="connsiteX46" fmla="*/ 83862 w 445812"/>
                  <a:gd name="connsiteY46" fmla="*/ 3028949 h 3657600"/>
                  <a:gd name="connsiteX47" fmla="*/ 87037 w 445812"/>
                  <a:gd name="connsiteY47" fmla="*/ 3070224 h 3657600"/>
                  <a:gd name="connsiteX48" fmla="*/ 17187 w 445812"/>
                  <a:gd name="connsiteY48" fmla="*/ 3365499 h 3657600"/>
                  <a:gd name="connsiteX49" fmla="*/ 45762 w 445812"/>
                  <a:gd name="connsiteY49" fmla="*/ 3492499 h 3657600"/>
                  <a:gd name="connsiteX50" fmla="*/ 58462 w 445812"/>
                  <a:gd name="connsiteY50" fmla="*/ 3657600 h 3657600"/>
                  <a:gd name="connsiteX0" fmla="*/ 445812 w 445812"/>
                  <a:gd name="connsiteY0" fmla="*/ 0 h 3657600"/>
                  <a:gd name="connsiteX1" fmla="*/ 407712 w 445812"/>
                  <a:gd name="connsiteY1" fmla="*/ 66675 h 3657600"/>
                  <a:gd name="connsiteX2" fmla="*/ 353737 w 445812"/>
                  <a:gd name="connsiteY2" fmla="*/ 85725 h 3657600"/>
                  <a:gd name="connsiteX3" fmla="*/ 283887 w 445812"/>
                  <a:gd name="connsiteY3" fmla="*/ 98425 h 3657600"/>
                  <a:gd name="connsiteX4" fmla="*/ 223562 w 445812"/>
                  <a:gd name="connsiteY4" fmla="*/ 133350 h 3657600"/>
                  <a:gd name="connsiteX5" fmla="*/ 121962 w 445812"/>
                  <a:gd name="connsiteY5" fmla="*/ 196850 h 3657600"/>
                  <a:gd name="connsiteX6" fmla="*/ 131487 w 445812"/>
                  <a:gd name="connsiteY6" fmla="*/ 247650 h 3657600"/>
                  <a:gd name="connsiteX7" fmla="*/ 172762 w 445812"/>
                  <a:gd name="connsiteY7" fmla="*/ 276225 h 3657600"/>
                  <a:gd name="connsiteX8" fmla="*/ 185462 w 445812"/>
                  <a:gd name="connsiteY8" fmla="*/ 327025 h 3657600"/>
                  <a:gd name="connsiteX9" fmla="*/ 239437 w 445812"/>
                  <a:gd name="connsiteY9" fmla="*/ 368300 h 3657600"/>
                  <a:gd name="connsiteX10" fmla="*/ 239437 w 445812"/>
                  <a:gd name="connsiteY10" fmla="*/ 412750 h 3657600"/>
                  <a:gd name="connsiteX11" fmla="*/ 207687 w 445812"/>
                  <a:gd name="connsiteY11" fmla="*/ 454025 h 3657600"/>
                  <a:gd name="connsiteX12" fmla="*/ 287062 w 445812"/>
                  <a:gd name="connsiteY12" fmla="*/ 479425 h 3657600"/>
                  <a:gd name="connsiteX13" fmla="*/ 302937 w 445812"/>
                  <a:gd name="connsiteY13" fmla="*/ 511175 h 3657600"/>
                  <a:gd name="connsiteX14" fmla="*/ 210862 w 445812"/>
                  <a:gd name="connsiteY14" fmla="*/ 581025 h 3657600"/>
                  <a:gd name="connsiteX15" fmla="*/ 160062 w 445812"/>
                  <a:gd name="connsiteY15" fmla="*/ 638175 h 3657600"/>
                  <a:gd name="connsiteX16" fmla="*/ 160062 w 445812"/>
                  <a:gd name="connsiteY16" fmla="*/ 695325 h 3657600"/>
                  <a:gd name="connsiteX17" fmla="*/ 185462 w 445812"/>
                  <a:gd name="connsiteY17" fmla="*/ 784225 h 3657600"/>
                  <a:gd name="connsiteX18" fmla="*/ 194987 w 445812"/>
                  <a:gd name="connsiteY18" fmla="*/ 835025 h 3657600"/>
                  <a:gd name="connsiteX19" fmla="*/ 204512 w 445812"/>
                  <a:gd name="connsiteY19" fmla="*/ 885825 h 3657600"/>
                  <a:gd name="connsiteX20" fmla="*/ 220387 w 445812"/>
                  <a:gd name="connsiteY20" fmla="*/ 923925 h 3657600"/>
                  <a:gd name="connsiteX21" fmla="*/ 163237 w 445812"/>
                  <a:gd name="connsiteY21" fmla="*/ 1022350 h 3657600"/>
                  <a:gd name="connsiteX22" fmla="*/ 96562 w 445812"/>
                  <a:gd name="connsiteY22" fmla="*/ 1057275 h 3657600"/>
                  <a:gd name="connsiteX23" fmla="*/ 52112 w 445812"/>
                  <a:gd name="connsiteY23" fmla="*/ 1143000 h 3657600"/>
                  <a:gd name="connsiteX24" fmla="*/ 20362 w 445812"/>
                  <a:gd name="connsiteY24" fmla="*/ 1244600 h 3657600"/>
                  <a:gd name="connsiteX25" fmla="*/ 1312 w 445812"/>
                  <a:gd name="connsiteY25" fmla="*/ 1346200 h 3657600"/>
                  <a:gd name="connsiteX26" fmla="*/ 10837 w 445812"/>
                  <a:gd name="connsiteY26" fmla="*/ 1438275 h 3657600"/>
                  <a:gd name="connsiteX27" fmla="*/ 83862 w 445812"/>
                  <a:gd name="connsiteY27" fmla="*/ 1511300 h 3657600"/>
                  <a:gd name="connsiteX28" fmla="*/ 112437 w 445812"/>
                  <a:gd name="connsiteY28" fmla="*/ 1558925 h 3657600"/>
                  <a:gd name="connsiteX29" fmla="*/ 150537 w 445812"/>
                  <a:gd name="connsiteY29" fmla="*/ 1590675 h 3657600"/>
                  <a:gd name="connsiteX30" fmla="*/ 169587 w 445812"/>
                  <a:gd name="connsiteY30" fmla="*/ 1644650 h 3657600"/>
                  <a:gd name="connsiteX31" fmla="*/ 226737 w 445812"/>
                  <a:gd name="connsiteY31" fmla="*/ 1685925 h 3657600"/>
                  <a:gd name="connsiteX32" fmla="*/ 264837 w 445812"/>
                  <a:gd name="connsiteY32" fmla="*/ 1730375 h 3657600"/>
                  <a:gd name="connsiteX33" fmla="*/ 277537 w 445812"/>
                  <a:gd name="connsiteY33" fmla="*/ 1758950 h 3657600"/>
                  <a:gd name="connsiteX34" fmla="*/ 277537 w 445812"/>
                  <a:gd name="connsiteY34" fmla="*/ 1828800 h 3657600"/>
                  <a:gd name="connsiteX35" fmla="*/ 325162 w 445812"/>
                  <a:gd name="connsiteY35" fmla="*/ 1905000 h 3657600"/>
                  <a:gd name="connsiteX36" fmla="*/ 363262 w 445812"/>
                  <a:gd name="connsiteY36" fmla="*/ 1962150 h 3657600"/>
                  <a:gd name="connsiteX37" fmla="*/ 369612 w 445812"/>
                  <a:gd name="connsiteY37" fmla="*/ 2028825 h 3657600"/>
                  <a:gd name="connsiteX38" fmla="*/ 407712 w 445812"/>
                  <a:gd name="connsiteY38" fmla="*/ 2085975 h 3657600"/>
                  <a:gd name="connsiteX39" fmla="*/ 414062 w 445812"/>
                  <a:gd name="connsiteY39" fmla="*/ 2209800 h 3657600"/>
                  <a:gd name="connsiteX40" fmla="*/ 252137 w 445812"/>
                  <a:gd name="connsiteY40" fmla="*/ 2251075 h 3657600"/>
                  <a:gd name="connsiteX41" fmla="*/ 201337 w 445812"/>
                  <a:gd name="connsiteY41" fmla="*/ 2390775 h 3657600"/>
                  <a:gd name="connsiteX42" fmla="*/ 210862 w 445812"/>
                  <a:gd name="connsiteY42" fmla="*/ 2454275 h 3657600"/>
                  <a:gd name="connsiteX43" fmla="*/ 226737 w 445812"/>
                  <a:gd name="connsiteY43" fmla="*/ 2482850 h 3657600"/>
                  <a:gd name="connsiteX44" fmla="*/ 226737 w 445812"/>
                  <a:gd name="connsiteY44" fmla="*/ 2527300 h 3657600"/>
                  <a:gd name="connsiteX45" fmla="*/ 236262 w 445812"/>
                  <a:gd name="connsiteY45" fmla="*/ 2603500 h 3657600"/>
                  <a:gd name="connsiteX46" fmla="*/ 83862 w 445812"/>
                  <a:gd name="connsiteY46" fmla="*/ 3028949 h 3657600"/>
                  <a:gd name="connsiteX47" fmla="*/ 87037 w 445812"/>
                  <a:gd name="connsiteY47" fmla="*/ 3070224 h 3657600"/>
                  <a:gd name="connsiteX48" fmla="*/ 42587 w 445812"/>
                  <a:gd name="connsiteY48" fmla="*/ 3159124 h 3657600"/>
                  <a:gd name="connsiteX49" fmla="*/ 17187 w 445812"/>
                  <a:gd name="connsiteY49" fmla="*/ 3365499 h 3657600"/>
                  <a:gd name="connsiteX50" fmla="*/ 45762 w 445812"/>
                  <a:gd name="connsiteY50" fmla="*/ 3492499 h 3657600"/>
                  <a:gd name="connsiteX51" fmla="*/ 58462 w 445812"/>
                  <a:gd name="connsiteY51" fmla="*/ 3657600 h 3657600"/>
                  <a:gd name="connsiteX0" fmla="*/ 445812 w 445812"/>
                  <a:gd name="connsiteY0" fmla="*/ 0 h 3657600"/>
                  <a:gd name="connsiteX1" fmla="*/ 407712 w 445812"/>
                  <a:gd name="connsiteY1" fmla="*/ 66675 h 3657600"/>
                  <a:gd name="connsiteX2" fmla="*/ 353737 w 445812"/>
                  <a:gd name="connsiteY2" fmla="*/ 85725 h 3657600"/>
                  <a:gd name="connsiteX3" fmla="*/ 283887 w 445812"/>
                  <a:gd name="connsiteY3" fmla="*/ 98425 h 3657600"/>
                  <a:gd name="connsiteX4" fmla="*/ 223562 w 445812"/>
                  <a:gd name="connsiteY4" fmla="*/ 133350 h 3657600"/>
                  <a:gd name="connsiteX5" fmla="*/ 121962 w 445812"/>
                  <a:gd name="connsiteY5" fmla="*/ 196850 h 3657600"/>
                  <a:gd name="connsiteX6" fmla="*/ 131487 w 445812"/>
                  <a:gd name="connsiteY6" fmla="*/ 247650 h 3657600"/>
                  <a:gd name="connsiteX7" fmla="*/ 172762 w 445812"/>
                  <a:gd name="connsiteY7" fmla="*/ 276225 h 3657600"/>
                  <a:gd name="connsiteX8" fmla="*/ 185462 w 445812"/>
                  <a:gd name="connsiteY8" fmla="*/ 327025 h 3657600"/>
                  <a:gd name="connsiteX9" fmla="*/ 239437 w 445812"/>
                  <a:gd name="connsiteY9" fmla="*/ 368300 h 3657600"/>
                  <a:gd name="connsiteX10" fmla="*/ 239437 w 445812"/>
                  <a:gd name="connsiteY10" fmla="*/ 412750 h 3657600"/>
                  <a:gd name="connsiteX11" fmla="*/ 207687 w 445812"/>
                  <a:gd name="connsiteY11" fmla="*/ 454025 h 3657600"/>
                  <a:gd name="connsiteX12" fmla="*/ 287062 w 445812"/>
                  <a:gd name="connsiteY12" fmla="*/ 479425 h 3657600"/>
                  <a:gd name="connsiteX13" fmla="*/ 302937 w 445812"/>
                  <a:gd name="connsiteY13" fmla="*/ 511175 h 3657600"/>
                  <a:gd name="connsiteX14" fmla="*/ 210862 w 445812"/>
                  <a:gd name="connsiteY14" fmla="*/ 581025 h 3657600"/>
                  <a:gd name="connsiteX15" fmla="*/ 160062 w 445812"/>
                  <a:gd name="connsiteY15" fmla="*/ 638175 h 3657600"/>
                  <a:gd name="connsiteX16" fmla="*/ 160062 w 445812"/>
                  <a:gd name="connsiteY16" fmla="*/ 695325 h 3657600"/>
                  <a:gd name="connsiteX17" fmla="*/ 185462 w 445812"/>
                  <a:gd name="connsiteY17" fmla="*/ 784225 h 3657600"/>
                  <a:gd name="connsiteX18" fmla="*/ 194987 w 445812"/>
                  <a:gd name="connsiteY18" fmla="*/ 835025 h 3657600"/>
                  <a:gd name="connsiteX19" fmla="*/ 204512 w 445812"/>
                  <a:gd name="connsiteY19" fmla="*/ 885825 h 3657600"/>
                  <a:gd name="connsiteX20" fmla="*/ 220387 w 445812"/>
                  <a:gd name="connsiteY20" fmla="*/ 923925 h 3657600"/>
                  <a:gd name="connsiteX21" fmla="*/ 163237 w 445812"/>
                  <a:gd name="connsiteY21" fmla="*/ 1022350 h 3657600"/>
                  <a:gd name="connsiteX22" fmla="*/ 96562 w 445812"/>
                  <a:gd name="connsiteY22" fmla="*/ 1057275 h 3657600"/>
                  <a:gd name="connsiteX23" fmla="*/ 52112 w 445812"/>
                  <a:gd name="connsiteY23" fmla="*/ 1143000 h 3657600"/>
                  <a:gd name="connsiteX24" fmla="*/ 20362 w 445812"/>
                  <a:gd name="connsiteY24" fmla="*/ 1244600 h 3657600"/>
                  <a:gd name="connsiteX25" fmla="*/ 1312 w 445812"/>
                  <a:gd name="connsiteY25" fmla="*/ 1346200 h 3657600"/>
                  <a:gd name="connsiteX26" fmla="*/ 10837 w 445812"/>
                  <a:gd name="connsiteY26" fmla="*/ 1438275 h 3657600"/>
                  <a:gd name="connsiteX27" fmla="*/ 83862 w 445812"/>
                  <a:gd name="connsiteY27" fmla="*/ 1511300 h 3657600"/>
                  <a:gd name="connsiteX28" fmla="*/ 112437 w 445812"/>
                  <a:gd name="connsiteY28" fmla="*/ 1558925 h 3657600"/>
                  <a:gd name="connsiteX29" fmla="*/ 150537 w 445812"/>
                  <a:gd name="connsiteY29" fmla="*/ 1590675 h 3657600"/>
                  <a:gd name="connsiteX30" fmla="*/ 169587 w 445812"/>
                  <a:gd name="connsiteY30" fmla="*/ 1644650 h 3657600"/>
                  <a:gd name="connsiteX31" fmla="*/ 226737 w 445812"/>
                  <a:gd name="connsiteY31" fmla="*/ 1685925 h 3657600"/>
                  <a:gd name="connsiteX32" fmla="*/ 264837 w 445812"/>
                  <a:gd name="connsiteY32" fmla="*/ 1730375 h 3657600"/>
                  <a:gd name="connsiteX33" fmla="*/ 277537 w 445812"/>
                  <a:gd name="connsiteY33" fmla="*/ 1758950 h 3657600"/>
                  <a:gd name="connsiteX34" fmla="*/ 277537 w 445812"/>
                  <a:gd name="connsiteY34" fmla="*/ 1828800 h 3657600"/>
                  <a:gd name="connsiteX35" fmla="*/ 325162 w 445812"/>
                  <a:gd name="connsiteY35" fmla="*/ 1905000 h 3657600"/>
                  <a:gd name="connsiteX36" fmla="*/ 363262 w 445812"/>
                  <a:gd name="connsiteY36" fmla="*/ 1962150 h 3657600"/>
                  <a:gd name="connsiteX37" fmla="*/ 369612 w 445812"/>
                  <a:gd name="connsiteY37" fmla="*/ 2028825 h 3657600"/>
                  <a:gd name="connsiteX38" fmla="*/ 407712 w 445812"/>
                  <a:gd name="connsiteY38" fmla="*/ 2085975 h 3657600"/>
                  <a:gd name="connsiteX39" fmla="*/ 414062 w 445812"/>
                  <a:gd name="connsiteY39" fmla="*/ 2209800 h 3657600"/>
                  <a:gd name="connsiteX40" fmla="*/ 252137 w 445812"/>
                  <a:gd name="connsiteY40" fmla="*/ 2251075 h 3657600"/>
                  <a:gd name="connsiteX41" fmla="*/ 201337 w 445812"/>
                  <a:gd name="connsiteY41" fmla="*/ 2390775 h 3657600"/>
                  <a:gd name="connsiteX42" fmla="*/ 210862 w 445812"/>
                  <a:gd name="connsiteY42" fmla="*/ 2454275 h 3657600"/>
                  <a:gd name="connsiteX43" fmla="*/ 226737 w 445812"/>
                  <a:gd name="connsiteY43" fmla="*/ 2482850 h 3657600"/>
                  <a:gd name="connsiteX44" fmla="*/ 226737 w 445812"/>
                  <a:gd name="connsiteY44" fmla="*/ 2527300 h 3657600"/>
                  <a:gd name="connsiteX45" fmla="*/ 236262 w 445812"/>
                  <a:gd name="connsiteY45" fmla="*/ 2603500 h 3657600"/>
                  <a:gd name="connsiteX46" fmla="*/ 115612 w 445812"/>
                  <a:gd name="connsiteY46" fmla="*/ 2997199 h 3657600"/>
                  <a:gd name="connsiteX47" fmla="*/ 87037 w 445812"/>
                  <a:gd name="connsiteY47" fmla="*/ 3070224 h 3657600"/>
                  <a:gd name="connsiteX48" fmla="*/ 42587 w 445812"/>
                  <a:gd name="connsiteY48" fmla="*/ 3159124 h 3657600"/>
                  <a:gd name="connsiteX49" fmla="*/ 17187 w 445812"/>
                  <a:gd name="connsiteY49" fmla="*/ 3365499 h 3657600"/>
                  <a:gd name="connsiteX50" fmla="*/ 45762 w 445812"/>
                  <a:gd name="connsiteY50" fmla="*/ 3492499 h 3657600"/>
                  <a:gd name="connsiteX51" fmla="*/ 58462 w 445812"/>
                  <a:gd name="connsiteY51" fmla="*/ 3657600 h 3657600"/>
                  <a:gd name="connsiteX0" fmla="*/ 445812 w 445812"/>
                  <a:gd name="connsiteY0" fmla="*/ 0 h 3657600"/>
                  <a:gd name="connsiteX1" fmla="*/ 407712 w 445812"/>
                  <a:gd name="connsiteY1" fmla="*/ 66675 h 3657600"/>
                  <a:gd name="connsiteX2" fmla="*/ 353737 w 445812"/>
                  <a:gd name="connsiteY2" fmla="*/ 85725 h 3657600"/>
                  <a:gd name="connsiteX3" fmla="*/ 283887 w 445812"/>
                  <a:gd name="connsiteY3" fmla="*/ 98425 h 3657600"/>
                  <a:gd name="connsiteX4" fmla="*/ 223562 w 445812"/>
                  <a:gd name="connsiteY4" fmla="*/ 133350 h 3657600"/>
                  <a:gd name="connsiteX5" fmla="*/ 121962 w 445812"/>
                  <a:gd name="connsiteY5" fmla="*/ 196850 h 3657600"/>
                  <a:gd name="connsiteX6" fmla="*/ 131487 w 445812"/>
                  <a:gd name="connsiteY6" fmla="*/ 247650 h 3657600"/>
                  <a:gd name="connsiteX7" fmla="*/ 172762 w 445812"/>
                  <a:gd name="connsiteY7" fmla="*/ 276225 h 3657600"/>
                  <a:gd name="connsiteX8" fmla="*/ 185462 w 445812"/>
                  <a:gd name="connsiteY8" fmla="*/ 327025 h 3657600"/>
                  <a:gd name="connsiteX9" fmla="*/ 239437 w 445812"/>
                  <a:gd name="connsiteY9" fmla="*/ 368300 h 3657600"/>
                  <a:gd name="connsiteX10" fmla="*/ 239437 w 445812"/>
                  <a:gd name="connsiteY10" fmla="*/ 412750 h 3657600"/>
                  <a:gd name="connsiteX11" fmla="*/ 207687 w 445812"/>
                  <a:gd name="connsiteY11" fmla="*/ 454025 h 3657600"/>
                  <a:gd name="connsiteX12" fmla="*/ 287062 w 445812"/>
                  <a:gd name="connsiteY12" fmla="*/ 479425 h 3657600"/>
                  <a:gd name="connsiteX13" fmla="*/ 302937 w 445812"/>
                  <a:gd name="connsiteY13" fmla="*/ 511175 h 3657600"/>
                  <a:gd name="connsiteX14" fmla="*/ 210862 w 445812"/>
                  <a:gd name="connsiteY14" fmla="*/ 581025 h 3657600"/>
                  <a:gd name="connsiteX15" fmla="*/ 160062 w 445812"/>
                  <a:gd name="connsiteY15" fmla="*/ 638175 h 3657600"/>
                  <a:gd name="connsiteX16" fmla="*/ 160062 w 445812"/>
                  <a:gd name="connsiteY16" fmla="*/ 695325 h 3657600"/>
                  <a:gd name="connsiteX17" fmla="*/ 185462 w 445812"/>
                  <a:gd name="connsiteY17" fmla="*/ 784225 h 3657600"/>
                  <a:gd name="connsiteX18" fmla="*/ 194987 w 445812"/>
                  <a:gd name="connsiteY18" fmla="*/ 835025 h 3657600"/>
                  <a:gd name="connsiteX19" fmla="*/ 204512 w 445812"/>
                  <a:gd name="connsiteY19" fmla="*/ 885825 h 3657600"/>
                  <a:gd name="connsiteX20" fmla="*/ 220387 w 445812"/>
                  <a:gd name="connsiteY20" fmla="*/ 923925 h 3657600"/>
                  <a:gd name="connsiteX21" fmla="*/ 163237 w 445812"/>
                  <a:gd name="connsiteY21" fmla="*/ 1022350 h 3657600"/>
                  <a:gd name="connsiteX22" fmla="*/ 96562 w 445812"/>
                  <a:gd name="connsiteY22" fmla="*/ 1057275 h 3657600"/>
                  <a:gd name="connsiteX23" fmla="*/ 52112 w 445812"/>
                  <a:gd name="connsiteY23" fmla="*/ 1143000 h 3657600"/>
                  <a:gd name="connsiteX24" fmla="*/ 20362 w 445812"/>
                  <a:gd name="connsiteY24" fmla="*/ 1244600 h 3657600"/>
                  <a:gd name="connsiteX25" fmla="*/ 1312 w 445812"/>
                  <a:gd name="connsiteY25" fmla="*/ 1346200 h 3657600"/>
                  <a:gd name="connsiteX26" fmla="*/ 10837 w 445812"/>
                  <a:gd name="connsiteY26" fmla="*/ 1438275 h 3657600"/>
                  <a:gd name="connsiteX27" fmla="*/ 83862 w 445812"/>
                  <a:gd name="connsiteY27" fmla="*/ 1511300 h 3657600"/>
                  <a:gd name="connsiteX28" fmla="*/ 112437 w 445812"/>
                  <a:gd name="connsiteY28" fmla="*/ 1558925 h 3657600"/>
                  <a:gd name="connsiteX29" fmla="*/ 150537 w 445812"/>
                  <a:gd name="connsiteY29" fmla="*/ 1590675 h 3657600"/>
                  <a:gd name="connsiteX30" fmla="*/ 169587 w 445812"/>
                  <a:gd name="connsiteY30" fmla="*/ 1644650 h 3657600"/>
                  <a:gd name="connsiteX31" fmla="*/ 226737 w 445812"/>
                  <a:gd name="connsiteY31" fmla="*/ 1685925 h 3657600"/>
                  <a:gd name="connsiteX32" fmla="*/ 264837 w 445812"/>
                  <a:gd name="connsiteY32" fmla="*/ 1730375 h 3657600"/>
                  <a:gd name="connsiteX33" fmla="*/ 277537 w 445812"/>
                  <a:gd name="connsiteY33" fmla="*/ 1758950 h 3657600"/>
                  <a:gd name="connsiteX34" fmla="*/ 277537 w 445812"/>
                  <a:gd name="connsiteY34" fmla="*/ 1828800 h 3657600"/>
                  <a:gd name="connsiteX35" fmla="*/ 325162 w 445812"/>
                  <a:gd name="connsiteY35" fmla="*/ 1905000 h 3657600"/>
                  <a:gd name="connsiteX36" fmla="*/ 363262 w 445812"/>
                  <a:gd name="connsiteY36" fmla="*/ 1962150 h 3657600"/>
                  <a:gd name="connsiteX37" fmla="*/ 369612 w 445812"/>
                  <a:gd name="connsiteY37" fmla="*/ 2028825 h 3657600"/>
                  <a:gd name="connsiteX38" fmla="*/ 407712 w 445812"/>
                  <a:gd name="connsiteY38" fmla="*/ 2085975 h 3657600"/>
                  <a:gd name="connsiteX39" fmla="*/ 414062 w 445812"/>
                  <a:gd name="connsiteY39" fmla="*/ 2209800 h 3657600"/>
                  <a:gd name="connsiteX40" fmla="*/ 252137 w 445812"/>
                  <a:gd name="connsiteY40" fmla="*/ 2251075 h 3657600"/>
                  <a:gd name="connsiteX41" fmla="*/ 201337 w 445812"/>
                  <a:gd name="connsiteY41" fmla="*/ 2390775 h 3657600"/>
                  <a:gd name="connsiteX42" fmla="*/ 210862 w 445812"/>
                  <a:gd name="connsiteY42" fmla="*/ 2454275 h 3657600"/>
                  <a:gd name="connsiteX43" fmla="*/ 226737 w 445812"/>
                  <a:gd name="connsiteY43" fmla="*/ 2482850 h 3657600"/>
                  <a:gd name="connsiteX44" fmla="*/ 226737 w 445812"/>
                  <a:gd name="connsiteY44" fmla="*/ 2527300 h 3657600"/>
                  <a:gd name="connsiteX45" fmla="*/ 236262 w 445812"/>
                  <a:gd name="connsiteY45" fmla="*/ 2603500 h 3657600"/>
                  <a:gd name="connsiteX46" fmla="*/ 153712 w 445812"/>
                  <a:gd name="connsiteY46" fmla="*/ 2917824 h 3657600"/>
                  <a:gd name="connsiteX47" fmla="*/ 87037 w 445812"/>
                  <a:gd name="connsiteY47" fmla="*/ 3070224 h 3657600"/>
                  <a:gd name="connsiteX48" fmla="*/ 42587 w 445812"/>
                  <a:gd name="connsiteY48" fmla="*/ 3159124 h 3657600"/>
                  <a:gd name="connsiteX49" fmla="*/ 17187 w 445812"/>
                  <a:gd name="connsiteY49" fmla="*/ 3365499 h 3657600"/>
                  <a:gd name="connsiteX50" fmla="*/ 45762 w 445812"/>
                  <a:gd name="connsiteY50" fmla="*/ 3492499 h 3657600"/>
                  <a:gd name="connsiteX51" fmla="*/ 58462 w 445812"/>
                  <a:gd name="connsiteY51" fmla="*/ 3657600 h 3657600"/>
                  <a:gd name="connsiteX0" fmla="*/ 445812 w 445812"/>
                  <a:gd name="connsiteY0" fmla="*/ 0 h 3657600"/>
                  <a:gd name="connsiteX1" fmla="*/ 407712 w 445812"/>
                  <a:gd name="connsiteY1" fmla="*/ 66675 h 3657600"/>
                  <a:gd name="connsiteX2" fmla="*/ 353737 w 445812"/>
                  <a:gd name="connsiteY2" fmla="*/ 85725 h 3657600"/>
                  <a:gd name="connsiteX3" fmla="*/ 283887 w 445812"/>
                  <a:gd name="connsiteY3" fmla="*/ 98425 h 3657600"/>
                  <a:gd name="connsiteX4" fmla="*/ 223562 w 445812"/>
                  <a:gd name="connsiteY4" fmla="*/ 133350 h 3657600"/>
                  <a:gd name="connsiteX5" fmla="*/ 121962 w 445812"/>
                  <a:gd name="connsiteY5" fmla="*/ 196850 h 3657600"/>
                  <a:gd name="connsiteX6" fmla="*/ 131487 w 445812"/>
                  <a:gd name="connsiteY6" fmla="*/ 247650 h 3657600"/>
                  <a:gd name="connsiteX7" fmla="*/ 172762 w 445812"/>
                  <a:gd name="connsiteY7" fmla="*/ 276225 h 3657600"/>
                  <a:gd name="connsiteX8" fmla="*/ 185462 w 445812"/>
                  <a:gd name="connsiteY8" fmla="*/ 327025 h 3657600"/>
                  <a:gd name="connsiteX9" fmla="*/ 239437 w 445812"/>
                  <a:gd name="connsiteY9" fmla="*/ 368300 h 3657600"/>
                  <a:gd name="connsiteX10" fmla="*/ 239437 w 445812"/>
                  <a:gd name="connsiteY10" fmla="*/ 412750 h 3657600"/>
                  <a:gd name="connsiteX11" fmla="*/ 207687 w 445812"/>
                  <a:gd name="connsiteY11" fmla="*/ 454025 h 3657600"/>
                  <a:gd name="connsiteX12" fmla="*/ 287062 w 445812"/>
                  <a:gd name="connsiteY12" fmla="*/ 479425 h 3657600"/>
                  <a:gd name="connsiteX13" fmla="*/ 302937 w 445812"/>
                  <a:gd name="connsiteY13" fmla="*/ 511175 h 3657600"/>
                  <a:gd name="connsiteX14" fmla="*/ 210862 w 445812"/>
                  <a:gd name="connsiteY14" fmla="*/ 581025 h 3657600"/>
                  <a:gd name="connsiteX15" fmla="*/ 160062 w 445812"/>
                  <a:gd name="connsiteY15" fmla="*/ 638175 h 3657600"/>
                  <a:gd name="connsiteX16" fmla="*/ 160062 w 445812"/>
                  <a:gd name="connsiteY16" fmla="*/ 695325 h 3657600"/>
                  <a:gd name="connsiteX17" fmla="*/ 185462 w 445812"/>
                  <a:gd name="connsiteY17" fmla="*/ 784225 h 3657600"/>
                  <a:gd name="connsiteX18" fmla="*/ 194987 w 445812"/>
                  <a:gd name="connsiteY18" fmla="*/ 835025 h 3657600"/>
                  <a:gd name="connsiteX19" fmla="*/ 204512 w 445812"/>
                  <a:gd name="connsiteY19" fmla="*/ 885825 h 3657600"/>
                  <a:gd name="connsiteX20" fmla="*/ 220387 w 445812"/>
                  <a:gd name="connsiteY20" fmla="*/ 923925 h 3657600"/>
                  <a:gd name="connsiteX21" fmla="*/ 163237 w 445812"/>
                  <a:gd name="connsiteY21" fmla="*/ 1022350 h 3657600"/>
                  <a:gd name="connsiteX22" fmla="*/ 96562 w 445812"/>
                  <a:gd name="connsiteY22" fmla="*/ 1057275 h 3657600"/>
                  <a:gd name="connsiteX23" fmla="*/ 52112 w 445812"/>
                  <a:gd name="connsiteY23" fmla="*/ 1143000 h 3657600"/>
                  <a:gd name="connsiteX24" fmla="*/ 20362 w 445812"/>
                  <a:gd name="connsiteY24" fmla="*/ 1244600 h 3657600"/>
                  <a:gd name="connsiteX25" fmla="*/ 1312 w 445812"/>
                  <a:gd name="connsiteY25" fmla="*/ 1346200 h 3657600"/>
                  <a:gd name="connsiteX26" fmla="*/ 10837 w 445812"/>
                  <a:gd name="connsiteY26" fmla="*/ 1438275 h 3657600"/>
                  <a:gd name="connsiteX27" fmla="*/ 83862 w 445812"/>
                  <a:gd name="connsiteY27" fmla="*/ 1511300 h 3657600"/>
                  <a:gd name="connsiteX28" fmla="*/ 112437 w 445812"/>
                  <a:gd name="connsiteY28" fmla="*/ 1558925 h 3657600"/>
                  <a:gd name="connsiteX29" fmla="*/ 150537 w 445812"/>
                  <a:gd name="connsiteY29" fmla="*/ 1590675 h 3657600"/>
                  <a:gd name="connsiteX30" fmla="*/ 169587 w 445812"/>
                  <a:gd name="connsiteY30" fmla="*/ 1644650 h 3657600"/>
                  <a:gd name="connsiteX31" fmla="*/ 226737 w 445812"/>
                  <a:gd name="connsiteY31" fmla="*/ 1685925 h 3657600"/>
                  <a:gd name="connsiteX32" fmla="*/ 264837 w 445812"/>
                  <a:gd name="connsiteY32" fmla="*/ 1730375 h 3657600"/>
                  <a:gd name="connsiteX33" fmla="*/ 277537 w 445812"/>
                  <a:gd name="connsiteY33" fmla="*/ 1758950 h 3657600"/>
                  <a:gd name="connsiteX34" fmla="*/ 277537 w 445812"/>
                  <a:gd name="connsiteY34" fmla="*/ 1828800 h 3657600"/>
                  <a:gd name="connsiteX35" fmla="*/ 325162 w 445812"/>
                  <a:gd name="connsiteY35" fmla="*/ 1905000 h 3657600"/>
                  <a:gd name="connsiteX36" fmla="*/ 363262 w 445812"/>
                  <a:gd name="connsiteY36" fmla="*/ 1962150 h 3657600"/>
                  <a:gd name="connsiteX37" fmla="*/ 369612 w 445812"/>
                  <a:gd name="connsiteY37" fmla="*/ 2028825 h 3657600"/>
                  <a:gd name="connsiteX38" fmla="*/ 407712 w 445812"/>
                  <a:gd name="connsiteY38" fmla="*/ 2085975 h 3657600"/>
                  <a:gd name="connsiteX39" fmla="*/ 414062 w 445812"/>
                  <a:gd name="connsiteY39" fmla="*/ 2209800 h 3657600"/>
                  <a:gd name="connsiteX40" fmla="*/ 252137 w 445812"/>
                  <a:gd name="connsiteY40" fmla="*/ 2251075 h 3657600"/>
                  <a:gd name="connsiteX41" fmla="*/ 201337 w 445812"/>
                  <a:gd name="connsiteY41" fmla="*/ 2390775 h 3657600"/>
                  <a:gd name="connsiteX42" fmla="*/ 210862 w 445812"/>
                  <a:gd name="connsiteY42" fmla="*/ 2454275 h 3657600"/>
                  <a:gd name="connsiteX43" fmla="*/ 226737 w 445812"/>
                  <a:gd name="connsiteY43" fmla="*/ 2482850 h 3657600"/>
                  <a:gd name="connsiteX44" fmla="*/ 226737 w 445812"/>
                  <a:gd name="connsiteY44" fmla="*/ 2527300 h 3657600"/>
                  <a:gd name="connsiteX45" fmla="*/ 236262 w 445812"/>
                  <a:gd name="connsiteY45" fmla="*/ 2603500 h 3657600"/>
                  <a:gd name="connsiteX46" fmla="*/ 153712 w 445812"/>
                  <a:gd name="connsiteY46" fmla="*/ 2917824 h 3657600"/>
                  <a:gd name="connsiteX47" fmla="*/ 87037 w 445812"/>
                  <a:gd name="connsiteY47" fmla="*/ 3070224 h 3657600"/>
                  <a:gd name="connsiteX48" fmla="*/ 42587 w 445812"/>
                  <a:gd name="connsiteY48" fmla="*/ 3159124 h 3657600"/>
                  <a:gd name="connsiteX49" fmla="*/ 17187 w 445812"/>
                  <a:gd name="connsiteY49" fmla="*/ 3365499 h 3657600"/>
                  <a:gd name="connsiteX50" fmla="*/ 45762 w 445812"/>
                  <a:gd name="connsiteY50" fmla="*/ 3492499 h 3657600"/>
                  <a:gd name="connsiteX51" fmla="*/ 58462 w 445812"/>
                  <a:gd name="connsiteY51" fmla="*/ 3657600 h 3657600"/>
                  <a:gd name="connsiteX0" fmla="*/ 445812 w 445812"/>
                  <a:gd name="connsiteY0" fmla="*/ 0 h 3657600"/>
                  <a:gd name="connsiteX1" fmla="*/ 407712 w 445812"/>
                  <a:gd name="connsiteY1" fmla="*/ 66675 h 3657600"/>
                  <a:gd name="connsiteX2" fmla="*/ 353737 w 445812"/>
                  <a:gd name="connsiteY2" fmla="*/ 85725 h 3657600"/>
                  <a:gd name="connsiteX3" fmla="*/ 283887 w 445812"/>
                  <a:gd name="connsiteY3" fmla="*/ 98425 h 3657600"/>
                  <a:gd name="connsiteX4" fmla="*/ 223562 w 445812"/>
                  <a:gd name="connsiteY4" fmla="*/ 133350 h 3657600"/>
                  <a:gd name="connsiteX5" fmla="*/ 121962 w 445812"/>
                  <a:gd name="connsiteY5" fmla="*/ 196850 h 3657600"/>
                  <a:gd name="connsiteX6" fmla="*/ 131487 w 445812"/>
                  <a:gd name="connsiteY6" fmla="*/ 247650 h 3657600"/>
                  <a:gd name="connsiteX7" fmla="*/ 172762 w 445812"/>
                  <a:gd name="connsiteY7" fmla="*/ 276225 h 3657600"/>
                  <a:gd name="connsiteX8" fmla="*/ 185462 w 445812"/>
                  <a:gd name="connsiteY8" fmla="*/ 327025 h 3657600"/>
                  <a:gd name="connsiteX9" fmla="*/ 239437 w 445812"/>
                  <a:gd name="connsiteY9" fmla="*/ 368300 h 3657600"/>
                  <a:gd name="connsiteX10" fmla="*/ 239437 w 445812"/>
                  <a:gd name="connsiteY10" fmla="*/ 412750 h 3657600"/>
                  <a:gd name="connsiteX11" fmla="*/ 207687 w 445812"/>
                  <a:gd name="connsiteY11" fmla="*/ 454025 h 3657600"/>
                  <a:gd name="connsiteX12" fmla="*/ 287062 w 445812"/>
                  <a:gd name="connsiteY12" fmla="*/ 479425 h 3657600"/>
                  <a:gd name="connsiteX13" fmla="*/ 302937 w 445812"/>
                  <a:gd name="connsiteY13" fmla="*/ 511175 h 3657600"/>
                  <a:gd name="connsiteX14" fmla="*/ 210862 w 445812"/>
                  <a:gd name="connsiteY14" fmla="*/ 581025 h 3657600"/>
                  <a:gd name="connsiteX15" fmla="*/ 160062 w 445812"/>
                  <a:gd name="connsiteY15" fmla="*/ 638175 h 3657600"/>
                  <a:gd name="connsiteX16" fmla="*/ 160062 w 445812"/>
                  <a:gd name="connsiteY16" fmla="*/ 695325 h 3657600"/>
                  <a:gd name="connsiteX17" fmla="*/ 185462 w 445812"/>
                  <a:gd name="connsiteY17" fmla="*/ 784225 h 3657600"/>
                  <a:gd name="connsiteX18" fmla="*/ 194987 w 445812"/>
                  <a:gd name="connsiteY18" fmla="*/ 835025 h 3657600"/>
                  <a:gd name="connsiteX19" fmla="*/ 204512 w 445812"/>
                  <a:gd name="connsiteY19" fmla="*/ 885825 h 3657600"/>
                  <a:gd name="connsiteX20" fmla="*/ 220387 w 445812"/>
                  <a:gd name="connsiteY20" fmla="*/ 923925 h 3657600"/>
                  <a:gd name="connsiteX21" fmla="*/ 163237 w 445812"/>
                  <a:gd name="connsiteY21" fmla="*/ 1022350 h 3657600"/>
                  <a:gd name="connsiteX22" fmla="*/ 96562 w 445812"/>
                  <a:gd name="connsiteY22" fmla="*/ 1057275 h 3657600"/>
                  <a:gd name="connsiteX23" fmla="*/ 52112 w 445812"/>
                  <a:gd name="connsiteY23" fmla="*/ 1143000 h 3657600"/>
                  <a:gd name="connsiteX24" fmla="*/ 20362 w 445812"/>
                  <a:gd name="connsiteY24" fmla="*/ 1244600 h 3657600"/>
                  <a:gd name="connsiteX25" fmla="*/ 1312 w 445812"/>
                  <a:gd name="connsiteY25" fmla="*/ 1346200 h 3657600"/>
                  <a:gd name="connsiteX26" fmla="*/ 10837 w 445812"/>
                  <a:gd name="connsiteY26" fmla="*/ 1438275 h 3657600"/>
                  <a:gd name="connsiteX27" fmla="*/ 83862 w 445812"/>
                  <a:gd name="connsiteY27" fmla="*/ 1511300 h 3657600"/>
                  <a:gd name="connsiteX28" fmla="*/ 112437 w 445812"/>
                  <a:gd name="connsiteY28" fmla="*/ 1558925 h 3657600"/>
                  <a:gd name="connsiteX29" fmla="*/ 150537 w 445812"/>
                  <a:gd name="connsiteY29" fmla="*/ 1590675 h 3657600"/>
                  <a:gd name="connsiteX30" fmla="*/ 169587 w 445812"/>
                  <a:gd name="connsiteY30" fmla="*/ 1644650 h 3657600"/>
                  <a:gd name="connsiteX31" fmla="*/ 226737 w 445812"/>
                  <a:gd name="connsiteY31" fmla="*/ 1685925 h 3657600"/>
                  <a:gd name="connsiteX32" fmla="*/ 264837 w 445812"/>
                  <a:gd name="connsiteY32" fmla="*/ 1730375 h 3657600"/>
                  <a:gd name="connsiteX33" fmla="*/ 277537 w 445812"/>
                  <a:gd name="connsiteY33" fmla="*/ 1758950 h 3657600"/>
                  <a:gd name="connsiteX34" fmla="*/ 277537 w 445812"/>
                  <a:gd name="connsiteY34" fmla="*/ 1828800 h 3657600"/>
                  <a:gd name="connsiteX35" fmla="*/ 325162 w 445812"/>
                  <a:gd name="connsiteY35" fmla="*/ 1905000 h 3657600"/>
                  <a:gd name="connsiteX36" fmla="*/ 363262 w 445812"/>
                  <a:gd name="connsiteY36" fmla="*/ 1962150 h 3657600"/>
                  <a:gd name="connsiteX37" fmla="*/ 369612 w 445812"/>
                  <a:gd name="connsiteY37" fmla="*/ 2028825 h 3657600"/>
                  <a:gd name="connsiteX38" fmla="*/ 407712 w 445812"/>
                  <a:gd name="connsiteY38" fmla="*/ 2085975 h 3657600"/>
                  <a:gd name="connsiteX39" fmla="*/ 414062 w 445812"/>
                  <a:gd name="connsiteY39" fmla="*/ 2209800 h 3657600"/>
                  <a:gd name="connsiteX40" fmla="*/ 252137 w 445812"/>
                  <a:gd name="connsiteY40" fmla="*/ 2251075 h 3657600"/>
                  <a:gd name="connsiteX41" fmla="*/ 201337 w 445812"/>
                  <a:gd name="connsiteY41" fmla="*/ 2390775 h 3657600"/>
                  <a:gd name="connsiteX42" fmla="*/ 210862 w 445812"/>
                  <a:gd name="connsiteY42" fmla="*/ 2454275 h 3657600"/>
                  <a:gd name="connsiteX43" fmla="*/ 226737 w 445812"/>
                  <a:gd name="connsiteY43" fmla="*/ 2482850 h 3657600"/>
                  <a:gd name="connsiteX44" fmla="*/ 226737 w 445812"/>
                  <a:gd name="connsiteY44" fmla="*/ 2527300 h 3657600"/>
                  <a:gd name="connsiteX45" fmla="*/ 236262 w 445812"/>
                  <a:gd name="connsiteY45" fmla="*/ 2603500 h 3657600"/>
                  <a:gd name="connsiteX46" fmla="*/ 153712 w 445812"/>
                  <a:gd name="connsiteY46" fmla="*/ 2917824 h 3657600"/>
                  <a:gd name="connsiteX47" fmla="*/ 87037 w 445812"/>
                  <a:gd name="connsiteY47" fmla="*/ 3070224 h 3657600"/>
                  <a:gd name="connsiteX48" fmla="*/ 42587 w 445812"/>
                  <a:gd name="connsiteY48" fmla="*/ 3159124 h 3657600"/>
                  <a:gd name="connsiteX49" fmla="*/ 17187 w 445812"/>
                  <a:gd name="connsiteY49" fmla="*/ 3365499 h 3657600"/>
                  <a:gd name="connsiteX50" fmla="*/ 45762 w 445812"/>
                  <a:gd name="connsiteY50" fmla="*/ 3492499 h 3657600"/>
                  <a:gd name="connsiteX51" fmla="*/ 58462 w 445812"/>
                  <a:gd name="connsiteY51" fmla="*/ 3657600 h 3657600"/>
                  <a:gd name="connsiteX0" fmla="*/ 445812 w 445812"/>
                  <a:gd name="connsiteY0" fmla="*/ 0 h 3657600"/>
                  <a:gd name="connsiteX1" fmla="*/ 407712 w 445812"/>
                  <a:gd name="connsiteY1" fmla="*/ 66675 h 3657600"/>
                  <a:gd name="connsiteX2" fmla="*/ 353737 w 445812"/>
                  <a:gd name="connsiteY2" fmla="*/ 85725 h 3657600"/>
                  <a:gd name="connsiteX3" fmla="*/ 283887 w 445812"/>
                  <a:gd name="connsiteY3" fmla="*/ 98425 h 3657600"/>
                  <a:gd name="connsiteX4" fmla="*/ 223562 w 445812"/>
                  <a:gd name="connsiteY4" fmla="*/ 133350 h 3657600"/>
                  <a:gd name="connsiteX5" fmla="*/ 121962 w 445812"/>
                  <a:gd name="connsiteY5" fmla="*/ 196850 h 3657600"/>
                  <a:gd name="connsiteX6" fmla="*/ 131487 w 445812"/>
                  <a:gd name="connsiteY6" fmla="*/ 247650 h 3657600"/>
                  <a:gd name="connsiteX7" fmla="*/ 172762 w 445812"/>
                  <a:gd name="connsiteY7" fmla="*/ 276225 h 3657600"/>
                  <a:gd name="connsiteX8" fmla="*/ 185462 w 445812"/>
                  <a:gd name="connsiteY8" fmla="*/ 327025 h 3657600"/>
                  <a:gd name="connsiteX9" fmla="*/ 239437 w 445812"/>
                  <a:gd name="connsiteY9" fmla="*/ 368300 h 3657600"/>
                  <a:gd name="connsiteX10" fmla="*/ 239437 w 445812"/>
                  <a:gd name="connsiteY10" fmla="*/ 412750 h 3657600"/>
                  <a:gd name="connsiteX11" fmla="*/ 207687 w 445812"/>
                  <a:gd name="connsiteY11" fmla="*/ 454025 h 3657600"/>
                  <a:gd name="connsiteX12" fmla="*/ 287062 w 445812"/>
                  <a:gd name="connsiteY12" fmla="*/ 479425 h 3657600"/>
                  <a:gd name="connsiteX13" fmla="*/ 302937 w 445812"/>
                  <a:gd name="connsiteY13" fmla="*/ 511175 h 3657600"/>
                  <a:gd name="connsiteX14" fmla="*/ 210862 w 445812"/>
                  <a:gd name="connsiteY14" fmla="*/ 581025 h 3657600"/>
                  <a:gd name="connsiteX15" fmla="*/ 160062 w 445812"/>
                  <a:gd name="connsiteY15" fmla="*/ 638175 h 3657600"/>
                  <a:gd name="connsiteX16" fmla="*/ 160062 w 445812"/>
                  <a:gd name="connsiteY16" fmla="*/ 695325 h 3657600"/>
                  <a:gd name="connsiteX17" fmla="*/ 185462 w 445812"/>
                  <a:gd name="connsiteY17" fmla="*/ 784225 h 3657600"/>
                  <a:gd name="connsiteX18" fmla="*/ 194987 w 445812"/>
                  <a:gd name="connsiteY18" fmla="*/ 835025 h 3657600"/>
                  <a:gd name="connsiteX19" fmla="*/ 204512 w 445812"/>
                  <a:gd name="connsiteY19" fmla="*/ 885825 h 3657600"/>
                  <a:gd name="connsiteX20" fmla="*/ 220387 w 445812"/>
                  <a:gd name="connsiteY20" fmla="*/ 923925 h 3657600"/>
                  <a:gd name="connsiteX21" fmla="*/ 163237 w 445812"/>
                  <a:gd name="connsiteY21" fmla="*/ 1022350 h 3657600"/>
                  <a:gd name="connsiteX22" fmla="*/ 96562 w 445812"/>
                  <a:gd name="connsiteY22" fmla="*/ 1057275 h 3657600"/>
                  <a:gd name="connsiteX23" fmla="*/ 52112 w 445812"/>
                  <a:gd name="connsiteY23" fmla="*/ 1143000 h 3657600"/>
                  <a:gd name="connsiteX24" fmla="*/ 20362 w 445812"/>
                  <a:gd name="connsiteY24" fmla="*/ 1244600 h 3657600"/>
                  <a:gd name="connsiteX25" fmla="*/ 1312 w 445812"/>
                  <a:gd name="connsiteY25" fmla="*/ 1346200 h 3657600"/>
                  <a:gd name="connsiteX26" fmla="*/ 10837 w 445812"/>
                  <a:gd name="connsiteY26" fmla="*/ 1438275 h 3657600"/>
                  <a:gd name="connsiteX27" fmla="*/ 83862 w 445812"/>
                  <a:gd name="connsiteY27" fmla="*/ 1511300 h 3657600"/>
                  <a:gd name="connsiteX28" fmla="*/ 112437 w 445812"/>
                  <a:gd name="connsiteY28" fmla="*/ 1558925 h 3657600"/>
                  <a:gd name="connsiteX29" fmla="*/ 150537 w 445812"/>
                  <a:gd name="connsiteY29" fmla="*/ 1590675 h 3657600"/>
                  <a:gd name="connsiteX30" fmla="*/ 169587 w 445812"/>
                  <a:gd name="connsiteY30" fmla="*/ 1644650 h 3657600"/>
                  <a:gd name="connsiteX31" fmla="*/ 226737 w 445812"/>
                  <a:gd name="connsiteY31" fmla="*/ 1685925 h 3657600"/>
                  <a:gd name="connsiteX32" fmla="*/ 264837 w 445812"/>
                  <a:gd name="connsiteY32" fmla="*/ 1730375 h 3657600"/>
                  <a:gd name="connsiteX33" fmla="*/ 277537 w 445812"/>
                  <a:gd name="connsiteY33" fmla="*/ 1758950 h 3657600"/>
                  <a:gd name="connsiteX34" fmla="*/ 277537 w 445812"/>
                  <a:gd name="connsiteY34" fmla="*/ 1828800 h 3657600"/>
                  <a:gd name="connsiteX35" fmla="*/ 325162 w 445812"/>
                  <a:gd name="connsiteY35" fmla="*/ 1905000 h 3657600"/>
                  <a:gd name="connsiteX36" fmla="*/ 363262 w 445812"/>
                  <a:gd name="connsiteY36" fmla="*/ 1962150 h 3657600"/>
                  <a:gd name="connsiteX37" fmla="*/ 369612 w 445812"/>
                  <a:gd name="connsiteY37" fmla="*/ 2028825 h 3657600"/>
                  <a:gd name="connsiteX38" fmla="*/ 407712 w 445812"/>
                  <a:gd name="connsiteY38" fmla="*/ 2085975 h 3657600"/>
                  <a:gd name="connsiteX39" fmla="*/ 414062 w 445812"/>
                  <a:gd name="connsiteY39" fmla="*/ 2209800 h 3657600"/>
                  <a:gd name="connsiteX40" fmla="*/ 252137 w 445812"/>
                  <a:gd name="connsiteY40" fmla="*/ 2251075 h 3657600"/>
                  <a:gd name="connsiteX41" fmla="*/ 201337 w 445812"/>
                  <a:gd name="connsiteY41" fmla="*/ 2390775 h 3657600"/>
                  <a:gd name="connsiteX42" fmla="*/ 210862 w 445812"/>
                  <a:gd name="connsiteY42" fmla="*/ 2454275 h 3657600"/>
                  <a:gd name="connsiteX43" fmla="*/ 226737 w 445812"/>
                  <a:gd name="connsiteY43" fmla="*/ 2482850 h 3657600"/>
                  <a:gd name="connsiteX44" fmla="*/ 226737 w 445812"/>
                  <a:gd name="connsiteY44" fmla="*/ 2527300 h 3657600"/>
                  <a:gd name="connsiteX45" fmla="*/ 236262 w 445812"/>
                  <a:gd name="connsiteY45" fmla="*/ 2603500 h 3657600"/>
                  <a:gd name="connsiteX46" fmla="*/ 153712 w 445812"/>
                  <a:gd name="connsiteY46" fmla="*/ 2917824 h 3657600"/>
                  <a:gd name="connsiteX47" fmla="*/ 87037 w 445812"/>
                  <a:gd name="connsiteY47" fmla="*/ 3070224 h 3657600"/>
                  <a:gd name="connsiteX48" fmla="*/ 42587 w 445812"/>
                  <a:gd name="connsiteY48" fmla="*/ 3159124 h 3657600"/>
                  <a:gd name="connsiteX49" fmla="*/ 17187 w 445812"/>
                  <a:gd name="connsiteY49" fmla="*/ 3365499 h 3657600"/>
                  <a:gd name="connsiteX50" fmla="*/ 45762 w 445812"/>
                  <a:gd name="connsiteY50" fmla="*/ 3492499 h 3657600"/>
                  <a:gd name="connsiteX51" fmla="*/ 58462 w 445812"/>
                  <a:gd name="connsiteY51" fmla="*/ 3657600 h 3657600"/>
                  <a:gd name="connsiteX0" fmla="*/ 445812 w 445812"/>
                  <a:gd name="connsiteY0" fmla="*/ 0 h 3657600"/>
                  <a:gd name="connsiteX1" fmla="*/ 407712 w 445812"/>
                  <a:gd name="connsiteY1" fmla="*/ 66675 h 3657600"/>
                  <a:gd name="connsiteX2" fmla="*/ 353737 w 445812"/>
                  <a:gd name="connsiteY2" fmla="*/ 85725 h 3657600"/>
                  <a:gd name="connsiteX3" fmla="*/ 283887 w 445812"/>
                  <a:gd name="connsiteY3" fmla="*/ 98425 h 3657600"/>
                  <a:gd name="connsiteX4" fmla="*/ 223562 w 445812"/>
                  <a:gd name="connsiteY4" fmla="*/ 133350 h 3657600"/>
                  <a:gd name="connsiteX5" fmla="*/ 121962 w 445812"/>
                  <a:gd name="connsiteY5" fmla="*/ 196850 h 3657600"/>
                  <a:gd name="connsiteX6" fmla="*/ 131487 w 445812"/>
                  <a:gd name="connsiteY6" fmla="*/ 247650 h 3657600"/>
                  <a:gd name="connsiteX7" fmla="*/ 172762 w 445812"/>
                  <a:gd name="connsiteY7" fmla="*/ 276225 h 3657600"/>
                  <a:gd name="connsiteX8" fmla="*/ 185462 w 445812"/>
                  <a:gd name="connsiteY8" fmla="*/ 327025 h 3657600"/>
                  <a:gd name="connsiteX9" fmla="*/ 239437 w 445812"/>
                  <a:gd name="connsiteY9" fmla="*/ 368300 h 3657600"/>
                  <a:gd name="connsiteX10" fmla="*/ 239437 w 445812"/>
                  <a:gd name="connsiteY10" fmla="*/ 412750 h 3657600"/>
                  <a:gd name="connsiteX11" fmla="*/ 207687 w 445812"/>
                  <a:gd name="connsiteY11" fmla="*/ 454025 h 3657600"/>
                  <a:gd name="connsiteX12" fmla="*/ 287062 w 445812"/>
                  <a:gd name="connsiteY12" fmla="*/ 479425 h 3657600"/>
                  <a:gd name="connsiteX13" fmla="*/ 302937 w 445812"/>
                  <a:gd name="connsiteY13" fmla="*/ 511175 h 3657600"/>
                  <a:gd name="connsiteX14" fmla="*/ 210862 w 445812"/>
                  <a:gd name="connsiteY14" fmla="*/ 581025 h 3657600"/>
                  <a:gd name="connsiteX15" fmla="*/ 160062 w 445812"/>
                  <a:gd name="connsiteY15" fmla="*/ 638175 h 3657600"/>
                  <a:gd name="connsiteX16" fmla="*/ 160062 w 445812"/>
                  <a:gd name="connsiteY16" fmla="*/ 695325 h 3657600"/>
                  <a:gd name="connsiteX17" fmla="*/ 185462 w 445812"/>
                  <a:gd name="connsiteY17" fmla="*/ 784225 h 3657600"/>
                  <a:gd name="connsiteX18" fmla="*/ 194987 w 445812"/>
                  <a:gd name="connsiteY18" fmla="*/ 835025 h 3657600"/>
                  <a:gd name="connsiteX19" fmla="*/ 204512 w 445812"/>
                  <a:gd name="connsiteY19" fmla="*/ 885825 h 3657600"/>
                  <a:gd name="connsiteX20" fmla="*/ 220387 w 445812"/>
                  <a:gd name="connsiteY20" fmla="*/ 923925 h 3657600"/>
                  <a:gd name="connsiteX21" fmla="*/ 163237 w 445812"/>
                  <a:gd name="connsiteY21" fmla="*/ 1022350 h 3657600"/>
                  <a:gd name="connsiteX22" fmla="*/ 96562 w 445812"/>
                  <a:gd name="connsiteY22" fmla="*/ 1057275 h 3657600"/>
                  <a:gd name="connsiteX23" fmla="*/ 52112 w 445812"/>
                  <a:gd name="connsiteY23" fmla="*/ 1143000 h 3657600"/>
                  <a:gd name="connsiteX24" fmla="*/ 20362 w 445812"/>
                  <a:gd name="connsiteY24" fmla="*/ 1244600 h 3657600"/>
                  <a:gd name="connsiteX25" fmla="*/ 1312 w 445812"/>
                  <a:gd name="connsiteY25" fmla="*/ 1346200 h 3657600"/>
                  <a:gd name="connsiteX26" fmla="*/ 10837 w 445812"/>
                  <a:gd name="connsiteY26" fmla="*/ 1438275 h 3657600"/>
                  <a:gd name="connsiteX27" fmla="*/ 83862 w 445812"/>
                  <a:gd name="connsiteY27" fmla="*/ 1511300 h 3657600"/>
                  <a:gd name="connsiteX28" fmla="*/ 112437 w 445812"/>
                  <a:gd name="connsiteY28" fmla="*/ 1558925 h 3657600"/>
                  <a:gd name="connsiteX29" fmla="*/ 150537 w 445812"/>
                  <a:gd name="connsiteY29" fmla="*/ 1590675 h 3657600"/>
                  <a:gd name="connsiteX30" fmla="*/ 169587 w 445812"/>
                  <a:gd name="connsiteY30" fmla="*/ 1644650 h 3657600"/>
                  <a:gd name="connsiteX31" fmla="*/ 226737 w 445812"/>
                  <a:gd name="connsiteY31" fmla="*/ 1685925 h 3657600"/>
                  <a:gd name="connsiteX32" fmla="*/ 264837 w 445812"/>
                  <a:gd name="connsiteY32" fmla="*/ 1730375 h 3657600"/>
                  <a:gd name="connsiteX33" fmla="*/ 277537 w 445812"/>
                  <a:gd name="connsiteY33" fmla="*/ 1758950 h 3657600"/>
                  <a:gd name="connsiteX34" fmla="*/ 277537 w 445812"/>
                  <a:gd name="connsiteY34" fmla="*/ 1828800 h 3657600"/>
                  <a:gd name="connsiteX35" fmla="*/ 325162 w 445812"/>
                  <a:gd name="connsiteY35" fmla="*/ 1905000 h 3657600"/>
                  <a:gd name="connsiteX36" fmla="*/ 363262 w 445812"/>
                  <a:gd name="connsiteY36" fmla="*/ 1962150 h 3657600"/>
                  <a:gd name="connsiteX37" fmla="*/ 369612 w 445812"/>
                  <a:gd name="connsiteY37" fmla="*/ 2028825 h 3657600"/>
                  <a:gd name="connsiteX38" fmla="*/ 407712 w 445812"/>
                  <a:gd name="connsiteY38" fmla="*/ 2085975 h 3657600"/>
                  <a:gd name="connsiteX39" fmla="*/ 414062 w 445812"/>
                  <a:gd name="connsiteY39" fmla="*/ 2209800 h 3657600"/>
                  <a:gd name="connsiteX40" fmla="*/ 252137 w 445812"/>
                  <a:gd name="connsiteY40" fmla="*/ 2251075 h 3657600"/>
                  <a:gd name="connsiteX41" fmla="*/ 201337 w 445812"/>
                  <a:gd name="connsiteY41" fmla="*/ 2390775 h 3657600"/>
                  <a:gd name="connsiteX42" fmla="*/ 210862 w 445812"/>
                  <a:gd name="connsiteY42" fmla="*/ 2454275 h 3657600"/>
                  <a:gd name="connsiteX43" fmla="*/ 226737 w 445812"/>
                  <a:gd name="connsiteY43" fmla="*/ 2482850 h 3657600"/>
                  <a:gd name="connsiteX44" fmla="*/ 226737 w 445812"/>
                  <a:gd name="connsiteY44" fmla="*/ 2527300 h 3657600"/>
                  <a:gd name="connsiteX45" fmla="*/ 236262 w 445812"/>
                  <a:gd name="connsiteY45" fmla="*/ 2603500 h 3657600"/>
                  <a:gd name="connsiteX46" fmla="*/ 153712 w 445812"/>
                  <a:gd name="connsiteY46" fmla="*/ 2917824 h 3657600"/>
                  <a:gd name="connsiteX47" fmla="*/ 77512 w 445812"/>
                  <a:gd name="connsiteY47" fmla="*/ 3070224 h 3657600"/>
                  <a:gd name="connsiteX48" fmla="*/ 42587 w 445812"/>
                  <a:gd name="connsiteY48" fmla="*/ 3159124 h 3657600"/>
                  <a:gd name="connsiteX49" fmla="*/ 17187 w 445812"/>
                  <a:gd name="connsiteY49" fmla="*/ 3365499 h 3657600"/>
                  <a:gd name="connsiteX50" fmla="*/ 45762 w 445812"/>
                  <a:gd name="connsiteY50" fmla="*/ 3492499 h 3657600"/>
                  <a:gd name="connsiteX51" fmla="*/ 58462 w 445812"/>
                  <a:gd name="connsiteY51" fmla="*/ 3657600 h 3657600"/>
                  <a:gd name="connsiteX0" fmla="*/ 445812 w 445812"/>
                  <a:gd name="connsiteY0" fmla="*/ 0 h 3657600"/>
                  <a:gd name="connsiteX1" fmla="*/ 407712 w 445812"/>
                  <a:gd name="connsiteY1" fmla="*/ 66675 h 3657600"/>
                  <a:gd name="connsiteX2" fmla="*/ 353737 w 445812"/>
                  <a:gd name="connsiteY2" fmla="*/ 85725 h 3657600"/>
                  <a:gd name="connsiteX3" fmla="*/ 283887 w 445812"/>
                  <a:gd name="connsiteY3" fmla="*/ 98425 h 3657600"/>
                  <a:gd name="connsiteX4" fmla="*/ 223562 w 445812"/>
                  <a:gd name="connsiteY4" fmla="*/ 133350 h 3657600"/>
                  <a:gd name="connsiteX5" fmla="*/ 121962 w 445812"/>
                  <a:gd name="connsiteY5" fmla="*/ 196850 h 3657600"/>
                  <a:gd name="connsiteX6" fmla="*/ 131487 w 445812"/>
                  <a:gd name="connsiteY6" fmla="*/ 247650 h 3657600"/>
                  <a:gd name="connsiteX7" fmla="*/ 172762 w 445812"/>
                  <a:gd name="connsiteY7" fmla="*/ 276225 h 3657600"/>
                  <a:gd name="connsiteX8" fmla="*/ 185462 w 445812"/>
                  <a:gd name="connsiteY8" fmla="*/ 327025 h 3657600"/>
                  <a:gd name="connsiteX9" fmla="*/ 239437 w 445812"/>
                  <a:gd name="connsiteY9" fmla="*/ 368300 h 3657600"/>
                  <a:gd name="connsiteX10" fmla="*/ 239437 w 445812"/>
                  <a:gd name="connsiteY10" fmla="*/ 412750 h 3657600"/>
                  <a:gd name="connsiteX11" fmla="*/ 207687 w 445812"/>
                  <a:gd name="connsiteY11" fmla="*/ 454025 h 3657600"/>
                  <a:gd name="connsiteX12" fmla="*/ 287062 w 445812"/>
                  <a:gd name="connsiteY12" fmla="*/ 479425 h 3657600"/>
                  <a:gd name="connsiteX13" fmla="*/ 302937 w 445812"/>
                  <a:gd name="connsiteY13" fmla="*/ 511175 h 3657600"/>
                  <a:gd name="connsiteX14" fmla="*/ 210862 w 445812"/>
                  <a:gd name="connsiteY14" fmla="*/ 581025 h 3657600"/>
                  <a:gd name="connsiteX15" fmla="*/ 160062 w 445812"/>
                  <a:gd name="connsiteY15" fmla="*/ 638175 h 3657600"/>
                  <a:gd name="connsiteX16" fmla="*/ 160062 w 445812"/>
                  <a:gd name="connsiteY16" fmla="*/ 695325 h 3657600"/>
                  <a:gd name="connsiteX17" fmla="*/ 185462 w 445812"/>
                  <a:gd name="connsiteY17" fmla="*/ 784225 h 3657600"/>
                  <a:gd name="connsiteX18" fmla="*/ 194987 w 445812"/>
                  <a:gd name="connsiteY18" fmla="*/ 835025 h 3657600"/>
                  <a:gd name="connsiteX19" fmla="*/ 204512 w 445812"/>
                  <a:gd name="connsiteY19" fmla="*/ 885825 h 3657600"/>
                  <a:gd name="connsiteX20" fmla="*/ 220387 w 445812"/>
                  <a:gd name="connsiteY20" fmla="*/ 923925 h 3657600"/>
                  <a:gd name="connsiteX21" fmla="*/ 163237 w 445812"/>
                  <a:gd name="connsiteY21" fmla="*/ 1022350 h 3657600"/>
                  <a:gd name="connsiteX22" fmla="*/ 96562 w 445812"/>
                  <a:gd name="connsiteY22" fmla="*/ 1057275 h 3657600"/>
                  <a:gd name="connsiteX23" fmla="*/ 52112 w 445812"/>
                  <a:gd name="connsiteY23" fmla="*/ 1143000 h 3657600"/>
                  <a:gd name="connsiteX24" fmla="*/ 20362 w 445812"/>
                  <a:gd name="connsiteY24" fmla="*/ 1244600 h 3657600"/>
                  <a:gd name="connsiteX25" fmla="*/ 1312 w 445812"/>
                  <a:gd name="connsiteY25" fmla="*/ 1346200 h 3657600"/>
                  <a:gd name="connsiteX26" fmla="*/ 10837 w 445812"/>
                  <a:gd name="connsiteY26" fmla="*/ 1438275 h 3657600"/>
                  <a:gd name="connsiteX27" fmla="*/ 83862 w 445812"/>
                  <a:gd name="connsiteY27" fmla="*/ 1511300 h 3657600"/>
                  <a:gd name="connsiteX28" fmla="*/ 112437 w 445812"/>
                  <a:gd name="connsiteY28" fmla="*/ 1558925 h 3657600"/>
                  <a:gd name="connsiteX29" fmla="*/ 150537 w 445812"/>
                  <a:gd name="connsiteY29" fmla="*/ 1590675 h 3657600"/>
                  <a:gd name="connsiteX30" fmla="*/ 169587 w 445812"/>
                  <a:gd name="connsiteY30" fmla="*/ 1644650 h 3657600"/>
                  <a:gd name="connsiteX31" fmla="*/ 226737 w 445812"/>
                  <a:gd name="connsiteY31" fmla="*/ 1685925 h 3657600"/>
                  <a:gd name="connsiteX32" fmla="*/ 264837 w 445812"/>
                  <a:gd name="connsiteY32" fmla="*/ 1730375 h 3657600"/>
                  <a:gd name="connsiteX33" fmla="*/ 277537 w 445812"/>
                  <a:gd name="connsiteY33" fmla="*/ 1758950 h 3657600"/>
                  <a:gd name="connsiteX34" fmla="*/ 277537 w 445812"/>
                  <a:gd name="connsiteY34" fmla="*/ 1828800 h 3657600"/>
                  <a:gd name="connsiteX35" fmla="*/ 325162 w 445812"/>
                  <a:gd name="connsiteY35" fmla="*/ 1905000 h 3657600"/>
                  <a:gd name="connsiteX36" fmla="*/ 363262 w 445812"/>
                  <a:gd name="connsiteY36" fmla="*/ 1962150 h 3657600"/>
                  <a:gd name="connsiteX37" fmla="*/ 369612 w 445812"/>
                  <a:gd name="connsiteY37" fmla="*/ 2028825 h 3657600"/>
                  <a:gd name="connsiteX38" fmla="*/ 407712 w 445812"/>
                  <a:gd name="connsiteY38" fmla="*/ 2085975 h 3657600"/>
                  <a:gd name="connsiteX39" fmla="*/ 414062 w 445812"/>
                  <a:gd name="connsiteY39" fmla="*/ 2209800 h 3657600"/>
                  <a:gd name="connsiteX40" fmla="*/ 252137 w 445812"/>
                  <a:gd name="connsiteY40" fmla="*/ 2251075 h 3657600"/>
                  <a:gd name="connsiteX41" fmla="*/ 201337 w 445812"/>
                  <a:gd name="connsiteY41" fmla="*/ 2390775 h 3657600"/>
                  <a:gd name="connsiteX42" fmla="*/ 210862 w 445812"/>
                  <a:gd name="connsiteY42" fmla="*/ 2454275 h 3657600"/>
                  <a:gd name="connsiteX43" fmla="*/ 226737 w 445812"/>
                  <a:gd name="connsiteY43" fmla="*/ 2482850 h 3657600"/>
                  <a:gd name="connsiteX44" fmla="*/ 226737 w 445812"/>
                  <a:gd name="connsiteY44" fmla="*/ 2527300 h 3657600"/>
                  <a:gd name="connsiteX45" fmla="*/ 236262 w 445812"/>
                  <a:gd name="connsiteY45" fmla="*/ 2603500 h 3657600"/>
                  <a:gd name="connsiteX46" fmla="*/ 153712 w 445812"/>
                  <a:gd name="connsiteY46" fmla="*/ 2917824 h 3657600"/>
                  <a:gd name="connsiteX47" fmla="*/ 80687 w 445812"/>
                  <a:gd name="connsiteY47" fmla="*/ 3063874 h 3657600"/>
                  <a:gd name="connsiteX48" fmla="*/ 42587 w 445812"/>
                  <a:gd name="connsiteY48" fmla="*/ 3159124 h 3657600"/>
                  <a:gd name="connsiteX49" fmla="*/ 17187 w 445812"/>
                  <a:gd name="connsiteY49" fmla="*/ 3365499 h 3657600"/>
                  <a:gd name="connsiteX50" fmla="*/ 45762 w 445812"/>
                  <a:gd name="connsiteY50" fmla="*/ 3492499 h 3657600"/>
                  <a:gd name="connsiteX51" fmla="*/ 58462 w 445812"/>
                  <a:gd name="connsiteY51" fmla="*/ 3657600 h 3657600"/>
                  <a:gd name="connsiteX0" fmla="*/ 445812 w 445812"/>
                  <a:gd name="connsiteY0" fmla="*/ 0 h 3657600"/>
                  <a:gd name="connsiteX1" fmla="*/ 407712 w 445812"/>
                  <a:gd name="connsiteY1" fmla="*/ 66675 h 3657600"/>
                  <a:gd name="connsiteX2" fmla="*/ 353737 w 445812"/>
                  <a:gd name="connsiteY2" fmla="*/ 85725 h 3657600"/>
                  <a:gd name="connsiteX3" fmla="*/ 283887 w 445812"/>
                  <a:gd name="connsiteY3" fmla="*/ 98425 h 3657600"/>
                  <a:gd name="connsiteX4" fmla="*/ 223562 w 445812"/>
                  <a:gd name="connsiteY4" fmla="*/ 133350 h 3657600"/>
                  <a:gd name="connsiteX5" fmla="*/ 121962 w 445812"/>
                  <a:gd name="connsiteY5" fmla="*/ 196850 h 3657600"/>
                  <a:gd name="connsiteX6" fmla="*/ 131487 w 445812"/>
                  <a:gd name="connsiteY6" fmla="*/ 247650 h 3657600"/>
                  <a:gd name="connsiteX7" fmla="*/ 172762 w 445812"/>
                  <a:gd name="connsiteY7" fmla="*/ 276225 h 3657600"/>
                  <a:gd name="connsiteX8" fmla="*/ 185462 w 445812"/>
                  <a:gd name="connsiteY8" fmla="*/ 327025 h 3657600"/>
                  <a:gd name="connsiteX9" fmla="*/ 239437 w 445812"/>
                  <a:gd name="connsiteY9" fmla="*/ 368300 h 3657600"/>
                  <a:gd name="connsiteX10" fmla="*/ 239437 w 445812"/>
                  <a:gd name="connsiteY10" fmla="*/ 412750 h 3657600"/>
                  <a:gd name="connsiteX11" fmla="*/ 207687 w 445812"/>
                  <a:gd name="connsiteY11" fmla="*/ 454025 h 3657600"/>
                  <a:gd name="connsiteX12" fmla="*/ 287062 w 445812"/>
                  <a:gd name="connsiteY12" fmla="*/ 479425 h 3657600"/>
                  <a:gd name="connsiteX13" fmla="*/ 302937 w 445812"/>
                  <a:gd name="connsiteY13" fmla="*/ 511175 h 3657600"/>
                  <a:gd name="connsiteX14" fmla="*/ 210862 w 445812"/>
                  <a:gd name="connsiteY14" fmla="*/ 581025 h 3657600"/>
                  <a:gd name="connsiteX15" fmla="*/ 160062 w 445812"/>
                  <a:gd name="connsiteY15" fmla="*/ 638175 h 3657600"/>
                  <a:gd name="connsiteX16" fmla="*/ 160062 w 445812"/>
                  <a:gd name="connsiteY16" fmla="*/ 695325 h 3657600"/>
                  <a:gd name="connsiteX17" fmla="*/ 185462 w 445812"/>
                  <a:gd name="connsiteY17" fmla="*/ 784225 h 3657600"/>
                  <a:gd name="connsiteX18" fmla="*/ 194987 w 445812"/>
                  <a:gd name="connsiteY18" fmla="*/ 835025 h 3657600"/>
                  <a:gd name="connsiteX19" fmla="*/ 204512 w 445812"/>
                  <a:gd name="connsiteY19" fmla="*/ 885825 h 3657600"/>
                  <a:gd name="connsiteX20" fmla="*/ 220387 w 445812"/>
                  <a:gd name="connsiteY20" fmla="*/ 923925 h 3657600"/>
                  <a:gd name="connsiteX21" fmla="*/ 163237 w 445812"/>
                  <a:gd name="connsiteY21" fmla="*/ 1022350 h 3657600"/>
                  <a:gd name="connsiteX22" fmla="*/ 96562 w 445812"/>
                  <a:gd name="connsiteY22" fmla="*/ 1057275 h 3657600"/>
                  <a:gd name="connsiteX23" fmla="*/ 52112 w 445812"/>
                  <a:gd name="connsiteY23" fmla="*/ 1143000 h 3657600"/>
                  <a:gd name="connsiteX24" fmla="*/ 20362 w 445812"/>
                  <a:gd name="connsiteY24" fmla="*/ 1244600 h 3657600"/>
                  <a:gd name="connsiteX25" fmla="*/ 1312 w 445812"/>
                  <a:gd name="connsiteY25" fmla="*/ 1346200 h 3657600"/>
                  <a:gd name="connsiteX26" fmla="*/ 10837 w 445812"/>
                  <a:gd name="connsiteY26" fmla="*/ 1438275 h 3657600"/>
                  <a:gd name="connsiteX27" fmla="*/ 83862 w 445812"/>
                  <a:gd name="connsiteY27" fmla="*/ 1511300 h 3657600"/>
                  <a:gd name="connsiteX28" fmla="*/ 112437 w 445812"/>
                  <a:gd name="connsiteY28" fmla="*/ 1558925 h 3657600"/>
                  <a:gd name="connsiteX29" fmla="*/ 150537 w 445812"/>
                  <a:gd name="connsiteY29" fmla="*/ 1590675 h 3657600"/>
                  <a:gd name="connsiteX30" fmla="*/ 169587 w 445812"/>
                  <a:gd name="connsiteY30" fmla="*/ 1644650 h 3657600"/>
                  <a:gd name="connsiteX31" fmla="*/ 226737 w 445812"/>
                  <a:gd name="connsiteY31" fmla="*/ 1685925 h 3657600"/>
                  <a:gd name="connsiteX32" fmla="*/ 264837 w 445812"/>
                  <a:gd name="connsiteY32" fmla="*/ 1730375 h 3657600"/>
                  <a:gd name="connsiteX33" fmla="*/ 277537 w 445812"/>
                  <a:gd name="connsiteY33" fmla="*/ 1758950 h 3657600"/>
                  <a:gd name="connsiteX34" fmla="*/ 277537 w 445812"/>
                  <a:gd name="connsiteY34" fmla="*/ 1828800 h 3657600"/>
                  <a:gd name="connsiteX35" fmla="*/ 325162 w 445812"/>
                  <a:gd name="connsiteY35" fmla="*/ 1905000 h 3657600"/>
                  <a:gd name="connsiteX36" fmla="*/ 363262 w 445812"/>
                  <a:gd name="connsiteY36" fmla="*/ 1962150 h 3657600"/>
                  <a:gd name="connsiteX37" fmla="*/ 369612 w 445812"/>
                  <a:gd name="connsiteY37" fmla="*/ 2028825 h 3657600"/>
                  <a:gd name="connsiteX38" fmla="*/ 407712 w 445812"/>
                  <a:gd name="connsiteY38" fmla="*/ 2085975 h 3657600"/>
                  <a:gd name="connsiteX39" fmla="*/ 414062 w 445812"/>
                  <a:gd name="connsiteY39" fmla="*/ 2209800 h 3657600"/>
                  <a:gd name="connsiteX40" fmla="*/ 252137 w 445812"/>
                  <a:gd name="connsiteY40" fmla="*/ 2251075 h 3657600"/>
                  <a:gd name="connsiteX41" fmla="*/ 201337 w 445812"/>
                  <a:gd name="connsiteY41" fmla="*/ 2390775 h 3657600"/>
                  <a:gd name="connsiteX42" fmla="*/ 210862 w 445812"/>
                  <a:gd name="connsiteY42" fmla="*/ 2454275 h 3657600"/>
                  <a:gd name="connsiteX43" fmla="*/ 226737 w 445812"/>
                  <a:gd name="connsiteY43" fmla="*/ 2482850 h 3657600"/>
                  <a:gd name="connsiteX44" fmla="*/ 226737 w 445812"/>
                  <a:gd name="connsiteY44" fmla="*/ 2527300 h 3657600"/>
                  <a:gd name="connsiteX45" fmla="*/ 236262 w 445812"/>
                  <a:gd name="connsiteY45" fmla="*/ 2603500 h 3657600"/>
                  <a:gd name="connsiteX46" fmla="*/ 153712 w 445812"/>
                  <a:gd name="connsiteY46" fmla="*/ 2917824 h 3657600"/>
                  <a:gd name="connsiteX47" fmla="*/ 80687 w 445812"/>
                  <a:gd name="connsiteY47" fmla="*/ 3063874 h 3657600"/>
                  <a:gd name="connsiteX48" fmla="*/ 42587 w 445812"/>
                  <a:gd name="connsiteY48" fmla="*/ 3133724 h 3657600"/>
                  <a:gd name="connsiteX49" fmla="*/ 17187 w 445812"/>
                  <a:gd name="connsiteY49" fmla="*/ 3365499 h 3657600"/>
                  <a:gd name="connsiteX50" fmla="*/ 45762 w 445812"/>
                  <a:gd name="connsiteY50" fmla="*/ 3492499 h 3657600"/>
                  <a:gd name="connsiteX51" fmla="*/ 58462 w 445812"/>
                  <a:gd name="connsiteY51" fmla="*/ 3657600 h 3657600"/>
                  <a:gd name="connsiteX0" fmla="*/ 445812 w 445812"/>
                  <a:gd name="connsiteY0" fmla="*/ 0 h 3657600"/>
                  <a:gd name="connsiteX1" fmla="*/ 407712 w 445812"/>
                  <a:gd name="connsiteY1" fmla="*/ 66675 h 3657600"/>
                  <a:gd name="connsiteX2" fmla="*/ 353737 w 445812"/>
                  <a:gd name="connsiteY2" fmla="*/ 85725 h 3657600"/>
                  <a:gd name="connsiteX3" fmla="*/ 283887 w 445812"/>
                  <a:gd name="connsiteY3" fmla="*/ 98425 h 3657600"/>
                  <a:gd name="connsiteX4" fmla="*/ 223562 w 445812"/>
                  <a:gd name="connsiteY4" fmla="*/ 133350 h 3657600"/>
                  <a:gd name="connsiteX5" fmla="*/ 121962 w 445812"/>
                  <a:gd name="connsiteY5" fmla="*/ 196850 h 3657600"/>
                  <a:gd name="connsiteX6" fmla="*/ 131487 w 445812"/>
                  <a:gd name="connsiteY6" fmla="*/ 247650 h 3657600"/>
                  <a:gd name="connsiteX7" fmla="*/ 172762 w 445812"/>
                  <a:gd name="connsiteY7" fmla="*/ 276225 h 3657600"/>
                  <a:gd name="connsiteX8" fmla="*/ 185462 w 445812"/>
                  <a:gd name="connsiteY8" fmla="*/ 327025 h 3657600"/>
                  <a:gd name="connsiteX9" fmla="*/ 239437 w 445812"/>
                  <a:gd name="connsiteY9" fmla="*/ 368300 h 3657600"/>
                  <a:gd name="connsiteX10" fmla="*/ 239437 w 445812"/>
                  <a:gd name="connsiteY10" fmla="*/ 412750 h 3657600"/>
                  <a:gd name="connsiteX11" fmla="*/ 207687 w 445812"/>
                  <a:gd name="connsiteY11" fmla="*/ 454025 h 3657600"/>
                  <a:gd name="connsiteX12" fmla="*/ 287062 w 445812"/>
                  <a:gd name="connsiteY12" fmla="*/ 479425 h 3657600"/>
                  <a:gd name="connsiteX13" fmla="*/ 302937 w 445812"/>
                  <a:gd name="connsiteY13" fmla="*/ 511175 h 3657600"/>
                  <a:gd name="connsiteX14" fmla="*/ 210862 w 445812"/>
                  <a:gd name="connsiteY14" fmla="*/ 581025 h 3657600"/>
                  <a:gd name="connsiteX15" fmla="*/ 160062 w 445812"/>
                  <a:gd name="connsiteY15" fmla="*/ 638175 h 3657600"/>
                  <a:gd name="connsiteX16" fmla="*/ 160062 w 445812"/>
                  <a:gd name="connsiteY16" fmla="*/ 695325 h 3657600"/>
                  <a:gd name="connsiteX17" fmla="*/ 185462 w 445812"/>
                  <a:gd name="connsiteY17" fmla="*/ 784225 h 3657600"/>
                  <a:gd name="connsiteX18" fmla="*/ 194987 w 445812"/>
                  <a:gd name="connsiteY18" fmla="*/ 835025 h 3657600"/>
                  <a:gd name="connsiteX19" fmla="*/ 204512 w 445812"/>
                  <a:gd name="connsiteY19" fmla="*/ 885825 h 3657600"/>
                  <a:gd name="connsiteX20" fmla="*/ 220387 w 445812"/>
                  <a:gd name="connsiteY20" fmla="*/ 923925 h 3657600"/>
                  <a:gd name="connsiteX21" fmla="*/ 163237 w 445812"/>
                  <a:gd name="connsiteY21" fmla="*/ 1022350 h 3657600"/>
                  <a:gd name="connsiteX22" fmla="*/ 96562 w 445812"/>
                  <a:gd name="connsiteY22" fmla="*/ 1057275 h 3657600"/>
                  <a:gd name="connsiteX23" fmla="*/ 52112 w 445812"/>
                  <a:gd name="connsiteY23" fmla="*/ 1143000 h 3657600"/>
                  <a:gd name="connsiteX24" fmla="*/ 20362 w 445812"/>
                  <a:gd name="connsiteY24" fmla="*/ 1244600 h 3657600"/>
                  <a:gd name="connsiteX25" fmla="*/ 1312 w 445812"/>
                  <a:gd name="connsiteY25" fmla="*/ 1346200 h 3657600"/>
                  <a:gd name="connsiteX26" fmla="*/ 10837 w 445812"/>
                  <a:gd name="connsiteY26" fmla="*/ 1438275 h 3657600"/>
                  <a:gd name="connsiteX27" fmla="*/ 83862 w 445812"/>
                  <a:gd name="connsiteY27" fmla="*/ 1511300 h 3657600"/>
                  <a:gd name="connsiteX28" fmla="*/ 112437 w 445812"/>
                  <a:gd name="connsiteY28" fmla="*/ 1558925 h 3657600"/>
                  <a:gd name="connsiteX29" fmla="*/ 150537 w 445812"/>
                  <a:gd name="connsiteY29" fmla="*/ 1590675 h 3657600"/>
                  <a:gd name="connsiteX30" fmla="*/ 169587 w 445812"/>
                  <a:gd name="connsiteY30" fmla="*/ 1644650 h 3657600"/>
                  <a:gd name="connsiteX31" fmla="*/ 226737 w 445812"/>
                  <a:gd name="connsiteY31" fmla="*/ 1685925 h 3657600"/>
                  <a:gd name="connsiteX32" fmla="*/ 264837 w 445812"/>
                  <a:gd name="connsiteY32" fmla="*/ 1730375 h 3657600"/>
                  <a:gd name="connsiteX33" fmla="*/ 277537 w 445812"/>
                  <a:gd name="connsiteY33" fmla="*/ 1758950 h 3657600"/>
                  <a:gd name="connsiteX34" fmla="*/ 277537 w 445812"/>
                  <a:gd name="connsiteY34" fmla="*/ 1828800 h 3657600"/>
                  <a:gd name="connsiteX35" fmla="*/ 325162 w 445812"/>
                  <a:gd name="connsiteY35" fmla="*/ 1905000 h 3657600"/>
                  <a:gd name="connsiteX36" fmla="*/ 363262 w 445812"/>
                  <a:gd name="connsiteY36" fmla="*/ 1962150 h 3657600"/>
                  <a:gd name="connsiteX37" fmla="*/ 369612 w 445812"/>
                  <a:gd name="connsiteY37" fmla="*/ 2028825 h 3657600"/>
                  <a:gd name="connsiteX38" fmla="*/ 407712 w 445812"/>
                  <a:gd name="connsiteY38" fmla="*/ 2085975 h 3657600"/>
                  <a:gd name="connsiteX39" fmla="*/ 414062 w 445812"/>
                  <a:gd name="connsiteY39" fmla="*/ 2209800 h 3657600"/>
                  <a:gd name="connsiteX40" fmla="*/ 252137 w 445812"/>
                  <a:gd name="connsiteY40" fmla="*/ 2251075 h 3657600"/>
                  <a:gd name="connsiteX41" fmla="*/ 201337 w 445812"/>
                  <a:gd name="connsiteY41" fmla="*/ 2390775 h 3657600"/>
                  <a:gd name="connsiteX42" fmla="*/ 210862 w 445812"/>
                  <a:gd name="connsiteY42" fmla="*/ 2454275 h 3657600"/>
                  <a:gd name="connsiteX43" fmla="*/ 226737 w 445812"/>
                  <a:gd name="connsiteY43" fmla="*/ 2482850 h 3657600"/>
                  <a:gd name="connsiteX44" fmla="*/ 226737 w 445812"/>
                  <a:gd name="connsiteY44" fmla="*/ 2527300 h 3657600"/>
                  <a:gd name="connsiteX45" fmla="*/ 236262 w 445812"/>
                  <a:gd name="connsiteY45" fmla="*/ 2603500 h 3657600"/>
                  <a:gd name="connsiteX46" fmla="*/ 153712 w 445812"/>
                  <a:gd name="connsiteY46" fmla="*/ 2917824 h 3657600"/>
                  <a:gd name="connsiteX47" fmla="*/ 80687 w 445812"/>
                  <a:gd name="connsiteY47" fmla="*/ 3063874 h 3657600"/>
                  <a:gd name="connsiteX48" fmla="*/ 42587 w 445812"/>
                  <a:gd name="connsiteY48" fmla="*/ 3133724 h 3657600"/>
                  <a:gd name="connsiteX49" fmla="*/ 17187 w 445812"/>
                  <a:gd name="connsiteY49" fmla="*/ 3365499 h 3657600"/>
                  <a:gd name="connsiteX50" fmla="*/ 45762 w 445812"/>
                  <a:gd name="connsiteY50" fmla="*/ 3492499 h 3657600"/>
                  <a:gd name="connsiteX51" fmla="*/ 58462 w 445812"/>
                  <a:gd name="connsiteY51" fmla="*/ 3657600 h 3657600"/>
                  <a:gd name="connsiteX0" fmla="*/ 445812 w 445812"/>
                  <a:gd name="connsiteY0" fmla="*/ 0 h 3657600"/>
                  <a:gd name="connsiteX1" fmla="*/ 407712 w 445812"/>
                  <a:gd name="connsiteY1" fmla="*/ 66675 h 3657600"/>
                  <a:gd name="connsiteX2" fmla="*/ 353737 w 445812"/>
                  <a:gd name="connsiteY2" fmla="*/ 85725 h 3657600"/>
                  <a:gd name="connsiteX3" fmla="*/ 283887 w 445812"/>
                  <a:gd name="connsiteY3" fmla="*/ 98425 h 3657600"/>
                  <a:gd name="connsiteX4" fmla="*/ 223562 w 445812"/>
                  <a:gd name="connsiteY4" fmla="*/ 133350 h 3657600"/>
                  <a:gd name="connsiteX5" fmla="*/ 121962 w 445812"/>
                  <a:gd name="connsiteY5" fmla="*/ 196850 h 3657600"/>
                  <a:gd name="connsiteX6" fmla="*/ 131487 w 445812"/>
                  <a:gd name="connsiteY6" fmla="*/ 247650 h 3657600"/>
                  <a:gd name="connsiteX7" fmla="*/ 172762 w 445812"/>
                  <a:gd name="connsiteY7" fmla="*/ 276225 h 3657600"/>
                  <a:gd name="connsiteX8" fmla="*/ 185462 w 445812"/>
                  <a:gd name="connsiteY8" fmla="*/ 327025 h 3657600"/>
                  <a:gd name="connsiteX9" fmla="*/ 239437 w 445812"/>
                  <a:gd name="connsiteY9" fmla="*/ 368300 h 3657600"/>
                  <a:gd name="connsiteX10" fmla="*/ 239437 w 445812"/>
                  <a:gd name="connsiteY10" fmla="*/ 412750 h 3657600"/>
                  <a:gd name="connsiteX11" fmla="*/ 207687 w 445812"/>
                  <a:gd name="connsiteY11" fmla="*/ 454025 h 3657600"/>
                  <a:gd name="connsiteX12" fmla="*/ 287062 w 445812"/>
                  <a:gd name="connsiteY12" fmla="*/ 479425 h 3657600"/>
                  <a:gd name="connsiteX13" fmla="*/ 302937 w 445812"/>
                  <a:gd name="connsiteY13" fmla="*/ 511175 h 3657600"/>
                  <a:gd name="connsiteX14" fmla="*/ 210862 w 445812"/>
                  <a:gd name="connsiteY14" fmla="*/ 581025 h 3657600"/>
                  <a:gd name="connsiteX15" fmla="*/ 160062 w 445812"/>
                  <a:gd name="connsiteY15" fmla="*/ 638175 h 3657600"/>
                  <a:gd name="connsiteX16" fmla="*/ 160062 w 445812"/>
                  <a:gd name="connsiteY16" fmla="*/ 695325 h 3657600"/>
                  <a:gd name="connsiteX17" fmla="*/ 185462 w 445812"/>
                  <a:gd name="connsiteY17" fmla="*/ 784225 h 3657600"/>
                  <a:gd name="connsiteX18" fmla="*/ 194987 w 445812"/>
                  <a:gd name="connsiteY18" fmla="*/ 835025 h 3657600"/>
                  <a:gd name="connsiteX19" fmla="*/ 204512 w 445812"/>
                  <a:gd name="connsiteY19" fmla="*/ 885825 h 3657600"/>
                  <a:gd name="connsiteX20" fmla="*/ 220387 w 445812"/>
                  <a:gd name="connsiteY20" fmla="*/ 923925 h 3657600"/>
                  <a:gd name="connsiteX21" fmla="*/ 163237 w 445812"/>
                  <a:gd name="connsiteY21" fmla="*/ 1022350 h 3657600"/>
                  <a:gd name="connsiteX22" fmla="*/ 96562 w 445812"/>
                  <a:gd name="connsiteY22" fmla="*/ 1057275 h 3657600"/>
                  <a:gd name="connsiteX23" fmla="*/ 52112 w 445812"/>
                  <a:gd name="connsiteY23" fmla="*/ 1143000 h 3657600"/>
                  <a:gd name="connsiteX24" fmla="*/ 20362 w 445812"/>
                  <a:gd name="connsiteY24" fmla="*/ 1244600 h 3657600"/>
                  <a:gd name="connsiteX25" fmla="*/ 1312 w 445812"/>
                  <a:gd name="connsiteY25" fmla="*/ 1346200 h 3657600"/>
                  <a:gd name="connsiteX26" fmla="*/ 10837 w 445812"/>
                  <a:gd name="connsiteY26" fmla="*/ 1438275 h 3657600"/>
                  <a:gd name="connsiteX27" fmla="*/ 83862 w 445812"/>
                  <a:gd name="connsiteY27" fmla="*/ 1511300 h 3657600"/>
                  <a:gd name="connsiteX28" fmla="*/ 112437 w 445812"/>
                  <a:gd name="connsiteY28" fmla="*/ 1558925 h 3657600"/>
                  <a:gd name="connsiteX29" fmla="*/ 150537 w 445812"/>
                  <a:gd name="connsiteY29" fmla="*/ 1590675 h 3657600"/>
                  <a:gd name="connsiteX30" fmla="*/ 169587 w 445812"/>
                  <a:gd name="connsiteY30" fmla="*/ 1644650 h 3657600"/>
                  <a:gd name="connsiteX31" fmla="*/ 226737 w 445812"/>
                  <a:gd name="connsiteY31" fmla="*/ 1685925 h 3657600"/>
                  <a:gd name="connsiteX32" fmla="*/ 264837 w 445812"/>
                  <a:gd name="connsiteY32" fmla="*/ 1730375 h 3657600"/>
                  <a:gd name="connsiteX33" fmla="*/ 277537 w 445812"/>
                  <a:gd name="connsiteY33" fmla="*/ 1758950 h 3657600"/>
                  <a:gd name="connsiteX34" fmla="*/ 277537 w 445812"/>
                  <a:gd name="connsiteY34" fmla="*/ 1828800 h 3657600"/>
                  <a:gd name="connsiteX35" fmla="*/ 325162 w 445812"/>
                  <a:gd name="connsiteY35" fmla="*/ 1905000 h 3657600"/>
                  <a:gd name="connsiteX36" fmla="*/ 363262 w 445812"/>
                  <a:gd name="connsiteY36" fmla="*/ 1962150 h 3657600"/>
                  <a:gd name="connsiteX37" fmla="*/ 369612 w 445812"/>
                  <a:gd name="connsiteY37" fmla="*/ 2028825 h 3657600"/>
                  <a:gd name="connsiteX38" fmla="*/ 407712 w 445812"/>
                  <a:gd name="connsiteY38" fmla="*/ 2085975 h 3657600"/>
                  <a:gd name="connsiteX39" fmla="*/ 414062 w 445812"/>
                  <a:gd name="connsiteY39" fmla="*/ 2209800 h 3657600"/>
                  <a:gd name="connsiteX40" fmla="*/ 252137 w 445812"/>
                  <a:gd name="connsiteY40" fmla="*/ 2251075 h 3657600"/>
                  <a:gd name="connsiteX41" fmla="*/ 201337 w 445812"/>
                  <a:gd name="connsiteY41" fmla="*/ 2390775 h 3657600"/>
                  <a:gd name="connsiteX42" fmla="*/ 210862 w 445812"/>
                  <a:gd name="connsiteY42" fmla="*/ 2454275 h 3657600"/>
                  <a:gd name="connsiteX43" fmla="*/ 226737 w 445812"/>
                  <a:gd name="connsiteY43" fmla="*/ 2482850 h 3657600"/>
                  <a:gd name="connsiteX44" fmla="*/ 226737 w 445812"/>
                  <a:gd name="connsiteY44" fmla="*/ 2527300 h 3657600"/>
                  <a:gd name="connsiteX45" fmla="*/ 236262 w 445812"/>
                  <a:gd name="connsiteY45" fmla="*/ 2603500 h 3657600"/>
                  <a:gd name="connsiteX46" fmla="*/ 153712 w 445812"/>
                  <a:gd name="connsiteY46" fmla="*/ 2917824 h 3657600"/>
                  <a:gd name="connsiteX47" fmla="*/ 80687 w 445812"/>
                  <a:gd name="connsiteY47" fmla="*/ 3063874 h 3657600"/>
                  <a:gd name="connsiteX48" fmla="*/ 42587 w 445812"/>
                  <a:gd name="connsiteY48" fmla="*/ 3133724 h 3657600"/>
                  <a:gd name="connsiteX49" fmla="*/ 17187 w 445812"/>
                  <a:gd name="connsiteY49" fmla="*/ 3203574 h 3657600"/>
                  <a:gd name="connsiteX50" fmla="*/ 17187 w 445812"/>
                  <a:gd name="connsiteY50" fmla="*/ 3365499 h 3657600"/>
                  <a:gd name="connsiteX51" fmla="*/ 45762 w 445812"/>
                  <a:gd name="connsiteY51" fmla="*/ 3492499 h 3657600"/>
                  <a:gd name="connsiteX52" fmla="*/ 58462 w 445812"/>
                  <a:gd name="connsiteY52" fmla="*/ 3657600 h 3657600"/>
                  <a:gd name="connsiteX0" fmla="*/ 445812 w 445812"/>
                  <a:gd name="connsiteY0" fmla="*/ 0 h 3657600"/>
                  <a:gd name="connsiteX1" fmla="*/ 407712 w 445812"/>
                  <a:gd name="connsiteY1" fmla="*/ 66675 h 3657600"/>
                  <a:gd name="connsiteX2" fmla="*/ 353737 w 445812"/>
                  <a:gd name="connsiteY2" fmla="*/ 85725 h 3657600"/>
                  <a:gd name="connsiteX3" fmla="*/ 283887 w 445812"/>
                  <a:gd name="connsiteY3" fmla="*/ 98425 h 3657600"/>
                  <a:gd name="connsiteX4" fmla="*/ 223562 w 445812"/>
                  <a:gd name="connsiteY4" fmla="*/ 133350 h 3657600"/>
                  <a:gd name="connsiteX5" fmla="*/ 121962 w 445812"/>
                  <a:gd name="connsiteY5" fmla="*/ 196850 h 3657600"/>
                  <a:gd name="connsiteX6" fmla="*/ 131487 w 445812"/>
                  <a:gd name="connsiteY6" fmla="*/ 247650 h 3657600"/>
                  <a:gd name="connsiteX7" fmla="*/ 172762 w 445812"/>
                  <a:gd name="connsiteY7" fmla="*/ 276225 h 3657600"/>
                  <a:gd name="connsiteX8" fmla="*/ 185462 w 445812"/>
                  <a:gd name="connsiteY8" fmla="*/ 327025 h 3657600"/>
                  <a:gd name="connsiteX9" fmla="*/ 239437 w 445812"/>
                  <a:gd name="connsiteY9" fmla="*/ 368300 h 3657600"/>
                  <a:gd name="connsiteX10" fmla="*/ 239437 w 445812"/>
                  <a:gd name="connsiteY10" fmla="*/ 412750 h 3657600"/>
                  <a:gd name="connsiteX11" fmla="*/ 207687 w 445812"/>
                  <a:gd name="connsiteY11" fmla="*/ 454025 h 3657600"/>
                  <a:gd name="connsiteX12" fmla="*/ 287062 w 445812"/>
                  <a:gd name="connsiteY12" fmla="*/ 479425 h 3657600"/>
                  <a:gd name="connsiteX13" fmla="*/ 302937 w 445812"/>
                  <a:gd name="connsiteY13" fmla="*/ 511175 h 3657600"/>
                  <a:gd name="connsiteX14" fmla="*/ 210862 w 445812"/>
                  <a:gd name="connsiteY14" fmla="*/ 581025 h 3657600"/>
                  <a:gd name="connsiteX15" fmla="*/ 160062 w 445812"/>
                  <a:gd name="connsiteY15" fmla="*/ 638175 h 3657600"/>
                  <a:gd name="connsiteX16" fmla="*/ 160062 w 445812"/>
                  <a:gd name="connsiteY16" fmla="*/ 695325 h 3657600"/>
                  <a:gd name="connsiteX17" fmla="*/ 185462 w 445812"/>
                  <a:gd name="connsiteY17" fmla="*/ 784225 h 3657600"/>
                  <a:gd name="connsiteX18" fmla="*/ 194987 w 445812"/>
                  <a:gd name="connsiteY18" fmla="*/ 835025 h 3657600"/>
                  <a:gd name="connsiteX19" fmla="*/ 204512 w 445812"/>
                  <a:gd name="connsiteY19" fmla="*/ 885825 h 3657600"/>
                  <a:gd name="connsiteX20" fmla="*/ 220387 w 445812"/>
                  <a:gd name="connsiteY20" fmla="*/ 923925 h 3657600"/>
                  <a:gd name="connsiteX21" fmla="*/ 163237 w 445812"/>
                  <a:gd name="connsiteY21" fmla="*/ 1022350 h 3657600"/>
                  <a:gd name="connsiteX22" fmla="*/ 96562 w 445812"/>
                  <a:gd name="connsiteY22" fmla="*/ 1057275 h 3657600"/>
                  <a:gd name="connsiteX23" fmla="*/ 52112 w 445812"/>
                  <a:gd name="connsiteY23" fmla="*/ 1143000 h 3657600"/>
                  <a:gd name="connsiteX24" fmla="*/ 20362 w 445812"/>
                  <a:gd name="connsiteY24" fmla="*/ 1244600 h 3657600"/>
                  <a:gd name="connsiteX25" fmla="*/ 1312 w 445812"/>
                  <a:gd name="connsiteY25" fmla="*/ 1346200 h 3657600"/>
                  <a:gd name="connsiteX26" fmla="*/ 10837 w 445812"/>
                  <a:gd name="connsiteY26" fmla="*/ 1438275 h 3657600"/>
                  <a:gd name="connsiteX27" fmla="*/ 83862 w 445812"/>
                  <a:gd name="connsiteY27" fmla="*/ 1511300 h 3657600"/>
                  <a:gd name="connsiteX28" fmla="*/ 112437 w 445812"/>
                  <a:gd name="connsiteY28" fmla="*/ 1558925 h 3657600"/>
                  <a:gd name="connsiteX29" fmla="*/ 150537 w 445812"/>
                  <a:gd name="connsiteY29" fmla="*/ 1590675 h 3657600"/>
                  <a:gd name="connsiteX30" fmla="*/ 169587 w 445812"/>
                  <a:gd name="connsiteY30" fmla="*/ 1644650 h 3657600"/>
                  <a:gd name="connsiteX31" fmla="*/ 226737 w 445812"/>
                  <a:gd name="connsiteY31" fmla="*/ 1685925 h 3657600"/>
                  <a:gd name="connsiteX32" fmla="*/ 264837 w 445812"/>
                  <a:gd name="connsiteY32" fmla="*/ 1730375 h 3657600"/>
                  <a:gd name="connsiteX33" fmla="*/ 277537 w 445812"/>
                  <a:gd name="connsiteY33" fmla="*/ 1758950 h 3657600"/>
                  <a:gd name="connsiteX34" fmla="*/ 277537 w 445812"/>
                  <a:gd name="connsiteY34" fmla="*/ 1828800 h 3657600"/>
                  <a:gd name="connsiteX35" fmla="*/ 325162 w 445812"/>
                  <a:gd name="connsiteY35" fmla="*/ 1905000 h 3657600"/>
                  <a:gd name="connsiteX36" fmla="*/ 363262 w 445812"/>
                  <a:gd name="connsiteY36" fmla="*/ 1962150 h 3657600"/>
                  <a:gd name="connsiteX37" fmla="*/ 369612 w 445812"/>
                  <a:gd name="connsiteY37" fmla="*/ 2028825 h 3657600"/>
                  <a:gd name="connsiteX38" fmla="*/ 407712 w 445812"/>
                  <a:gd name="connsiteY38" fmla="*/ 2085975 h 3657600"/>
                  <a:gd name="connsiteX39" fmla="*/ 414062 w 445812"/>
                  <a:gd name="connsiteY39" fmla="*/ 2209800 h 3657600"/>
                  <a:gd name="connsiteX40" fmla="*/ 252137 w 445812"/>
                  <a:gd name="connsiteY40" fmla="*/ 2251075 h 3657600"/>
                  <a:gd name="connsiteX41" fmla="*/ 201337 w 445812"/>
                  <a:gd name="connsiteY41" fmla="*/ 2390775 h 3657600"/>
                  <a:gd name="connsiteX42" fmla="*/ 210862 w 445812"/>
                  <a:gd name="connsiteY42" fmla="*/ 2454275 h 3657600"/>
                  <a:gd name="connsiteX43" fmla="*/ 226737 w 445812"/>
                  <a:gd name="connsiteY43" fmla="*/ 2482850 h 3657600"/>
                  <a:gd name="connsiteX44" fmla="*/ 226737 w 445812"/>
                  <a:gd name="connsiteY44" fmla="*/ 2527300 h 3657600"/>
                  <a:gd name="connsiteX45" fmla="*/ 236262 w 445812"/>
                  <a:gd name="connsiteY45" fmla="*/ 2603500 h 3657600"/>
                  <a:gd name="connsiteX46" fmla="*/ 153712 w 445812"/>
                  <a:gd name="connsiteY46" fmla="*/ 2917824 h 3657600"/>
                  <a:gd name="connsiteX47" fmla="*/ 80687 w 445812"/>
                  <a:gd name="connsiteY47" fmla="*/ 3063874 h 3657600"/>
                  <a:gd name="connsiteX48" fmla="*/ 42587 w 445812"/>
                  <a:gd name="connsiteY48" fmla="*/ 3133724 h 3657600"/>
                  <a:gd name="connsiteX49" fmla="*/ 17187 w 445812"/>
                  <a:gd name="connsiteY49" fmla="*/ 3203574 h 3657600"/>
                  <a:gd name="connsiteX50" fmla="*/ 17187 w 445812"/>
                  <a:gd name="connsiteY50" fmla="*/ 3365499 h 3657600"/>
                  <a:gd name="connsiteX51" fmla="*/ 45762 w 445812"/>
                  <a:gd name="connsiteY51" fmla="*/ 3492499 h 3657600"/>
                  <a:gd name="connsiteX52" fmla="*/ 58462 w 445812"/>
                  <a:gd name="connsiteY52" fmla="*/ 3657600 h 3657600"/>
                  <a:gd name="connsiteX0" fmla="*/ 445812 w 445812"/>
                  <a:gd name="connsiteY0" fmla="*/ 0 h 3657600"/>
                  <a:gd name="connsiteX1" fmla="*/ 407712 w 445812"/>
                  <a:gd name="connsiteY1" fmla="*/ 66675 h 3657600"/>
                  <a:gd name="connsiteX2" fmla="*/ 353737 w 445812"/>
                  <a:gd name="connsiteY2" fmla="*/ 85725 h 3657600"/>
                  <a:gd name="connsiteX3" fmla="*/ 283887 w 445812"/>
                  <a:gd name="connsiteY3" fmla="*/ 98425 h 3657600"/>
                  <a:gd name="connsiteX4" fmla="*/ 223562 w 445812"/>
                  <a:gd name="connsiteY4" fmla="*/ 133350 h 3657600"/>
                  <a:gd name="connsiteX5" fmla="*/ 121962 w 445812"/>
                  <a:gd name="connsiteY5" fmla="*/ 196850 h 3657600"/>
                  <a:gd name="connsiteX6" fmla="*/ 131487 w 445812"/>
                  <a:gd name="connsiteY6" fmla="*/ 247650 h 3657600"/>
                  <a:gd name="connsiteX7" fmla="*/ 172762 w 445812"/>
                  <a:gd name="connsiteY7" fmla="*/ 276225 h 3657600"/>
                  <a:gd name="connsiteX8" fmla="*/ 185462 w 445812"/>
                  <a:gd name="connsiteY8" fmla="*/ 327025 h 3657600"/>
                  <a:gd name="connsiteX9" fmla="*/ 239437 w 445812"/>
                  <a:gd name="connsiteY9" fmla="*/ 368300 h 3657600"/>
                  <a:gd name="connsiteX10" fmla="*/ 239437 w 445812"/>
                  <a:gd name="connsiteY10" fmla="*/ 412750 h 3657600"/>
                  <a:gd name="connsiteX11" fmla="*/ 207687 w 445812"/>
                  <a:gd name="connsiteY11" fmla="*/ 454025 h 3657600"/>
                  <a:gd name="connsiteX12" fmla="*/ 287062 w 445812"/>
                  <a:gd name="connsiteY12" fmla="*/ 479425 h 3657600"/>
                  <a:gd name="connsiteX13" fmla="*/ 302937 w 445812"/>
                  <a:gd name="connsiteY13" fmla="*/ 511175 h 3657600"/>
                  <a:gd name="connsiteX14" fmla="*/ 210862 w 445812"/>
                  <a:gd name="connsiteY14" fmla="*/ 581025 h 3657600"/>
                  <a:gd name="connsiteX15" fmla="*/ 160062 w 445812"/>
                  <a:gd name="connsiteY15" fmla="*/ 638175 h 3657600"/>
                  <a:gd name="connsiteX16" fmla="*/ 160062 w 445812"/>
                  <a:gd name="connsiteY16" fmla="*/ 695325 h 3657600"/>
                  <a:gd name="connsiteX17" fmla="*/ 185462 w 445812"/>
                  <a:gd name="connsiteY17" fmla="*/ 784225 h 3657600"/>
                  <a:gd name="connsiteX18" fmla="*/ 194987 w 445812"/>
                  <a:gd name="connsiteY18" fmla="*/ 835025 h 3657600"/>
                  <a:gd name="connsiteX19" fmla="*/ 204512 w 445812"/>
                  <a:gd name="connsiteY19" fmla="*/ 885825 h 3657600"/>
                  <a:gd name="connsiteX20" fmla="*/ 220387 w 445812"/>
                  <a:gd name="connsiteY20" fmla="*/ 923925 h 3657600"/>
                  <a:gd name="connsiteX21" fmla="*/ 163237 w 445812"/>
                  <a:gd name="connsiteY21" fmla="*/ 1022350 h 3657600"/>
                  <a:gd name="connsiteX22" fmla="*/ 96562 w 445812"/>
                  <a:gd name="connsiteY22" fmla="*/ 1057275 h 3657600"/>
                  <a:gd name="connsiteX23" fmla="*/ 52112 w 445812"/>
                  <a:gd name="connsiteY23" fmla="*/ 1143000 h 3657600"/>
                  <a:gd name="connsiteX24" fmla="*/ 20362 w 445812"/>
                  <a:gd name="connsiteY24" fmla="*/ 1244600 h 3657600"/>
                  <a:gd name="connsiteX25" fmla="*/ 1312 w 445812"/>
                  <a:gd name="connsiteY25" fmla="*/ 1346200 h 3657600"/>
                  <a:gd name="connsiteX26" fmla="*/ 10837 w 445812"/>
                  <a:gd name="connsiteY26" fmla="*/ 1438275 h 3657600"/>
                  <a:gd name="connsiteX27" fmla="*/ 83862 w 445812"/>
                  <a:gd name="connsiteY27" fmla="*/ 1511300 h 3657600"/>
                  <a:gd name="connsiteX28" fmla="*/ 112437 w 445812"/>
                  <a:gd name="connsiteY28" fmla="*/ 1558925 h 3657600"/>
                  <a:gd name="connsiteX29" fmla="*/ 150537 w 445812"/>
                  <a:gd name="connsiteY29" fmla="*/ 1590675 h 3657600"/>
                  <a:gd name="connsiteX30" fmla="*/ 169587 w 445812"/>
                  <a:gd name="connsiteY30" fmla="*/ 1644650 h 3657600"/>
                  <a:gd name="connsiteX31" fmla="*/ 226737 w 445812"/>
                  <a:gd name="connsiteY31" fmla="*/ 1685925 h 3657600"/>
                  <a:gd name="connsiteX32" fmla="*/ 264837 w 445812"/>
                  <a:gd name="connsiteY32" fmla="*/ 1730375 h 3657600"/>
                  <a:gd name="connsiteX33" fmla="*/ 277537 w 445812"/>
                  <a:gd name="connsiteY33" fmla="*/ 1758950 h 3657600"/>
                  <a:gd name="connsiteX34" fmla="*/ 277537 w 445812"/>
                  <a:gd name="connsiteY34" fmla="*/ 1828800 h 3657600"/>
                  <a:gd name="connsiteX35" fmla="*/ 325162 w 445812"/>
                  <a:gd name="connsiteY35" fmla="*/ 1905000 h 3657600"/>
                  <a:gd name="connsiteX36" fmla="*/ 363262 w 445812"/>
                  <a:gd name="connsiteY36" fmla="*/ 1962150 h 3657600"/>
                  <a:gd name="connsiteX37" fmla="*/ 369612 w 445812"/>
                  <a:gd name="connsiteY37" fmla="*/ 2028825 h 3657600"/>
                  <a:gd name="connsiteX38" fmla="*/ 407712 w 445812"/>
                  <a:gd name="connsiteY38" fmla="*/ 2085975 h 3657600"/>
                  <a:gd name="connsiteX39" fmla="*/ 414062 w 445812"/>
                  <a:gd name="connsiteY39" fmla="*/ 2209800 h 3657600"/>
                  <a:gd name="connsiteX40" fmla="*/ 252137 w 445812"/>
                  <a:gd name="connsiteY40" fmla="*/ 2251075 h 3657600"/>
                  <a:gd name="connsiteX41" fmla="*/ 201337 w 445812"/>
                  <a:gd name="connsiteY41" fmla="*/ 2390775 h 3657600"/>
                  <a:gd name="connsiteX42" fmla="*/ 210862 w 445812"/>
                  <a:gd name="connsiteY42" fmla="*/ 2454275 h 3657600"/>
                  <a:gd name="connsiteX43" fmla="*/ 226737 w 445812"/>
                  <a:gd name="connsiteY43" fmla="*/ 2482850 h 3657600"/>
                  <a:gd name="connsiteX44" fmla="*/ 226737 w 445812"/>
                  <a:gd name="connsiteY44" fmla="*/ 2527300 h 3657600"/>
                  <a:gd name="connsiteX45" fmla="*/ 236262 w 445812"/>
                  <a:gd name="connsiteY45" fmla="*/ 2603500 h 3657600"/>
                  <a:gd name="connsiteX46" fmla="*/ 153712 w 445812"/>
                  <a:gd name="connsiteY46" fmla="*/ 2917824 h 3657600"/>
                  <a:gd name="connsiteX47" fmla="*/ 80687 w 445812"/>
                  <a:gd name="connsiteY47" fmla="*/ 3063874 h 3657600"/>
                  <a:gd name="connsiteX48" fmla="*/ 42587 w 445812"/>
                  <a:gd name="connsiteY48" fmla="*/ 3133724 h 3657600"/>
                  <a:gd name="connsiteX49" fmla="*/ 17187 w 445812"/>
                  <a:gd name="connsiteY49" fmla="*/ 3203574 h 3657600"/>
                  <a:gd name="connsiteX50" fmla="*/ 10837 w 445812"/>
                  <a:gd name="connsiteY50" fmla="*/ 3390899 h 3657600"/>
                  <a:gd name="connsiteX51" fmla="*/ 45762 w 445812"/>
                  <a:gd name="connsiteY51" fmla="*/ 3492499 h 3657600"/>
                  <a:gd name="connsiteX52" fmla="*/ 58462 w 445812"/>
                  <a:gd name="connsiteY52" fmla="*/ 3657600 h 3657600"/>
                  <a:gd name="connsiteX0" fmla="*/ 445812 w 445812"/>
                  <a:gd name="connsiteY0" fmla="*/ 0 h 3657600"/>
                  <a:gd name="connsiteX1" fmla="*/ 407712 w 445812"/>
                  <a:gd name="connsiteY1" fmla="*/ 66675 h 3657600"/>
                  <a:gd name="connsiteX2" fmla="*/ 353737 w 445812"/>
                  <a:gd name="connsiteY2" fmla="*/ 85725 h 3657600"/>
                  <a:gd name="connsiteX3" fmla="*/ 283887 w 445812"/>
                  <a:gd name="connsiteY3" fmla="*/ 98425 h 3657600"/>
                  <a:gd name="connsiteX4" fmla="*/ 223562 w 445812"/>
                  <a:gd name="connsiteY4" fmla="*/ 133350 h 3657600"/>
                  <a:gd name="connsiteX5" fmla="*/ 121962 w 445812"/>
                  <a:gd name="connsiteY5" fmla="*/ 196850 h 3657600"/>
                  <a:gd name="connsiteX6" fmla="*/ 131487 w 445812"/>
                  <a:gd name="connsiteY6" fmla="*/ 247650 h 3657600"/>
                  <a:gd name="connsiteX7" fmla="*/ 172762 w 445812"/>
                  <a:gd name="connsiteY7" fmla="*/ 276225 h 3657600"/>
                  <a:gd name="connsiteX8" fmla="*/ 185462 w 445812"/>
                  <a:gd name="connsiteY8" fmla="*/ 327025 h 3657600"/>
                  <a:gd name="connsiteX9" fmla="*/ 239437 w 445812"/>
                  <a:gd name="connsiteY9" fmla="*/ 368300 h 3657600"/>
                  <a:gd name="connsiteX10" fmla="*/ 239437 w 445812"/>
                  <a:gd name="connsiteY10" fmla="*/ 412750 h 3657600"/>
                  <a:gd name="connsiteX11" fmla="*/ 207687 w 445812"/>
                  <a:gd name="connsiteY11" fmla="*/ 454025 h 3657600"/>
                  <a:gd name="connsiteX12" fmla="*/ 287062 w 445812"/>
                  <a:gd name="connsiteY12" fmla="*/ 479425 h 3657600"/>
                  <a:gd name="connsiteX13" fmla="*/ 302937 w 445812"/>
                  <a:gd name="connsiteY13" fmla="*/ 511175 h 3657600"/>
                  <a:gd name="connsiteX14" fmla="*/ 210862 w 445812"/>
                  <a:gd name="connsiteY14" fmla="*/ 581025 h 3657600"/>
                  <a:gd name="connsiteX15" fmla="*/ 160062 w 445812"/>
                  <a:gd name="connsiteY15" fmla="*/ 638175 h 3657600"/>
                  <a:gd name="connsiteX16" fmla="*/ 160062 w 445812"/>
                  <a:gd name="connsiteY16" fmla="*/ 695325 h 3657600"/>
                  <a:gd name="connsiteX17" fmla="*/ 185462 w 445812"/>
                  <a:gd name="connsiteY17" fmla="*/ 784225 h 3657600"/>
                  <a:gd name="connsiteX18" fmla="*/ 194987 w 445812"/>
                  <a:gd name="connsiteY18" fmla="*/ 835025 h 3657600"/>
                  <a:gd name="connsiteX19" fmla="*/ 204512 w 445812"/>
                  <a:gd name="connsiteY19" fmla="*/ 885825 h 3657600"/>
                  <a:gd name="connsiteX20" fmla="*/ 220387 w 445812"/>
                  <a:gd name="connsiteY20" fmla="*/ 923925 h 3657600"/>
                  <a:gd name="connsiteX21" fmla="*/ 163237 w 445812"/>
                  <a:gd name="connsiteY21" fmla="*/ 1022350 h 3657600"/>
                  <a:gd name="connsiteX22" fmla="*/ 96562 w 445812"/>
                  <a:gd name="connsiteY22" fmla="*/ 1057275 h 3657600"/>
                  <a:gd name="connsiteX23" fmla="*/ 52112 w 445812"/>
                  <a:gd name="connsiteY23" fmla="*/ 1143000 h 3657600"/>
                  <a:gd name="connsiteX24" fmla="*/ 20362 w 445812"/>
                  <a:gd name="connsiteY24" fmla="*/ 1244600 h 3657600"/>
                  <a:gd name="connsiteX25" fmla="*/ 1312 w 445812"/>
                  <a:gd name="connsiteY25" fmla="*/ 1346200 h 3657600"/>
                  <a:gd name="connsiteX26" fmla="*/ 10837 w 445812"/>
                  <a:gd name="connsiteY26" fmla="*/ 1438275 h 3657600"/>
                  <a:gd name="connsiteX27" fmla="*/ 83862 w 445812"/>
                  <a:gd name="connsiteY27" fmla="*/ 1511300 h 3657600"/>
                  <a:gd name="connsiteX28" fmla="*/ 112437 w 445812"/>
                  <a:gd name="connsiteY28" fmla="*/ 1558925 h 3657600"/>
                  <a:gd name="connsiteX29" fmla="*/ 150537 w 445812"/>
                  <a:gd name="connsiteY29" fmla="*/ 1590675 h 3657600"/>
                  <a:gd name="connsiteX30" fmla="*/ 169587 w 445812"/>
                  <a:gd name="connsiteY30" fmla="*/ 1644650 h 3657600"/>
                  <a:gd name="connsiteX31" fmla="*/ 226737 w 445812"/>
                  <a:gd name="connsiteY31" fmla="*/ 1685925 h 3657600"/>
                  <a:gd name="connsiteX32" fmla="*/ 264837 w 445812"/>
                  <a:gd name="connsiteY32" fmla="*/ 1730375 h 3657600"/>
                  <a:gd name="connsiteX33" fmla="*/ 277537 w 445812"/>
                  <a:gd name="connsiteY33" fmla="*/ 1758950 h 3657600"/>
                  <a:gd name="connsiteX34" fmla="*/ 277537 w 445812"/>
                  <a:gd name="connsiteY34" fmla="*/ 1828800 h 3657600"/>
                  <a:gd name="connsiteX35" fmla="*/ 325162 w 445812"/>
                  <a:gd name="connsiteY35" fmla="*/ 1905000 h 3657600"/>
                  <a:gd name="connsiteX36" fmla="*/ 363262 w 445812"/>
                  <a:gd name="connsiteY36" fmla="*/ 1962150 h 3657600"/>
                  <a:gd name="connsiteX37" fmla="*/ 369612 w 445812"/>
                  <a:gd name="connsiteY37" fmla="*/ 2028825 h 3657600"/>
                  <a:gd name="connsiteX38" fmla="*/ 407712 w 445812"/>
                  <a:gd name="connsiteY38" fmla="*/ 2085975 h 3657600"/>
                  <a:gd name="connsiteX39" fmla="*/ 414062 w 445812"/>
                  <a:gd name="connsiteY39" fmla="*/ 2209800 h 3657600"/>
                  <a:gd name="connsiteX40" fmla="*/ 252137 w 445812"/>
                  <a:gd name="connsiteY40" fmla="*/ 2251075 h 3657600"/>
                  <a:gd name="connsiteX41" fmla="*/ 201337 w 445812"/>
                  <a:gd name="connsiteY41" fmla="*/ 2390775 h 3657600"/>
                  <a:gd name="connsiteX42" fmla="*/ 210862 w 445812"/>
                  <a:gd name="connsiteY42" fmla="*/ 2454275 h 3657600"/>
                  <a:gd name="connsiteX43" fmla="*/ 226737 w 445812"/>
                  <a:gd name="connsiteY43" fmla="*/ 2482850 h 3657600"/>
                  <a:gd name="connsiteX44" fmla="*/ 226737 w 445812"/>
                  <a:gd name="connsiteY44" fmla="*/ 2527300 h 3657600"/>
                  <a:gd name="connsiteX45" fmla="*/ 236262 w 445812"/>
                  <a:gd name="connsiteY45" fmla="*/ 2603500 h 3657600"/>
                  <a:gd name="connsiteX46" fmla="*/ 153712 w 445812"/>
                  <a:gd name="connsiteY46" fmla="*/ 2917824 h 3657600"/>
                  <a:gd name="connsiteX47" fmla="*/ 80687 w 445812"/>
                  <a:gd name="connsiteY47" fmla="*/ 3063874 h 3657600"/>
                  <a:gd name="connsiteX48" fmla="*/ 42587 w 445812"/>
                  <a:gd name="connsiteY48" fmla="*/ 3133724 h 3657600"/>
                  <a:gd name="connsiteX49" fmla="*/ 17187 w 445812"/>
                  <a:gd name="connsiteY49" fmla="*/ 3203574 h 3657600"/>
                  <a:gd name="connsiteX50" fmla="*/ 10837 w 445812"/>
                  <a:gd name="connsiteY50" fmla="*/ 3390899 h 3657600"/>
                  <a:gd name="connsiteX51" fmla="*/ 33062 w 445812"/>
                  <a:gd name="connsiteY51" fmla="*/ 3492499 h 3657600"/>
                  <a:gd name="connsiteX52" fmla="*/ 58462 w 445812"/>
                  <a:gd name="connsiteY52" fmla="*/ 3657600 h 3657600"/>
                  <a:gd name="connsiteX0" fmla="*/ 445812 w 896662"/>
                  <a:gd name="connsiteY0" fmla="*/ 0 h 4505325"/>
                  <a:gd name="connsiteX1" fmla="*/ 407712 w 896662"/>
                  <a:gd name="connsiteY1" fmla="*/ 66675 h 4505325"/>
                  <a:gd name="connsiteX2" fmla="*/ 353737 w 896662"/>
                  <a:gd name="connsiteY2" fmla="*/ 85725 h 4505325"/>
                  <a:gd name="connsiteX3" fmla="*/ 283887 w 896662"/>
                  <a:gd name="connsiteY3" fmla="*/ 98425 h 4505325"/>
                  <a:gd name="connsiteX4" fmla="*/ 223562 w 896662"/>
                  <a:gd name="connsiteY4" fmla="*/ 133350 h 4505325"/>
                  <a:gd name="connsiteX5" fmla="*/ 121962 w 896662"/>
                  <a:gd name="connsiteY5" fmla="*/ 196850 h 4505325"/>
                  <a:gd name="connsiteX6" fmla="*/ 131487 w 896662"/>
                  <a:gd name="connsiteY6" fmla="*/ 247650 h 4505325"/>
                  <a:gd name="connsiteX7" fmla="*/ 172762 w 896662"/>
                  <a:gd name="connsiteY7" fmla="*/ 276225 h 4505325"/>
                  <a:gd name="connsiteX8" fmla="*/ 185462 w 896662"/>
                  <a:gd name="connsiteY8" fmla="*/ 327025 h 4505325"/>
                  <a:gd name="connsiteX9" fmla="*/ 239437 w 896662"/>
                  <a:gd name="connsiteY9" fmla="*/ 368300 h 4505325"/>
                  <a:gd name="connsiteX10" fmla="*/ 239437 w 896662"/>
                  <a:gd name="connsiteY10" fmla="*/ 412750 h 4505325"/>
                  <a:gd name="connsiteX11" fmla="*/ 207687 w 896662"/>
                  <a:gd name="connsiteY11" fmla="*/ 454025 h 4505325"/>
                  <a:gd name="connsiteX12" fmla="*/ 287062 w 896662"/>
                  <a:gd name="connsiteY12" fmla="*/ 479425 h 4505325"/>
                  <a:gd name="connsiteX13" fmla="*/ 302937 w 896662"/>
                  <a:gd name="connsiteY13" fmla="*/ 511175 h 4505325"/>
                  <a:gd name="connsiteX14" fmla="*/ 210862 w 896662"/>
                  <a:gd name="connsiteY14" fmla="*/ 581025 h 4505325"/>
                  <a:gd name="connsiteX15" fmla="*/ 160062 w 896662"/>
                  <a:gd name="connsiteY15" fmla="*/ 638175 h 4505325"/>
                  <a:gd name="connsiteX16" fmla="*/ 160062 w 896662"/>
                  <a:gd name="connsiteY16" fmla="*/ 695325 h 4505325"/>
                  <a:gd name="connsiteX17" fmla="*/ 185462 w 896662"/>
                  <a:gd name="connsiteY17" fmla="*/ 784225 h 4505325"/>
                  <a:gd name="connsiteX18" fmla="*/ 194987 w 896662"/>
                  <a:gd name="connsiteY18" fmla="*/ 835025 h 4505325"/>
                  <a:gd name="connsiteX19" fmla="*/ 204512 w 896662"/>
                  <a:gd name="connsiteY19" fmla="*/ 885825 h 4505325"/>
                  <a:gd name="connsiteX20" fmla="*/ 220387 w 896662"/>
                  <a:gd name="connsiteY20" fmla="*/ 923925 h 4505325"/>
                  <a:gd name="connsiteX21" fmla="*/ 163237 w 896662"/>
                  <a:gd name="connsiteY21" fmla="*/ 1022350 h 4505325"/>
                  <a:gd name="connsiteX22" fmla="*/ 96562 w 896662"/>
                  <a:gd name="connsiteY22" fmla="*/ 1057275 h 4505325"/>
                  <a:gd name="connsiteX23" fmla="*/ 52112 w 896662"/>
                  <a:gd name="connsiteY23" fmla="*/ 1143000 h 4505325"/>
                  <a:gd name="connsiteX24" fmla="*/ 20362 w 896662"/>
                  <a:gd name="connsiteY24" fmla="*/ 1244600 h 4505325"/>
                  <a:gd name="connsiteX25" fmla="*/ 1312 w 896662"/>
                  <a:gd name="connsiteY25" fmla="*/ 1346200 h 4505325"/>
                  <a:gd name="connsiteX26" fmla="*/ 10837 w 896662"/>
                  <a:gd name="connsiteY26" fmla="*/ 1438275 h 4505325"/>
                  <a:gd name="connsiteX27" fmla="*/ 83862 w 896662"/>
                  <a:gd name="connsiteY27" fmla="*/ 1511300 h 4505325"/>
                  <a:gd name="connsiteX28" fmla="*/ 112437 w 896662"/>
                  <a:gd name="connsiteY28" fmla="*/ 1558925 h 4505325"/>
                  <a:gd name="connsiteX29" fmla="*/ 150537 w 896662"/>
                  <a:gd name="connsiteY29" fmla="*/ 1590675 h 4505325"/>
                  <a:gd name="connsiteX30" fmla="*/ 169587 w 896662"/>
                  <a:gd name="connsiteY30" fmla="*/ 1644650 h 4505325"/>
                  <a:gd name="connsiteX31" fmla="*/ 226737 w 896662"/>
                  <a:gd name="connsiteY31" fmla="*/ 1685925 h 4505325"/>
                  <a:gd name="connsiteX32" fmla="*/ 264837 w 896662"/>
                  <a:gd name="connsiteY32" fmla="*/ 1730375 h 4505325"/>
                  <a:gd name="connsiteX33" fmla="*/ 277537 w 896662"/>
                  <a:gd name="connsiteY33" fmla="*/ 1758950 h 4505325"/>
                  <a:gd name="connsiteX34" fmla="*/ 277537 w 896662"/>
                  <a:gd name="connsiteY34" fmla="*/ 1828800 h 4505325"/>
                  <a:gd name="connsiteX35" fmla="*/ 325162 w 896662"/>
                  <a:gd name="connsiteY35" fmla="*/ 1905000 h 4505325"/>
                  <a:gd name="connsiteX36" fmla="*/ 363262 w 896662"/>
                  <a:gd name="connsiteY36" fmla="*/ 1962150 h 4505325"/>
                  <a:gd name="connsiteX37" fmla="*/ 369612 w 896662"/>
                  <a:gd name="connsiteY37" fmla="*/ 2028825 h 4505325"/>
                  <a:gd name="connsiteX38" fmla="*/ 407712 w 896662"/>
                  <a:gd name="connsiteY38" fmla="*/ 2085975 h 4505325"/>
                  <a:gd name="connsiteX39" fmla="*/ 414062 w 896662"/>
                  <a:gd name="connsiteY39" fmla="*/ 2209800 h 4505325"/>
                  <a:gd name="connsiteX40" fmla="*/ 252137 w 896662"/>
                  <a:gd name="connsiteY40" fmla="*/ 2251075 h 4505325"/>
                  <a:gd name="connsiteX41" fmla="*/ 201337 w 896662"/>
                  <a:gd name="connsiteY41" fmla="*/ 2390775 h 4505325"/>
                  <a:gd name="connsiteX42" fmla="*/ 210862 w 896662"/>
                  <a:gd name="connsiteY42" fmla="*/ 2454275 h 4505325"/>
                  <a:gd name="connsiteX43" fmla="*/ 226737 w 896662"/>
                  <a:gd name="connsiteY43" fmla="*/ 2482850 h 4505325"/>
                  <a:gd name="connsiteX44" fmla="*/ 226737 w 896662"/>
                  <a:gd name="connsiteY44" fmla="*/ 2527300 h 4505325"/>
                  <a:gd name="connsiteX45" fmla="*/ 236262 w 896662"/>
                  <a:gd name="connsiteY45" fmla="*/ 2603500 h 4505325"/>
                  <a:gd name="connsiteX46" fmla="*/ 153712 w 896662"/>
                  <a:gd name="connsiteY46" fmla="*/ 2917824 h 4505325"/>
                  <a:gd name="connsiteX47" fmla="*/ 80687 w 896662"/>
                  <a:gd name="connsiteY47" fmla="*/ 3063874 h 4505325"/>
                  <a:gd name="connsiteX48" fmla="*/ 42587 w 896662"/>
                  <a:gd name="connsiteY48" fmla="*/ 3133724 h 4505325"/>
                  <a:gd name="connsiteX49" fmla="*/ 17187 w 896662"/>
                  <a:gd name="connsiteY49" fmla="*/ 3203574 h 4505325"/>
                  <a:gd name="connsiteX50" fmla="*/ 10837 w 896662"/>
                  <a:gd name="connsiteY50" fmla="*/ 3390899 h 4505325"/>
                  <a:gd name="connsiteX51" fmla="*/ 33062 w 896662"/>
                  <a:gd name="connsiteY51" fmla="*/ 3492499 h 4505325"/>
                  <a:gd name="connsiteX52" fmla="*/ 896662 w 896662"/>
                  <a:gd name="connsiteY52" fmla="*/ 4505325 h 4505325"/>
                  <a:gd name="connsiteX0" fmla="*/ 472114 w 922964"/>
                  <a:gd name="connsiteY0" fmla="*/ 0 h 4505325"/>
                  <a:gd name="connsiteX1" fmla="*/ 434014 w 922964"/>
                  <a:gd name="connsiteY1" fmla="*/ 66675 h 4505325"/>
                  <a:gd name="connsiteX2" fmla="*/ 380039 w 922964"/>
                  <a:gd name="connsiteY2" fmla="*/ 85725 h 4505325"/>
                  <a:gd name="connsiteX3" fmla="*/ 310189 w 922964"/>
                  <a:gd name="connsiteY3" fmla="*/ 98425 h 4505325"/>
                  <a:gd name="connsiteX4" fmla="*/ 249864 w 922964"/>
                  <a:gd name="connsiteY4" fmla="*/ 133350 h 4505325"/>
                  <a:gd name="connsiteX5" fmla="*/ 148264 w 922964"/>
                  <a:gd name="connsiteY5" fmla="*/ 196850 h 4505325"/>
                  <a:gd name="connsiteX6" fmla="*/ 157789 w 922964"/>
                  <a:gd name="connsiteY6" fmla="*/ 247650 h 4505325"/>
                  <a:gd name="connsiteX7" fmla="*/ 199064 w 922964"/>
                  <a:gd name="connsiteY7" fmla="*/ 276225 h 4505325"/>
                  <a:gd name="connsiteX8" fmla="*/ 211764 w 922964"/>
                  <a:gd name="connsiteY8" fmla="*/ 327025 h 4505325"/>
                  <a:gd name="connsiteX9" fmla="*/ 265739 w 922964"/>
                  <a:gd name="connsiteY9" fmla="*/ 368300 h 4505325"/>
                  <a:gd name="connsiteX10" fmla="*/ 265739 w 922964"/>
                  <a:gd name="connsiteY10" fmla="*/ 412750 h 4505325"/>
                  <a:gd name="connsiteX11" fmla="*/ 233989 w 922964"/>
                  <a:gd name="connsiteY11" fmla="*/ 454025 h 4505325"/>
                  <a:gd name="connsiteX12" fmla="*/ 313364 w 922964"/>
                  <a:gd name="connsiteY12" fmla="*/ 479425 h 4505325"/>
                  <a:gd name="connsiteX13" fmla="*/ 329239 w 922964"/>
                  <a:gd name="connsiteY13" fmla="*/ 511175 h 4505325"/>
                  <a:gd name="connsiteX14" fmla="*/ 237164 w 922964"/>
                  <a:gd name="connsiteY14" fmla="*/ 581025 h 4505325"/>
                  <a:gd name="connsiteX15" fmla="*/ 186364 w 922964"/>
                  <a:gd name="connsiteY15" fmla="*/ 638175 h 4505325"/>
                  <a:gd name="connsiteX16" fmla="*/ 186364 w 922964"/>
                  <a:gd name="connsiteY16" fmla="*/ 695325 h 4505325"/>
                  <a:gd name="connsiteX17" fmla="*/ 211764 w 922964"/>
                  <a:gd name="connsiteY17" fmla="*/ 784225 h 4505325"/>
                  <a:gd name="connsiteX18" fmla="*/ 221289 w 922964"/>
                  <a:gd name="connsiteY18" fmla="*/ 835025 h 4505325"/>
                  <a:gd name="connsiteX19" fmla="*/ 230814 w 922964"/>
                  <a:gd name="connsiteY19" fmla="*/ 885825 h 4505325"/>
                  <a:gd name="connsiteX20" fmla="*/ 246689 w 922964"/>
                  <a:gd name="connsiteY20" fmla="*/ 923925 h 4505325"/>
                  <a:gd name="connsiteX21" fmla="*/ 189539 w 922964"/>
                  <a:gd name="connsiteY21" fmla="*/ 1022350 h 4505325"/>
                  <a:gd name="connsiteX22" fmla="*/ 122864 w 922964"/>
                  <a:gd name="connsiteY22" fmla="*/ 1057275 h 4505325"/>
                  <a:gd name="connsiteX23" fmla="*/ 78414 w 922964"/>
                  <a:gd name="connsiteY23" fmla="*/ 1143000 h 4505325"/>
                  <a:gd name="connsiteX24" fmla="*/ 46664 w 922964"/>
                  <a:gd name="connsiteY24" fmla="*/ 1244600 h 4505325"/>
                  <a:gd name="connsiteX25" fmla="*/ 27614 w 922964"/>
                  <a:gd name="connsiteY25" fmla="*/ 1346200 h 4505325"/>
                  <a:gd name="connsiteX26" fmla="*/ 37139 w 922964"/>
                  <a:gd name="connsiteY26" fmla="*/ 1438275 h 4505325"/>
                  <a:gd name="connsiteX27" fmla="*/ 110164 w 922964"/>
                  <a:gd name="connsiteY27" fmla="*/ 1511300 h 4505325"/>
                  <a:gd name="connsiteX28" fmla="*/ 138739 w 922964"/>
                  <a:gd name="connsiteY28" fmla="*/ 1558925 h 4505325"/>
                  <a:gd name="connsiteX29" fmla="*/ 176839 w 922964"/>
                  <a:gd name="connsiteY29" fmla="*/ 1590675 h 4505325"/>
                  <a:gd name="connsiteX30" fmla="*/ 195889 w 922964"/>
                  <a:gd name="connsiteY30" fmla="*/ 1644650 h 4505325"/>
                  <a:gd name="connsiteX31" fmla="*/ 253039 w 922964"/>
                  <a:gd name="connsiteY31" fmla="*/ 1685925 h 4505325"/>
                  <a:gd name="connsiteX32" fmla="*/ 291139 w 922964"/>
                  <a:gd name="connsiteY32" fmla="*/ 1730375 h 4505325"/>
                  <a:gd name="connsiteX33" fmla="*/ 303839 w 922964"/>
                  <a:gd name="connsiteY33" fmla="*/ 1758950 h 4505325"/>
                  <a:gd name="connsiteX34" fmla="*/ 303839 w 922964"/>
                  <a:gd name="connsiteY34" fmla="*/ 1828800 h 4505325"/>
                  <a:gd name="connsiteX35" fmla="*/ 351464 w 922964"/>
                  <a:gd name="connsiteY35" fmla="*/ 1905000 h 4505325"/>
                  <a:gd name="connsiteX36" fmla="*/ 389564 w 922964"/>
                  <a:gd name="connsiteY36" fmla="*/ 1962150 h 4505325"/>
                  <a:gd name="connsiteX37" fmla="*/ 395914 w 922964"/>
                  <a:gd name="connsiteY37" fmla="*/ 2028825 h 4505325"/>
                  <a:gd name="connsiteX38" fmla="*/ 434014 w 922964"/>
                  <a:gd name="connsiteY38" fmla="*/ 2085975 h 4505325"/>
                  <a:gd name="connsiteX39" fmla="*/ 440364 w 922964"/>
                  <a:gd name="connsiteY39" fmla="*/ 2209800 h 4505325"/>
                  <a:gd name="connsiteX40" fmla="*/ 278439 w 922964"/>
                  <a:gd name="connsiteY40" fmla="*/ 2251075 h 4505325"/>
                  <a:gd name="connsiteX41" fmla="*/ 227639 w 922964"/>
                  <a:gd name="connsiteY41" fmla="*/ 2390775 h 4505325"/>
                  <a:gd name="connsiteX42" fmla="*/ 237164 w 922964"/>
                  <a:gd name="connsiteY42" fmla="*/ 2454275 h 4505325"/>
                  <a:gd name="connsiteX43" fmla="*/ 253039 w 922964"/>
                  <a:gd name="connsiteY43" fmla="*/ 2482850 h 4505325"/>
                  <a:gd name="connsiteX44" fmla="*/ 253039 w 922964"/>
                  <a:gd name="connsiteY44" fmla="*/ 2527300 h 4505325"/>
                  <a:gd name="connsiteX45" fmla="*/ 262564 w 922964"/>
                  <a:gd name="connsiteY45" fmla="*/ 2603500 h 4505325"/>
                  <a:gd name="connsiteX46" fmla="*/ 180014 w 922964"/>
                  <a:gd name="connsiteY46" fmla="*/ 2917824 h 4505325"/>
                  <a:gd name="connsiteX47" fmla="*/ 106989 w 922964"/>
                  <a:gd name="connsiteY47" fmla="*/ 3063874 h 4505325"/>
                  <a:gd name="connsiteX48" fmla="*/ 68889 w 922964"/>
                  <a:gd name="connsiteY48" fmla="*/ 3133724 h 4505325"/>
                  <a:gd name="connsiteX49" fmla="*/ 43489 w 922964"/>
                  <a:gd name="connsiteY49" fmla="*/ 3203574 h 4505325"/>
                  <a:gd name="connsiteX50" fmla="*/ 37139 w 922964"/>
                  <a:gd name="connsiteY50" fmla="*/ 3390899 h 4505325"/>
                  <a:gd name="connsiteX51" fmla="*/ 59364 w 922964"/>
                  <a:gd name="connsiteY51" fmla="*/ 3492499 h 4505325"/>
                  <a:gd name="connsiteX52" fmla="*/ 776914 w 922964"/>
                  <a:gd name="connsiteY52" fmla="*/ 4305299 h 4505325"/>
                  <a:gd name="connsiteX53" fmla="*/ 922964 w 922964"/>
                  <a:gd name="connsiteY53" fmla="*/ 4505325 h 4505325"/>
                  <a:gd name="connsiteX0" fmla="*/ 459436 w 910286"/>
                  <a:gd name="connsiteY0" fmla="*/ 0 h 4505325"/>
                  <a:gd name="connsiteX1" fmla="*/ 421336 w 910286"/>
                  <a:gd name="connsiteY1" fmla="*/ 66675 h 4505325"/>
                  <a:gd name="connsiteX2" fmla="*/ 367361 w 910286"/>
                  <a:gd name="connsiteY2" fmla="*/ 85725 h 4505325"/>
                  <a:gd name="connsiteX3" fmla="*/ 297511 w 910286"/>
                  <a:gd name="connsiteY3" fmla="*/ 98425 h 4505325"/>
                  <a:gd name="connsiteX4" fmla="*/ 237186 w 910286"/>
                  <a:gd name="connsiteY4" fmla="*/ 133350 h 4505325"/>
                  <a:gd name="connsiteX5" fmla="*/ 135586 w 910286"/>
                  <a:gd name="connsiteY5" fmla="*/ 196850 h 4505325"/>
                  <a:gd name="connsiteX6" fmla="*/ 145111 w 910286"/>
                  <a:gd name="connsiteY6" fmla="*/ 247650 h 4505325"/>
                  <a:gd name="connsiteX7" fmla="*/ 186386 w 910286"/>
                  <a:gd name="connsiteY7" fmla="*/ 276225 h 4505325"/>
                  <a:gd name="connsiteX8" fmla="*/ 199086 w 910286"/>
                  <a:gd name="connsiteY8" fmla="*/ 327025 h 4505325"/>
                  <a:gd name="connsiteX9" fmla="*/ 253061 w 910286"/>
                  <a:gd name="connsiteY9" fmla="*/ 368300 h 4505325"/>
                  <a:gd name="connsiteX10" fmla="*/ 253061 w 910286"/>
                  <a:gd name="connsiteY10" fmla="*/ 412750 h 4505325"/>
                  <a:gd name="connsiteX11" fmla="*/ 221311 w 910286"/>
                  <a:gd name="connsiteY11" fmla="*/ 454025 h 4505325"/>
                  <a:gd name="connsiteX12" fmla="*/ 300686 w 910286"/>
                  <a:gd name="connsiteY12" fmla="*/ 479425 h 4505325"/>
                  <a:gd name="connsiteX13" fmla="*/ 316561 w 910286"/>
                  <a:gd name="connsiteY13" fmla="*/ 511175 h 4505325"/>
                  <a:gd name="connsiteX14" fmla="*/ 224486 w 910286"/>
                  <a:gd name="connsiteY14" fmla="*/ 581025 h 4505325"/>
                  <a:gd name="connsiteX15" fmla="*/ 173686 w 910286"/>
                  <a:gd name="connsiteY15" fmla="*/ 638175 h 4505325"/>
                  <a:gd name="connsiteX16" fmla="*/ 173686 w 910286"/>
                  <a:gd name="connsiteY16" fmla="*/ 695325 h 4505325"/>
                  <a:gd name="connsiteX17" fmla="*/ 199086 w 910286"/>
                  <a:gd name="connsiteY17" fmla="*/ 784225 h 4505325"/>
                  <a:gd name="connsiteX18" fmla="*/ 208611 w 910286"/>
                  <a:gd name="connsiteY18" fmla="*/ 835025 h 4505325"/>
                  <a:gd name="connsiteX19" fmla="*/ 218136 w 910286"/>
                  <a:gd name="connsiteY19" fmla="*/ 885825 h 4505325"/>
                  <a:gd name="connsiteX20" fmla="*/ 234011 w 910286"/>
                  <a:gd name="connsiteY20" fmla="*/ 923925 h 4505325"/>
                  <a:gd name="connsiteX21" fmla="*/ 176861 w 910286"/>
                  <a:gd name="connsiteY21" fmla="*/ 1022350 h 4505325"/>
                  <a:gd name="connsiteX22" fmla="*/ 110186 w 910286"/>
                  <a:gd name="connsiteY22" fmla="*/ 1057275 h 4505325"/>
                  <a:gd name="connsiteX23" fmla="*/ 65736 w 910286"/>
                  <a:gd name="connsiteY23" fmla="*/ 1143000 h 4505325"/>
                  <a:gd name="connsiteX24" fmla="*/ 33986 w 910286"/>
                  <a:gd name="connsiteY24" fmla="*/ 1244600 h 4505325"/>
                  <a:gd name="connsiteX25" fmla="*/ 14936 w 910286"/>
                  <a:gd name="connsiteY25" fmla="*/ 1346200 h 4505325"/>
                  <a:gd name="connsiteX26" fmla="*/ 24461 w 910286"/>
                  <a:gd name="connsiteY26" fmla="*/ 1438275 h 4505325"/>
                  <a:gd name="connsiteX27" fmla="*/ 97486 w 910286"/>
                  <a:gd name="connsiteY27" fmla="*/ 1511300 h 4505325"/>
                  <a:gd name="connsiteX28" fmla="*/ 126061 w 910286"/>
                  <a:gd name="connsiteY28" fmla="*/ 1558925 h 4505325"/>
                  <a:gd name="connsiteX29" fmla="*/ 164161 w 910286"/>
                  <a:gd name="connsiteY29" fmla="*/ 1590675 h 4505325"/>
                  <a:gd name="connsiteX30" fmla="*/ 183211 w 910286"/>
                  <a:gd name="connsiteY30" fmla="*/ 1644650 h 4505325"/>
                  <a:gd name="connsiteX31" fmla="*/ 240361 w 910286"/>
                  <a:gd name="connsiteY31" fmla="*/ 1685925 h 4505325"/>
                  <a:gd name="connsiteX32" fmla="*/ 278461 w 910286"/>
                  <a:gd name="connsiteY32" fmla="*/ 1730375 h 4505325"/>
                  <a:gd name="connsiteX33" fmla="*/ 291161 w 910286"/>
                  <a:gd name="connsiteY33" fmla="*/ 1758950 h 4505325"/>
                  <a:gd name="connsiteX34" fmla="*/ 291161 w 910286"/>
                  <a:gd name="connsiteY34" fmla="*/ 1828800 h 4505325"/>
                  <a:gd name="connsiteX35" fmla="*/ 338786 w 910286"/>
                  <a:gd name="connsiteY35" fmla="*/ 1905000 h 4505325"/>
                  <a:gd name="connsiteX36" fmla="*/ 376886 w 910286"/>
                  <a:gd name="connsiteY36" fmla="*/ 1962150 h 4505325"/>
                  <a:gd name="connsiteX37" fmla="*/ 383236 w 910286"/>
                  <a:gd name="connsiteY37" fmla="*/ 2028825 h 4505325"/>
                  <a:gd name="connsiteX38" fmla="*/ 421336 w 910286"/>
                  <a:gd name="connsiteY38" fmla="*/ 2085975 h 4505325"/>
                  <a:gd name="connsiteX39" fmla="*/ 427686 w 910286"/>
                  <a:gd name="connsiteY39" fmla="*/ 2209800 h 4505325"/>
                  <a:gd name="connsiteX40" fmla="*/ 265761 w 910286"/>
                  <a:gd name="connsiteY40" fmla="*/ 2251075 h 4505325"/>
                  <a:gd name="connsiteX41" fmla="*/ 214961 w 910286"/>
                  <a:gd name="connsiteY41" fmla="*/ 2390775 h 4505325"/>
                  <a:gd name="connsiteX42" fmla="*/ 224486 w 910286"/>
                  <a:gd name="connsiteY42" fmla="*/ 2454275 h 4505325"/>
                  <a:gd name="connsiteX43" fmla="*/ 240361 w 910286"/>
                  <a:gd name="connsiteY43" fmla="*/ 2482850 h 4505325"/>
                  <a:gd name="connsiteX44" fmla="*/ 240361 w 910286"/>
                  <a:gd name="connsiteY44" fmla="*/ 2527300 h 4505325"/>
                  <a:gd name="connsiteX45" fmla="*/ 249886 w 910286"/>
                  <a:gd name="connsiteY45" fmla="*/ 2603500 h 4505325"/>
                  <a:gd name="connsiteX46" fmla="*/ 167336 w 910286"/>
                  <a:gd name="connsiteY46" fmla="*/ 2917824 h 4505325"/>
                  <a:gd name="connsiteX47" fmla="*/ 94311 w 910286"/>
                  <a:gd name="connsiteY47" fmla="*/ 3063874 h 4505325"/>
                  <a:gd name="connsiteX48" fmla="*/ 56211 w 910286"/>
                  <a:gd name="connsiteY48" fmla="*/ 3133724 h 4505325"/>
                  <a:gd name="connsiteX49" fmla="*/ 30811 w 910286"/>
                  <a:gd name="connsiteY49" fmla="*/ 3203574 h 4505325"/>
                  <a:gd name="connsiteX50" fmla="*/ 24461 w 910286"/>
                  <a:gd name="connsiteY50" fmla="*/ 3390899 h 4505325"/>
                  <a:gd name="connsiteX51" fmla="*/ 46686 w 910286"/>
                  <a:gd name="connsiteY51" fmla="*/ 3492499 h 4505325"/>
                  <a:gd name="connsiteX52" fmla="*/ 395936 w 910286"/>
                  <a:gd name="connsiteY52" fmla="*/ 4203699 h 4505325"/>
                  <a:gd name="connsiteX53" fmla="*/ 764236 w 910286"/>
                  <a:gd name="connsiteY53" fmla="*/ 4305299 h 4505325"/>
                  <a:gd name="connsiteX54" fmla="*/ 910286 w 910286"/>
                  <a:gd name="connsiteY54" fmla="*/ 4505325 h 4505325"/>
                  <a:gd name="connsiteX0" fmla="*/ 459436 w 910286"/>
                  <a:gd name="connsiteY0" fmla="*/ 0 h 4505325"/>
                  <a:gd name="connsiteX1" fmla="*/ 421336 w 910286"/>
                  <a:gd name="connsiteY1" fmla="*/ 66675 h 4505325"/>
                  <a:gd name="connsiteX2" fmla="*/ 367361 w 910286"/>
                  <a:gd name="connsiteY2" fmla="*/ 85725 h 4505325"/>
                  <a:gd name="connsiteX3" fmla="*/ 297511 w 910286"/>
                  <a:gd name="connsiteY3" fmla="*/ 98425 h 4505325"/>
                  <a:gd name="connsiteX4" fmla="*/ 237186 w 910286"/>
                  <a:gd name="connsiteY4" fmla="*/ 133350 h 4505325"/>
                  <a:gd name="connsiteX5" fmla="*/ 135586 w 910286"/>
                  <a:gd name="connsiteY5" fmla="*/ 196850 h 4505325"/>
                  <a:gd name="connsiteX6" fmla="*/ 145111 w 910286"/>
                  <a:gd name="connsiteY6" fmla="*/ 247650 h 4505325"/>
                  <a:gd name="connsiteX7" fmla="*/ 186386 w 910286"/>
                  <a:gd name="connsiteY7" fmla="*/ 276225 h 4505325"/>
                  <a:gd name="connsiteX8" fmla="*/ 199086 w 910286"/>
                  <a:gd name="connsiteY8" fmla="*/ 327025 h 4505325"/>
                  <a:gd name="connsiteX9" fmla="*/ 253061 w 910286"/>
                  <a:gd name="connsiteY9" fmla="*/ 368300 h 4505325"/>
                  <a:gd name="connsiteX10" fmla="*/ 253061 w 910286"/>
                  <a:gd name="connsiteY10" fmla="*/ 412750 h 4505325"/>
                  <a:gd name="connsiteX11" fmla="*/ 221311 w 910286"/>
                  <a:gd name="connsiteY11" fmla="*/ 454025 h 4505325"/>
                  <a:gd name="connsiteX12" fmla="*/ 300686 w 910286"/>
                  <a:gd name="connsiteY12" fmla="*/ 479425 h 4505325"/>
                  <a:gd name="connsiteX13" fmla="*/ 316561 w 910286"/>
                  <a:gd name="connsiteY13" fmla="*/ 511175 h 4505325"/>
                  <a:gd name="connsiteX14" fmla="*/ 224486 w 910286"/>
                  <a:gd name="connsiteY14" fmla="*/ 581025 h 4505325"/>
                  <a:gd name="connsiteX15" fmla="*/ 173686 w 910286"/>
                  <a:gd name="connsiteY15" fmla="*/ 638175 h 4505325"/>
                  <a:gd name="connsiteX16" fmla="*/ 173686 w 910286"/>
                  <a:gd name="connsiteY16" fmla="*/ 695325 h 4505325"/>
                  <a:gd name="connsiteX17" fmla="*/ 199086 w 910286"/>
                  <a:gd name="connsiteY17" fmla="*/ 784225 h 4505325"/>
                  <a:gd name="connsiteX18" fmla="*/ 208611 w 910286"/>
                  <a:gd name="connsiteY18" fmla="*/ 835025 h 4505325"/>
                  <a:gd name="connsiteX19" fmla="*/ 218136 w 910286"/>
                  <a:gd name="connsiteY19" fmla="*/ 885825 h 4505325"/>
                  <a:gd name="connsiteX20" fmla="*/ 234011 w 910286"/>
                  <a:gd name="connsiteY20" fmla="*/ 923925 h 4505325"/>
                  <a:gd name="connsiteX21" fmla="*/ 176861 w 910286"/>
                  <a:gd name="connsiteY21" fmla="*/ 1022350 h 4505325"/>
                  <a:gd name="connsiteX22" fmla="*/ 110186 w 910286"/>
                  <a:gd name="connsiteY22" fmla="*/ 1057275 h 4505325"/>
                  <a:gd name="connsiteX23" fmla="*/ 65736 w 910286"/>
                  <a:gd name="connsiteY23" fmla="*/ 1143000 h 4505325"/>
                  <a:gd name="connsiteX24" fmla="*/ 33986 w 910286"/>
                  <a:gd name="connsiteY24" fmla="*/ 1244600 h 4505325"/>
                  <a:gd name="connsiteX25" fmla="*/ 14936 w 910286"/>
                  <a:gd name="connsiteY25" fmla="*/ 1346200 h 4505325"/>
                  <a:gd name="connsiteX26" fmla="*/ 24461 w 910286"/>
                  <a:gd name="connsiteY26" fmla="*/ 1438275 h 4505325"/>
                  <a:gd name="connsiteX27" fmla="*/ 97486 w 910286"/>
                  <a:gd name="connsiteY27" fmla="*/ 1511300 h 4505325"/>
                  <a:gd name="connsiteX28" fmla="*/ 126061 w 910286"/>
                  <a:gd name="connsiteY28" fmla="*/ 1558925 h 4505325"/>
                  <a:gd name="connsiteX29" fmla="*/ 164161 w 910286"/>
                  <a:gd name="connsiteY29" fmla="*/ 1590675 h 4505325"/>
                  <a:gd name="connsiteX30" fmla="*/ 183211 w 910286"/>
                  <a:gd name="connsiteY30" fmla="*/ 1644650 h 4505325"/>
                  <a:gd name="connsiteX31" fmla="*/ 240361 w 910286"/>
                  <a:gd name="connsiteY31" fmla="*/ 1685925 h 4505325"/>
                  <a:gd name="connsiteX32" fmla="*/ 278461 w 910286"/>
                  <a:gd name="connsiteY32" fmla="*/ 1730375 h 4505325"/>
                  <a:gd name="connsiteX33" fmla="*/ 291161 w 910286"/>
                  <a:gd name="connsiteY33" fmla="*/ 1758950 h 4505325"/>
                  <a:gd name="connsiteX34" fmla="*/ 291161 w 910286"/>
                  <a:gd name="connsiteY34" fmla="*/ 1828800 h 4505325"/>
                  <a:gd name="connsiteX35" fmla="*/ 338786 w 910286"/>
                  <a:gd name="connsiteY35" fmla="*/ 1905000 h 4505325"/>
                  <a:gd name="connsiteX36" fmla="*/ 376886 w 910286"/>
                  <a:gd name="connsiteY36" fmla="*/ 1962150 h 4505325"/>
                  <a:gd name="connsiteX37" fmla="*/ 383236 w 910286"/>
                  <a:gd name="connsiteY37" fmla="*/ 2028825 h 4505325"/>
                  <a:gd name="connsiteX38" fmla="*/ 421336 w 910286"/>
                  <a:gd name="connsiteY38" fmla="*/ 2085975 h 4505325"/>
                  <a:gd name="connsiteX39" fmla="*/ 427686 w 910286"/>
                  <a:gd name="connsiteY39" fmla="*/ 2209800 h 4505325"/>
                  <a:gd name="connsiteX40" fmla="*/ 265761 w 910286"/>
                  <a:gd name="connsiteY40" fmla="*/ 2251075 h 4505325"/>
                  <a:gd name="connsiteX41" fmla="*/ 214961 w 910286"/>
                  <a:gd name="connsiteY41" fmla="*/ 2390775 h 4505325"/>
                  <a:gd name="connsiteX42" fmla="*/ 224486 w 910286"/>
                  <a:gd name="connsiteY42" fmla="*/ 2454275 h 4505325"/>
                  <a:gd name="connsiteX43" fmla="*/ 240361 w 910286"/>
                  <a:gd name="connsiteY43" fmla="*/ 2482850 h 4505325"/>
                  <a:gd name="connsiteX44" fmla="*/ 240361 w 910286"/>
                  <a:gd name="connsiteY44" fmla="*/ 2527300 h 4505325"/>
                  <a:gd name="connsiteX45" fmla="*/ 249886 w 910286"/>
                  <a:gd name="connsiteY45" fmla="*/ 2603500 h 4505325"/>
                  <a:gd name="connsiteX46" fmla="*/ 167336 w 910286"/>
                  <a:gd name="connsiteY46" fmla="*/ 2917824 h 4505325"/>
                  <a:gd name="connsiteX47" fmla="*/ 94311 w 910286"/>
                  <a:gd name="connsiteY47" fmla="*/ 3063874 h 4505325"/>
                  <a:gd name="connsiteX48" fmla="*/ 56211 w 910286"/>
                  <a:gd name="connsiteY48" fmla="*/ 3133724 h 4505325"/>
                  <a:gd name="connsiteX49" fmla="*/ 30811 w 910286"/>
                  <a:gd name="connsiteY49" fmla="*/ 3203574 h 4505325"/>
                  <a:gd name="connsiteX50" fmla="*/ 24461 w 910286"/>
                  <a:gd name="connsiteY50" fmla="*/ 3390899 h 4505325"/>
                  <a:gd name="connsiteX51" fmla="*/ 46686 w 910286"/>
                  <a:gd name="connsiteY51" fmla="*/ 3492499 h 4505325"/>
                  <a:gd name="connsiteX52" fmla="*/ 395936 w 910286"/>
                  <a:gd name="connsiteY52" fmla="*/ 4203699 h 4505325"/>
                  <a:gd name="connsiteX53" fmla="*/ 653111 w 910286"/>
                  <a:gd name="connsiteY53" fmla="*/ 4302124 h 4505325"/>
                  <a:gd name="connsiteX54" fmla="*/ 764236 w 910286"/>
                  <a:gd name="connsiteY54" fmla="*/ 4305299 h 4505325"/>
                  <a:gd name="connsiteX55" fmla="*/ 910286 w 910286"/>
                  <a:gd name="connsiteY55" fmla="*/ 4505325 h 4505325"/>
                  <a:gd name="connsiteX0" fmla="*/ 459436 w 910286"/>
                  <a:gd name="connsiteY0" fmla="*/ 0 h 4505325"/>
                  <a:gd name="connsiteX1" fmla="*/ 421336 w 910286"/>
                  <a:gd name="connsiteY1" fmla="*/ 66675 h 4505325"/>
                  <a:gd name="connsiteX2" fmla="*/ 367361 w 910286"/>
                  <a:gd name="connsiteY2" fmla="*/ 85725 h 4505325"/>
                  <a:gd name="connsiteX3" fmla="*/ 297511 w 910286"/>
                  <a:gd name="connsiteY3" fmla="*/ 98425 h 4505325"/>
                  <a:gd name="connsiteX4" fmla="*/ 237186 w 910286"/>
                  <a:gd name="connsiteY4" fmla="*/ 133350 h 4505325"/>
                  <a:gd name="connsiteX5" fmla="*/ 135586 w 910286"/>
                  <a:gd name="connsiteY5" fmla="*/ 196850 h 4505325"/>
                  <a:gd name="connsiteX6" fmla="*/ 145111 w 910286"/>
                  <a:gd name="connsiteY6" fmla="*/ 247650 h 4505325"/>
                  <a:gd name="connsiteX7" fmla="*/ 186386 w 910286"/>
                  <a:gd name="connsiteY7" fmla="*/ 276225 h 4505325"/>
                  <a:gd name="connsiteX8" fmla="*/ 199086 w 910286"/>
                  <a:gd name="connsiteY8" fmla="*/ 327025 h 4505325"/>
                  <a:gd name="connsiteX9" fmla="*/ 253061 w 910286"/>
                  <a:gd name="connsiteY9" fmla="*/ 368300 h 4505325"/>
                  <a:gd name="connsiteX10" fmla="*/ 253061 w 910286"/>
                  <a:gd name="connsiteY10" fmla="*/ 412750 h 4505325"/>
                  <a:gd name="connsiteX11" fmla="*/ 221311 w 910286"/>
                  <a:gd name="connsiteY11" fmla="*/ 454025 h 4505325"/>
                  <a:gd name="connsiteX12" fmla="*/ 300686 w 910286"/>
                  <a:gd name="connsiteY12" fmla="*/ 479425 h 4505325"/>
                  <a:gd name="connsiteX13" fmla="*/ 316561 w 910286"/>
                  <a:gd name="connsiteY13" fmla="*/ 511175 h 4505325"/>
                  <a:gd name="connsiteX14" fmla="*/ 224486 w 910286"/>
                  <a:gd name="connsiteY14" fmla="*/ 581025 h 4505325"/>
                  <a:gd name="connsiteX15" fmla="*/ 173686 w 910286"/>
                  <a:gd name="connsiteY15" fmla="*/ 638175 h 4505325"/>
                  <a:gd name="connsiteX16" fmla="*/ 173686 w 910286"/>
                  <a:gd name="connsiteY16" fmla="*/ 695325 h 4505325"/>
                  <a:gd name="connsiteX17" fmla="*/ 199086 w 910286"/>
                  <a:gd name="connsiteY17" fmla="*/ 784225 h 4505325"/>
                  <a:gd name="connsiteX18" fmla="*/ 208611 w 910286"/>
                  <a:gd name="connsiteY18" fmla="*/ 835025 h 4505325"/>
                  <a:gd name="connsiteX19" fmla="*/ 218136 w 910286"/>
                  <a:gd name="connsiteY19" fmla="*/ 885825 h 4505325"/>
                  <a:gd name="connsiteX20" fmla="*/ 234011 w 910286"/>
                  <a:gd name="connsiteY20" fmla="*/ 923925 h 4505325"/>
                  <a:gd name="connsiteX21" fmla="*/ 176861 w 910286"/>
                  <a:gd name="connsiteY21" fmla="*/ 1022350 h 4505325"/>
                  <a:gd name="connsiteX22" fmla="*/ 110186 w 910286"/>
                  <a:gd name="connsiteY22" fmla="*/ 1057275 h 4505325"/>
                  <a:gd name="connsiteX23" fmla="*/ 65736 w 910286"/>
                  <a:gd name="connsiteY23" fmla="*/ 1143000 h 4505325"/>
                  <a:gd name="connsiteX24" fmla="*/ 33986 w 910286"/>
                  <a:gd name="connsiteY24" fmla="*/ 1244600 h 4505325"/>
                  <a:gd name="connsiteX25" fmla="*/ 14936 w 910286"/>
                  <a:gd name="connsiteY25" fmla="*/ 1346200 h 4505325"/>
                  <a:gd name="connsiteX26" fmla="*/ 24461 w 910286"/>
                  <a:gd name="connsiteY26" fmla="*/ 1438275 h 4505325"/>
                  <a:gd name="connsiteX27" fmla="*/ 97486 w 910286"/>
                  <a:gd name="connsiteY27" fmla="*/ 1511300 h 4505325"/>
                  <a:gd name="connsiteX28" fmla="*/ 126061 w 910286"/>
                  <a:gd name="connsiteY28" fmla="*/ 1558925 h 4505325"/>
                  <a:gd name="connsiteX29" fmla="*/ 164161 w 910286"/>
                  <a:gd name="connsiteY29" fmla="*/ 1590675 h 4505325"/>
                  <a:gd name="connsiteX30" fmla="*/ 183211 w 910286"/>
                  <a:gd name="connsiteY30" fmla="*/ 1644650 h 4505325"/>
                  <a:gd name="connsiteX31" fmla="*/ 240361 w 910286"/>
                  <a:gd name="connsiteY31" fmla="*/ 1685925 h 4505325"/>
                  <a:gd name="connsiteX32" fmla="*/ 278461 w 910286"/>
                  <a:gd name="connsiteY32" fmla="*/ 1730375 h 4505325"/>
                  <a:gd name="connsiteX33" fmla="*/ 291161 w 910286"/>
                  <a:gd name="connsiteY33" fmla="*/ 1758950 h 4505325"/>
                  <a:gd name="connsiteX34" fmla="*/ 291161 w 910286"/>
                  <a:gd name="connsiteY34" fmla="*/ 1828800 h 4505325"/>
                  <a:gd name="connsiteX35" fmla="*/ 338786 w 910286"/>
                  <a:gd name="connsiteY35" fmla="*/ 1905000 h 4505325"/>
                  <a:gd name="connsiteX36" fmla="*/ 376886 w 910286"/>
                  <a:gd name="connsiteY36" fmla="*/ 1962150 h 4505325"/>
                  <a:gd name="connsiteX37" fmla="*/ 383236 w 910286"/>
                  <a:gd name="connsiteY37" fmla="*/ 2028825 h 4505325"/>
                  <a:gd name="connsiteX38" fmla="*/ 421336 w 910286"/>
                  <a:gd name="connsiteY38" fmla="*/ 2085975 h 4505325"/>
                  <a:gd name="connsiteX39" fmla="*/ 427686 w 910286"/>
                  <a:gd name="connsiteY39" fmla="*/ 2209800 h 4505325"/>
                  <a:gd name="connsiteX40" fmla="*/ 265761 w 910286"/>
                  <a:gd name="connsiteY40" fmla="*/ 2251075 h 4505325"/>
                  <a:gd name="connsiteX41" fmla="*/ 214961 w 910286"/>
                  <a:gd name="connsiteY41" fmla="*/ 2390775 h 4505325"/>
                  <a:gd name="connsiteX42" fmla="*/ 224486 w 910286"/>
                  <a:gd name="connsiteY42" fmla="*/ 2454275 h 4505325"/>
                  <a:gd name="connsiteX43" fmla="*/ 240361 w 910286"/>
                  <a:gd name="connsiteY43" fmla="*/ 2482850 h 4505325"/>
                  <a:gd name="connsiteX44" fmla="*/ 240361 w 910286"/>
                  <a:gd name="connsiteY44" fmla="*/ 2527300 h 4505325"/>
                  <a:gd name="connsiteX45" fmla="*/ 249886 w 910286"/>
                  <a:gd name="connsiteY45" fmla="*/ 2603500 h 4505325"/>
                  <a:gd name="connsiteX46" fmla="*/ 167336 w 910286"/>
                  <a:gd name="connsiteY46" fmla="*/ 2917824 h 4505325"/>
                  <a:gd name="connsiteX47" fmla="*/ 94311 w 910286"/>
                  <a:gd name="connsiteY47" fmla="*/ 3063874 h 4505325"/>
                  <a:gd name="connsiteX48" fmla="*/ 56211 w 910286"/>
                  <a:gd name="connsiteY48" fmla="*/ 3133724 h 4505325"/>
                  <a:gd name="connsiteX49" fmla="*/ 30811 w 910286"/>
                  <a:gd name="connsiteY49" fmla="*/ 3203574 h 4505325"/>
                  <a:gd name="connsiteX50" fmla="*/ 24461 w 910286"/>
                  <a:gd name="connsiteY50" fmla="*/ 3390899 h 4505325"/>
                  <a:gd name="connsiteX51" fmla="*/ 46686 w 910286"/>
                  <a:gd name="connsiteY51" fmla="*/ 3492499 h 4505325"/>
                  <a:gd name="connsiteX52" fmla="*/ 395936 w 910286"/>
                  <a:gd name="connsiteY52" fmla="*/ 4203699 h 4505325"/>
                  <a:gd name="connsiteX53" fmla="*/ 653111 w 910286"/>
                  <a:gd name="connsiteY53" fmla="*/ 4302124 h 4505325"/>
                  <a:gd name="connsiteX54" fmla="*/ 773761 w 910286"/>
                  <a:gd name="connsiteY54" fmla="*/ 4292599 h 4505325"/>
                  <a:gd name="connsiteX55" fmla="*/ 910286 w 910286"/>
                  <a:gd name="connsiteY55" fmla="*/ 4505325 h 4505325"/>
                  <a:gd name="connsiteX0" fmla="*/ 459436 w 910286"/>
                  <a:gd name="connsiteY0" fmla="*/ 0 h 4505325"/>
                  <a:gd name="connsiteX1" fmla="*/ 421336 w 910286"/>
                  <a:gd name="connsiteY1" fmla="*/ 66675 h 4505325"/>
                  <a:gd name="connsiteX2" fmla="*/ 367361 w 910286"/>
                  <a:gd name="connsiteY2" fmla="*/ 85725 h 4505325"/>
                  <a:gd name="connsiteX3" fmla="*/ 297511 w 910286"/>
                  <a:gd name="connsiteY3" fmla="*/ 98425 h 4505325"/>
                  <a:gd name="connsiteX4" fmla="*/ 237186 w 910286"/>
                  <a:gd name="connsiteY4" fmla="*/ 133350 h 4505325"/>
                  <a:gd name="connsiteX5" fmla="*/ 135586 w 910286"/>
                  <a:gd name="connsiteY5" fmla="*/ 196850 h 4505325"/>
                  <a:gd name="connsiteX6" fmla="*/ 145111 w 910286"/>
                  <a:gd name="connsiteY6" fmla="*/ 247650 h 4505325"/>
                  <a:gd name="connsiteX7" fmla="*/ 186386 w 910286"/>
                  <a:gd name="connsiteY7" fmla="*/ 276225 h 4505325"/>
                  <a:gd name="connsiteX8" fmla="*/ 199086 w 910286"/>
                  <a:gd name="connsiteY8" fmla="*/ 327025 h 4505325"/>
                  <a:gd name="connsiteX9" fmla="*/ 253061 w 910286"/>
                  <a:gd name="connsiteY9" fmla="*/ 368300 h 4505325"/>
                  <a:gd name="connsiteX10" fmla="*/ 253061 w 910286"/>
                  <a:gd name="connsiteY10" fmla="*/ 412750 h 4505325"/>
                  <a:gd name="connsiteX11" fmla="*/ 221311 w 910286"/>
                  <a:gd name="connsiteY11" fmla="*/ 454025 h 4505325"/>
                  <a:gd name="connsiteX12" fmla="*/ 300686 w 910286"/>
                  <a:gd name="connsiteY12" fmla="*/ 479425 h 4505325"/>
                  <a:gd name="connsiteX13" fmla="*/ 316561 w 910286"/>
                  <a:gd name="connsiteY13" fmla="*/ 511175 h 4505325"/>
                  <a:gd name="connsiteX14" fmla="*/ 224486 w 910286"/>
                  <a:gd name="connsiteY14" fmla="*/ 581025 h 4505325"/>
                  <a:gd name="connsiteX15" fmla="*/ 173686 w 910286"/>
                  <a:gd name="connsiteY15" fmla="*/ 638175 h 4505325"/>
                  <a:gd name="connsiteX16" fmla="*/ 173686 w 910286"/>
                  <a:gd name="connsiteY16" fmla="*/ 695325 h 4505325"/>
                  <a:gd name="connsiteX17" fmla="*/ 199086 w 910286"/>
                  <a:gd name="connsiteY17" fmla="*/ 784225 h 4505325"/>
                  <a:gd name="connsiteX18" fmla="*/ 208611 w 910286"/>
                  <a:gd name="connsiteY18" fmla="*/ 835025 h 4505325"/>
                  <a:gd name="connsiteX19" fmla="*/ 218136 w 910286"/>
                  <a:gd name="connsiteY19" fmla="*/ 885825 h 4505325"/>
                  <a:gd name="connsiteX20" fmla="*/ 234011 w 910286"/>
                  <a:gd name="connsiteY20" fmla="*/ 923925 h 4505325"/>
                  <a:gd name="connsiteX21" fmla="*/ 176861 w 910286"/>
                  <a:gd name="connsiteY21" fmla="*/ 1022350 h 4505325"/>
                  <a:gd name="connsiteX22" fmla="*/ 110186 w 910286"/>
                  <a:gd name="connsiteY22" fmla="*/ 1057275 h 4505325"/>
                  <a:gd name="connsiteX23" fmla="*/ 65736 w 910286"/>
                  <a:gd name="connsiteY23" fmla="*/ 1143000 h 4505325"/>
                  <a:gd name="connsiteX24" fmla="*/ 33986 w 910286"/>
                  <a:gd name="connsiteY24" fmla="*/ 1244600 h 4505325"/>
                  <a:gd name="connsiteX25" fmla="*/ 14936 w 910286"/>
                  <a:gd name="connsiteY25" fmla="*/ 1346200 h 4505325"/>
                  <a:gd name="connsiteX26" fmla="*/ 24461 w 910286"/>
                  <a:gd name="connsiteY26" fmla="*/ 1438275 h 4505325"/>
                  <a:gd name="connsiteX27" fmla="*/ 97486 w 910286"/>
                  <a:gd name="connsiteY27" fmla="*/ 1511300 h 4505325"/>
                  <a:gd name="connsiteX28" fmla="*/ 126061 w 910286"/>
                  <a:gd name="connsiteY28" fmla="*/ 1558925 h 4505325"/>
                  <a:gd name="connsiteX29" fmla="*/ 164161 w 910286"/>
                  <a:gd name="connsiteY29" fmla="*/ 1590675 h 4505325"/>
                  <a:gd name="connsiteX30" fmla="*/ 183211 w 910286"/>
                  <a:gd name="connsiteY30" fmla="*/ 1644650 h 4505325"/>
                  <a:gd name="connsiteX31" fmla="*/ 240361 w 910286"/>
                  <a:gd name="connsiteY31" fmla="*/ 1685925 h 4505325"/>
                  <a:gd name="connsiteX32" fmla="*/ 278461 w 910286"/>
                  <a:gd name="connsiteY32" fmla="*/ 1730375 h 4505325"/>
                  <a:gd name="connsiteX33" fmla="*/ 291161 w 910286"/>
                  <a:gd name="connsiteY33" fmla="*/ 1758950 h 4505325"/>
                  <a:gd name="connsiteX34" fmla="*/ 291161 w 910286"/>
                  <a:gd name="connsiteY34" fmla="*/ 1828800 h 4505325"/>
                  <a:gd name="connsiteX35" fmla="*/ 338786 w 910286"/>
                  <a:gd name="connsiteY35" fmla="*/ 1905000 h 4505325"/>
                  <a:gd name="connsiteX36" fmla="*/ 376886 w 910286"/>
                  <a:gd name="connsiteY36" fmla="*/ 1962150 h 4505325"/>
                  <a:gd name="connsiteX37" fmla="*/ 383236 w 910286"/>
                  <a:gd name="connsiteY37" fmla="*/ 2028825 h 4505325"/>
                  <a:gd name="connsiteX38" fmla="*/ 421336 w 910286"/>
                  <a:gd name="connsiteY38" fmla="*/ 2085975 h 4505325"/>
                  <a:gd name="connsiteX39" fmla="*/ 427686 w 910286"/>
                  <a:gd name="connsiteY39" fmla="*/ 2209800 h 4505325"/>
                  <a:gd name="connsiteX40" fmla="*/ 265761 w 910286"/>
                  <a:gd name="connsiteY40" fmla="*/ 2251075 h 4505325"/>
                  <a:gd name="connsiteX41" fmla="*/ 214961 w 910286"/>
                  <a:gd name="connsiteY41" fmla="*/ 2390775 h 4505325"/>
                  <a:gd name="connsiteX42" fmla="*/ 224486 w 910286"/>
                  <a:gd name="connsiteY42" fmla="*/ 2454275 h 4505325"/>
                  <a:gd name="connsiteX43" fmla="*/ 240361 w 910286"/>
                  <a:gd name="connsiteY43" fmla="*/ 2482850 h 4505325"/>
                  <a:gd name="connsiteX44" fmla="*/ 240361 w 910286"/>
                  <a:gd name="connsiteY44" fmla="*/ 2527300 h 4505325"/>
                  <a:gd name="connsiteX45" fmla="*/ 249886 w 910286"/>
                  <a:gd name="connsiteY45" fmla="*/ 2603500 h 4505325"/>
                  <a:gd name="connsiteX46" fmla="*/ 167336 w 910286"/>
                  <a:gd name="connsiteY46" fmla="*/ 2917824 h 4505325"/>
                  <a:gd name="connsiteX47" fmla="*/ 94311 w 910286"/>
                  <a:gd name="connsiteY47" fmla="*/ 3063874 h 4505325"/>
                  <a:gd name="connsiteX48" fmla="*/ 56211 w 910286"/>
                  <a:gd name="connsiteY48" fmla="*/ 3133724 h 4505325"/>
                  <a:gd name="connsiteX49" fmla="*/ 30811 w 910286"/>
                  <a:gd name="connsiteY49" fmla="*/ 3203574 h 4505325"/>
                  <a:gd name="connsiteX50" fmla="*/ 24461 w 910286"/>
                  <a:gd name="connsiteY50" fmla="*/ 3390899 h 4505325"/>
                  <a:gd name="connsiteX51" fmla="*/ 46686 w 910286"/>
                  <a:gd name="connsiteY51" fmla="*/ 3492499 h 4505325"/>
                  <a:gd name="connsiteX52" fmla="*/ 395936 w 910286"/>
                  <a:gd name="connsiteY52" fmla="*/ 4203699 h 4505325"/>
                  <a:gd name="connsiteX53" fmla="*/ 653111 w 910286"/>
                  <a:gd name="connsiteY53" fmla="*/ 4302124 h 4505325"/>
                  <a:gd name="connsiteX54" fmla="*/ 773761 w 910286"/>
                  <a:gd name="connsiteY54" fmla="*/ 4292599 h 4505325"/>
                  <a:gd name="connsiteX55" fmla="*/ 910286 w 910286"/>
                  <a:gd name="connsiteY55" fmla="*/ 4505325 h 4505325"/>
                  <a:gd name="connsiteX0" fmla="*/ 459436 w 910286"/>
                  <a:gd name="connsiteY0" fmla="*/ 0 h 4505325"/>
                  <a:gd name="connsiteX1" fmla="*/ 421336 w 910286"/>
                  <a:gd name="connsiteY1" fmla="*/ 66675 h 4505325"/>
                  <a:gd name="connsiteX2" fmla="*/ 367361 w 910286"/>
                  <a:gd name="connsiteY2" fmla="*/ 85725 h 4505325"/>
                  <a:gd name="connsiteX3" fmla="*/ 297511 w 910286"/>
                  <a:gd name="connsiteY3" fmla="*/ 98425 h 4505325"/>
                  <a:gd name="connsiteX4" fmla="*/ 237186 w 910286"/>
                  <a:gd name="connsiteY4" fmla="*/ 133350 h 4505325"/>
                  <a:gd name="connsiteX5" fmla="*/ 135586 w 910286"/>
                  <a:gd name="connsiteY5" fmla="*/ 196850 h 4505325"/>
                  <a:gd name="connsiteX6" fmla="*/ 145111 w 910286"/>
                  <a:gd name="connsiteY6" fmla="*/ 247650 h 4505325"/>
                  <a:gd name="connsiteX7" fmla="*/ 186386 w 910286"/>
                  <a:gd name="connsiteY7" fmla="*/ 276225 h 4505325"/>
                  <a:gd name="connsiteX8" fmla="*/ 199086 w 910286"/>
                  <a:gd name="connsiteY8" fmla="*/ 327025 h 4505325"/>
                  <a:gd name="connsiteX9" fmla="*/ 253061 w 910286"/>
                  <a:gd name="connsiteY9" fmla="*/ 368300 h 4505325"/>
                  <a:gd name="connsiteX10" fmla="*/ 253061 w 910286"/>
                  <a:gd name="connsiteY10" fmla="*/ 412750 h 4505325"/>
                  <a:gd name="connsiteX11" fmla="*/ 221311 w 910286"/>
                  <a:gd name="connsiteY11" fmla="*/ 454025 h 4505325"/>
                  <a:gd name="connsiteX12" fmla="*/ 300686 w 910286"/>
                  <a:gd name="connsiteY12" fmla="*/ 479425 h 4505325"/>
                  <a:gd name="connsiteX13" fmla="*/ 316561 w 910286"/>
                  <a:gd name="connsiteY13" fmla="*/ 511175 h 4505325"/>
                  <a:gd name="connsiteX14" fmla="*/ 224486 w 910286"/>
                  <a:gd name="connsiteY14" fmla="*/ 581025 h 4505325"/>
                  <a:gd name="connsiteX15" fmla="*/ 173686 w 910286"/>
                  <a:gd name="connsiteY15" fmla="*/ 638175 h 4505325"/>
                  <a:gd name="connsiteX16" fmla="*/ 173686 w 910286"/>
                  <a:gd name="connsiteY16" fmla="*/ 695325 h 4505325"/>
                  <a:gd name="connsiteX17" fmla="*/ 199086 w 910286"/>
                  <a:gd name="connsiteY17" fmla="*/ 784225 h 4505325"/>
                  <a:gd name="connsiteX18" fmla="*/ 208611 w 910286"/>
                  <a:gd name="connsiteY18" fmla="*/ 835025 h 4505325"/>
                  <a:gd name="connsiteX19" fmla="*/ 218136 w 910286"/>
                  <a:gd name="connsiteY19" fmla="*/ 885825 h 4505325"/>
                  <a:gd name="connsiteX20" fmla="*/ 234011 w 910286"/>
                  <a:gd name="connsiteY20" fmla="*/ 923925 h 4505325"/>
                  <a:gd name="connsiteX21" fmla="*/ 176861 w 910286"/>
                  <a:gd name="connsiteY21" fmla="*/ 1022350 h 4505325"/>
                  <a:gd name="connsiteX22" fmla="*/ 110186 w 910286"/>
                  <a:gd name="connsiteY22" fmla="*/ 1057275 h 4505325"/>
                  <a:gd name="connsiteX23" fmla="*/ 65736 w 910286"/>
                  <a:gd name="connsiteY23" fmla="*/ 1143000 h 4505325"/>
                  <a:gd name="connsiteX24" fmla="*/ 33986 w 910286"/>
                  <a:gd name="connsiteY24" fmla="*/ 1244600 h 4505325"/>
                  <a:gd name="connsiteX25" fmla="*/ 14936 w 910286"/>
                  <a:gd name="connsiteY25" fmla="*/ 1346200 h 4505325"/>
                  <a:gd name="connsiteX26" fmla="*/ 24461 w 910286"/>
                  <a:gd name="connsiteY26" fmla="*/ 1438275 h 4505325"/>
                  <a:gd name="connsiteX27" fmla="*/ 97486 w 910286"/>
                  <a:gd name="connsiteY27" fmla="*/ 1511300 h 4505325"/>
                  <a:gd name="connsiteX28" fmla="*/ 126061 w 910286"/>
                  <a:gd name="connsiteY28" fmla="*/ 1558925 h 4505325"/>
                  <a:gd name="connsiteX29" fmla="*/ 164161 w 910286"/>
                  <a:gd name="connsiteY29" fmla="*/ 1590675 h 4505325"/>
                  <a:gd name="connsiteX30" fmla="*/ 183211 w 910286"/>
                  <a:gd name="connsiteY30" fmla="*/ 1644650 h 4505325"/>
                  <a:gd name="connsiteX31" fmla="*/ 240361 w 910286"/>
                  <a:gd name="connsiteY31" fmla="*/ 1685925 h 4505325"/>
                  <a:gd name="connsiteX32" fmla="*/ 278461 w 910286"/>
                  <a:gd name="connsiteY32" fmla="*/ 1730375 h 4505325"/>
                  <a:gd name="connsiteX33" fmla="*/ 291161 w 910286"/>
                  <a:gd name="connsiteY33" fmla="*/ 1758950 h 4505325"/>
                  <a:gd name="connsiteX34" fmla="*/ 291161 w 910286"/>
                  <a:gd name="connsiteY34" fmla="*/ 1828800 h 4505325"/>
                  <a:gd name="connsiteX35" fmla="*/ 338786 w 910286"/>
                  <a:gd name="connsiteY35" fmla="*/ 1905000 h 4505325"/>
                  <a:gd name="connsiteX36" fmla="*/ 376886 w 910286"/>
                  <a:gd name="connsiteY36" fmla="*/ 1962150 h 4505325"/>
                  <a:gd name="connsiteX37" fmla="*/ 383236 w 910286"/>
                  <a:gd name="connsiteY37" fmla="*/ 2028825 h 4505325"/>
                  <a:gd name="connsiteX38" fmla="*/ 421336 w 910286"/>
                  <a:gd name="connsiteY38" fmla="*/ 2085975 h 4505325"/>
                  <a:gd name="connsiteX39" fmla="*/ 427686 w 910286"/>
                  <a:gd name="connsiteY39" fmla="*/ 2209800 h 4505325"/>
                  <a:gd name="connsiteX40" fmla="*/ 265761 w 910286"/>
                  <a:gd name="connsiteY40" fmla="*/ 2251075 h 4505325"/>
                  <a:gd name="connsiteX41" fmla="*/ 214961 w 910286"/>
                  <a:gd name="connsiteY41" fmla="*/ 2390775 h 4505325"/>
                  <a:gd name="connsiteX42" fmla="*/ 224486 w 910286"/>
                  <a:gd name="connsiteY42" fmla="*/ 2454275 h 4505325"/>
                  <a:gd name="connsiteX43" fmla="*/ 240361 w 910286"/>
                  <a:gd name="connsiteY43" fmla="*/ 2482850 h 4505325"/>
                  <a:gd name="connsiteX44" fmla="*/ 240361 w 910286"/>
                  <a:gd name="connsiteY44" fmla="*/ 2527300 h 4505325"/>
                  <a:gd name="connsiteX45" fmla="*/ 249886 w 910286"/>
                  <a:gd name="connsiteY45" fmla="*/ 2603500 h 4505325"/>
                  <a:gd name="connsiteX46" fmla="*/ 167336 w 910286"/>
                  <a:gd name="connsiteY46" fmla="*/ 2917824 h 4505325"/>
                  <a:gd name="connsiteX47" fmla="*/ 94311 w 910286"/>
                  <a:gd name="connsiteY47" fmla="*/ 3063874 h 4505325"/>
                  <a:gd name="connsiteX48" fmla="*/ 56211 w 910286"/>
                  <a:gd name="connsiteY48" fmla="*/ 3133724 h 4505325"/>
                  <a:gd name="connsiteX49" fmla="*/ 30811 w 910286"/>
                  <a:gd name="connsiteY49" fmla="*/ 3203574 h 4505325"/>
                  <a:gd name="connsiteX50" fmla="*/ 24461 w 910286"/>
                  <a:gd name="connsiteY50" fmla="*/ 3390899 h 4505325"/>
                  <a:gd name="connsiteX51" fmla="*/ 46686 w 910286"/>
                  <a:gd name="connsiteY51" fmla="*/ 3492499 h 4505325"/>
                  <a:gd name="connsiteX52" fmla="*/ 395936 w 910286"/>
                  <a:gd name="connsiteY52" fmla="*/ 4203699 h 4505325"/>
                  <a:gd name="connsiteX53" fmla="*/ 497536 w 910286"/>
                  <a:gd name="connsiteY53" fmla="*/ 4244974 h 4505325"/>
                  <a:gd name="connsiteX54" fmla="*/ 653111 w 910286"/>
                  <a:gd name="connsiteY54" fmla="*/ 4302124 h 4505325"/>
                  <a:gd name="connsiteX55" fmla="*/ 773761 w 910286"/>
                  <a:gd name="connsiteY55" fmla="*/ 4292599 h 4505325"/>
                  <a:gd name="connsiteX56" fmla="*/ 910286 w 910286"/>
                  <a:gd name="connsiteY56" fmla="*/ 4505325 h 4505325"/>
                  <a:gd name="connsiteX0" fmla="*/ 459436 w 910286"/>
                  <a:gd name="connsiteY0" fmla="*/ 0 h 4505325"/>
                  <a:gd name="connsiteX1" fmla="*/ 421336 w 910286"/>
                  <a:gd name="connsiteY1" fmla="*/ 66675 h 4505325"/>
                  <a:gd name="connsiteX2" fmla="*/ 367361 w 910286"/>
                  <a:gd name="connsiteY2" fmla="*/ 85725 h 4505325"/>
                  <a:gd name="connsiteX3" fmla="*/ 297511 w 910286"/>
                  <a:gd name="connsiteY3" fmla="*/ 98425 h 4505325"/>
                  <a:gd name="connsiteX4" fmla="*/ 237186 w 910286"/>
                  <a:gd name="connsiteY4" fmla="*/ 133350 h 4505325"/>
                  <a:gd name="connsiteX5" fmla="*/ 135586 w 910286"/>
                  <a:gd name="connsiteY5" fmla="*/ 196850 h 4505325"/>
                  <a:gd name="connsiteX6" fmla="*/ 145111 w 910286"/>
                  <a:gd name="connsiteY6" fmla="*/ 247650 h 4505325"/>
                  <a:gd name="connsiteX7" fmla="*/ 186386 w 910286"/>
                  <a:gd name="connsiteY7" fmla="*/ 276225 h 4505325"/>
                  <a:gd name="connsiteX8" fmla="*/ 199086 w 910286"/>
                  <a:gd name="connsiteY8" fmla="*/ 327025 h 4505325"/>
                  <a:gd name="connsiteX9" fmla="*/ 253061 w 910286"/>
                  <a:gd name="connsiteY9" fmla="*/ 368300 h 4505325"/>
                  <a:gd name="connsiteX10" fmla="*/ 253061 w 910286"/>
                  <a:gd name="connsiteY10" fmla="*/ 412750 h 4505325"/>
                  <a:gd name="connsiteX11" fmla="*/ 221311 w 910286"/>
                  <a:gd name="connsiteY11" fmla="*/ 454025 h 4505325"/>
                  <a:gd name="connsiteX12" fmla="*/ 300686 w 910286"/>
                  <a:gd name="connsiteY12" fmla="*/ 479425 h 4505325"/>
                  <a:gd name="connsiteX13" fmla="*/ 316561 w 910286"/>
                  <a:gd name="connsiteY13" fmla="*/ 511175 h 4505325"/>
                  <a:gd name="connsiteX14" fmla="*/ 224486 w 910286"/>
                  <a:gd name="connsiteY14" fmla="*/ 581025 h 4505325"/>
                  <a:gd name="connsiteX15" fmla="*/ 173686 w 910286"/>
                  <a:gd name="connsiteY15" fmla="*/ 638175 h 4505325"/>
                  <a:gd name="connsiteX16" fmla="*/ 173686 w 910286"/>
                  <a:gd name="connsiteY16" fmla="*/ 695325 h 4505325"/>
                  <a:gd name="connsiteX17" fmla="*/ 199086 w 910286"/>
                  <a:gd name="connsiteY17" fmla="*/ 784225 h 4505325"/>
                  <a:gd name="connsiteX18" fmla="*/ 208611 w 910286"/>
                  <a:gd name="connsiteY18" fmla="*/ 835025 h 4505325"/>
                  <a:gd name="connsiteX19" fmla="*/ 218136 w 910286"/>
                  <a:gd name="connsiteY19" fmla="*/ 885825 h 4505325"/>
                  <a:gd name="connsiteX20" fmla="*/ 234011 w 910286"/>
                  <a:gd name="connsiteY20" fmla="*/ 923925 h 4505325"/>
                  <a:gd name="connsiteX21" fmla="*/ 176861 w 910286"/>
                  <a:gd name="connsiteY21" fmla="*/ 1022350 h 4505325"/>
                  <a:gd name="connsiteX22" fmla="*/ 110186 w 910286"/>
                  <a:gd name="connsiteY22" fmla="*/ 1057275 h 4505325"/>
                  <a:gd name="connsiteX23" fmla="*/ 65736 w 910286"/>
                  <a:gd name="connsiteY23" fmla="*/ 1143000 h 4505325"/>
                  <a:gd name="connsiteX24" fmla="*/ 33986 w 910286"/>
                  <a:gd name="connsiteY24" fmla="*/ 1244600 h 4505325"/>
                  <a:gd name="connsiteX25" fmla="*/ 14936 w 910286"/>
                  <a:gd name="connsiteY25" fmla="*/ 1346200 h 4505325"/>
                  <a:gd name="connsiteX26" fmla="*/ 24461 w 910286"/>
                  <a:gd name="connsiteY26" fmla="*/ 1438275 h 4505325"/>
                  <a:gd name="connsiteX27" fmla="*/ 97486 w 910286"/>
                  <a:gd name="connsiteY27" fmla="*/ 1511300 h 4505325"/>
                  <a:gd name="connsiteX28" fmla="*/ 126061 w 910286"/>
                  <a:gd name="connsiteY28" fmla="*/ 1558925 h 4505325"/>
                  <a:gd name="connsiteX29" fmla="*/ 164161 w 910286"/>
                  <a:gd name="connsiteY29" fmla="*/ 1590675 h 4505325"/>
                  <a:gd name="connsiteX30" fmla="*/ 183211 w 910286"/>
                  <a:gd name="connsiteY30" fmla="*/ 1644650 h 4505325"/>
                  <a:gd name="connsiteX31" fmla="*/ 240361 w 910286"/>
                  <a:gd name="connsiteY31" fmla="*/ 1685925 h 4505325"/>
                  <a:gd name="connsiteX32" fmla="*/ 278461 w 910286"/>
                  <a:gd name="connsiteY32" fmla="*/ 1730375 h 4505325"/>
                  <a:gd name="connsiteX33" fmla="*/ 291161 w 910286"/>
                  <a:gd name="connsiteY33" fmla="*/ 1758950 h 4505325"/>
                  <a:gd name="connsiteX34" fmla="*/ 291161 w 910286"/>
                  <a:gd name="connsiteY34" fmla="*/ 1828800 h 4505325"/>
                  <a:gd name="connsiteX35" fmla="*/ 338786 w 910286"/>
                  <a:gd name="connsiteY35" fmla="*/ 1905000 h 4505325"/>
                  <a:gd name="connsiteX36" fmla="*/ 376886 w 910286"/>
                  <a:gd name="connsiteY36" fmla="*/ 1962150 h 4505325"/>
                  <a:gd name="connsiteX37" fmla="*/ 383236 w 910286"/>
                  <a:gd name="connsiteY37" fmla="*/ 2028825 h 4505325"/>
                  <a:gd name="connsiteX38" fmla="*/ 421336 w 910286"/>
                  <a:gd name="connsiteY38" fmla="*/ 2085975 h 4505325"/>
                  <a:gd name="connsiteX39" fmla="*/ 427686 w 910286"/>
                  <a:gd name="connsiteY39" fmla="*/ 2209800 h 4505325"/>
                  <a:gd name="connsiteX40" fmla="*/ 265761 w 910286"/>
                  <a:gd name="connsiteY40" fmla="*/ 2251075 h 4505325"/>
                  <a:gd name="connsiteX41" fmla="*/ 214961 w 910286"/>
                  <a:gd name="connsiteY41" fmla="*/ 2390775 h 4505325"/>
                  <a:gd name="connsiteX42" fmla="*/ 224486 w 910286"/>
                  <a:gd name="connsiteY42" fmla="*/ 2454275 h 4505325"/>
                  <a:gd name="connsiteX43" fmla="*/ 240361 w 910286"/>
                  <a:gd name="connsiteY43" fmla="*/ 2482850 h 4505325"/>
                  <a:gd name="connsiteX44" fmla="*/ 240361 w 910286"/>
                  <a:gd name="connsiteY44" fmla="*/ 2527300 h 4505325"/>
                  <a:gd name="connsiteX45" fmla="*/ 249886 w 910286"/>
                  <a:gd name="connsiteY45" fmla="*/ 2603500 h 4505325"/>
                  <a:gd name="connsiteX46" fmla="*/ 167336 w 910286"/>
                  <a:gd name="connsiteY46" fmla="*/ 2917824 h 4505325"/>
                  <a:gd name="connsiteX47" fmla="*/ 94311 w 910286"/>
                  <a:gd name="connsiteY47" fmla="*/ 3063874 h 4505325"/>
                  <a:gd name="connsiteX48" fmla="*/ 56211 w 910286"/>
                  <a:gd name="connsiteY48" fmla="*/ 3133724 h 4505325"/>
                  <a:gd name="connsiteX49" fmla="*/ 30811 w 910286"/>
                  <a:gd name="connsiteY49" fmla="*/ 3203574 h 4505325"/>
                  <a:gd name="connsiteX50" fmla="*/ 24461 w 910286"/>
                  <a:gd name="connsiteY50" fmla="*/ 3390899 h 4505325"/>
                  <a:gd name="connsiteX51" fmla="*/ 46686 w 910286"/>
                  <a:gd name="connsiteY51" fmla="*/ 3492499 h 4505325"/>
                  <a:gd name="connsiteX52" fmla="*/ 395936 w 910286"/>
                  <a:gd name="connsiteY52" fmla="*/ 4203699 h 4505325"/>
                  <a:gd name="connsiteX53" fmla="*/ 497536 w 910286"/>
                  <a:gd name="connsiteY53" fmla="*/ 4244974 h 4505325"/>
                  <a:gd name="connsiteX54" fmla="*/ 653111 w 910286"/>
                  <a:gd name="connsiteY54" fmla="*/ 4302124 h 4505325"/>
                  <a:gd name="connsiteX55" fmla="*/ 773761 w 910286"/>
                  <a:gd name="connsiteY55" fmla="*/ 4292599 h 4505325"/>
                  <a:gd name="connsiteX56" fmla="*/ 910286 w 910286"/>
                  <a:gd name="connsiteY56" fmla="*/ 4505325 h 4505325"/>
                  <a:gd name="connsiteX0" fmla="*/ 459436 w 910286"/>
                  <a:gd name="connsiteY0" fmla="*/ 0 h 4505325"/>
                  <a:gd name="connsiteX1" fmla="*/ 421336 w 910286"/>
                  <a:gd name="connsiteY1" fmla="*/ 66675 h 4505325"/>
                  <a:gd name="connsiteX2" fmla="*/ 367361 w 910286"/>
                  <a:gd name="connsiteY2" fmla="*/ 85725 h 4505325"/>
                  <a:gd name="connsiteX3" fmla="*/ 297511 w 910286"/>
                  <a:gd name="connsiteY3" fmla="*/ 98425 h 4505325"/>
                  <a:gd name="connsiteX4" fmla="*/ 237186 w 910286"/>
                  <a:gd name="connsiteY4" fmla="*/ 133350 h 4505325"/>
                  <a:gd name="connsiteX5" fmla="*/ 135586 w 910286"/>
                  <a:gd name="connsiteY5" fmla="*/ 196850 h 4505325"/>
                  <a:gd name="connsiteX6" fmla="*/ 145111 w 910286"/>
                  <a:gd name="connsiteY6" fmla="*/ 247650 h 4505325"/>
                  <a:gd name="connsiteX7" fmla="*/ 186386 w 910286"/>
                  <a:gd name="connsiteY7" fmla="*/ 276225 h 4505325"/>
                  <a:gd name="connsiteX8" fmla="*/ 199086 w 910286"/>
                  <a:gd name="connsiteY8" fmla="*/ 327025 h 4505325"/>
                  <a:gd name="connsiteX9" fmla="*/ 253061 w 910286"/>
                  <a:gd name="connsiteY9" fmla="*/ 368300 h 4505325"/>
                  <a:gd name="connsiteX10" fmla="*/ 253061 w 910286"/>
                  <a:gd name="connsiteY10" fmla="*/ 412750 h 4505325"/>
                  <a:gd name="connsiteX11" fmla="*/ 221311 w 910286"/>
                  <a:gd name="connsiteY11" fmla="*/ 454025 h 4505325"/>
                  <a:gd name="connsiteX12" fmla="*/ 300686 w 910286"/>
                  <a:gd name="connsiteY12" fmla="*/ 479425 h 4505325"/>
                  <a:gd name="connsiteX13" fmla="*/ 316561 w 910286"/>
                  <a:gd name="connsiteY13" fmla="*/ 511175 h 4505325"/>
                  <a:gd name="connsiteX14" fmla="*/ 224486 w 910286"/>
                  <a:gd name="connsiteY14" fmla="*/ 581025 h 4505325"/>
                  <a:gd name="connsiteX15" fmla="*/ 173686 w 910286"/>
                  <a:gd name="connsiteY15" fmla="*/ 638175 h 4505325"/>
                  <a:gd name="connsiteX16" fmla="*/ 173686 w 910286"/>
                  <a:gd name="connsiteY16" fmla="*/ 695325 h 4505325"/>
                  <a:gd name="connsiteX17" fmla="*/ 199086 w 910286"/>
                  <a:gd name="connsiteY17" fmla="*/ 784225 h 4505325"/>
                  <a:gd name="connsiteX18" fmla="*/ 208611 w 910286"/>
                  <a:gd name="connsiteY18" fmla="*/ 835025 h 4505325"/>
                  <a:gd name="connsiteX19" fmla="*/ 218136 w 910286"/>
                  <a:gd name="connsiteY19" fmla="*/ 885825 h 4505325"/>
                  <a:gd name="connsiteX20" fmla="*/ 234011 w 910286"/>
                  <a:gd name="connsiteY20" fmla="*/ 923925 h 4505325"/>
                  <a:gd name="connsiteX21" fmla="*/ 176861 w 910286"/>
                  <a:gd name="connsiteY21" fmla="*/ 1022350 h 4505325"/>
                  <a:gd name="connsiteX22" fmla="*/ 110186 w 910286"/>
                  <a:gd name="connsiteY22" fmla="*/ 1057275 h 4505325"/>
                  <a:gd name="connsiteX23" fmla="*/ 65736 w 910286"/>
                  <a:gd name="connsiteY23" fmla="*/ 1143000 h 4505325"/>
                  <a:gd name="connsiteX24" fmla="*/ 33986 w 910286"/>
                  <a:gd name="connsiteY24" fmla="*/ 1244600 h 4505325"/>
                  <a:gd name="connsiteX25" fmla="*/ 14936 w 910286"/>
                  <a:gd name="connsiteY25" fmla="*/ 1346200 h 4505325"/>
                  <a:gd name="connsiteX26" fmla="*/ 24461 w 910286"/>
                  <a:gd name="connsiteY26" fmla="*/ 1438275 h 4505325"/>
                  <a:gd name="connsiteX27" fmla="*/ 97486 w 910286"/>
                  <a:gd name="connsiteY27" fmla="*/ 1511300 h 4505325"/>
                  <a:gd name="connsiteX28" fmla="*/ 126061 w 910286"/>
                  <a:gd name="connsiteY28" fmla="*/ 1558925 h 4505325"/>
                  <a:gd name="connsiteX29" fmla="*/ 164161 w 910286"/>
                  <a:gd name="connsiteY29" fmla="*/ 1590675 h 4505325"/>
                  <a:gd name="connsiteX30" fmla="*/ 183211 w 910286"/>
                  <a:gd name="connsiteY30" fmla="*/ 1644650 h 4505325"/>
                  <a:gd name="connsiteX31" fmla="*/ 240361 w 910286"/>
                  <a:gd name="connsiteY31" fmla="*/ 1685925 h 4505325"/>
                  <a:gd name="connsiteX32" fmla="*/ 278461 w 910286"/>
                  <a:gd name="connsiteY32" fmla="*/ 1730375 h 4505325"/>
                  <a:gd name="connsiteX33" fmla="*/ 291161 w 910286"/>
                  <a:gd name="connsiteY33" fmla="*/ 1758950 h 4505325"/>
                  <a:gd name="connsiteX34" fmla="*/ 291161 w 910286"/>
                  <a:gd name="connsiteY34" fmla="*/ 1828800 h 4505325"/>
                  <a:gd name="connsiteX35" fmla="*/ 338786 w 910286"/>
                  <a:gd name="connsiteY35" fmla="*/ 1905000 h 4505325"/>
                  <a:gd name="connsiteX36" fmla="*/ 376886 w 910286"/>
                  <a:gd name="connsiteY36" fmla="*/ 1962150 h 4505325"/>
                  <a:gd name="connsiteX37" fmla="*/ 383236 w 910286"/>
                  <a:gd name="connsiteY37" fmla="*/ 2028825 h 4505325"/>
                  <a:gd name="connsiteX38" fmla="*/ 421336 w 910286"/>
                  <a:gd name="connsiteY38" fmla="*/ 2085975 h 4505325"/>
                  <a:gd name="connsiteX39" fmla="*/ 427686 w 910286"/>
                  <a:gd name="connsiteY39" fmla="*/ 2209800 h 4505325"/>
                  <a:gd name="connsiteX40" fmla="*/ 265761 w 910286"/>
                  <a:gd name="connsiteY40" fmla="*/ 2251075 h 4505325"/>
                  <a:gd name="connsiteX41" fmla="*/ 214961 w 910286"/>
                  <a:gd name="connsiteY41" fmla="*/ 2390775 h 4505325"/>
                  <a:gd name="connsiteX42" fmla="*/ 224486 w 910286"/>
                  <a:gd name="connsiteY42" fmla="*/ 2454275 h 4505325"/>
                  <a:gd name="connsiteX43" fmla="*/ 240361 w 910286"/>
                  <a:gd name="connsiteY43" fmla="*/ 2482850 h 4505325"/>
                  <a:gd name="connsiteX44" fmla="*/ 240361 w 910286"/>
                  <a:gd name="connsiteY44" fmla="*/ 2527300 h 4505325"/>
                  <a:gd name="connsiteX45" fmla="*/ 249886 w 910286"/>
                  <a:gd name="connsiteY45" fmla="*/ 2603500 h 4505325"/>
                  <a:gd name="connsiteX46" fmla="*/ 167336 w 910286"/>
                  <a:gd name="connsiteY46" fmla="*/ 2917824 h 4505325"/>
                  <a:gd name="connsiteX47" fmla="*/ 94311 w 910286"/>
                  <a:gd name="connsiteY47" fmla="*/ 3063874 h 4505325"/>
                  <a:gd name="connsiteX48" fmla="*/ 56211 w 910286"/>
                  <a:gd name="connsiteY48" fmla="*/ 3133724 h 4505325"/>
                  <a:gd name="connsiteX49" fmla="*/ 30811 w 910286"/>
                  <a:gd name="connsiteY49" fmla="*/ 3203574 h 4505325"/>
                  <a:gd name="connsiteX50" fmla="*/ 24461 w 910286"/>
                  <a:gd name="connsiteY50" fmla="*/ 3390899 h 4505325"/>
                  <a:gd name="connsiteX51" fmla="*/ 46686 w 910286"/>
                  <a:gd name="connsiteY51" fmla="*/ 3492499 h 4505325"/>
                  <a:gd name="connsiteX52" fmla="*/ 395936 w 910286"/>
                  <a:gd name="connsiteY52" fmla="*/ 4203699 h 4505325"/>
                  <a:gd name="connsiteX53" fmla="*/ 497536 w 910286"/>
                  <a:gd name="connsiteY53" fmla="*/ 4244974 h 4505325"/>
                  <a:gd name="connsiteX54" fmla="*/ 653111 w 910286"/>
                  <a:gd name="connsiteY54" fmla="*/ 4302124 h 4505325"/>
                  <a:gd name="connsiteX55" fmla="*/ 773761 w 910286"/>
                  <a:gd name="connsiteY55" fmla="*/ 4292599 h 4505325"/>
                  <a:gd name="connsiteX56" fmla="*/ 910286 w 910286"/>
                  <a:gd name="connsiteY56" fmla="*/ 4505325 h 4505325"/>
                  <a:gd name="connsiteX0" fmla="*/ 459436 w 910286"/>
                  <a:gd name="connsiteY0" fmla="*/ 0 h 4505325"/>
                  <a:gd name="connsiteX1" fmla="*/ 421336 w 910286"/>
                  <a:gd name="connsiteY1" fmla="*/ 66675 h 4505325"/>
                  <a:gd name="connsiteX2" fmla="*/ 367361 w 910286"/>
                  <a:gd name="connsiteY2" fmla="*/ 85725 h 4505325"/>
                  <a:gd name="connsiteX3" fmla="*/ 297511 w 910286"/>
                  <a:gd name="connsiteY3" fmla="*/ 98425 h 4505325"/>
                  <a:gd name="connsiteX4" fmla="*/ 237186 w 910286"/>
                  <a:gd name="connsiteY4" fmla="*/ 133350 h 4505325"/>
                  <a:gd name="connsiteX5" fmla="*/ 135586 w 910286"/>
                  <a:gd name="connsiteY5" fmla="*/ 196850 h 4505325"/>
                  <a:gd name="connsiteX6" fmla="*/ 145111 w 910286"/>
                  <a:gd name="connsiteY6" fmla="*/ 247650 h 4505325"/>
                  <a:gd name="connsiteX7" fmla="*/ 186386 w 910286"/>
                  <a:gd name="connsiteY7" fmla="*/ 276225 h 4505325"/>
                  <a:gd name="connsiteX8" fmla="*/ 199086 w 910286"/>
                  <a:gd name="connsiteY8" fmla="*/ 327025 h 4505325"/>
                  <a:gd name="connsiteX9" fmla="*/ 253061 w 910286"/>
                  <a:gd name="connsiteY9" fmla="*/ 368300 h 4505325"/>
                  <a:gd name="connsiteX10" fmla="*/ 253061 w 910286"/>
                  <a:gd name="connsiteY10" fmla="*/ 412750 h 4505325"/>
                  <a:gd name="connsiteX11" fmla="*/ 221311 w 910286"/>
                  <a:gd name="connsiteY11" fmla="*/ 454025 h 4505325"/>
                  <a:gd name="connsiteX12" fmla="*/ 300686 w 910286"/>
                  <a:gd name="connsiteY12" fmla="*/ 479425 h 4505325"/>
                  <a:gd name="connsiteX13" fmla="*/ 316561 w 910286"/>
                  <a:gd name="connsiteY13" fmla="*/ 511175 h 4505325"/>
                  <a:gd name="connsiteX14" fmla="*/ 224486 w 910286"/>
                  <a:gd name="connsiteY14" fmla="*/ 581025 h 4505325"/>
                  <a:gd name="connsiteX15" fmla="*/ 173686 w 910286"/>
                  <a:gd name="connsiteY15" fmla="*/ 638175 h 4505325"/>
                  <a:gd name="connsiteX16" fmla="*/ 173686 w 910286"/>
                  <a:gd name="connsiteY16" fmla="*/ 695325 h 4505325"/>
                  <a:gd name="connsiteX17" fmla="*/ 199086 w 910286"/>
                  <a:gd name="connsiteY17" fmla="*/ 784225 h 4505325"/>
                  <a:gd name="connsiteX18" fmla="*/ 208611 w 910286"/>
                  <a:gd name="connsiteY18" fmla="*/ 835025 h 4505325"/>
                  <a:gd name="connsiteX19" fmla="*/ 218136 w 910286"/>
                  <a:gd name="connsiteY19" fmla="*/ 885825 h 4505325"/>
                  <a:gd name="connsiteX20" fmla="*/ 234011 w 910286"/>
                  <a:gd name="connsiteY20" fmla="*/ 923925 h 4505325"/>
                  <a:gd name="connsiteX21" fmla="*/ 176861 w 910286"/>
                  <a:gd name="connsiteY21" fmla="*/ 1022350 h 4505325"/>
                  <a:gd name="connsiteX22" fmla="*/ 110186 w 910286"/>
                  <a:gd name="connsiteY22" fmla="*/ 1057275 h 4505325"/>
                  <a:gd name="connsiteX23" fmla="*/ 65736 w 910286"/>
                  <a:gd name="connsiteY23" fmla="*/ 1143000 h 4505325"/>
                  <a:gd name="connsiteX24" fmla="*/ 33986 w 910286"/>
                  <a:gd name="connsiteY24" fmla="*/ 1244600 h 4505325"/>
                  <a:gd name="connsiteX25" fmla="*/ 14936 w 910286"/>
                  <a:gd name="connsiteY25" fmla="*/ 1346200 h 4505325"/>
                  <a:gd name="connsiteX26" fmla="*/ 24461 w 910286"/>
                  <a:gd name="connsiteY26" fmla="*/ 1438275 h 4505325"/>
                  <a:gd name="connsiteX27" fmla="*/ 97486 w 910286"/>
                  <a:gd name="connsiteY27" fmla="*/ 1511300 h 4505325"/>
                  <a:gd name="connsiteX28" fmla="*/ 126061 w 910286"/>
                  <a:gd name="connsiteY28" fmla="*/ 1558925 h 4505325"/>
                  <a:gd name="connsiteX29" fmla="*/ 164161 w 910286"/>
                  <a:gd name="connsiteY29" fmla="*/ 1590675 h 4505325"/>
                  <a:gd name="connsiteX30" fmla="*/ 183211 w 910286"/>
                  <a:gd name="connsiteY30" fmla="*/ 1644650 h 4505325"/>
                  <a:gd name="connsiteX31" fmla="*/ 240361 w 910286"/>
                  <a:gd name="connsiteY31" fmla="*/ 1685925 h 4505325"/>
                  <a:gd name="connsiteX32" fmla="*/ 278461 w 910286"/>
                  <a:gd name="connsiteY32" fmla="*/ 1730375 h 4505325"/>
                  <a:gd name="connsiteX33" fmla="*/ 291161 w 910286"/>
                  <a:gd name="connsiteY33" fmla="*/ 1758950 h 4505325"/>
                  <a:gd name="connsiteX34" fmla="*/ 291161 w 910286"/>
                  <a:gd name="connsiteY34" fmla="*/ 1828800 h 4505325"/>
                  <a:gd name="connsiteX35" fmla="*/ 338786 w 910286"/>
                  <a:gd name="connsiteY35" fmla="*/ 1905000 h 4505325"/>
                  <a:gd name="connsiteX36" fmla="*/ 376886 w 910286"/>
                  <a:gd name="connsiteY36" fmla="*/ 1962150 h 4505325"/>
                  <a:gd name="connsiteX37" fmla="*/ 383236 w 910286"/>
                  <a:gd name="connsiteY37" fmla="*/ 2028825 h 4505325"/>
                  <a:gd name="connsiteX38" fmla="*/ 421336 w 910286"/>
                  <a:gd name="connsiteY38" fmla="*/ 2085975 h 4505325"/>
                  <a:gd name="connsiteX39" fmla="*/ 427686 w 910286"/>
                  <a:gd name="connsiteY39" fmla="*/ 2209800 h 4505325"/>
                  <a:gd name="connsiteX40" fmla="*/ 265761 w 910286"/>
                  <a:gd name="connsiteY40" fmla="*/ 2251075 h 4505325"/>
                  <a:gd name="connsiteX41" fmla="*/ 214961 w 910286"/>
                  <a:gd name="connsiteY41" fmla="*/ 2390775 h 4505325"/>
                  <a:gd name="connsiteX42" fmla="*/ 224486 w 910286"/>
                  <a:gd name="connsiteY42" fmla="*/ 2454275 h 4505325"/>
                  <a:gd name="connsiteX43" fmla="*/ 240361 w 910286"/>
                  <a:gd name="connsiteY43" fmla="*/ 2482850 h 4505325"/>
                  <a:gd name="connsiteX44" fmla="*/ 240361 w 910286"/>
                  <a:gd name="connsiteY44" fmla="*/ 2527300 h 4505325"/>
                  <a:gd name="connsiteX45" fmla="*/ 249886 w 910286"/>
                  <a:gd name="connsiteY45" fmla="*/ 2603500 h 4505325"/>
                  <a:gd name="connsiteX46" fmla="*/ 167336 w 910286"/>
                  <a:gd name="connsiteY46" fmla="*/ 2917824 h 4505325"/>
                  <a:gd name="connsiteX47" fmla="*/ 94311 w 910286"/>
                  <a:gd name="connsiteY47" fmla="*/ 3063874 h 4505325"/>
                  <a:gd name="connsiteX48" fmla="*/ 56211 w 910286"/>
                  <a:gd name="connsiteY48" fmla="*/ 3133724 h 4505325"/>
                  <a:gd name="connsiteX49" fmla="*/ 30811 w 910286"/>
                  <a:gd name="connsiteY49" fmla="*/ 3203574 h 4505325"/>
                  <a:gd name="connsiteX50" fmla="*/ 24461 w 910286"/>
                  <a:gd name="connsiteY50" fmla="*/ 3390899 h 4505325"/>
                  <a:gd name="connsiteX51" fmla="*/ 46686 w 910286"/>
                  <a:gd name="connsiteY51" fmla="*/ 3492499 h 4505325"/>
                  <a:gd name="connsiteX52" fmla="*/ 395936 w 910286"/>
                  <a:gd name="connsiteY52" fmla="*/ 4203699 h 4505325"/>
                  <a:gd name="connsiteX53" fmla="*/ 516586 w 910286"/>
                  <a:gd name="connsiteY53" fmla="*/ 4254499 h 4505325"/>
                  <a:gd name="connsiteX54" fmla="*/ 653111 w 910286"/>
                  <a:gd name="connsiteY54" fmla="*/ 4302124 h 4505325"/>
                  <a:gd name="connsiteX55" fmla="*/ 773761 w 910286"/>
                  <a:gd name="connsiteY55" fmla="*/ 4292599 h 4505325"/>
                  <a:gd name="connsiteX56" fmla="*/ 910286 w 910286"/>
                  <a:gd name="connsiteY56" fmla="*/ 4505325 h 4505325"/>
                  <a:gd name="connsiteX0" fmla="*/ 445813 w 896663"/>
                  <a:gd name="connsiteY0" fmla="*/ 0 h 4505325"/>
                  <a:gd name="connsiteX1" fmla="*/ 407713 w 896663"/>
                  <a:gd name="connsiteY1" fmla="*/ 66675 h 4505325"/>
                  <a:gd name="connsiteX2" fmla="*/ 353738 w 896663"/>
                  <a:gd name="connsiteY2" fmla="*/ 85725 h 4505325"/>
                  <a:gd name="connsiteX3" fmla="*/ 283888 w 896663"/>
                  <a:gd name="connsiteY3" fmla="*/ 98425 h 4505325"/>
                  <a:gd name="connsiteX4" fmla="*/ 223563 w 896663"/>
                  <a:gd name="connsiteY4" fmla="*/ 133350 h 4505325"/>
                  <a:gd name="connsiteX5" fmla="*/ 121963 w 896663"/>
                  <a:gd name="connsiteY5" fmla="*/ 196850 h 4505325"/>
                  <a:gd name="connsiteX6" fmla="*/ 131488 w 896663"/>
                  <a:gd name="connsiteY6" fmla="*/ 247650 h 4505325"/>
                  <a:gd name="connsiteX7" fmla="*/ 172763 w 896663"/>
                  <a:gd name="connsiteY7" fmla="*/ 276225 h 4505325"/>
                  <a:gd name="connsiteX8" fmla="*/ 185463 w 896663"/>
                  <a:gd name="connsiteY8" fmla="*/ 327025 h 4505325"/>
                  <a:gd name="connsiteX9" fmla="*/ 239438 w 896663"/>
                  <a:gd name="connsiteY9" fmla="*/ 368300 h 4505325"/>
                  <a:gd name="connsiteX10" fmla="*/ 239438 w 896663"/>
                  <a:gd name="connsiteY10" fmla="*/ 412750 h 4505325"/>
                  <a:gd name="connsiteX11" fmla="*/ 207688 w 896663"/>
                  <a:gd name="connsiteY11" fmla="*/ 454025 h 4505325"/>
                  <a:gd name="connsiteX12" fmla="*/ 287063 w 896663"/>
                  <a:gd name="connsiteY12" fmla="*/ 479425 h 4505325"/>
                  <a:gd name="connsiteX13" fmla="*/ 302938 w 896663"/>
                  <a:gd name="connsiteY13" fmla="*/ 511175 h 4505325"/>
                  <a:gd name="connsiteX14" fmla="*/ 210863 w 896663"/>
                  <a:gd name="connsiteY14" fmla="*/ 581025 h 4505325"/>
                  <a:gd name="connsiteX15" fmla="*/ 160063 w 896663"/>
                  <a:gd name="connsiteY15" fmla="*/ 638175 h 4505325"/>
                  <a:gd name="connsiteX16" fmla="*/ 160063 w 896663"/>
                  <a:gd name="connsiteY16" fmla="*/ 695325 h 4505325"/>
                  <a:gd name="connsiteX17" fmla="*/ 185463 w 896663"/>
                  <a:gd name="connsiteY17" fmla="*/ 784225 h 4505325"/>
                  <a:gd name="connsiteX18" fmla="*/ 194988 w 896663"/>
                  <a:gd name="connsiteY18" fmla="*/ 835025 h 4505325"/>
                  <a:gd name="connsiteX19" fmla="*/ 204513 w 896663"/>
                  <a:gd name="connsiteY19" fmla="*/ 885825 h 4505325"/>
                  <a:gd name="connsiteX20" fmla="*/ 220388 w 896663"/>
                  <a:gd name="connsiteY20" fmla="*/ 923925 h 4505325"/>
                  <a:gd name="connsiteX21" fmla="*/ 163238 w 896663"/>
                  <a:gd name="connsiteY21" fmla="*/ 1022350 h 4505325"/>
                  <a:gd name="connsiteX22" fmla="*/ 96563 w 896663"/>
                  <a:gd name="connsiteY22" fmla="*/ 1057275 h 4505325"/>
                  <a:gd name="connsiteX23" fmla="*/ 52113 w 896663"/>
                  <a:gd name="connsiteY23" fmla="*/ 1143000 h 4505325"/>
                  <a:gd name="connsiteX24" fmla="*/ 20363 w 896663"/>
                  <a:gd name="connsiteY24" fmla="*/ 1244600 h 4505325"/>
                  <a:gd name="connsiteX25" fmla="*/ 1313 w 896663"/>
                  <a:gd name="connsiteY25" fmla="*/ 1346200 h 4505325"/>
                  <a:gd name="connsiteX26" fmla="*/ 10838 w 896663"/>
                  <a:gd name="connsiteY26" fmla="*/ 1438275 h 4505325"/>
                  <a:gd name="connsiteX27" fmla="*/ 83863 w 896663"/>
                  <a:gd name="connsiteY27" fmla="*/ 1511300 h 4505325"/>
                  <a:gd name="connsiteX28" fmla="*/ 112438 w 896663"/>
                  <a:gd name="connsiteY28" fmla="*/ 1558925 h 4505325"/>
                  <a:gd name="connsiteX29" fmla="*/ 150538 w 896663"/>
                  <a:gd name="connsiteY29" fmla="*/ 1590675 h 4505325"/>
                  <a:gd name="connsiteX30" fmla="*/ 169588 w 896663"/>
                  <a:gd name="connsiteY30" fmla="*/ 1644650 h 4505325"/>
                  <a:gd name="connsiteX31" fmla="*/ 226738 w 896663"/>
                  <a:gd name="connsiteY31" fmla="*/ 1685925 h 4505325"/>
                  <a:gd name="connsiteX32" fmla="*/ 264838 w 896663"/>
                  <a:gd name="connsiteY32" fmla="*/ 1730375 h 4505325"/>
                  <a:gd name="connsiteX33" fmla="*/ 277538 w 896663"/>
                  <a:gd name="connsiteY33" fmla="*/ 1758950 h 4505325"/>
                  <a:gd name="connsiteX34" fmla="*/ 277538 w 896663"/>
                  <a:gd name="connsiteY34" fmla="*/ 1828800 h 4505325"/>
                  <a:gd name="connsiteX35" fmla="*/ 325163 w 896663"/>
                  <a:gd name="connsiteY35" fmla="*/ 1905000 h 4505325"/>
                  <a:gd name="connsiteX36" fmla="*/ 363263 w 896663"/>
                  <a:gd name="connsiteY36" fmla="*/ 1962150 h 4505325"/>
                  <a:gd name="connsiteX37" fmla="*/ 369613 w 896663"/>
                  <a:gd name="connsiteY37" fmla="*/ 2028825 h 4505325"/>
                  <a:gd name="connsiteX38" fmla="*/ 407713 w 896663"/>
                  <a:gd name="connsiteY38" fmla="*/ 2085975 h 4505325"/>
                  <a:gd name="connsiteX39" fmla="*/ 414063 w 896663"/>
                  <a:gd name="connsiteY39" fmla="*/ 2209800 h 4505325"/>
                  <a:gd name="connsiteX40" fmla="*/ 252138 w 896663"/>
                  <a:gd name="connsiteY40" fmla="*/ 2251075 h 4505325"/>
                  <a:gd name="connsiteX41" fmla="*/ 201338 w 896663"/>
                  <a:gd name="connsiteY41" fmla="*/ 2390775 h 4505325"/>
                  <a:gd name="connsiteX42" fmla="*/ 210863 w 896663"/>
                  <a:gd name="connsiteY42" fmla="*/ 2454275 h 4505325"/>
                  <a:gd name="connsiteX43" fmla="*/ 226738 w 896663"/>
                  <a:gd name="connsiteY43" fmla="*/ 2482850 h 4505325"/>
                  <a:gd name="connsiteX44" fmla="*/ 226738 w 896663"/>
                  <a:gd name="connsiteY44" fmla="*/ 2527300 h 4505325"/>
                  <a:gd name="connsiteX45" fmla="*/ 236263 w 896663"/>
                  <a:gd name="connsiteY45" fmla="*/ 2603500 h 4505325"/>
                  <a:gd name="connsiteX46" fmla="*/ 153713 w 896663"/>
                  <a:gd name="connsiteY46" fmla="*/ 2917824 h 4505325"/>
                  <a:gd name="connsiteX47" fmla="*/ 80688 w 896663"/>
                  <a:gd name="connsiteY47" fmla="*/ 3063874 h 4505325"/>
                  <a:gd name="connsiteX48" fmla="*/ 42588 w 896663"/>
                  <a:gd name="connsiteY48" fmla="*/ 3133724 h 4505325"/>
                  <a:gd name="connsiteX49" fmla="*/ 17188 w 896663"/>
                  <a:gd name="connsiteY49" fmla="*/ 3203574 h 4505325"/>
                  <a:gd name="connsiteX50" fmla="*/ 10838 w 896663"/>
                  <a:gd name="connsiteY50" fmla="*/ 3390899 h 4505325"/>
                  <a:gd name="connsiteX51" fmla="*/ 33063 w 896663"/>
                  <a:gd name="connsiteY51" fmla="*/ 3492499 h 4505325"/>
                  <a:gd name="connsiteX52" fmla="*/ 268013 w 896663"/>
                  <a:gd name="connsiteY52" fmla="*/ 3917949 h 4505325"/>
                  <a:gd name="connsiteX53" fmla="*/ 382313 w 896663"/>
                  <a:gd name="connsiteY53" fmla="*/ 4203699 h 4505325"/>
                  <a:gd name="connsiteX54" fmla="*/ 502963 w 896663"/>
                  <a:gd name="connsiteY54" fmla="*/ 4254499 h 4505325"/>
                  <a:gd name="connsiteX55" fmla="*/ 639488 w 896663"/>
                  <a:gd name="connsiteY55" fmla="*/ 4302124 h 4505325"/>
                  <a:gd name="connsiteX56" fmla="*/ 760138 w 896663"/>
                  <a:gd name="connsiteY56" fmla="*/ 4292599 h 4505325"/>
                  <a:gd name="connsiteX57" fmla="*/ 896663 w 896663"/>
                  <a:gd name="connsiteY57" fmla="*/ 4505325 h 4505325"/>
                  <a:gd name="connsiteX0" fmla="*/ 445813 w 896663"/>
                  <a:gd name="connsiteY0" fmla="*/ 0 h 4505325"/>
                  <a:gd name="connsiteX1" fmla="*/ 407713 w 896663"/>
                  <a:gd name="connsiteY1" fmla="*/ 66675 h 4505325"/>
                  <a:gd name="connsiteX2" fmla="*/ 353738 w 896663"/>
                  <a:gd name="connsiteY2" fmla="*/ 85725 h 4505325"/>
                  <a:gd name="connsiteX3" fmla="*/ 283888 w 896663"/>
                  <a:gd name="connsiteY3" fmla="*/ 98425 h 4505325"/>
                  <a:gd name="connsiteX4" fmla="*/ 223563 w 896663"/>
                  <a:gd name="connsiteY4" fmla="*/ 133350 h 4505325"/>
                  <a:gd name="connsiteX5" fmla="*/ 121963 w 896663"/>
                  <a:gd name="connsiteY5" fmla="*/ 196850 h 4505325"/>
                  <a:gd name="connsiteX6" fmla="*/ 131488 w 896663"/>
                  <a:gd name="connsiteY6" fmla="*/ 247650 h 4505325"/>
                  <a:gd name="connsiteX7" fmla="*/ 172763 w 896663"/>
                  <a:gd name="connsiteY7" fmla="*/ 276225 h 4505325"/>
                  <a:gd name="connsiteX8" fmla="*/ 185463 w 896663"/>
                  <a:gd name="connsiteY8" fmla="*/ 327025 h 4505325"/>
                  <a:gd name="connsiteX9" fmla="*/ 239438 w 896663"/>
                  <a:gd name="connsiteY9" fmla="*/ 368300 h 4505325"/>
                  <a:gd name="connsiteX10" fmla="*/ 239438 w 896663"/>
                  <a:gd name="connsiteY10" fmla="*/ 412750 h 4505325"/>
                  <a:gd name="connsiteX11" fmla="*/ 207688 w 896663"/>
                  <a:gd name="connsiteY11" fmla="*/ 454025 h 4505325"/>
                  <a:gd name="connsiteX12" fmla="*/ 287063 w 896663"/>
                  <a:gd name="connsiteY12" fmla="*/ 479425 h 4505325"/>
                  <a:gd name="connsiteX13" fmla="*/ 302938 w 896663"/>
                  <a:gd name="connsiteY13" fmla="*/ 511175 h 4505325"/>
                  <a:gd name="connsiteX14" fmla="*/ 210863 w 896663"/>
                  <a:gd name="connsiteY14" fmla="*/ 581025 h 4505325"/>
                  <a:gd name="connsiteX15" fmla="*/ 160063 w 896663"/>
                  <a:gd name="connsiteY15" fmla="*/ 638175 h 4505325"/>
                  <a:gd name="connsiteX16" fmla="*/ 160063 w 896663"/>
                  <a:gd name="connsiteY16" fmla="*/ 695325 h 4505325"/>
                  <a:gd name="connsiteX17" fmla="*/ 185463 w 896663"/>
                  <a:gd name="connsiteY17" fmla="*/ 784225 h 4505325"/>
                  <a:gd name="connsiteX18" fmla="*/ 194988 w 896663"/>
                  <a:gd name="connsiteY18" fmla="*/ 835025 h 4505325"/>
                  <a:gd name="connsiteX19" fmla="*/ 204513 w 896663"/>
                  <a:gd name="connsiteY19" fmla="*/ 885825 h 4505325"/>
                  <a:gd name="connsiteX20" fmla="*/ 220388 w 896663"/>
                  <a:gd name="connsiteY20" fmla="*/ 923925 h 4505325"/>
                  <a:gd name="connsiteX21" fmla="*/ 163238 w 896663"/>
                  <a:gd name="connsiteY21" fmla="*/ 1022350 h 4505325"/>
                  <a:gd name="connsiteX22" fmla="*/ 96563 w 896663"/>
                  <a:gd name="connsiteY22" fmla="*/ 1057275 h 4505325"/>
                  <a:gd name="connsiteX23" fmla="*/ 52113 w 896663"/>
                  <a:gd name="connsiteY23" fmla="*/ 1143000 h 4505325"/>
                  <a:gd name="connsiteX24" fmla="*/ 20363 w 896663"/>
                  <a:gd name="connsiteY24" fmla="*/ 1244600 h 4505325"/>
                  <a:gd name="connsiteX25" fmla="*/ 1313 w 896663"/>
                  <a:gd name="connsiteY25" fmla="*/ 1346200 h 4505325"/>
                  <a:gd name="connsiteX26" fmla="*/ 10838 w 896663"/>
                  <a:gd name="connsiteY26" fmla="*/ 1438275 h 4505325"/>
                  <a:gd name="connsiteX27" fmla="*/ 83863 w 896663"/>
                  <a:gd name="connsiteY27" fmla="*/ 1511300 h 4505325"/>
                  <a:gd name="connsiteX28" fmla="*/ 112438 w 896663"/>
                  <a:gd name="connsiteY28" fmla="*/ 1558925 h 4505325"/>
                  <a:gd name="connsiteX29" fmla="*/ 150538 w 896663"/>
                  <a:gd name="connsiteY29" fmla="*/ 1590675 h 4505325"/>
                  <a:gd name="connsiteX30" fmla="*/ 169588 w 896663"/>
                  <a:gd name="connsiteY30" fmla="*/ 1644650 h 4505325"/>
                  <a:gd name="connsiteX31" fmla="*/ 226738 w 896663"/>
                  <a:gd name="connsiteY31" fmla="*/ 1685925 h 4505325"/>
                  <a:gd name="connsiteX32" fmla="*/ 264838 w 896663"/>
                  <a:gd name="connsiteY32" fmla="*/ 1730375 h 4505325"/>
                  <a:gd name="connsiteX33" fmla="*/ 277538 w 896663"/>
                  <a:gd name="connsiteY33" fmla="*/ 1758950 h 4505325"/>
                  <a:gd name="connsiteX34" fmla="*/ 277538 w 896663"/>
                  <a:gd name="connsiteY34" fmla="*/ 1828800 h 4505325"/>
                  <a:gd name="connsiteX35" fmla="*/ 325163 w 896663"/>
                  <a:gd name="connsiteY35" fmla="*/ 1905000 h 4505325"/>
                  <a:gd name="connsiteX36" fmla="*/ 363263 w 896663"/>
                  <a:gd name="connsiteY36" fmla="*/ 1962150 h 4505325"/>
                  <a:gd name="connsiteX37" fmla="*/ 369613 w 896663"/>
                  <a:gd name="connsiteY37" fmla="*/ 2028825 h 4505325"/>
                  <a:gd name="connsiteX38" fmla="*/ 407713 w 896663"/>
                  <a:gd name="connsiteY38" fmla="*/ 2085975 h 4505325"/>
                  <a:gd name="connsiteX39" fmla="*/ 414063 w 896663"/>
                  <a:gd name="connsiteY39" fmla="*/ 2209800 h 4505325"/>
                  <a:gd name="connsiteX40" fmla="*/ 252138 w 896663"/>
                  <a:gd name="connsiteY40" fmla="*/ 2251075 h 4505325"/>
                  <a:gd name="connsiteX41" fmla="*/ 201338 w 896663"/>
                  <a:gd name="connsiteY41" fmla="*/ 2390775 h 4505325"/>
                  <a:gd name="connsiteX42" fmla="*/ 210863 w 896663"/>
                  <a:gd name="connsiteY42" fmla="*/ 2454275 h 4505325"/>
                  <a:gd name="connsiteX43" fmla="*/ 226738 w 896663"/>
                  <a:gd name="connsiteY43" fmla="*/ 2482850 h 4505325"/>
                  <a:gd name="connsiteX44" fmla="*/ 226738 w 896663"/>
                  <a:gd name="connsiteY44" fmla="*/ 2527300 h 4505325"/>
                  <a:gd name="connsiteX45" fmla="*/ 236263 w 896663"/>
                  <a:gd name="connsiteY45" fmla="*/ 2603500 h 4505325"/>
                  <a:gd name="connsiteX46" fmla="*/ 153713 w 896663"/>
                  <a:gd name="connsiteY46" fmla="*/ 2917824 h 4505325"/>
                  <a:gd name="connsiteX47" fmla="*/ 80688 w 896663"/>
                  <a:gd name="connsiteY47" fmla="*/ 3063874 h 4505325"/>
                  <a:gd name="connsiteX48" fmla="*/ 42588 w 896663"/>
                  <a:gd name="connsiteY48" fmla="*/ 3133724 h 4505325"/>
                  <a:gd name="connsiteX49" fmla="*/ 17188 w 896663"/>
                  <a:gd name="connsiteY49" fmla="*/ 3203574 h 4505325"/>
                  <a:gd name="connsiteX50" fmla="*/ 10838 w 896663"/>
                  <a:gd name="connsiteY50" fmla="*/ 3390899 h 4505325"/>
                  <a:gd name="connsiteX51" fmla="*/ 33063 w 896663"/>
                  <a:gd name="connsiteY51" fmla="*/ 3492499 h 4505325"/>
                  <a:gd name="connsiteX52" fmla="*/ 268013 w 896663"/>
                  <a:gd name="connsiteY52" fmla="*/ 3917949 h 4505325"/>
                  <a:gd name="connsiteX53" fmla="*/ 382313 w 896663"/>
                  <a:gd name="connsiteY53" fmla="*/ 4203699 h 4505325"/>
                  <a:gd name="connsiteX54" fmla="*/ 502963 w 896663"/>
                  <a:gd name="connsiteY54" fmla="*/ 4254499 h 4505325"/>
                  <a:gd name="connsiteX55" fmla="*/ 639488 w 896663"/>
                  <a:gd name="connsiteY55" fmla="*/ 4302124 h 4505325"/>
                  <a:gd name="connsiteX56" fmla="*/ 760138 w 896663"/>
                  <a:gd name="connsiteY56" fmla="*/ 4292599 h 4505325"/>
                  <a:gd name="connsiteX57" fmla="*/ 896663 w 896663"/>
                  <a:gd name="connsiteY57" fmla="*/ 4505325 h 4505325"/>
                  <a:gd name="connsiteX0" fmla="*/ 445813 w 896663"/>
                  <a:gd name="connsiteY0" fmla="*/ 0 h 4505325"/>
                  <a:gd name="connsiteX1" fmla="*/ 407713 w 896663"/>
                  <a:gd name="connsiteY1" fmla="*/ 66675 h 4505325"/>
                  <a:gd name="connsiteX2" fmla="*/ 353738 w 896663"/>
                  <a:gd name="connsiteY2" fmla="*/ 85725 h 4505325"/>
                  <a:gd name="connsiteX3" fmla="*/ 283888 w 896663"/>
                  <a:gd name="connsiteY3" fmla="*/ 98425 h 4505325"/>
                  <a:gd name="connsiteX4" fmla="*/ 223563 w 896663"/>
                  <a:gd name="connsiteY4" fmla="*/ 133350 h 4505325"/>
                  <a:gd name="connsiteX5" fmla="*/ 121963 w 896663"/>
                  <a:gd name="connsiteY5" fmla="*/ 196850 h 4505325"/>
                  <a:gd name="connsiteX6" fmla="*/ 131488 w 896663"/>
                  <a:gd name="connsiteY6" fmla="*/ 247650 h 4505325"/>
                  <a:gd name="connsiteX7" fmla="*/ 172763 w 896663"/>
                  <a:gd name="connsiteY7" fmla="*/ 276225 h 4505325"/>
                  <a:gd name="connsiteX8" fmla="*/ 185463 w 896663"/>
                  <a:gd name="connsiteY8" fmla="*/ 327025 h 4505325"/>
                  <a:gd name="connsiteX9" fmla="*/ 239438 w 896663"/>
                  <a:gd name="connsiteY9" fmla="*/ 368300 h 4505325"/>
                  <a:gd name="connsiteX10" fmla="*/ 239438 w 896663"/>
                  <a:gd name="connsiteY10" fmla="*/ 412750 h 4505325"/>
                  <a:gd name="connsiteX11" fmla="*/ 207688 w 896663"/>
                  <a:gd name="connsiteY11" fmla="*/ 454025 h 4505325"/>
                  <a:gd name="connsiteX12" fmla="*/ 287063 w 896663"/>
                  <a:gd name="connsiteY12" fmla="*/ 479425 h 4505325"/>
                  <a:gd name="connsiteX13" fmla="*/ 302938 w 896663"/>
                  <a:gd name="connsiteY13" fmla="*/ 511175 h 4505325"/>
                  <a:gd name="connsiteX14" fmla="*/ 210863 w 896663"/>
                  <a:gd name="connsiteY14" fmla="*/ 581025 h 4505325"/>
                  <a:gd name="connsiteX15" fmla="*/ 160063 w 896663"/>
                  <a:gd name="connsiteY15" fmla="*/ 638175 h 4505325"/>
                  <a:gd name="connsiteX16" fmla="*/ 160063 w 896663"/>
                  <a:gd name="connsiteY16" fmla="*/ 695325 h 4505325"/>
                  <a:gd name="connsiteX17" fmla="*/ 185463 w 896663"/>
                  <a:gd name="connsiteY17" fmla="*/ 784225 h 4505325"/>
                  <a:gd name="connsiteX18" fmla="*/ 194988 w 896663"/>
                  <a:gd name="connsiteY18" fmla="*/ 835025 h 4505325"/>
                  <a:gd name="connsiteX19" fmla="*/ 204513 w 896663"/>
                  <a:gd name="connsiteY19" fmla="*/ 885825 h 4505325"/>
                  <a:gd name="connsiteX20" fmla="*/ 220388 w 896663"/>
                  <a:gd name="connsiteY20" fmla="*/ 923925 h 4505325"/>
                  <a:gd name="connsiteX21" fmla="*/ 163238 w 896663"/>
                  <a:gd name="connsiteY21" fmla="*/ 1022350 h 4505325"/>
                  <a:gd name="connsiteX22" fmla="*/ 96563 w 896663"/>
                  <a:gd name="connsiteY22" fmla="*/ 1057275 h 4505325"/>
                  <a:gd name="connsiteX23" fmla="*/ 52113 w 896663"/>
                  <a:gd name="connsiteY23" fmla="*/ 1143000 h 4505325"/>
                  <a:gd name="connsiteX24" fmla="*/ 20363 w 896663"/>
                  <a:gd name="connsiteY24" fmla="*/ 1244600 h 4505325"/>
                  <a:gd name="connsiteX25" fmla="*/ 1313 w 896663"/>
                  <a:gd name="connsiteY25" fmla="*/ 1346200 h 4505325"/>
                  <a:gd name="connsiteX26" fmla="*/ 10838 w 896663"/>
                  <a:gd name="connsiteY26" fmla="*/ 1438275 h 4505325"/>
                  <a:gd name="connsiteX27" fmla="*/ 83863 w 896663"/>
                  <a:gd name="connsiteY27" fmla="*/ 1511300 h 4505325"/>
                  <a:gd name="connsiteX28" fmla="*/ 112438 w 896663"/>
                  <a:gd name="connsiteY28" fmla="*/ 1558925 h 4505325"/>
                  <a:gd name="connsiteX29" fmla="*/ 150538 w 896663"/>
                  <a:gd name="connsiteY29" fmla="*/ 1590675 h 4505325"/>
                  <a:gd name="connsiteX30" fmla="*/ 169588 w 896663"/>
                  <a:gd name="connsiteY30" fmla="*/ 1644650 h 4505325"/>
                  <a:gd name="connsiteX31" fmla="*/ 226738 w 896663"/>
                  <a:gd name="connsiteY31" fmla="*/ 1685925 h 4505325"/>
                  <a:gd name="connsiteX32" fmla="*/ 264838 w 896663"/>
                  <a:gd name="connsiteY32" fmla="*/ 1730375 h 4505325"/>
                  <a:gd name="connsiteX33" fmla="*/ 277538 w 896663"/>
                  <a:gd name="connsiteY33" fmla="*/ 1758950 h 4505325"/>
                  <a:gd name="connsiteX34" fmla="*/ 277538 w 896663"/>
                  <a:gd name="connsiteY34" fmla="*/ 1828800 h 4505325"/>
                  <a:gd name="connsiteX35" fmla="*/ 325163 w 896663"/>
                  <a:gd name="connsiteY35" fmla="*/ 1905000 h 4505325"/>
                  <a:gd name="connsiteX36" fmla="*/ 363263 w 896663"/>
                  <a:gd name="connsiteY36" fmla="*/ 1962150 h 4505325"/>
                  <a:gd name="connsiteX37" fmla="*/ 369613 w 896663"/>
                  <a:gd name="connsiteY37" fmla="*/ 2028825 h 4505325"/>
                  <a:gd name="connsiteX38" fmla="*/ 407713 w 896663"/>
                  <a:gd name="connsiteY38" fmla="*/ 2085975 h 4505325"/>
                  <a:gd name="connsiteX39" fmla="*/ 414063 w 896663"/>
                  <a:gd name="connsiteY39" fmla="*/ 2209800 h 4505325"/>
                  <a:gd name="connsiteX40" fmla="*/ 252138 w 896663"/>
                  <a:gd name="connsiteY40" fmla="*/ 2251075 h 4505325"/>
                  <a:gd name="connsiteX41" fmla="*/ 201338 w 896663"/>
                  <a:gd name="connsiteY41" fmla="*/ 2390775 h 4505325"/>
                  <a:gd name="connsiteX42" fmla="*/ 210863 w 896663"/>
                  <a:gd name="connsiteY42" fmla="*/ 2454275 h 4505325"/>
                  <a:gd name="connsiteX43" fmla="*/ 226738 w 896663"/>
                  <a:gd name="connsiteY43" fmla="*/ 2482850 h 4505325"/>
                  <a:gd name="connsiteX44" fmla="*/ 226738 w 896663"/>
                  <a:gd name="connsiteY44" fmla="*/ 2527300 h 4505325"/>
                  <a:gd name="connsiteX45" fmla="*/ 236263 w 896663"/>
                  <a:gd name="connsiteY45" fmla="*/ 2603500 h 4505325"/>
                  <a:gd name="connsiteX46" fmla="*/ 153713 w 896663"/>
                  <a:gd name="connsiteY46" fmla="*/ 2917824 h 4505325"/>
                  <a:gd name="connsiteX47" fmla="*/ 80688 w 896663"/>
                  <a:gd name="connsiteY47" fmla="*/ 3063874 h 4505325"/>
                  <a:gd name="connsiteX48" fmla="*/ 42588 w 896663"/>
                  <a:gd name="connsiteY48" fmla="*/ 3133724 h 4505325"/>
                  <a:gd name="connsiteX49" fmla="*/ 17188 w 896663"/>
                  <a:gd name="connsiteY49" fmla="*/ 3203574 h 4505325"/>
                  <a:gd name="connsiteX50" fmla="*/ 10838 w 896663"/>
                  <a:gd name="connsiteY50" fmla="*/ 3390899 h 4505325"/>
                  <a:gd name="connsiteX51" fmla="*/ 33063 w 896663"/>
                  <a:gd name="connsiteY51" fmla="*/ 3492499 h 4505325"/>
                  <a:gd name="connsiteX52" fmla="*/ 277538 w 896663"/>
                  <a:gd name="connsiteY52" fmla="*/ 3917949 h 4505325"/>
                  <a:gd name="connsiteX53" fmla="*/ 382313 w 896663"/>
                  <a:gd name="connsiteY53" fmla="*/ 4203699 h 4505325"/>
                  <a:gd name="connsiteX54" fmla="*/ 502963 w 896663"/>
                  <a:gd name="connsiteY54" fmla="*/ 4254499 h 4505325"/>
                  <a:gd name="connsiteX55" fmla="*/ 639488 w 896663"/>
                  <a:gd name="connsiteY55" fmla="*/ 4302124 h 4505325"/>
                  <a:gd name="connsiteX56" fmla="*/ 760138 w 896663"/>
                  <a:gd name="connsiteY56" fmla="*/ 4292599 h 4505325"/>
                  <a:gd name="connsiteX57" fmla="*/ 896663 w 896663"/>
                  <a:gd name="connsiteY57" fmla="*/ 4505325 h 4505325"/>
                  <a:gd name="connsiteX0" fmla="*/ 445813 w 896663"/>
                  <a:gd name="connsiteY0" fmla="*/ 0 h 4505325"/>
                  <a:gd name="connsiteX1" fmla="*/ 407713 w 896663"/>
                  <a:gd name="connsiteY1" fmla="*/ 66675 h 4505325"/>
                  <a:gd name="connsiteX2" fmla="*/ 353738 w 896663"/>
                  <a:gd name="connsiteY2" fmla="*/ 85725 h 4505325"/>
                  <a:gd name="connsiteX3" fmla="*/ 283888 w 896663"/>
                  <a:gd name="connsiteY3" fmla="*/ 98425 h 4505325"/>
                  <a:gd name="connsiteX4" fmla="*/ 223563 w 896663"/>
                  <a:gd name="connsiteY4" fmla="*/ 133350 h 4505325"/>
                  <a:gd name="connsiteX5" fmla="*/ 121963 w 896663"/>
                  <a:gd name="connsiteY5" fmla="*/ 196850 h 4505325"/>
                  <a:gd name="connsiteX6" fmla="*/ 131488 w 896663"/>
                  <a:gd name="connsiteY6" fmla="*/ 247650 h 4505325"/>
                  <a:gd name="connsiteX7" fmla="*/ 172763 w 896663"/>
                  <a:gd name="connsiteY7" fmla="*/ 276225 h 4505325"/>
                  <a:gd name="connsiteX8" fmla="*/ 185463 w 896663"/>
                  <a:gd name="connsiteY8" fmla="*/ 327025 h 4505325"/>
                  <a:gd name="connsiteX9" fmla="*/ 239438 w 896663"/>
                  <a:gd name="connsiteY9" fmla="*/ 368300 h 4505325"/>
                  <a:gd name="connsiteX10" fmla="*/ 239438 w 896663"/>
                  <a:gd name="connsiteY10" fmla="*/ 412750 h 4505325"/>
                  <a:gd name="connsiteX11" fmla="*/ 207688 w 896663"/>
                  <a:gd name="connsiteY11" fmla="*/ 454025 h 4505325"/>
                  <a:gd name="connsiteX12" fmla="*/ 287063 w 896663"/>
                  <a:gd name="connsiteY12" fmla="*/ 479425 h 4505325"/>
                  <a:gd name="connsiteX13" fmla="*/ 302938 w 896663"/>
                  <a:gd name="connsiteY13" fmla="*/ 511175 h 4505325"/>
                  <a:gd name="connsiteX14" fmla="*/ 210863 w 896663"/>
                  <a:gd name="connsiteY14" fmla="*/ 581025 h 4505325"/>
                  <a:gd name="connsiteX15" fmla="*/ 160063 w 896663"/>
                  <a:gd name="connsiteY15" fmla="*/ 638175 h 4505325"/>
                  <a:gd name="connsiteX16" fmla="*/ 160063 w 896663"/>
                  <a:gd name="connsiteY16" fmla="*/ 695325 h 4505325"/>
                  <a:gd name="connsiteX17" fmla="*/ 185463 w 896663"/>
                  <a:gd name="connsiteY17" fmla="*/ 784225 h 4505325"/>
                  <a:gd name="connsiteX18" fmla="*/ 194988 w 896663"/>
                  <a:gd name="connsiteY18" fmla="*/ 835025 h 4505325"/>
                  <a:gd name="connsiteX19" fmla="*/ 204513 w 896663"/>
                  <a:gd name="connsiteY19" fmla="*/ 885825 h 4505325"/>
                  <a:gd name="connsiteX20" fmla="*/ 220388 w 896663"/>
                  <a:gd name="connsiteY20" fmla="*/ 923925 h 4505325"/>
                  <a:gd name="connsiteX21" fmla="*/ 163238 w 896663"/>
                  <a:gd name="connsiteY21" fmla="*/ 1022350 h 4505325"/>
                  <a:gd name="connsiteX22" fmla="*/ 96563 w 896663"/>
                  <a:gd name="connsiteY22" fmla="*/ 1057275 h 4505325"/>
                  <a:gd name="connsiteX23" fmla="*/ 52113 w 896663"/>
                  <a:gd name="connsiteY23" fmla="*/ 1143000 h 4505325"/>
                  <a:gd name="connsiteX24" fmla="*/ 20363 w 896663"/>
                  <a:gd name="connsiteY24" fmla="*/ 1244600 h 4505325"/>
                  <a:gd name="connsiteX25" fmla="*/ 1313 w 896663"/>
                  <a:gd name="connsiteY25" fmla="*/ 1346200 h 4505325"/>
                  <a:gd name="connsiteX26" fmla="*/ 10838 w 896663"/>
                  <a:gd name="connsiteY26" fmla="*/ 1438275 h 4505325"/>
                  <a:gd name="connsiteX27" fmla="*/ 83863 w 896663"/>
                  <a:gd name="connsiteY27" fmla="*/ 1511300 h 4505325"/>
                  <a:gd name="connsiteX28" fmla="*/ 112438 w 896663"/>
                  <a:gd name="connsiteY28" fmla="*/ 1558925 h 4505325"/>
                  <a:gd name="connsiteX29" fmla="*/ 150538 w 896663"/>
                  <a:gd name="connsiteY29" fmla="*/ 1590675 h 4505325"/>
                  <a:gd name="connsiteX30" fmla="*/ 169588 w 896663"/>
                  <a:gd name="connsiteY30" fmla="*/ 1644650 h 4505325"/>
                  <a:gd name="connsiteX31" fmla="*/ 226738 w 896663"/>
                  <a:gd name="connsiteY31" fmla="*/ 1685925 h 4505325"/>
                  <a:gd name="connsiteX32" fmla="*/ 264838 w 896663"/>
                  <a:gd name="connsiteY32" fmla="*/ 1730375 h 4505325"/>
                  <a:gd name="connsiteX33" fmla="*/ 277538 w 896663"/>
                  <a:gd name="connsiteY33" fmla="*/ 1758950 h 4505325"/>
                  <a:gd name="connsiteX34" fmla="*/ 277538 w 896663"/>
                  <a:gd name="connsiteY34" fmla="*/ 1828800 h 4505325"/>
                  <a:gd name="connsiteX35" fmla="*/ 325163 w 896663"/>
                  <a:gd name="connsiteY35" fmla="*/ 1905000 h 4505325"/>
                  <a:gd name="connsiteX36" fmla="*/ 363263 w 896663"/>
                  <a:gd name="connsiteY36" fmla="*/ 1962150 h 4505325"/>
                  <a:gd name="connsiteX37" fmla="*/ 369613 w 896663"/>
                  <a:gd name="connsiteY37" fmla="*/ 2028825 h 4505325"/>
                  <a:gd name="connsiteX38" fmla="*/ 407713 w 896663"/>
                  <a:gd name="connsiteY38" fmla="*/ 2085975 h 4505325"/>
                  <a:gd name="connsiteX39" fmla="*/ 414063 w 896663"/>
                  <a:gd name="connsiteY39" fmla="*/ 2209800 h 4505325"/>
                  <a:gd name="connsiteX40" fmla="*/ 252138 w 896663"/>
                  <a:gd name="connsiteY40" fmla="*/ 2251075 h 4505325"/>
                  <a:gd name="connsiteX41" fmla="*/ 201338 w 896663"/>
                  <a:gd name="connsiteY41" fmla="*/ 2390775 h 4505325"/>
                  <a:gd name="connsiteX42" fmla="*/ 210863 w 896663"/>
                  <a:gd name="connsiteY42" fmla="*/ 2454275 h 4505325"/>
                  <a:gd name="connsiteX43" fmla="*/ 226738 w 896663"/>
                  <a:gd name="connsiteY43" fmla="*/ 2482850 h 4505325"/>
                  <a:gd name="connsiteX44" fmla="*/ 226738 w 896663"/>
                  <a:gd name="connsiteY44" fmla="*/ 2527300 h 4505325"/>
                  <a:gd name="connsiteX45" fmla="*/ 236263 w 896663"/>
                  <a:gd name="connsiteY45" fmla="*/ 2603500 h 4505325"/>
                  <a:gd name="connsiteX46" fmla="*/ 153713 w 896663"/>
                  <a:gd name="connsiteY46" fmla="*/ 2917824 h 4505325"/>
                  <a:gd name="connsiteX47" fmla="*/ 80688 w 896663"/>
                  <a:gd name="connsiteY47" fmla="*/ 3063874 h 4505325"/>
                  <a:gd name="connsiteX48" fmla="*/ 42588 w 896663"/>
                  <a:gd name="connsiteY48" fmla="*/ 3133724 h 4505325"/>
                  <a:gd name="connsiteX49" fmla="*/ 17188 w 896663"/>
                  <a:gd name="connsiteY49" fmla="*/ 3203574 h 4505325"/>
                  <a:gd name="connsiteX50" fmla="*/ 10838 w 896663"/>
                  <a:gd name="connsiteY50" fmla="*/ 3390899 h 4505325"/>
                  <a:gd name="connsiteX51" fmla="*/ 33063 w 896663"/>
                  <a:gd name="connsiteY51" fmla="*/ 3492499 h 4505325"/>
                  <a:gd name="connsiteX52" fmla="*/ 277538 w 896663"/>
                  <a:gd name="connsiteY52" fmla="*/ 3917949 h 4505325"/>
                  <a:gd name="connsiteX53" fmla="*/ 382313 w 896663"/>
                  <a:gd name="connsiteY53" fmla="*/ 4203699 h 4505325"/>
                  <a:gd name="connsiteX54" fmla="*/ 502963 w 896663"/>
                  <a:gd name="connsiteY54" fmla="*/ 4254499 h 4505325"/>
                  <a:gd name="connsiteX55" fmla="*/ 639488 w 896663"/>
                  <a:gd name="connsiteY55" fmla="*/ 4302124 h 4505325"/>
                  <a:gd name="connsiteX56" fmla="*/ 760138 w 896663"/>
                  <a:gd name="connsiteY56" fmla="*/ 4292599 h 4505325"/>
                  <a:gd name="connsiteX57" fmla="*/ 896663 w 896663"/>
                  <a:gd name="connsiteY57" fmla="*/ 4505325 h 4505325"/>
                  <a:gd name="connsiteX0" fmla="*/ 445813 w 896663"/>
                  <a:gd name="connsiteY0" fmla="*/ 0 h 4505325"/>
                  <a:gd name="connsiteX1" fmla="*/ 407713 w 896663"/>
                  <a:gd name="connsiteY1" fmla="*/ 66675 h 4505325"/>
                  <a:gd name="connsiteX2" fmla="*/ 353738 w 896663"/>
                  <a:gd name="connsiteY2" fmla="*/ 85725 h 4505325"/>
                  <a:gd name="connsiteX3" fmla="*/ 283888 w 896663"/>
                  <a:gd name="connsiteY3" fmla="*/ 98425 h 4505325"/>
                  <a:gd name="connsiteX4" fmla="*/ 223563 w 896663"/>
                  <a:gd name="connsiteY4" fmla="*/ 133350 h 4505325"/>
                  <a:gd name="connsiteX5" fmla="*/ 121963 w 896663"/>
                  <a:gd name="connsiteY5" fmla="*/ 196850 h 4505325"/>
                  <a:gd name="connsiteX6" fmla="*/ 131488 w 896663"/>
                  <a:gd name="connsiteY6" fmla="*/ 247650 h 4505325"/>
                  <a:gd name="connsiteX7" fmla="*/ 172763 w 896663"/>
                  <a:gd name="connsiteY7" fmla="*/ 276225 h 4505325"/>
                  <a:gd name="connsiteX8" fmla="*/ 185463 w 896663"/>
                  <a:gd name="connsiteY8" fmla="*/ 327025 h 4505325"/>
                  <a:gd name="connsiteX9" fmla="*/ 239438 w 896663"/>
                  <a:gd name="connsiteY9" fmla="*/ 368300 h 4505325"/>
                  <a:gd name="connsiteX10" fmla="*/ 239438 w 896663"/>
                  <a:gd name="connsiteY10" fmla="*/ 412750 h 4505325"/>
                  <a:gd name="connsiteX11" fmla="*/ 207688 w 896663"/>
                  <a:gd name="connsiteY11" fmla="*/ 454025 h 4505325"/>
                  <a:gd name="connsiteX12" fmla="*/ 287063 w 896663"/>
                  <a:gd name="connsiteY12" fmla="*/ 479425 h 4505325"/>
                  <a:gd name="connsiteX13" fmla="*/ 302938 w 896663"/>
                  <a:gd name="connsiteY13" fmla="*/ 511175 h 4505325"/>
                  <a:gd name="connsiteX14" fmla="*/ 210863 w 896663"/>
                  <a:gd name="connsiteY14" fmla="*/ 581025 h 4505325"/>
                  <a:gd name="connsiteX15" fmla="*/ 160063 w 896663"/>
                  <a:gd name="connsiteY15" fmla="*/ 638175 h 4505325"/>
                  <a:gd name="connsiteX16" fmla="*/ 160063 w 896663"/>
                  <a:gd name="connsiteY16" fmla="*/ 695325 h 4505325"/>
                  <a:gd name="connsiteX17" fmla="*/ 185463 w 896663"/>
                  <a:gd name="connsiteY17" fmla="*/ 784225 h 4505325"/>
                  <a:gd name="connsiteX18" fmla="*/ 194988 w 896663"/>
                  <a:gd name="connsiteY18" fmla="*/ 835025 h 4505325"/>
                  <a:gd name="connsiteX19" fmla="*/ 204513 w 896663"/>
                  <a:gd name="connsiteY19" fmla="*/ 885825 h 4505325"/>
                  <a:gd name="connsiteX20" fmla="*/ 220388 w 896663"/>
                  <a:gd name="connsiteY20" fmla="*/ 923925 h 4505325"/>
                  <a:gd name="connsiteX21" fmla="*/ 163238 w 896663"/>
                  <a:gd name="connsiteY21" fmla="*/ 1022350 h 4505325"/>
                  <a:gd name="connsiteX22" fmla="*/ 96563 w 896663"/>
                  <a:gd name="connsiteY22" fmla="*/ 1057275 h 4505325"/>
                  <a:gd name="connsiteX23" fmla="*/ 52113 w 896663"/>
                  <a:gd name="connsiteY23" fmla="*/ 1143000 h 4505325"/>
                  <a:gd name="connsiteX24" fmla="*/ 20363 w 896663"/>
                  <a:gd name="connsiteY24" fmla="*/ 1244600 h 4505325"/>
                  <a:gd name="connsiteX25" fmla="*/ 1313 w 896663"/>
                  <a:gd name="connsiteY25" fmla="*/ 1346200 h 4505325"/>
                  <a:gd name="connsiteX26" fmla="*/ 10838 w 896663"/>
                  <a:gd name="connsiteY26" fmla="*/ 1438275 h 4505325"/>
                  <a:gd name="connsiteX27" fmla="*/ 83863 w 896663"/>
                  <a:gd name="connsiteY27" fmla="*/ 1511300 h 4505325"/>
                  <a:gd name="connsiteX28" fmla="*/ 112438 w 896663"/>
                  <a:gd name="connsiteY28" fmla="*/ 1558925 h 4505325"/>
                  <a:gd name="connsiteX29" fmla="*/ 150538 w 896663"/>
                  <a:gd name="connsiteY29" fmla="*/ 1590675 h 4505325"/>
                  <a:gd name="connsiteX30" fmla="*/ 169588 w 896663"/>
                  <a:gd name="connsiteY30" fmla="*/ 1644650 h 4505325"/>
                  <a:gd name="connsiteX31" fmla="*/ 226738 w 896663"/>
                  <a:gd name="connsiteY31" fmla="*/ 1685925 h 4505325"/>
                  <a:gd name="connsiteX32" fmla="*/ 264838 w 896663"/>
                  <a:gd name="connsiteY32" fmla="*/ 1730375 h 4505325"/>
                  <a:gd name="connsiteX33" fmla="*/ 277538 w 896663"/>
                  <a:gd name="connsiteY33" fmla="*/ 1758950 h 4505325"/>
                  <a:gd name="connsiteX34" fmla="*/ 277538 w 896663"/>
                  <a:gd name="connsiteY34" fmla="*/ 1828800 h 4505325"/>
                  <a:gd name="connsiteX35" fmla="*/ 325163 w 896663"/>
                  <a:gd name="connsiteY35" fmla="*/ 1905000 h 4505325"/>
                  <a:gd name="connsiteX36" fmla="*/ 363263 w 896663"/>
                  <a:gd name="connsiteY36" fmla="*/ 1962150 h 4505325"/>
                  <a:gd name="connsiteX37" fmla="*/ 369613 w 896663"/>
                  <a:gd name="connsiteY37" fmla="*/ 2028825 h 4505325"/>
                  <a:gd name="connsiteX38" fmla="*/ 407713 w 896663"/>
                  <a:gd name="connsiteY38" fmla="*/ 2085975 h 4505325"/>
                  <a:gd name="connsiteX39" fmla="*/ 414063 w 896663"/>
                  <a:gd name="connsiteY39" fmla="*/ 2209800 h 4505325"/>
                  <a:gd name="connsiteX40" fmla="*/ 252138 w 896663"/>
                  <a:gd name="connsiteY40" fmla="*/ 2251075 h 4505325"/>
                  <a:gd name="connsiteX41" fmla="*/ 201338 w 896663"/>
                  <a:gd name="connsiteY41" fmla="*/ 2390775 h 4505325"/>
                  <a:gd name="connsiteX42" fmla="*/ 210863 w 896663"/>
                  <a:gd name="connsiteY42" fmla="*/ 2454275 h 4505325"/>
                  <a:gd name="connsiteX43" fmla="*/ 226738 w 896663"/>
                  <a:gd name="connsiteY43" fmla="*/ 2482850 h 4505325"/>
                  <a:gd name="connsiteX44" fmla="*/ 226738 w 896663"/>
                  <a:gd name="connsiteY44" fmla="*/ 2527300 h 4505325"/>
                  <a:gd name="connsiteX45" fmla="*/ 236263 w 896663"/>
                  <a:gd name="connsiteY45" fmla="*/ 2603500 h 4505325"/>
                  <a:gd name="connsiteX46" fmla="*/ 153713 w 896663"/>
                  <a:gd name="connsiteY46" fmla="*/ 2917824 h 4505325"/>
                  <a:gd name="connsiteX47" fmla="*/ 80688 w 896663"/>
                  <a:gd name="connsiteY47" fmla="*/ 3063874 h 4505325"/>
                  <a:gd name="connsiteX48" fmla="*/ 42588 w 896663"/>
                  <a:gd name="connsiteY48" fmla="*/ 3133724 h 4505325"/>
                  <a:gd name="connsiteX49" fmla="*/ 17188 w 896663"/>
                  <a:gd name="connsiteY49" fmla="*/ 3203574 h 4505325"/>
                  <a:gd name="connsiteX50" fmla="*/ 10838 w 896663"/>
                  <a:gd name="connsiteY50" fmla="*/ 3390899 h 4505325"/>
                  <a:gd name="connsiteX51" fmla="*/ 33063 w 896663"/>
                  <a:gd name="connsiteY51" fmla="*/ 3492499 h 4505325"/>
                  <a:gd name="connsiteX52" fmla="*/ 264838 w 896663"/>
                  <a:gd name="connsiteY52" fmla="*/ 3917949 h 4505325"/>
                  <a:gd name="connsiteX53" fmla="*/ 382313 w 896663"/>
                  <a:gd name="connsiteY53" fmla="*/ 4203699 h 4505325"/>
                  <a:gd name="connsiteX54" fmla="*/ 502963 w 896663"/>
                  <a:gd name="connsiteY54" fmla="*/ 4254499 h 4505325"/>
                  <a:gd name="connsiteX55" fmla="*/ 639488 w 896663"/>
                  <a:gd name="connsiteY55" fmla="*/ 4302124 h 4505325"/>
                  <a:gd name="connsiteX56" fmla="*/ 760138 w 896663"/>
                  <a:gd name="connsiteY56" fmla="*/ 4292599 h 4505325"/>
                  <a:gd name="connsiteX57" fmla="*/ 896663 w 896663"/>
                  <a:gd name="connsiteY57" fmla="*/ 4505325 h 4505325"/>
                  <a:gd name="connsiteX0" fmla="*/ 445813 w 896663"/>
                  <a:gd name="connsiteY0" fmla="*/ 0 h 4505325"/>
                  <a:gd name="connsiteX1" fmla="*/ 407713 w 896663"/>
                  <a:gd name="connsiteY1" fmla="*/ 66675 h 4505325"/>
                  <a:gd name="connsiteX2" fmla="*/ 353738 w 896663"/>
                  <a:gd name="connsiteY2" fmla="*/ 85725 h 4505325"/>
                  <a:gd name="connsiteX3" fmla="*/ 283888 w 896663"/>
                  <a:gd name="connsiteY3" fmla="*/ 98425 h 4505325"/>
                  <a:gd name="connsiteX4" fmla="*/ 223563 w 896663"/>
                  <a:gd name="connsiteY4" fmla="*/ 133350 h 4505325"/>
                  <a:gd name="connsiteX5" fmla="*/ 121963 w 896663"/>
                  <a:gd name="connsiteY5" fmla="*/ 196850 h 4505325"/>
                  <a:gd name="connsiteX6" fmla="*/ 131488 w 896663"/>
                  <a:gd name="connsiteY6" fmla="*/ 247650 h 4505325"/>
                  <a:gd name="connsiteX7" fmla="*/ 172763 w 896663"/>
                  <a:gd name="connsiteY7" fmla="*/ 276225 h 4505325"/>
                  <a:gd name="connsiteX8" fmla="*/ 185463 w 896663"/>
                  <a:gd name="connsiteY8" fmla="*/ 327025 h 4505325"/>
                  <a:gd name="connsiteX9" fmla="*/ 239438 w 896663"/>
                  <a:gd name="connsiteY9" fmla="*/ 368300 h 4505325"/>
                  <a:gd name="connsiteX10" fmla="*/ 239438 w 896663"/>
                  <a:gd name="connsiteY10" fmla="*/ 412750 h 4505325"/>
                  <a:gd name="connsiteX11" fmla="*/ 207688 w 896663"/>
                  <a:gd name="connsiteY11" fmla="*/ 454025 h 4505325"/>
                  <a:gd name="connsiteX12" fmla="*/ 287063 w 896663"/>
                  <a:gd name="connsiteY12" fmla="*/ 479425 h 4505325"/>
                  <a:gd name="connsiteX13" fmla="*/ 302938 w 896663"/>
                  <a:gd name="connsiteY13" fmla="*/ 511175 h 4505325"/>
                  <a:gd name="connsiteX14" fmla="*/ 210863 w 896663"/>
                  <a:gd name="connsiteY14" fmla="*/ 581025 h 4505325"/>
                  <a:gd name="connsiteX15" fmla="*/ 160063 w 896663"/>
                  <a:gd name="connsiteY15" fmla="*/ 638175 h 4505325"/>
                  <a:gd name="connsiteX16" fmla="*/ 160063 w 896663"/>
                  <a:gd name="connsiteY16" fmla="*/ 695325 h 4505325"/>
                  <a:gd name="connsiteX17" fmla="*/ 185463 w 896663"/>
                  <a:gd name="connsiteY17" fmla="*/ 784225 h 4505325"/>
                  <a:gd name="connsiteX18" fmla="*/ 194988 w 896663"/>
                  <a:gd name="connsiteY18" fmla="*/ 835025 h 4505325"/>
                  <a:gd name="connsiteX19" fmla="*/ 204513 w 896663"/>
                  <a:gd name="connsiteY19" fmla="*/ 885825 h 4505325"/>
                  <a:gd name="connsiteX20" fmla="*/ 220388 w 896663"/>
                  <a:gd name="connsiteY20" fmla="*/ 923925 h 4505325"/>
                  <a:gd name="connsiteX21" fmla="*/ 163238 w 896663"/>
                  <a:gd name="connsiteY21" fmla="*/ 1022350 h 4505325"/>
                  <a:gd name="connsiteX22" fmla="*/ 96563 w 896663"/>
                  <a:gd name="connsiteY22" fmla="*/ 1057275 h 4505325"/>
                  <a:gd name="connsiteX23" fmla="*/ 52113 w 896663"/>
                  <a:gd name="connsiteY23" fmla="*/ 1143000 h 4505325"/>
                  <a:gd name="connsiteX24" fmla="*/ 20363 w 896663"/>
                  <a:gd name="connsiteY24" fmla="*/ 1244600 h 4505325"/>
                  <a:gd name="connsiteX25" fmla="*/ 1313 w 896663"/>
                  <a:gd name="connsiteY25" fmla="*/ 1346200 h 4505325"/>
                  <a:gd name="connsiteX26" fmla="*/ 10838 w 896663"/>
                  <a:gd name="connsiteY26" fmla="*/ 1438275 h 4505325"/>
                  <a:gd name="connsiteX27" fmla="*/ 83863 w 896663"/>
                  <a:gd name="connsiteY27" fmla="*/ 1511300 h 4505325"/>
                  <a:gd name="connsiteX28" fmla="*/ 112438 w 896663"/>
                  <a:gd name="connsiteY28" fmla="*/ 1558925 h 4505325"/>
                  <a:gd name="connsiteX29" fmla="*/ 150538 w 896663"/>
                  <a:gd name="connsiteY29" fmla="*/ 1590675 h 4505325"/>
                  <a:gd name="connsiteX30" fmla="*/ 169588 w 896663"/>
                  <a:gd name="connsiteY30" fmla="*/ 1644650 h 4505325"/>
                  <a:gd name="connsiteX31" fmla="*/ 226738 w 896663"/>
                  <a:gd name="connsiteY31" fmla="*/ 1685925 h 4505325"/>
                  <a:gd name="connsiteX32" fmla="*/ 264838 w 896663"/>
                  <a:gd name="connsiteY32" fmla="*/ 1730375 h 4505325"/>
                  <a:gd name="connsiteX33" fmla="*/ 277538 w 896663"/>
                  <a:gd name="connsiteY33" fmla="*/ 1758950 h 4505325"/>
                  <a:gd name="connsiteX34" fmla="*/ 277538 w 896663"/>
                  <a:gd name="connsiteY34" fmla="*/ 1828800 h 4505325"/>
                  <a:gd name="connsiteX35" fmla="*/ 325163 w 896663"/>
                  <a:gd name="connsiteY35" fmla="*/ 1905000 h 4505325"/>
                  <a:gd name="connsiteX36" fmla="*/ 363263 w 896663"/>
                  <a:gd name="connsiteY36" fmla="*/ 1962150 h 4505325"/>
                  <a:gd name="connsiteX37" fmla="*/ 369613 w 896663"/>
                  <a:gd name="connsiteY37" fmla="*/ 2028825 h 4505325"/>
                  <a:gd name="connsiteX38" fmla="*/ 407713 w 896663"/>
                  <a:gd name="connsiteY38" fmla="*/ 2085975 h 4505325"/>
                  <a:gd name="connsiteX39" fmla="*/ 414063 w 896663"/>
                  <a:gd name="connsiteY39" fmla="*/ 2209800 h 4505325"/>
                  <a:gd name="connsiteX40" fmla="*/ 252138 w 896663"/>
                  <a:gd name="connsiteY40" fmla="*/ 2251075 h 4505325"/>
                  <a:gd name="connsiteX41" fmla="*/ 201338 w 896663"/>
                  <a:gd name="connsiteY41" fmla="*/ 2390775 h 4505325"/>
                  <a:gd name="connsiteX42" fmla="*/ 210863 w 896663"/>
                  <a:gd name="connsiteY42" fmla="*/ 2454275 h 4505325"/>
                  <a:gd name="connsiteX43" fmla="*/ 226738 w 896663"/>
                  <a:gd name="connsiteY43" fmla="*/ 2482850 h 4505325"/>
                  <a:gd name="connsiteX44" fmla="*/ 226738 w 896663"/>
                  <a:gd name="connsiteY44" fmla="*/ 2527300 h 4505325"/>
                  <a:gd name="connsiteX45" fmla="*/ 236263 w 896663"/>
                  <a:gd name="connsiteY45" fmla="*/ 2603500 h 4505325"/>
                  <a:gd name="connsiteX46" fmla="*/ 153713 w 896663"/>
                  <a:gd name="connsiteY46" fmla="*/ 2917824 h 4505325"/>
                  <a:gd name="connsiteX47" fmla="*/ 80688 w 896663"/>
                  <a:gd name="connsiteY47" fmla="*/ 3063874 h 4505325"/>
                  <a:gd name="connsiteX48" fmla="*/ 42588 w 896663"/>
                  <a:gd name="connsiteY48" fmla="*/ 3133724 h 4505325"/>
                  <a:gd name="connsiteX49" fmla="*/ 17188 w 896663"/>
                  <a:gd name="connsiteY49" fmla="*/ 3203574 h 4505325"/>
                  <a:gd name="connsiteX50" fmla="*/ 10838 w 896663"/>
                  <a:gd name="connsiteY50" fmla="*/ 3390899 h 4505325"/>
                  <a:gd name="connsiteX51" fmla="*/ 33063 w 896663"/>
                  <a:gd name="connsiteY51" fmla="*/ 3492499 h 4505325"/>
                  <a:gd name="connsiteX52" fmla="*/ 264838 w 896663"/>
                  <a:gd name="connsiteY52" fmla="*/ 3917949 h 4505325"/>
                  <a:gd name="connsiteX53" fmla="*/ 382313 w 896663"/>
                  <a:gd name="connsiteY53" fmla="*/ 4203699 h 4505325"/>
                  <a:gd name="connsiteX54" fmla="*/ 502963 w 896663"/>
                  <a:gd name="connsiteY54" fmla="*/ 4254499 h 4505325"/>
                  <a:gd name="connsiteX55" fmla="*/ 639488 w 896663"/>
                  <a:gd name="connsiteY55" fmla="*/ 4302124 h 4505325"/>
                  <a:gd name="connsiteX56" fmla="*/ 760138 w 896663"/>
                  <a:gd name="connsiteY56" fmla="*/ 4292599 h 4505325"/>
                  <a:gd name="connsiteX57" fmla="*/ 896663 w 896663"/>
                  <a:gd name="connsiteY57" fmla="*/ 4505325 h 4505325"/>
                  <a:gd name="connsiteX0" fmla="*/ 445813 w 896663"/>
                  <a:gd name="connsiteY0" fmla="*/ 0 h 4505325"/>
                  <a:gd name="connsiteX1" fmla="*/ 407713 w 896663"/>
                  <a:gd name="connsiteY1" fmla="*/ 66675 h 4505325"/>
                  <a:gd name="connsiteX2" fmla="*/ 353738 w 896663"/>
                  <a:gd name="connsiteY2" fmla="*/ 85725 h 4505325"/>
                  <a:gd name="connsiteX3" fmla="*/ 283888 w 896663"/>
                  <a:gd name="connsiteY3" fmla="*/ 98425 h 4505325"/>
                  <a:gd name="connsiteX4" fmla="*/ 223563 w 896663"/>
                  <a:gd name="connsiteY4" fmla="*/ 133350 h 4505325"/>
                  <a:gd name="connsiteX5" fmla="*/ 121963 w 896663"/>
                  <a:gd name="connsiteY5" fmla="*/ 196850 h 4505325"/>
                  <a:gd name="connsiteX6" fmla="*/ 131488 w 896663"/>
                  <a:gd name="connsiteY6" fmla="*/ 247650 h 4505325"/>
                  <a:gd name="connsiteX7" fmla="*/ 172763 w 896663"/>
                  <a:gd name="connsiteY7" fmla="*/ 276225 h 4505325"/>
                  <a:gd name="connsiteX8" fmla="*/ 185463 w 896663"/>
                  <a:gd name="connsiteY8" fmla="*/ 327025 h 4505325"/>
                  <a:gd name="connsiteX9" fmla="*/ 239438 w 896663"/>
                  <a:gd name="connsiteY9" fmla="*/ 368300 h 4505325"/>
                  <a:gd name="connsiteX10" fmla="*/ 239438 w 896663"/>
                  <a:gd name="connsiteY10" fmla="*/ 412750 h 4505325"/>
                  <a:gd name="connsiteX11" fmla="*/ 207688 w 896663"/>
                  <a:gd name="connsiteY11" fmla="*/ 454025 h 4505325"/>
                  <a:gd name="connsiteX12" fmla="*/ 287063 w 896663"/>
                  <a:gd name="connsiteY12" fmla="*/ 479425 h 4505325"/>
                  <a:gd name="connsiteX13" fmla="*/ 302938 w 896663"/>
                  <a:gd name="connsiteY13" fmla="*/ 511175 h 4505325"/>
                  <a:gd name="connsiteX14" fmla="*/ 210863 w 896663"/>
                  <a:gd name="connsiteY14" fmla="*/ 581025 h 4505325"/>
                  <a:gd name="connsiteX15" fmla="*/ 160063 w 896663"/>
                  <a:gd name="connsiteY15" fmla="*/ 638175 h 4505325"/>
                  <a:gd name="connsiteX16" fmla="*/ 160063 w 896663"/>
                  <a:gd name="connsiteY16" fmla="*/ 695325 h 4505325"/>
                  <a:gd name="connsiteX17" fmla="*/ 185463 w 896663"/>
                  <a:gd name="connsiteY17" fmla="*/ 784225 h 4505325"/>
                  <a:gd name="connsiteX18" fmla="*/ 194988 w 896663"/>
                  <a:gd name="connsiteY18" fmla="*/ 835025 h 4505325"/>
                  <a:gd name="connsiteX19" fmla="*/ 204513 w 896663"/>
                  <a:gd name="connsiteY19" fmla="*/ 885825 h 4505325"/>
                  <a:gd name="connsiteX20" fmla="*/ 220388 w 896663"/>
                  <a:gd name="connsiteY20" fmla="*/ 923925 h 4505325"/>
                  <a:gd name="connsiteX21" fmla="*/ 163238 w 896663"/>
                  <a:gd name="connsiteY21" fmla="*/ 1022350 h 4505325"/>
                  <a:gd name="connsiteX22" fmla="*/ 96563 w 896663"/>
                  <a:gd name="connsiteY22" fmla="*/ 1057275 h 4505325"/>
                  <a:gd name="connsiteX23" fmla="*/ 52113 w 896663"/>
                  <a:gd name="connsiteY23" fmla="*/ 1143000 h 4505325"/>
                  <a:gd name="connsiteX24" fmla="*/ 20363 w 896663"/>
                  <a:gd name="connsiteY24" fmla="*/ 1244600 h 4505325"/>
                  <a:gd name="connsiteX25" fmla="*/ 1313 w 896663"/>
                  <a:gd name="connsiteY25" fmla="*/ 1346200 h 4505325"/>
                  <a:gd name="connsiteX26" fmla="*/ 10838 w 896663"/>
                  <a:gd name="connsiteY26" fmla="*/ 1438275 h 4505325"/>
                  <a:gd name="connsiteX27" fmla="*/ 83863 w 896663"/>
                  <a:gd name="connsiteY27" fmla="*/ 1511300 h 4505325"/>
                  <a:gd name="connsiteX28" fmla="*/ 112438 w 896663"/>
                  <a:gd name="connsiteY28" fmla="*/ 1558925 h 4505325"/>
                  <a:gd name="connsiteX29" fmla="*/ 150538 w 896663"/>
                  <a:gd name="connsiteY29" fmla="*/ 1590675 h 4505325"/>
                  <a:gd name="connsiteX30" fmla="*/ 169588 w 896663"/>
                  <a:gd name="connsiteY30" fmla="*/ 1644650 h 4505325"/>
                  <a:gd name="connsiteX31" fmla="*/ 226738 w 896663"/>
                  <a:gd name="connsiteY31" fmla="*/ 1685925 h 4505325"/>
                  <a:gd name="connsiteX32" fmla="*/ 264838 w 896663"/>
                  <a:gd name="connsiteY32" fmla="*/ 1730375 h 4505325"/>
                  <a:gd name="connsiteX33" fmla="*/ 277538 w 896663"/>
                  <a:gd name="connsiteY33" fmla="*/ 1758950 h 4505325"/>
                  <a:gd name="connsiteX34" fmla="*/ 277538 w 896663"/>
                  <a:gd name="connsiteY34" fmla="*/ 1828800 h 4505325"/>
                  <a:gd name="connsiteX35" fmla="*/ 325163 w 896663"/>
                  <a:gd name="connsiteY35" fmla="*/ 1905000 h 4505325"/>
                  <a:gd name="connsiteX36" fmla="*/ 363263 w 896663"/>
                  <a:gd name="connsiteY36" fmla="*/ 1962150 h 4505325"/>
                  <a:gd name="connsiteX37" fmla="*/ 369613 w 896663"/>
                  <a:gd name="connsiteY37" fmla="*/ 2028825 h 4505325"/>
                  <a:gd name="connsiteX38" fmla="*/ 407713 w 896663"/>
                  <a:gd name="connsiteY38" fmla="*/ 2085975 h 4505325"/>
                  <a:gd name="connsiteX39" fmla="*/ 414063 w 896663"/>
                  <a:gd name="connsiteY39" fmla="*/ 2209800 h 4505325"/>
                  <a:gd name="connsiteX40" fmla="*/ 252138 w 896663"/>
                  <a:gd name="connsiteY40" fmla="*/ 2251075 h 4505325"/>
                  <a:gd name="connsiteX41" fmla="*/ 201338 w 896663"/>
                  <a:gd name="connsiteY41" fmla="*/ 2390775 h 4505325"/>
                  <a:gd name="connsiteX42" fmla="*/ 210863 w 896663"/>
                  <a:gd name="connsiteY42" fmla="*/ 2454275 h 4505325"/>
                  <a:gd name="connsiteX43" fmla="*/ 226738 w 896663"/>
                  <a:gd name="connsiteY43" fmla="*/ 2482850 h 4505325"/>
                  <a:gd name="connsiteX44" fmla="*/ 226738 w 896663"/>
                  <a:gd name="connsiteY44" fmla="*/ 2527300 h 4505325"/>
                  <a:gd name="connsiteX45" fmla="*/ 236263 w 896663"/>
                  <a:gd name="connsiteY45" fmla="*/ 2603500 h 4505325"/>
                  <a:gd name="connsiteX46" fmla="*/ 153713 w 896663"/>
                  <a:gd name="connsiteY46" fmla="*/ 2917824 h 4505325"/>
                  <a:gd name="connsiteX47" fmla="*/ 80688 w 896663"/>
                  <a:gd name="connsiteY47" fmla="*/ 3063874 h 4505325"/>
                  <a:gd name="connsiteX48" fmla="*/ 42588 w 896663"/>
                  <a:gd name="connsiteY48" fmla="*/ 3133724 h 4505325"/>
                  <a:gd name="connsiteX49" fmla="*/ 17188 w 896663"/>
                  <a:gd name="connsiteY49" fmla="*/ 3203574 h 4505325"/>
                  <a:gd name="connsiteX50" fmla="*/ 10838 w 896663"/>
                  <a:gd name="connsiteY50" fmla="*/ 3390899 h 4505325"/>
                  <a:gd name="connsiteX51" fmla="*/ 33063 w 896663"/>
                  <a:gd name="connsiteY51" fmla="*/ 3492499 h 4505325"/>
                  <a:gd name="connsiteX52" fmla="*/ 118788 w 896663"/>
                  <a:gd name="connsiteY52" fmla="*/ 3829049 h 4505325"/>
                  <a:gd name="connsiteX53" fmla="*/ 264838 w 896663"/>
                  <a:gd name="connsiteY53" fmla="*/ 3917949 h 4505325"/>
                  <a:gd name="connsiteX54" fmla="*/ 382313 w 896663"/>
                  <a:gd name="connsiteY54" fmla="*/ 4203699 h 4505325"/>
                  <a:gd name="connsiteX55" fmla="*/ 502963 w 896663"/>
                  <a:gd name="connsiteY55" fmla="*/ 4254499 h 4505325"/>
                  <a:gd name="connsiteX56" fmla="*/ 639488 w 896663"/>
                  <a:gd name="connsiteY56" fmla="*/ 4302124 h 4505325"/>
                  <a:gd name="connsiteX57" fmla="*/ 760138 w 896663"/>
                  <a:gd name="connsiteY57" fmla="*/ 4292599 h 4505325"/>
                  <a:gd name="connsiteX58" fmla="*/ 896663 w 896663"/>
                  <a:gd name="connsiteY58" fmla="*/ 4505325 h 4505325"/>
                  <a:gd name="connsiteX0" fmla="*/ 445813 w 896663"/>
                  <a:gd name="connsiteY0" fmla="*/ 0 h 4505325"/>
                  <a:gd name="connsiteX1" fmla="*/ 407713 w 896663"/>
                  <a:gd name="connsiteY1" fmla="*/ 66675 h 4505325"/>
                  <a:gd name="connsiteX2" fmla="*/ 353738 w 896663"/>
                  <a:gd name="connsiteY2" fmla="*/ 85725 h 4505325"/>
                  <a:gd name="connsiteX3" fmla="*/ 283888 w 896663"/>
                  <a:gd name="connsiteY3" fmla="*/ 98425 h 4505325"/>
                  <a:gd name="connsiteX4" fmla="*/ 223563 w 896663"/>
                  <a:gd name="connsiteY4" fmla="*/ 133350 h 4505325"/>
                  <a:gd name="connsiteX5" fmla="*/ 121963 w 896663"/>
                  <a:gd name="connsiteY5" fmla="*/ 196850 h 4505325"/>
                  <a:gd name="connsiteX6" fmla="*/ 131488 w 896663"/>
                  <a:gd name="connsiteY6" fmla="*/ 247650 h 4505325"/>
                  <a:gd name="connsiteX7" fmla="*/ 172763 w 896663"/>
                  <a:gd name="connsiteY7" fmla="*/ 276225 h 4505325"/>
                  <a:gd name="connsiteX8" fmla="*/ 185463 w 896663"/>
                  <a:gd name="connsiteY8" fmla="*/ 327025 h 4505325"/>
                  <a:gd name="connsiteX9" fmla="*/ 239438 w 896663"/>
                  <a:gd name="connsiteY9" fmla="*/ 368300 h 4505325"/>
                  <a:gd name="connsiteX10" fmla="*/ 239438 w 896663"/>
                  <a:gd name="connsiteY10" fmla="*/ 412750 h 4505325"/>
                  <a:gd name="connsiteX11" fmla="*/ 207688 w 896663"/>
                  <a:gd name="connsiteY11" fmla="*/ 454025 h 4505325"/>
                  <a:gd name="connsiteX12" fmla="*/ 287063 w 896663"/>
                  <a:gd name="connsiteY12" fmla="*/ 479425 h 4505325"/>
                  <a:gd name="connsiteX13" fmla="*/ 302938 w 896663"/>
                  <a:gd name="connsiteY13" fmla="*/ 511175 h 4505325"/>
                  <a:gd name="connsiteX14" fmla="*/ 210863 w 896663"/>
                  <a:gd name="connsiteY14" fmla="*/ 581025 h 4505325"/>
                  <a:gd name="connsiteX15" fmla="*/ 160063 w 896663"/>
                  <a:gd name="connsiteY15" fmla="*/ 638175 h 4505325"/>
                  <a:gd name="connsiteX16" fmla="*/ 160063 w 896663"/>
                  <a:gd name="connsiteY16" fmla="*/ 695325 h 4505325"/>
                  <a:gd name="connsiteX17" fmla="*/ 185463 w 896663"/>
                  <a:gd name="connsiteY17" fmla="*/ 784225 h 4505325"/>
                  <a:gd name="connsiteX18" fmla="*/ 194988 w 896663"/>
                  <a:gd name="connsiteY18" fmla="*/ 835025 h 4505325"/>
                  <a:gd name="connsiteX19" fmla="*/ 204513 w 896663"/>
                  <a:gd name="connsiteY19" fmla="*/ 885825 h 4505325"/>
                  <a:gd name="connsiteX20" fmla="*/ 220388 w 896663"/>
                  <a:gd name="connsiteY20" fmla="*/ 923925 h 4505325"/>
                  <a:gd name="connsiteX21" fmla="*/ 163238 w 896663"/>
                  <a:gd name="connsiteY21" fmla="*/ 1022350 h 4505325"/>
                  <a:gd name="connsiteX22" fmla="*/ 96563 w 896663"/>
                  <a:gd name="connsiteY22" fmla="*/ 1057275 h 4505325"/>
                  <a:gd name="connsiteX23" fmla="*/ 52113 w 896663"/>
                  <a:gd name="connsiteY23" fmla="*/ 1143000 h 4505325"/>
                  <a:gd name="connsiteX24" fmla="*/ 20363 w 896663"/>
                  <a:gd name="connsiteY24" fmla="*/ 1244600 h 4505325"/>
                  <a:gd name="connsiteX25" fmla="*/ 1313 w 896663"/>
                  <a:gd name="connsiteY25" fmla="*/ 1346200 h 4505325"/>
                  <a:gd name="connsiteX26" fmla="*/ 10838 w 896663"/>
                  <a:gd name="connsiteY26" fmla="*/ 1438275 h 4505325"/>
                  <a:gd name="connsiteX27" fmla="*/ 83863 w 896663"/>
                  <a:gd name="connsiteY27" fmla="*/ 1511300 h 4505325"/>
                  <a:gd name="connsiteX28" fmla="*/ 112438 w 896663"/>
                  <a:gd name="connsiteY28" fmla="*/ 1558925 h 4505325"/>
                  <a:gd name="connsiteX29" fmla="*/ 150538 w 896663"/>
                  <a:gd name="connsiteY29" fmla="*/ 1590675 h 4505325"/>
                  <a:gd name="connsiteX30" fmla="*/ 169588 w 896663"/>
                  <a:gd name="connsiteY30" fmla="*/ 1644650 h 4505325"/>
                  <a:gd name="connsiteX31" fmla="*/ 226738 w 896663"/>
                  <a:gd name="connsiteY31" fmla="*/ 1685925 h 4505325"/>
                  <a:gd name="connsiteX32" fmla="*/ 264838 w 896663"/>
                  <a:gd name="connsiteY32" fmla="*/ 1730375 h 4505325"/>
                  <a:gd name="connsiteX33" fmla="*/ 277538 w 896663"/>
                  <a:gd name="connsiteY33" fmla="*/ 1758950 h 4505325"/>
                  <a:gd name="connsiteX34" fmla="*/ 277538 w 896663"/>
                  <a:gd name="connsiteY34" fmla="*/ 1828800 h 4505325"/>
                  <a:gd name="connsiteX35" fmla="*/ 325163 w 896663"/>
                  <a:gd name="connsiteY35" fmla="*/ 1905000 h 4505325"/>
                  <a:gd name="connsiteX36" fmla="*/ 363263 w 896663"/>
                  <a:gd name="connsiteY36" fmla="*/ 1962150 h 4505325"/>
                  <a:gd name="connsiteX37" fmla="*/ 369613 w 896663"/>
                  <a:gd name="connsiteY37" fmla="*/ 2028825 h 4505325"/>
                  <a:gd name="connsiteX38" fmla="*/ 407713 w 896663"/>
                  <a:gd name="connsiteY38" fmla="*/ 2085975 h 4505325"/>
                  <a:gd name="connsiteX39" fmla="*/ 414063 w 896663"/>
                  <a:gd name="connsiteY39" fmla="*/ 2209800 h 4505325"/>
                  <a:gd name="connsiteX40" fmla="*/ 252138 w 896663"/>
                  <a:gd name="connsiteY40" fmla="*/ 2251075 h 4505325"/>
                  <a:gd name="connsiteX41" fmla="*/ 201338 w 896663"/>
                  <a:gd name="connsiteY41" fmla="*/ 2390775 h 4505325"/>
                  <a:gd name="connsiteX42" fmla="*/ 210863 w 896663"/>
                  <a:gd name="connsiteY42" fmla="*/ 2454275 h 4505325"/>
                  <a:gd name="connsiteX43" fmla="*/ 226738 w 896663"/>
                  <a:gd name="connsiteY43" fmla="*/ 2482850 h 4505325"/>
                  <a:gd name="connsiteX44" fmla="*/ 226738 w 896663"/>
                  <a:gd name="connsiteY44" fmla="*/ 2527300 h 4505325"/>
                  <a:gd name="connsiteX45" fmla="*/ 236263 w 896663"/>
                  <a:gd name="connsiteY45" fmla="*/ 2603500 h 4505325"/>
                  <a:gd name="connsiteX46" fmla="*/ 153713 w 896663"/>
                  <a:gd name="connsiteY46" fmla="*/ 2917824 h 4505325"/>
                  <a:gd name="connsiteX47" fmla="*/ 80688 w 896663"/>
                  <a:gd name="connsiteY47" fmla="*/ 3063874 h 4505325"/>
                  <a:gd name="connsiteX48" fmla="*/ 42588 w 896663"/>
                  <a:gd name="connsiteY48" fmla="*/ 3133724 h 4505325"/>
                  <a:gd name="connsiteX49" fmla="*/ 17188 w 896663"/>
                  <a:gd name="connsiteY49" fmla="*/ 3203574 h 4505325"/>
                  <a:gd name="connsiteX50" fmla="*/ 10838 w 896663"/>
                  <a:gd name="connsiteY50" fmla="*/ 3390899 h 4505325"/>
                  <a:gd name="connsiteX51" fmla="*/ 33063 w 896663"/>
                  <a:gd name="connsiteY51" fmla="*/ 3492499 h 4505325"/>
                  <a:gd name="connsiteX52" fmla="*/ 118788 w 896663"/>
                  <a:gd name="connsiteY52" fmla="*/ 3829049 h 4505325"/>
                  <a:gd name="connsiteX53" fmla="*/ 264838 w 896663"/>
                  <a:gd name="connsiteY53" fmla="*/ 3917949 h 4505325"/>
                  <a:gd name="connsiteX54" fmla="*/ 382313 w 896663"/>
                  <a:gd name="connsiteY54" fmla="*/ 4203699 h 4505325"/>
                  <a:gd name="connsiteX55" fmla="*/ 502963 w 896663"/>
                  <a:gd name="connsiteY55" fmla="*/ 4254499 h 4505325"/>
                  <a:gd name="connsiteX56" fmla="*/ 639488 w 896663"/>
                  <a:gd name="connsiteY56" fmla="*/ 4302124 h 4505325"/>
                  <a:gd name="connsiteX57" fmla="*/ 760138 w 896663"/>
                  <a:gd name="connsiteY57" fmla="*/ 4292599 h 4505325"/>
                  <a:gd name="connsiteX58" fmla="*/ 896663 w 896663"/>
                  <a:gd name="connsiteY58" fmla="*/ 4505325 h 4505325"/>
                  <a:gd name="connsiteX0" fmla="*/ 445813 w 896663"/>
                  <a:gd name="connsiteY0" fmla="*/ 0 h 4505325"/>
                  <a:gd name="connsiteX1" fmla="*/ 407713 w 896663"/>
                  <a:gd name="connsiteY1" fmla="*/ 66675 h 4505325"/>
                  <a:gd name="connsiteX2" fmla="*/ 353738 w 896663"/>
                  <a:gd name="connsiteY2" fmla="*/ 85725 h 4505325"/>
                  <a:gd name="connsiteX3" fmla="*/ 283888 w 896663"/>
                  <a:gd name="connsiteY3" fmla="*/ 98425 h 4505325"/>
                  <a:gd name="connsiteX4" fmla="*/ 223563 w 896663"/>
                  <a:gd name="connsiteY4" fmla="*/ 133350 h 4505325"/>
                  <a:gd name="connsiteX5" fmla="*/ 121963 w 896663"/>
                  <a:gd name="connsiteY5" fmla="*/ 196850 h 4505325"/>
                  <a:gd name="connsiteX6" fmla="*/ 131488 w 896663"/>
                  <a:gd name="connsiteY6" fmla="*/ 247650 h 4505325"/>
                  <a:gd name="connsiteX7" fmla="*/ 172763 w 896663"/>
                  <a:gd name="connsiteY7" fmla="*/ 276225 h 4505325"/>
                  <a:gd name="connsiteX8" fmla="*/ 185463 w 896663"/>
                  <a:gd name="connsiteY8" fmla="*/ 327025 h 4505325"/>
                  <a:gd name="connsiteX9" fmla="*/ 239438 w 896663"/>
                  <a:gd name="connsiteY9" fmla="*/ 368300 h 4505325"/>
                  <a:gd name="connsiteX10" fmla="*/ 239438 w 896663"/>
                  <a:gd name="connsiteY10" fmla="*/ 412750 h 4505325"/>
                  <a:gd name="connsiteX11" fmla="*/ 207688 w 896663"/>
                  <a:gd name="connsiteY11" fmla="*/ 454025 h 4505325"/>
                  <a:gd name="connsiteX12" fmla="*/ 287063 w 896663"/>
                  <a:gd name="connsiteY12" fmla="*/ 479425 h 4505325"/>
                  <a:gd name="connsiteX13" fmla="*/ 302938 w 896663"/>
                  <a:gd name="connsiteY13" fmla="*/ 511175 h 4505325"/>
                  <a:gd name="connsiteX14" fmla="*/ 210863 w 896663"/>
                  <a:gd name="connsiteY14" fmla="*/ 581025 h 4505325"/>
                  <a:gd name="connsiteX15" fmla="*/ 160063 w 896663"/>
                  <a:gd name="connsiteY15" fmla="*/ 638175 h 4505325"/>
                  <a:gd name="connsiteX16" fmla="*/ 160063 w 896663"/>
                  <a:gd name="connsiteY16" fmla="*/ 695325 h 4505325"/>
                  <a:gd name="connsiteX17" fmla="*/ 185463 w 896663"/>
                  <a:gd name="connsiteY17" fmla="*/ 784225 h 4505325"/>
                  <a:gd name="connsiteX18" fmla="*/ 194988 w 896663"/>
                  <a:gd name="connsiteY18" fmla="*/ 835025 h 4505325"/>
                  <a:gd name="connsiteX19" fmla="*/ 204513 w 896663"/>
                  <a:gd name="connsiteY19" fmla="*/ 885825 h 4505325"/>
                  <a:gd name="connsiteX20" fmla="*/ 220388 w 896663"/>
                  <a:gd name="connsiteY20" fmla="*/ 923925 h 4505325"/>
                  <a:gd name="connsiteX21" fmla="*/ 163238 w 896663"/>
                  <a:gd name="connsiteY21" fmla="*/ 1022350 h 4505325"/>
                  <a:gd name="connsiteX22" fmla="*/ 96563 w 896663"/>
                  <a:gd name="connsiteY22" fmla="*/ 1057275 h 4505325"/>
                  <a:gd name="connsiteX23" fmla="*/ 52113 w 896663"/>
                  <a:gd name="connsiteY23" fmla="*/ 1143000 h 4505325"/>
                  <a:gd name="connsiteX24" fmla="*/ 20363 w 896663"/>
                  <a:gd name="connsiteY24" fmla="*/ 1244600 h 4505325"/>
                  <a:gd name="connsiteX25" fmla="*/ 1313 w 896663"/>
                  <a:gd name="connsiteY25" fmla="*/ 1346200 h 4505325"/>
                  <a:gd name="connsiteX26" fmla="*/ 10838 w 896663"/>
                  <a:gd name="connsiteY26" fmla="*/ 1438275 h 4505325"/>
                  <a:gd name="connsiteX27" fmla="*/ 83863 w 896663"/>
                  <a:gd name="connsiteY27" fmla="*/ 1511300 h 4505325"/>
                  <a:gd name="connsiteX28" fmla="*/ 112438 w 896663"/>
                  <a:gd name="connsiteY28" fmla="*/ 1558925 h 4505325"/>
                  <a:gd name="connsiteX29" fmla="*/ 150538 w 896663"/>
                  <a:gd name="connsiteY29" fmla="*/ 1590675 h 4505325"/>
                  <a:gd name="connsiteX30" fmla="*/ 169588 w 896663"/>
                  <a:gd name="connsiteY30" fmla="*/ 1644650 h 4505325"/>
                  <a:gd name="connsiteX31" fmla="*/ 226738 w 896663"/>
                  <a:gd name="connsiteY31" fmla="*/ 1685925 h 4505325"/>
                  <a:gd name="connsiteX32" fmla="*/ 264838 w 896663"/>
                  <a:gd name="connsiteY32" fmla="*/ 1730375 h 4505325"/>
                  <a:gd name="connsiteX33" fmla="*/ 277538 w 896663"/>
                  <a:gd name="connsiteY33" fmla="*/ 1758950 h 4505325"/>
                  <a:gd name="connsiteX34" fmla="*/ 277538 w 896663"/>
                  <a:gd name="connsiteY34" fmla="*/ 1828800 h 4505325"/>
                  <a:gd name="connsiteX35" fmla="*/ 325163 w 896663"/>
                  <a:gd name="connsiteY35" fmla="*/ 1905000 h 4505325"/>
                  <a:gd name="connsiteX36" fmla="*/ 363263 w 896663"/>
                  <a:gd name="connsiteY36" fmla="*/ 1962150 h 4505325"/>
                  <a:gd name="connsiteX37" fmla="*/ 369613 w 896663"/>
                  <a:gd name="connsiteY37" fmla="*/ 2028825 h 4505325"/>
                  <a:gd name="connsiteX38" fmla="*/ 407713 w 896663"/>
                  <a:gd name="connsiteY38" fmla="*/ 2085975 h 4505325"/>
                  <a:gd name="connsiteX39" fmla="*/ 414063 w 896663"/>
                  <a:gd name="connsiteY39" fmla="*/ 2209800 h 4505325"/>
                  <a:gd name="connsiteX40" fmla="*/ 252138 w 896663"/>
                  <a:gd name="connsiteY40" fmla="*/ 2251075 h 4505325"/>
                  <a:gd name="connsiteX41" fmla="*/ 201338 w 896663"/>
                  <a:gd name="connsiteY41" fmla="*/ 2390775 h 4505325"/>
                  <a:gd name="connsiteX42" fmla="*/ 210863 w 896663"/>
                  <a:gd name="connsiteY42" fmla="*/ 2454275 h 4505325"/>
                  <a:gd name="connsiteX43" fmla="*/ 226738 w 896663"/>
                  <a:gd name="connsiteY43" fmla="*/ 2482850 h 4505325"/>
                  <a:gd name="connsiteX44" fmla="*/ 226738 w 896663"/>
                  <a:gd name="connsiteY44" fmla="*/ 2527300 h 4505325"/>
                  <a:gd name="connsiteX45" fmla="*/ 236263 w 896663"/>
                  <a:gd name="connsiteY45" fmla="*/ 2603500 h 4505325"/>
                  <a:gd name="connsiteX46" fmla="*/ 153713 w 896663"/>
                  <a:gd name="connsiteY46" fmla="*/ 2917824 h 4505325"/>
                  <a:gd name="connsiteX47" fmla="*/ 80688 w 896663"/>
                  <a:gd name="connsiteY47" fmla="*/ 3063874 h 4505325"/>
                  <a:gd name="connsiteX48" fmla="*/ 42588 w 896663"/>
                  <a:gd name="connsiteY48" fmla="*/ 3133724 h 4505325"/>
                  <a:gd name="connsiteX49" fmla="*/ 17188 w 896663"/>
                  <a:gd name="connsiteY49" fmla="*/ 3203574 h 4505325"/>
                  <a:gd name="connsiteX50" fmla="*/ 10838 w 896663"/>
                  <a:gd name="connsiteY50" fmla="*/ 3390899 h 4505325"/>
                  <a:gd name="connsiteX51" fmla="*/ 33063 w 896663"/>
                  <a:gd name="connsiteY51" fmla="*/ 3492499 h 4505325"/>
                  <a:gd name="connsiteX52" fmla="*/ 118788 w 896663"/>
                  <a:gd name="connsiteY52" fmla="*/ 3829049 h 4505325"/>
                  <a:gd name="connsiteX53" fmla="*/ 268013 w 896663"/>
                  <a:gd name="connsiteY53" fmla="*/ 3905249 h 4505325"/>
                  <a:gd name="connsiteX54" fmla="*/ 382313 w 896663"/>
                  <a:gd name="connsiteY54" fmla="*/ 4203699 h 4505325"/>
                  <a:gd name="connsiteX55" fmla="*/ 502963 w 896663"/>
                  <a:gd name="connsiteY55" fmla="*/ 4254499 h 4505325"/>
                  <a:gd name="connsiteX56" fmla="*/ 639488 w 896663"/>
                  <a:gd name="connsiteY56" fmla="*/ 4302124 h 4505325"/>
                  <a:gd name="connsiteX57" fmla="*/ 760138 w 896663"/>
                  <a:gd name="connsiteY57" fmla="*/ 4292599 h 4505325"/>
                  <a:gd name="connsiteX58" fmla="*/ 896663 w 896663"/>
                  <a:gd name="connsiteY58" fmla="*/ 4505325 h 4505325"/>
                  <a:gd name="connsiteX0" fmla="*/ 445813 w 896663"/>
                  <a:gd name="connsiteY0" fmla="*/ 0 h 4505325"/>
                  <a:gd name="connsiteX1" fmla="*/ 407713 w 896663"/>
                  <a:gd name="connsiteY1" fmla="*/ 66675 h 4505325"/>
                  <a:gd name="connsiteX2" fmla="*/ 353738 w 896663"/>
                  <a:gd name="connsiteY2" fmla="*/ 85725 h 4505325"/>
                  <a:gd name="connsiteX3" fmla="*/ 283888 w 896663"/>
                  <a:gd name="connsiteY3" fmla="*/ 98425 h 4505325"/>
                  <a:gd name="connsiteX4" fmla="*/ 223563 w 896663"/>
                  <a:gd name="connsiteY4" fmla="*/ 133350 h 4505325"/>
                  <a:gd name="connsiteX5" fmla="*/ 121963 w 896663"/>
                  <a:gd name="connsiteY5" fmla="*/ 196850 h 4505325"/>
                  <a:gd name="connsiteX6" fmla="*/ 131488 w 896663"/>
                  <a:gd name="connsiteY6" fmla="*/ 247650 h 4505325"/>
                  <a:gd name="connsiteX7" fmla="*/ 172763 w 896663"/>
                  <a:gd name="connsiteY7" fmla="*/ 276225 h 4505325"/>
                  <a:gd name="connsiteX8" fmla="*/ 185463 w 896663"/>
                  <a:gd name="connsiteY8" fmla="*/ 327025 h 4505325"/>
                  <a:gd name="connsiteX9" fmla="*/ 239438 w 896663"/>
                  <a:gd name="connsiteY9" fmla="*/ 368300 h 4505325"/>
                  <a:gd name="connsiteX10" fmla="*/ 239438 w 896663"/>
                  <a:gd name="connsiteY10" fmla="*/ 412750 h 4505325"/>
                  <a:gd name="connsiteX11" fmla="*/ 207688 w 896663"/>
                  <a:gd name="connsiteY11" fmla="*/ 454025 h 4505325"/>
                  <a:gd name="connsiteX12" fmla="*/ 287063 w 896663"/>
                  <a:gd name="connsiteY12" fmla="*/ 479425 h 4505325"/>
                  <a:gd name="connsiteX13" fmla="*/ 302938 w 896663"/>
                  <a:gd name="connsiteY13" fmla="*/ 511175 h 4505325"/>
                  <a:gd name="connsiteX14" fmla="*/ 210863 w 896663"/>
                  <a:gd name="connsiteY14" fmla="*/ 581025 h 4505325"/>
                  <a:gd name="connsiteX15" fmla="*/ 160063 w 896663"/>
                  <a:gd name="connsiteY15" fmla="*/ 638175 h 4505325"/>
                  <a:gd name="connsiteX16" fmla="*/ 160063 w 896663"/>
                  <a:gd name="connsiteY16" fmla="*/ 695325 h 4505325"/>
                  <a:gd name="connsiteX17" fmla="*/ 185463 w 896663"/>
                  <a:gd name="connsiteY17" fmla="*/ 784225 h 4505325"/>
                  <a:gd name="connsiteX18" fmla="*/ 194988 w 896663"/>
                  <a:gd name="connsiteY18" fmla="*/ 835025 h 4505325"/>
                  <a:gd name="connsiteX19" fmla="*/ 204513 w 896663"/>
                  <a:gd name="connsiteY19" fmla="*/ 885825 h 4505325"/>
                  <a:gd name="connsiteX20" fmla="*/ 220388 w 896663"/>
                  <a:gd name="connsiteY20" fmla="*/ 923925 h 4505325"/>
                  <a:gd name="connsiteX21" fmla="*/ 163238 w 896663"/>
                  <a:gd name="connsiteY21" fmla="*/ 1022350 h 4505325"/>
                  <a:gd name="connsiteX22" fmla="*/ 96563 w 896663"/>
                  <a:gd name="connsiteY22" fmla="*/ 1057275 h 4505325"/>
                  <a:gd name="connsiteX23" fmla="*/ 52113 w 896663"/>
                  <a:gd name="connsiteY23" fmla="*/ 1143000 h 4505325"/>
                  <a:gd name="connsiteX24" fmla="*/ 20363 w 896663"/>
                  <a:gd name="connsiteY24" fmla="*/ 1244600 h 4505325"/>
                  <a:gd name="connsiteX25" fmla="*/ 1313 w 896663"/>
                  <a:gd name="connsiteY25" fmla="*/ 1346200 h 4505325"/>
                  <a:gd name="connsiteX26" fmla="*/ 10838 w 896663"/>
                  <a:gd name="connsiteY26" fmla="*/ 1438275 h 4505325"/>
                  <a:gd name="connsiteX27" fmla="*/ 83863 w 896663"/>
                  <a:gd name="connsiteY27" fmla="*/ 1511300 h 4505325"/>
                  <a:gd name="connsiteX28" fmla="*/ 112438 w 896663"/>
                  <a:gd name="connsiteY28" fmla="*/ 1558925 h 4505325"/>
                  <a:gd name="connsiteX29" fmla="*/ 150538 w 896663"/>
                  <a:gd name="connsiteY29" fmla="*/ 1590675 h 4505325"/>
                  <a:gd name="connsiteX30" fmla="*/ 169588 w 896663"/>
                  <a:gd name="connsiteY30" fmla="*/ 1644650 h 4505325"/>
                  <a:gd name="connsiteX31" fmla="*/ 226738 w 896663"/>
                  <a:gd name="connsiteY31" fmla="*/ 1685925 h 4505325"/>
                  <a:gd name="connsiteX32" fmla="*/ 264838 w 896663"/>
                  <a:gd name="connsiteY32" fmla="*/ 1730375 h 4505325"/>
                  <a:gd name="connsiteX33" fmla="*/ 277538 w 896663"/>
                  <a:gd name="connsiteY33" fmla="*/ 1758950 h 4505325"/>
                  <a:gd name="connsiteX34" fmla="*/ 277538 w 896663"/>
                  <a:gd name="connsiteY34" fmla="*/ 1828800 h 4505325"/>
                  <a:gd name="connsiteX35" fmla="*/ 325163 w 896663"/>
                  <a:gd name="connsiteY35" fmla="*/ 1905000 h 4505325"/>
                  <a:gd name="connsiteX36" fmla="*/ 363263 w 896663"/>
                  <a:gd name="connsiteY36" fmla="*/ 1962150 h 4505325"/>
                  <a:gd name="connsiteX37" fmla="*/ 369613 w 896663"/>
                  <a:gd name="connsiteY37" fmla="*/ 2028825 h 4505325"/>
                  <a:gd name="connsiteX38" fmla="*/ 407713 w 896663"/>
                  <a:gd name="connsiteY38" fmla="*/ 2085975 h 4505325"/>
                  <a:gd name="connsiteX39" fmla="*/ 414063 w 896663"/>
                  <a:gd name="connsiteY39" fmla="*/ 2209800 h 4505325"/>
                  <a:gd name="connsiteX40" fmla="*/ 252138 w 896663"/>
                  <a:gd name="connsiteY40" fmla="*/ 2251075 h 4505325"/>
                  <a:gd name="connsiteX41" fmla="*/ 201338 w 896663"/>
                  <a:gd name="connsiteY41" fmla="*/ 2390775 h 4505325"/>
                  <a:gd name="connsiteX42" fmla="*/ 210863 w 896663"/>
                  <a:gd name="connsiteY42" fmla="*/ 2454275 h 4505325"/>
                  <a:gd name="connsiteX43" fmla="*/ 226738 w 896663"/>
                  <a:gd name="connsiteY43" fmla="*/ 2482850 h 4505325"/>
                  <a:gd name="connsiteX44" fmla="*/ 226738 w 896663"/>
                  <a:gd name="connsiteY44" fmla="*/ 2527300 h 4505325"/>
                  <a:gd name="connsiteX45" fmla="*/ 236263 w 896663"/>
                  <a:gd name="connsiteY45" fmla="*/ 2603500 h 4505325"/>
                  <a:gd name="connsiteX46" fmla="*/ 153713 w 896663"/>
                  <a:gd name="connsiteY46" fmla="*/ 2917824 h 4505325"/>
                  <a:gd name="connsiteX47" fmla="*/ 80688 w 896663"/>
                  <a:gd name="connsiteY47" fmla="*/ 3063874 h 4505325"/>
                  <a:gd name="connsiteX48" fmla="*/ 42588 w 896663"/>
                  <a:gd name="connsiteY48" fmla="*/ 3133724 h 4505325"/>
                  <a:gd name="connsiteX49" fmla="*/ 17188 w 896663"/>
                  <a:gd name="connsiteY49" fmla="*/ 3203574 h 4505325"/>
                  <a:gd name="connsiteX50" fmla="*/ 10838 w 896663"/>
                  <a:gd name="connsiteY50" fmla="*/ 3390899 h 4505325"/>
                  <a:gd name="connsiteX51" fmla="*/ 33063 w 896663"/>
                  <a:gd name="connsiteY51" fmla="*/ 3492499 h 4505325"/>
                  <a:gd name="connsiteX52" fmla="*/ 118788 w 896663"/>
                  <a:gd name="connsiteY52" fmla="*/ 3829049 h 4505325"/>
                  <a:gd name="connsiteX53" fmla="*/ 210863 w 896663"/>
                  <a:gd name="connsiteY53" fmla="*/ 3902074 h 4505325"/>
                  <a:gd name="connsiteX54" fmla="*/ 268013 w 896663"/>
                  <a:gd name="connsiteY54" fmla="*/ 3905249 h 4505325"/>
                  <a:gd name="connsiteX55" fmla="*/ 382313 w 896663"/>
                  <a:gd name="connsiteY55" fmla="*/ 4203699 h 4505325"/>
                  <a:gd name="connsiteX56" fmla="*/ 502963 w 896663"/>
                  <a:gd name="connsiteY56" fmla="*/ 4254499 h 4505325"/>
                  <a:gd name="connsiteX57" fmla="*/ 639488 w 896663"/>
                  <a:gd name="connsiteY57" fmla="*/ 4302124 h 4505325"/>
                  <a:gd name="connsiteX58" fmla="*/ 760138 w 896663"/>
                  <a:gd name="connsiteY58" fmla="*/ 4292599 h 4505325"/>
                  <a:gd name="connsiteX59" fmla="*/ 896663 w 896663"/>
                  <a:gd name="connsiteY59" fmla="*/ 4505325 h 4505325"/>
                  <a:gd name="connsiteX0" fmla="*/ 445813 w 896663"/>
                  <a:gd name="connsiteY0" fmla="*/ 0 h 4505325"/>
                  <a:gd name="connsiteX1" fmla="*/ 407713 w 896663"/>
                  <a:gd name="connsiteY1" fmla="*/ 66675 h 4505325"/>
                  <a:gd name="connsiteX2" fmla="*/ 353738 w 896663"/>
                  <a:gd name="connsiteY2" fmla="*/ 85725 h 4505325"/>
                  <a:gd name="connsiteX3" fmla="*/ 283888 w 896663"/>
                  <a:gd name="connsiteY3" fmla="*/ 98425 h 4505325"/>
                  <a:gd name="connsiteX4" fmla="*/ 223563 w 896663"/>
                  <a:gd name="connsiteY4" fmla="*/ 133350 h 4505325"/>
                  <a:gd name="connsiteX5" fmla="*/ 121963 w 896663"/>
                  <a:gd name="connsiteY5" fmla="*/ 196850 h 4505325"/>
                  <a:gd name="connsiteX6" fmla="*/ 131488 w 896663"/>
                  <a:gd name="connsiteY6" fmla="*/ 247650 h 4505325"/>
                  <a:gd name="connsiteX7" fmla="*/ 172763 w 896663"/>
                  <a:gd name="connsiteY7" fmla="*/ 276225 h 4505325"/>
                  <a:gd name="connsiteX8" fmla="*/ 185463 w 896663"/>
                  <a:gd name="connsiteY8" fmla="*/ 327025 h 4505325"/>
                  <a:gd name="connsiteX9" fmla="*/ 239438 w 896663"/>
                  <a:gd name="connsiteY9" fmla="*/ 368300 h 4505325"/>
                  <a:gd name="connsiteX10" fmla="*/ 239438 w 896663"/>
                  <a:gd name="connsiteY10" fmla="*/ 412750 h 4505325"/>
                  <a:gd name="connsiteX11" fmla="*/ 207688 w 896663"/>
                  <a:gd name="connsiteY11" fmla="*/ 454025 h 4505325"/>
                  <a:gd name="connsiteX12" fmla="*/ 287063 w 896663"/>
                  <a:gd name="connsiteY12" fmla="*/ 479425 h 4505325"/>
                  <a:gd name="connsiteX13" fmla="*/ 302938 w 896663"/>
                  <a:gd name="connsiteY13" fmla="*/ 511175 h 4505325"/>
                  <a:gd name="connsiteX14" fmla="*/ 210863 w 896663"/>
                  <a:gd name="connsiteY14" fmla="*/ 581025 h 4505325"/>
                  <a:gd name="connsiteX15" fmla="*/ 160063 w 896663"/>
                  <a:gd name="connsiteY15" fmla="*/ 638175 h 4505325"/>
                  <a:gd name="connsiteX16" fmla="*/ 160063 w 896663"/>
                  <a:gd name="connsiteY16" fmla="*/ 695325 h 4505325"/>
                  <a:gd name="connsiteX17" fmla="*/ 185463 w 896663"/>
                  <a:gd name="connsiteY17" fmla="*/ 784225 h 4505325"/>
                  <a:gd name="connsiteX18" fmla="*/ 194988 w 896663"/>
                  <a:gd name="connsiteY18" fmla="*/ 835025 h 4505325"/>
                  <a:gd name="connsiteX19" fmla="*/ 204513 w 896663"/>
                  <a:gd name="connsiteY19" fmla="*/ 885825 h 4505325"/>
                  <a:gd name="connsiteX20" fmla="*/ 220388 w 896663"/>
                  <a:gd name="connsiteY20" fmla="*/ 923925 h 4505325"/>
                  <a:gd name="connsiteX21" fmla="*/ 163238 w 896663"/>
                  <a:gd name="connsiteY21" fmla="*/ 1022350 h 4505325"/>
                  <a:gd name="connsiteX22" fmla="*/ 96563 w 896663"/>
                  <a:gd name="connsiteY22" fmla="*/ 1057275 h 4505325"/>
                  <a:gd name="connsiteX23" fmla="*/ 52113 w 896663"/>
                  <a:gd name="connsiteY23" fmla="*/ 1143000 h 4505325"/>
                  <a:gd name="connsiteX24" fmla="*/ 20363 w 896663"/>
                  <a:gd name="connsiteY24" fmla="*/ 1244600 h 4505325"/>
                  <a:gd name="connsiteX25" fmla="*/ 1313 w 896663"/>
                  <a:gd name="connsiteY25" fmla="*/ 1346200 h 4505325"/>
                  <a:gd name="connsiteX26" fmla="*/ 10838 w 896663"/>
                  <a:gd name="connsiteY26" fmla="*/ 1438275 h 4505325"/>
                  <a:gd name="connsiteX27" fmla="*/ 83863 w 896663"/>
                  <a:gd name="connsiteY27" fmla="*/ 1511300 h 4505325"/>
                  <a:gd name="connsiteX28" fmla="*/ 112438 w 896663"/>
                  <a:gd name="connsiteY28" fmla="*/ 1558925 h 4505325"/>
                  <a:gd name="connsiteX29" fmla="*/ 150538 w 896663"/>
                  <a:gd name="connsiteY29" fmla="*/ 1590675 h 4505325"/>
                  <a:gd name="connsiteX30" fmla="*/ 169588 w 896663"/>
                  <a:gd name="connsiteY30" fmla="*/ 1644650 h 4505325"/>
                  <a:gd name="connsiteX31" fmla="*/ 226738 w 896663"/>
                  <a:gd name="connsiteY31" fmla="*/ 1685925 h 4505325"/>
                  <a:gd name="connsiteX32" fmla="*/ 264838 w 896663"/>
                  <a:gd name="connsiteY32" fmla="*/ 1730375 h 4505325"/>
                  <a:gd name="connsiteX33" fmla="*/ 277538 w 896663"/>
                  <a:gd name="connsiteY33" fmla="*/ 1758950 h 4505325"/>
                  <a:gd name="connsiteX34" fmla="*/ 277538 w 896663"/>
                  <a:gd name="connsiteY34" fmla="*/ 1828800 h 4505325"/>
                  <a:gd name="connsiteX35" fmla="*/ 325163 w 896663"/>
                  <a:gd name="connsiteY35" fmla="*/ 1905000 h 4505325"/>
                  <a:gd name="connsiteX36" fmla="*/ 363263 w 896663"/>
                  <a:gd name="connsiteY36" fmla="*/ 1962150 h 4505325"/>
                  <a:gd name="connsiteX37" fmla="*/ 369613 w 896663"/>
                  <a:gd name="connsiteY37" fmla="*/ 2028825 h 4505325"/>
                  <a:gd name="connsiteX38" fmla="*/ 407713 w 896663"/>
                  <a:gd name="connsiteY38" fmla="*/ 2085975 h 4505325"/>
                  <a:gd name="connsiteX39" fmla="*/ 414063 w 896663"/>
                  <a:gd name="connsiteY39" fmla="*/ 2209800 h 4505325"/>
                  <a:gd name="connsiteX40" fmla="*/ 252138 w 896663"/>
                  <a:gd name="connsiteY40" fmla="*/ 2251075 h 4505325"/>
                  <a:gd name="connsiteX41" fmla="*/ 201338 w 896663"/>
                  <a:gd name="connsiteY41" fmla="*/ 2390775 h 4505325"/>
                  <a:gd name="connsiteX42" fmla="*/ 210863 w 896663"/>
                  <a:gd name="connsiteY42" fmla="*/ 2454275 h 4505325"/>
                  <a:gd name="connsiteX43" fmla="*/ 226738 w 896663"/>
                  <a:gd name="connsiteY43" fmla="*/ 2482850 h 4505325"/>
                  <a:gd name="connsiteX44" fmla="*/ 226738 w 896663"/>
                  <a:gd name="connsiteY44" fmla="*/ 2527300 h 4505325"/>
                  <a:gd name="connsiteX45" fmla="*/ 236263 w 896663"/>
                  <a:gd name="connsiteY45" fmla="*/ 2603500 h 4505325"/>
                  <a:gd name="connsiteX46" fmla="*/ 153713 w 896663"/>
                  <a:gd name="connsiteY46" fmla="*/ 2917824 h 4505325"/>
                  <a:gd name="connsiteX47" fmla="*/ 80688 w 896663"/>
                  <a:gd name="connsiteY47" fmla="*/ 3063874 h 4505325"/>
                  <a:gd name="connsiteX48" fmla="*/ 42588 w 896663"/>
                  <a:gd name="connsiteY48" fmla="*/ 3133724 h 4505325"/>
                  <a:gd name="connsiteX49" fmla="*/ 17188 w 896663"/>
                  <a:gd name="connsiteY49" fmla="*/ 3203574 h 4505325"/>
                  <a:gd name="connsiteX50" fmla="*/ 10838 w 896663"/>
                  <a:gd name="connsiteY50" fmla="*/ 3390899 h 4505325"/>
                  <a:gd name="connsiteX51" fmla="*/ 33063 w 896663"/>
                  <a:gd name="connsiteY51" fmla="*/ 3492499 h 4505325"/>
                  <a:gd name="connsiteX52" fmla="*/ 118788 w 896663"/>
                  <a:gd name="connsiteY52" fmla="*/ 3829049 h 4505325"/>
                  <a:gd name="connsiteX53" fmla="*/ 210863 w 896663"/>
                  <a:gd name="connsiteY53" fmla="*/ 3902074 h 4505325"/>
                  <a:gd name="connsiteX54" fmla="*/ 268013 w 896663"/>
                  <a:gd name="connsiteY54" fmla="*/ 3905249 h 4505325"/>
                  <a:gd name="connsiteX55" fmla="*/ 382313 w 896663"/>
                  <a:gd name="connsiteY55" fmla="*/ 4203699 h 4505325"/>
                  <a:gd name="connsiteX56" fmla="*/ 502963 w 896663"/>
                  <a:gd name="connsiteY56" fmla="*/ 4254499 h 4505325"/>
                  <a:gd name="connsiteX57" fmla="*/ 639488 w 896663"/>
                  <a:gd name="connsiteY57" fmla="*/ 4302124 h 4505325"/>
                  <a:gd name="connsiteX58" fmla="*/ 760138 w 896663"/>
                  <a:gd name="connsiteY58" fmla="*/ 4292599 h 4505325"/>
                  <a:gd name="connsiteX59" fmla="*/ 896663 w 896663"/>
                  <a:gd name="connsiteY59" fmla="*/ 4505325 h 4505325"/>
                  <a:gd name="connsiteX0" fmla="*/ 445813 w 896663"/>
                  <a:gd name="connsiteY0" fmla="*/ 0 h 4505325"/>
                  <a:gd name="connsiteX1" fmla="*/ 407713 w 896663"/>
                  <a:gd name="connsiteY1" fmla="*/ 66675 h 4505325"/>
                  <a:gd name="connsiteX2" fmla="*/ 353738 w 896663"/>
                  <a:gd name="connsiteY2" fmla="*/ 85725 h 4505325"/>
                  <a:gd name="connsiteX3" fmla="*/ 283888 w 896663"/>
                  <a:gd name="connsiteY3" fmla="*/ 98425 h 4505325"/>
                  <a:gd name="connsiteX4" fmla="*/ 223563 w 896663"/>
                  <a:gd name="connsiteY4" fmla="*/ 133350 h 4505325"/>
                  <a:gd name="connsiteX5" fmla="*/ 121963 w 896663"/>
                  <a:gd name="connsiteY5" fmla="*/ 196850 h 4505325"/>
                  <a:gd name="connsiteX6" fmla="*/ 131488 w 896663"/>
                  <a:gd name="connsiteY6" fmla="*/ 247650 h 4505325"/>
                  <a:gd name="connsiteX7" fmla="*/ 172763 w 896663"/>
                  <a:gd name="connsiteY7" fmla="*/ 276225 h 4505325"/>
                  <a:gd name="connsiteX8" fmla="*/ 185463 w 896663"/>
                  <a:gd name="connsiteY8" fmla="*/ 327025 h 4505325"/>
                  <a:gd name="connsiteX9" fmla="*/ 239438 w 896663"/>
                  <a:gd name="connsiteY9" fmla="*/ 368300 h 4505325"/>
                  <a:gd name="connsiteX10" fmla="*/ 239438 w 896663"/>
                  <a:gd name="connsiteY10" fmla="*/ 412750 h 4505325"/>
                  <a:gd name="connsiteX11" fmla="*/ 207688 w 896663"/>
                  <a:gd name="connsiteY11" fmla="*/ 454025 h 4505325"/>
                  <a:gd name="connsiteX12" fmla="*/ 287063 w 896663"/>
                  <a:gd name="connsiteY12" fmla="*/ 479425 h 4505325"/>
                  <a:gd name="connsiteX13" fmla="*/ 302938 w 896663"/>
                  <a:gd name="connsiteY13" fmla="*/ 511175 h 4505325"/>
                  <a:gd name="connsiteX14" fmla="*/ 210863 w 896663"/>
                  <a:gd name="connsiteY14" fmla="*/ 581025 h 4505325"/>
                  <a:gd name="connsiteX15" fmla="*/ 160063 w 896663"/>
                  <a:gd name="connsiteY15" fmla="*/ 638175 h 4505325"/>
                  <a:gd name="connsiteX16" fmla="*/ 160063 w 896663"/>
                  <a:gd name="connsiteY16" fmla="*/ 695325 h 4505325"/>
                  <a:gd name="connsiteX17" fmla="*/ 185463 w 896663"/>
                  <a:gd name="connsiteY17" fmla="*/ 784225 h 4505325"/>
                  <a:gd name="connsiteX18" fmla="*/ 194988 w 896663"/>
                  <a:gd name="connsiteY18" fmla="*/ 835025 h 4505325"/>
                  <a:gd name="connsiteX19" fmla="*/ 204513 w 896663"/>
                  <a:gd name="connsiteY19" fmla="*/ 885825 h 4505325"/>
                  <a:gd name="connsiteX20" fmla="*/ 220388 w 896663"/>
                  <a:gd name="connsiteY20" fmla="*/ 923925 h 4505325"/>
                  <a:gd name="connsiteX21" fmla="*/ 163238 w 896663"/>
                  <a:gd name="connsiteY21" fmla="*/ 1022350 h 4505325"/>
                  <a:gd name="connsiteX22" fmla="*/ 96563 w 896663"/>
                  <a:gd name="connsiteY22" fmla="*/ 1057275 h 4505325"/>
                  <a:gd name="connsiteX23" fmla="*/ 52113 w 896663"/>
                  <a:gd name="connsiteY23" fmla="*/ 1143000 h 4505325"/>
                  <a:gd name="connsiteX24" fmla="*/ 20363 w 896663"/>
                  <a:gd name="connsiteY24" fmla="*/ 1244600 h 4505325"/>
                  <a:gd name="connsiteX25" fmla="*/ 1313 w 896663"/>
                  <a:gd name="connsiteY25" fmla="*/ 1346200 h 4505325"/>
                  <a:gd name="connsiteX26" fmla="*/ 10838 w 896663"/>
                  <a:gd name="connsiteY26" fmla="*/ 1438275 h 4505325"/>
                  <a:gd name="connsiteX27" fmla="*/ 83863 w 896663"/>
                  <a:gd name="connsiteY27" fmla="*/ 1511300 h 4505325"/>
                  <a:gd name="connsiteX28" fmla="*/ 112438 w 896663"/>
                  <a:gd name="connsiteY28" fmla="*/ 1558925 h 4505325"/>
                  <a:gd name="connsiteX29" fmla="*/ 150538 w 896663"/>
                  <a:gd name="connsiteY29" fmla="*/ 1590675 h 4505325"/>
                  <a:gd name="connsiteX30" fmla="*/ 169588 w 896663"/>
                  <a:gd name="connsiteY30" fmla="*/ 1644650 h 4505325"/>
                  <a:gd name="connsiteX31" fmla="*/ 226738 w 896663"/>
                  <a:gd name="connsiteY31" fmla="*/ 1685925 h 4505325"/>
                  <a:gd name="connsiteX32" fmla="*/ 264838 w 896663"/>
                  <a:gd name="connsiteY32" fmla="*/ 1730375 h 4505325"/>
                  <a:gd name="connsiteX33" fmla="*/ 277538 w 896663"/>
                  <a:gd name="connsiteY33" fmla="*/ 1758950 h 4505325"/>
                  <a:gd name="connsiteX34" fmla="*/ 277538 w 896663"/>
                  <a:gd name="connsiteY34" fmla="*/ 1828800 h 4505325"/>
                  <a:gd name="connsiteX35" fmla="*/ 325163 w 896663"/>
                  <a:gd name="connsiteY35" fmla="*/ 1905000 h 4505325"/>
                  <a:gd name="connsiteX36" fmla="*/ 363263 w 896663"/>
                  <a:gd name="connsiteY36" fmla="*/ 1962150 h 4505325"/>
                  <a:gd name="connsiteX37" fmla="*/ 369613 w 896663"/>
                  <a:gd name="connsiteY37" fmla="*/ 2028825 h 4505325"/>
                  <a:gd name="connsiteX38" fmla="*/ 407713 w 896663"/>
                  <a:gd name="connsiteY38" fmla="*/ 2085975 h 4505325"/>
                  <a:gd name="connsiteX39" fmla="*/ 414063 w 896663"/>
                  <a:gd name="connsiteY39" fmla="*/ 2209800 h 4505325"/>
                  <a:gd name="connsiteX40" fmla="*/ 252138 w 896663"/>
                  <a:gd name="connsiteY40" fmla="*/ 2251075 h 4505325"/>
                  <a:gd name="connsiteX41" fmla="*/ 201338 w 896663"/>
                  <a:gd name="connsiteY41" fmla="*/ 2390775 h 4505325"/>
                  <a:gd name="connsiteX42" fmla="*/ 210863 w 896663"/>
                  <a:gd name="connsiteY42" fmla="*/ 2454275 h 4505325"/>
                  <a:gd name="connsiteX43" fmla="*/ 226738 w 896663"/>
                  <a:gd name="connsiteY43" fmla="*/ 2482850 h 4505325"/>
                  <a:gd name="connsiteX44" fmla="*/ 226738 w 896663"/>
                  <a:gd name="connsiteY44" fmla="*/ 2527300 h 4505325"/>
                  <a:gd name="connsiteX45" fmla="*/ 236263 w 896663"/>
                  <a:gd name="connsiteY45" fmla="*/ 2603500 h 4505325"/>
                  <a:gd name="connsiteX46" fmla="*/ 153713 w 896663"/>
                  <a:gd name="connsiteY46" fmla="*/ 2917824 h 4505325"/>
                  <a:gd name="connsiteX47" fmla="*/ 80688 w 896663"/>
                  <a:gd name="connsiteY47" fmla="*/ 3063874 h 4505325"/>
                  <a:gd name="connsiteX48" fmla="*/ 42588 w 896663"/>
                  <a:gd name="connsiteY48" fmla="*/ 3133724 h 4505325"/>
                  <a:gd name="connsiteX49" fmla="*/ 17188 w 896663"/>
                  <a:gd name="connsiteY49" fmla="*/ 3203574 h 4505325"/>
                  <a:gd name="connsiteX50" fmla="*/ 10838 w 896663"/>
                  <a:gd name="connsiteY50" fmla="*/ 3390899 h 4505325"/>
                  <a:gd name="connsiteX51" fmla="*/ 33063 w 896663"/>
                  <a:gd name="connsiteY51" fmla="*/ 3492499 h 4505325"/>
                  <a:gd name="connsiteX52" fmla="*/ 118788 w 896663"/>
                  <a:gd name="connsiteY52" fmla="*/ 3829049 h 4505325"/>
                  <a:gd name="connsiteX53" fmla="*/ 201338 w 896663"/>
                  <a:gd name="connsiteY53" fmla="*/ 3892549 h 4505325"/>
                  <a:gd name="connsiteX54" fmla="*/ 268013 w 896663"/>
                  <a:gd name="connsiteY54" fmla="*/ 3905249 h 4505325"/>
                  <a:gd name="connsiteX55" fmla="*/ 382313 w 896663"/>
                  <a:gd name="connsiteY55" fmla="*/ 4203699 h 4505325"/>
                  <a:gd name="connsiteX56" fmla="*/ 502963 w 896663"/>
                  <a:gd name="connsiteY56" fmla="*/ 4254499 h 4505325"/>
                  <a:gd name="connsiteX57" fmla="*/ 639488 w 896663"/>
                  <a:gd name="connsiteY57" fmla="*/ 4302124 h 4505325"/>
                  <a:gd name="connsiteX58" fmla="*/ 760138 w 896663"/>
                  <a:gd name="connsiteY58" fmla="*/ 4292599 h 4505325"/>
                  <a:gd name="connsiteX59" fmla="*/ 896663 w 896663"/>
                  <a:gd name="connsiteY59" fmla="*/ 4505325 h 4505325"/>
                  <a:gd name="connsiteX0" fmla="*/ 445813 w 896663"/>
                  <a:gd name="connsiteY0" fmla="*/ 0 h 4505325"/>
                  <a:gd name="connsiteX1" fmla="*/ 407713 w 896663"/>
                  <a:gd name="connsiteY1" fmla="*/ 66675 h 4505325"/>
                  <a:gd name="connsiteX2" fmla="*/ 353738 w 896663"/>
                  <a:gd name="connsiteY2" fmla="*/ 85725 h 4505325"/>
                  <a:gd name="connsiteX3" fmla="*/ 283888 w 896663"/>
                  <a:gd name="connsiteY3" fmla="*/ 98425 h 4505325"/>
                  <a:gd name="connsiteX4" fmla="*/ 223563 w 896663"/>
                  <a:gd name="connsiteY4" fmla="*/ 133350 h 4505325"/>
                  <a:gd name="connsiteX5" fmla="*/ 121963 w 896663"/>
                  <a:gd name="connsiteY5" fmla="*/ 196850 h 4505325"/>
                  <a:gd name="connsiteX6" fmla="*/ 131488 w 896663"/>
                  <a:gd name="connsiteY6" fmla="*/ 247650 h 4505325"/>
                  <a:gd name="connsiteX7" fmla="*/ 172763 w 896663"/>
                  <a:gd name="connsiteY7" fmla="*/ 276225 h 4505325"/>
                  <a:gd name="connsiteX8" fmla="*/ 185463 w 896663"/>
                  <a:gd name="connsiteY8" fmla="*/ 327025 h 4505325"/>
                  <a:gd name="connsiteX9" fmla="*/ 239438 w 896663"/>
                  <a:gd name="connsiteY9" fmla="*/ 368300 h 4505325"/>
                  <a:gd name="connsiteX10" fmla="*/ 239438 w 896663"/>
                  <a:gd name="connsiteY10" fmla="*/ 412750 h 4505325"/>
                  <a:gd name="connsiteX11" fmla="*/ 207688 w 896663"/>
                  <a:gd name="connsiteY11" fmla="*/ 454025 h 4505325"/>
                  <a:gd name="connsiteX12" fmla="*/ 287063 w 896663"/>
                  <a:gd name="connsiteY12" fmla="*/ 479425 h 4505325"/>
                  <a:gd name="connsiteX13" fmla="*/ 302938 w 896663"/>
                  <a:gd name="connsiteY13" fmla="*/ 511175 h 4505325"/>
                  <a:gd name="connsiteX14" fmla="*/ 210863 w 896663"/>
                  <a:gd name="connsiteY14" fmla="*/ 581025 h 4505325"/>
                  <a:gd name="connsiteX15" fmla="*/ 160063 w 896663"/>
                  <a:gd name="connsiteY15" fmla="*/ 638175 h 4505325"/>
                  <a:gd name="connsiteX16" fmla="*/ 160063 w 896663"/>
                  <a:gd name="connsiteY16" fmla="*/ 695325 h 4505325"/>
                  <a:gd name="connsiteX17" fmla="*/ 185463 w 896663"/>
                  <a:gd name="connsiteY17" fmla="*/ 784225 h 4505325"/>
                  <a:gd name="connsiteX18" fmla="*/ 194988 w 896663"/>
                  <a:gd name="connsiteY18" fmla="*/ 835025 h 4505325"/>
                  <a:gd name="connsiteX19" fmla="*/ 204513 w 896663"/>
                  <a:gd name="connsiteY19" fmla="*/ 885825 h 4505325"/>
                  <a:gd name="connsiteX20" fmla="*/ 220388 w 896663"/>
                  <a:gd name="connsiteY20" fmla="*/ 923925 h 4505325"/>
                  <a:gd name="connsiteX21" fmla="*/ 163238 w 896663"/>
                  <a:gd name="connsiteY21" fmla="*/ 1022350 h 4505325"/>
                  <a:gd name="connsiteX22" fmla="*/ 96563 w 896663"/>
                  <a:gd name="connsiteY22" fmla="*/ 1057275 h 4505325"/>
                  <a:gd name="connsiteX23" fmla="*/ 52113 w 896663"/>
                  <a:gd name="connsiteY23" fmla="*/ 1143000 h 4505325"/>
                  <a:gd name="connsiteX24" fmla="*/ 20363 w 896663"/>
                  <a:gd name="connsiteY24" fmla="*/ 1244600 h 4505325"/>
                  <a:gd name="connsiteX25" fmla="*/ 1313 w 896663"/>
                  <a:gd name="connsiteY25" fmla="*/ 1346200 h 4505325"/>
                  <a:gd name="connsiteX26" fmla="*/ 10838 w 896663"/>
                  <a:gd name="connsiteY26" fmla="*/ 1438275 h 4505325"/>
                  <a:gd name="connsiteX27" fmla="*/ 83863 w 896663"/>
                  <a:gd name="connsiteY27" fmla="*/ 1511300 h 4505325"/>
                  <a:gd name="connsiteX28" fmla="*/ 112438 w 896663"/>
                  <a:gd name="connsiteY28" fmla="*/ 1558925 h 4505325"/>
                  <a:gd name="connsiteX29" fmla="*/ 150538 w 896663"/>
                  <a:gd name="connsiteY29" fmla="*/ 1590675 h 4505325"/>
                  <a:gd name="connsiteX30" fmla="*/ 169588 w 896663"/>
                  <a:gd name="connsiteY30" fmla="*/ 1644650 h 4505325"/>
                  <a:gd name="connsiteX31" fmla="*/ 226738 w 896663"/>
                  <a:gd name="connsiteY31" fmla="*/ 1685925 h 4505325"/>
                  <a:gd name="connsiteX32" fmla="*/ 264838 w 896663"/>
                  <a:gd name="connsiteY32" fmla="*/ 1730375 h 4505325"/>
                  <a:gd name="connsiteX33" fmla="*/ 277538 w 896663"/>
                  <a:gd name="connsiteY33" fmla="*/ 1758950 h 4505325"/>
                  <a:gd name="connsiteX34" fmla="*/ 277538 w 896663"/>
                  <a:gd name="connsiteY34" fmla="*/ 1828800 h 4505325"/>
                  <a:gd name="connsiteX35" fmla="*/ 325163 w 896663"/>
                  <a:gd name="connsiteY35" fmla="*/ 1905000 h 4505325"/>
                  <a:gd name="connsiteX36" fmla="*/ 363263 w 896663"/>
                  <a:gd name="connsiteY36" fmla="*/ 1962150 h 4505325"/>
                  <a:gd name="connsiteX37" fmla="*/ 369613 w 896663"/>
                  <a:gd name="connsiteY37" fmla="*/ 2028825 h 4505325"/>
                  <a:gd name="connsiteX38" fmla="*/ 407713 w 896663"/>
                  <a:gd name="connsiteY38" fmla="*/ 2085975 h 4505325"/>
                  <a:gd name="connsiteX39" fmla="*/ 414063 w 896663"/>
                  <a:gd name="connsiteY39" fmla="*/ 2209800 h 4505325"/>
                  <a:gd name="connsiteX40" fmla="*/ 252138 w 896663"/>
                  <a:gd name="connsiteY40" fmla="*/ 2251075 h 4505325"/>
                  <a:gd name="connsiteX41" fmla="*/ 201338 w 896663"/>
                  <a:gd name="connsiteY41" fmla="*/ 2390775 h 4505325"/>
                  <a:gd name="connsiteX42" fmla="*/ 210863 w 896663"/>
                  <a:gd name="connsiteY42" fmla="*/ 2454275 h 4505325"/>
                  <a:gd name="connsiteX43" fmla="*/ 226738 w 896663"/>
                  <a:gd name="connsiteY43" fmla="*/ 2482850 h 4505325"/>
                  <a:gd name="connsiteX44" fmla="*/ 226738 w 896663"/>
                  <a:gd name="connsiteY44" fmla="*/ 2527300 h 4505325"/>
                  <a:gd name="connsiteX45" fmla="*/ 236263 w 896663"/>
                  <a:gd name="connsiteY45" fmla="*/ 2603500 h 4505325"/>
                  <a:gd name="connsiteX46" fmla="*/ 153713 w 896663"/>
                  <a:gd name="connsiteY46" fmla="*/ 2917824 h 4505325"/>
                  <a:gd name="connsiteX47" fmla="*/ 80688 w 896663"/>
                  <a:gd name="connsiteY47" fmla="*/ 3063874 h 4505325"/>
                  <a:gd name="connsiteX48" fmla="*/ 42588 w 896663"/>
                  <a:gd name="connsiteY48" fmla="*/ 3133724 h 4505325"/>
                  <a:gd name="connsiteX49" fmla="*/ 17188 w 896663"/>
                  <a:gd name="connsiteY49" fmla="*/ 3203574 h 4505325"/>
                  <a:gd name="connsiteX50" fmla="*/ 10838 w 896663"/>
                  <a:gd name="connsiteY50" fmla="*/ 3390899 h 4505325"/>
                  <a:gd name="connsiteX51" fmla="*/ 33063 w 896663"/>
                  <a:gd name="connsiteY51" fmla="*/ 3492499 h 4505325"/>
                  <a:gd name="connsiteX52" fmla="*/ 112438 w 896663"/>
                  <a:gd name="connsiteY52" fmla="*/ 3809999 h 4505325"/>
                  <a:gd name="connsiteX53" fmla="*/ 201338 w 896663"/>
                  <a:gd name="connsiteY53" fmla="*/ 3892549 h 4505325"/>
                  <a:gd name="connsiteX54" fmla="*/ 268013 w 896663"/>
                  <a:gd name="connsiteY54" fmla="*/ 3905249 h 4505325"/>
                  <a:gd name="connsiteX55" fmla="*/ 382313 w 896663"/>
                  <a:gd name="connsiteY55" fmla="*/ 4203699 h 4505325"/>
                  <a:gd name="connsiteX56" fmla="*/ 502963 w 896663"/>
                  <a:gd name="connsiteY56" fmla="*/ 4254499 h 4505325"/>
                  <a:gd name="connsiteX57" fmla="*/ 639488 w 896663"/>
                  <a:gd name="connsiteY57" fmla="*/ 4302124 h 4505325"/>
                  <a:gd name="connsiteX58" fmla="*/ 760138 w 896663"/>
                  <a:gd name="connsiteY58" fmla="*/ 4292599 h 4505325"/>
                  <a:gd name="connsiteX59" fmla="*/ 896663 w 896663"/>
                  <a:gd name="connsiteY59" fmla="*/ 4505325 h 4505325"/>
                  <a:gd name="connsiteX0" fmla="*/ 445813 w 896663"/>
                  <a:gd name="connsiteY0" fmla="*/ 0 h 4505325"/>
                  <a:gd name="connsiteX1" fmla="*/ 407713 w 896663"/>
                  <a:gd name="connsiteY1" fmla="*/ 66675 h 4505325"/>
                  <a:gd name="connsiteX2" fmla="*/ 353738 w 896663"/>
                  <a:gd name="connsiteY2" fmla="*/ 85725 h 4505325"/>
                  <a:gd name="connsiteX3" fmla="*/ 283888 w 896663"/>
                  <a:gd name="connsiteY3" fmla="*/ 98425 h 4505325"/>
                  <a:gd name="connsiteX4" fmla="*/ 223563 w 896663"/>
                  <a:gd name="connsiteY4" fmla="*/ 133350 h 4505325"/>
                  <a:gd name="connsiteX5" fmla="*/ 121963 w 896663"/>
                  <a:gd name="connsiteY5" fmla="*/ 196850 h 4505325"/>
                  <a:gd name="connsiteX6" fmla="*/ 131488 w 896663"/>
                  <a:gd name="connsiteY6" fmla="*/ 247650 h 4505325"/>
                  <a:gd name="connsiteX7" fmla="*/ 172763 w 896663"/>
                  <a:gd name="connsiteY7" fmla="*/ 276225 h 4505325"/>
                  <a:gd name="connsiteX8" fmla="*/ 185463 w 896663"/>
                  <a:gd name="connsiteY8" fmla="*/ 327025 h 4505325"/>
                  <a:gd name="connsiteX9" fmla="*/ 239438 w 896663"/>
                  <a:gd name="connsiteY9" fmla="*/ 368300 h 4505325"/>
                  <a:gd name="connsiteX10" fmla="*/ 239438 w 896663"/>
                  <a:gd name="connsiteY10" fmla="*/ 412750 h 4505325"/>
                  <a:gd name="connsiteX11" fmla="*/ 207688 w 896663"/>
                  <a:gd name="connsiteY11" fmla="*/ 454025 h 4505325"/>
                  <a:gd name="connsiteX12" fmla="*/ 287063 w 896663"/>
                  <a:gd name="connsiteY12" fmla="*/ 479425 h 4505325"/>
                  <a:gd name="connsiteX13" fmla="*/ 302938 w 896663"/>
                  <a:gd name="connsiteY13" fmla="*/ 511175 h 4505325"/>
                  <a:gd name="connsiteX14" fmla="*/ 210863 w 896663"/>
                  <a:gd name="connsiteY14" fmla="*/ 581025 h 4505325"/>
                  <a:gd name="connsiteX15" fmla="*/ 160063 w 896663"/>
                  <a:gd name="connsiteY15" fmla="*/ 638175 h 4505325"/>
                  <a:gd name="connsiteX16" fmla="*/ 160063 w 896663"/>
                  <a:gd name="connsiteY16" fmla="*/ 695325 h 4505325"/>
                  <a:gd name="connsiteX17" fmla="*/ 185463 w 896663"/>
                  <a:gd name="connsiteY17" fmla="*/ 784225 h 4505325"/>
                  <a:gd name="connsiteX18" fmla="*/ 194988 w 896663"/>
                  <a:gd name="connsiteY18" fmla="*/ 835025 h 4505325"/>
                  <a:gd name="connsiteX19" fmla="*/ 204513 w 896663"/>
                  <a:gd name="connsiteY19" fmla="*/ 885825 h 4505325"/>
                  <a:gd name="connsiteX20" fmla="*/ 220388 w 896663"/>
                  <a:gd name="connsiteY20" fmla="*/ 923925 h 4505325"/>
                  <a:gd name="connsiteX21" fmla="*/ 163238 w 896663"/>
                  <a:gd name="connsiteY21" fmla="*/ 1022350 h 4505325"/>
                  <a:gd name="connsiteX22" fmla="*/ 96563 w 896663"/>
                  <a:gd name="connsiteY22" fmla="*/ 1057275 h 4505325"/>
                  <a:gd name="connsiteX23" fmla="*/ 52113 w 896663"/>
                  <a:gd name="connsiteY23" fmla="*/ 1143000 h 4505325"/>
                  <a:gd name="connsiteX24" fmla="*/ 20363 w 896663"/>
                  <a:gd name="connsiteY24" fmla="*/ 1244600 h 4505325"/>
                  <a:gd name="connsiteX25" fmla="*/ 1313 w 896663"/>
                  <a:gd name="connsiteY25" fmla="*/ 1346200 h 4505325"/>
                  <a:gd name="connsiteX26" fmla="*/ 10838 w 896663"/>
                  <a:gd name="connsiteY26" fmla="*/ 1438275 h 4505325"/>
                  <a:gd name="connsiteX27" fmla="*/ 83863 w 896663"/>
                  <a:gd name="connsiteY27" fmla="*/ 1511300 h 4505325"/>
                  <a:gd name="connsiteX28" fmla="*/ 112438 w 896663"/>
                  <a:gd name="connsiteY28" fmla="*/ 1558925 h 4505325"/>
                  <a:gd name="connsiteX29" fmla="*/ 150538 w 896663"/>
                  <a:gd name="connsiteY29" fmla="*/ 1590675 h 4505325"/>
                  <a:gd name="connsiteX30" fmla="*/ 169588 w 896663"/>
                  <a:gd name="connsiteY30" fmla="*/ 1644650 h 4505325"/>
                  <a:gd name="connsiteX31" fmla="*/ 226738 w 896663"/>
                  <a:gd name="connsiteY31" fmla="*/ 1685925 h 4505325"/>
                  <a:gd name="connsiteX32" fmla="*/ 264838 w 896663"/>
                  <a:gd name="connsiteY32" fmla="*/ 1730375 h 4505325"/>
                  <a:gd name="connsiteX33" fmla="*/ 277538 w 896663"/>
                  <a:gd name="connsiteY33" fmla="*/ 1758950 h 4505325"/>
                  <a:gd name="connsiteX34" fmla="*/ 277538 w 896663"/>
                  <a:gd name="connsiteY34" fmla="*/ 1828800 h 4505325"/>
                  <a:gd name="connsiteX35" fmla="*/ 325163 w 896663"/>
                  <a:gd name="connsiteY35" fmla="*/ 1905000 h 4505325"/>
                  <a:gd name="connsiteX36" fmla="*/ 363263 w 896663"/>
                  <a:gd name="connsiteY36" fmla="*/ 1962150 h 4505325"/>
                  <a:gd name="connsiteX37" fmla="*/ 369613 w 896663"/>
                  <a:gd name="connsiteY37" fmla="*/ 2028825 h 4505325"/>
                  <a:gd name="connsiteX38" fmla="*/ 407713 w 896663"/>
                  <a:gd name="connsiteY38" fmla="*/ 2085975 h 4505325"/>
                  <a:gd name="connsiteX39" fmla="*/ 414063 w 896663"/>
                  <a:gd name="connsiteY39" fmla="*/ 2209800 h 4505325"/>
                  <a:gd name="connsiteX40" fmla="*/ 252138 w 896663"/>
                  <a:gd name="connsiteY40" fmla="*/ 2251075 h 4505325"/>
                  <a:gd name="connsiteX41" fmla="*/ 201338 w 896663"/>
                  <a:gd name="connsiteY41" fmla="*/ 2390775 h 4505325"/>
                  <a:gd name="connsiteX42" fmla="*/ 210863 w 896663"/>
                  <a:gd name="connsiteY42" fmla="*/ 2454275 h 4505325"/>
                  <a:gd name="connsiteX43" fmla="*/ 226738 w 896663"/>
                  <a:gd name="connsiteY43" fmla="*/ 2482850 h 4505325"/>
                  <a:gd name="connsiteX44" fmla="*/ 226738 w 896663"/>
                  <a:gd name="connsiteY44" fmla="*/ 2527300 h 4505325"/>
                  <a:gd name="connsiteX45" fmla="*/ 236263 w 896663"/>
                  <a:gd name="connsiteY45" fmla="*/ 2603500 h 4505325"/>
                  <a:gd name="connsiteX46" fmla="*/ 153713 w 896663"/>
                  <a:gd name="connsiteY46" fmla="*/ 2917824 h 4505325"/>
                  <a:gd name="connsiteX47" fmla="*/ 80688 w 896663"/>
                  <a:gd name="connsiteY47" fmla="*/ 3063874 h 4505325"/>
                  <a:gd name="connsiteX48" fmla="*/ 42588 w 896663"/>
                  <a:gd name="connsiteY48" fmla="*/ 3133724 h 4505325"/>
                  <a:gd name="connsiteX49" fmla="*/ 17188 w 896663"/>
                  <a:gd name="connsiteY49" fmla="*/ 3203574 h 4505325"/>
                  <a:gd name="connsiteX50" fmla="*/ 10838 w 896663"/>
                  <a:gd name="connsiteY50" fmla="*/ 3390899 h 4505325"/>
                  <a:gd name="connsiteX51" fmla="*/ 33063 w 896663"/>
                  <a:gd name="connsiteY51" fmla="*/ 3492499 h 4505325"/>
                  <a:gd name="connsiteX52" fmla="*/ 90213 w 896663"/>
                  <a:gd name="connsiteY52" fmla="*/ 3682999 h 4505325"/>
                  <a:gd name="connsiteX53" fmla="*/ 112438 w 896663"/>
                  <a:gd name="connsiteY53" fmla="*/ 3809999 h 4505325"/>
                  <a:gd name="connsiteX54" fmla="*/ 201338 w 896663"/>
                  <a:gd name="connsiteY54" fmla="*/ 3892549 h 4505325"/>
                  <a:gd name="connsiteX55" fmla="*/ 268013 w 896663"/>
                  <a:gd name="connsiteY55" fmla="*/ 3905249 h 4505325"/>
                  <a:gd name="connsiteX56" fmla="*/ 382313 w 896663"/>
                  <a:gd name="connsiteY56" fmla="*/ 4203699 h 4505325"/>
                  <a:gd name="connsiteX57" fmla="*/ 502963 w 896663"/>
                  <a:gd name="connsiteY57" fmla="*/ 4254499 h 4505325"/>
                  <a:gd name="connsiteX58" fmla="*/ 639488 w 896663"/>
                  <a:gd name="connsiteY58" fmla="*/ 4302124 h 4505325"/>
                  <a:gd name="connsiteX59" fmla="*/ 760138 w 896663"/>
                  <a:gd name="connsiteY59" fmla="*/ 4292599 h 4505325"/>
                  <a:gd name="connsiteX60" fmla="*/ 896663 w 896663"/>
                  <a:gd name="connsiteY60" fmla="*/ 4505325 h 4505325"/>
                  <a:gd name="connsiteX0" fmla="*/ 445813 w 896663"/>
                  <a:gd name="connsiteY0" fmla="*/ 0 h 4505325"/>
                  <a:gd name="connsiteX1" fmla="*/ 407713 w 896663"/>
                  <a:gd name="connsiteY1" fmla="*/ 66675 h 4505325"/>
                  <a:gd name="connsiteX2" fmla="*/ 353738 w 896663"/>
                  <a:gd name="connsiteY2" fmla="*/ 85725 h 4505325"/>
                  <a:gd name="connsiteX3" fmla="*/ 283888 w 896663"/>
                  <a:gd name="connsiteY3" fmla="*/ 98425 h 4505325"/>
                  <a:gd name="connsiteX4" fmla="*/ 223563 w 896663"/>
                  <a:gd name="connsiteY4" fmla="*/ 133350 h 4505325"/>
                  <a:gd name="connsiteX5" fmla="*/ 121963 w 896663"/>
                  <a:gd name="connsiteY5" fmla="*/ 196850 h 4505325"/>
                  <a:gd name="connsiteX6" fmla="*/ 131488 w 896663"/>
                  <a:gd name="connsiteY6" fmla="*/ 247650 h 4505325"/>
                  <a:gd name="connsiteX7" fmla="*/ 172763 w 896663"/>
                  <a:gd name="connsiteY7" fmla="*/ 276225 h 4505325"/>
                  <a:gd name="connsiteX8" fmla="*/ 185463 w 896663"/>
                  <a:gd name="connsiteY8" fmla="*/ 327025 h 4505325"/>
                  <a:gd name="connsiteX9" fmla="*/ 239438 w 896663"/>
                  <a:gd name="connsiteY9" fmla="*/ 368300 h 4505325"/>
                  <a:gd name="connsiteX10" fmla="*/ 239438 w 896663"/>
                  <a:gd name="connsiteY10" fmla="*/ 412750 h 4505325"/>
                  <a:gd name="connsiteX11" fmla="*/ 207688 w 896663"/>
                  <a:gd name="connsiteY11" fmla="*/ 454025 h 4505325"/>
                  <a:gd name="connsiteX12" fmla="*/ 287063 w 896663"/>
                  <a:gd name="connsiteY12" fmla="*/ 479425 h 4505325"/>
                  <a:gd name="connsiteX13" fmla="*/ 302938 w 896663"/>
                  <a:gd name="connsiteY13" fmla="*/ 511175 h 4505325"/>
                  <a:gd name="connsiteX14" fmla="*/ 210863 w 896663"/>
                  <a:gd name="connsiteY14" fmla="*/ 581025 h 4505325"/>
                  <a:gd name="connsiteX15" fmla="*/ 160063 w 896663"/>
                  <a:gd name="connsiteY15" fmla="*/ 638175 h 4505325"/>
                  <a:gd name="connsiteX16" fmla="*/ 160063 w 896663"/>
                  <a:gd name="connsiteY16" fmla="*/ 695325 h 4505325"/>
                  <a:gd name="connsiteX17" fmla="*/ 185463 w 896663"/>
                  <a:gd name="connsiteY17" fmla="*/ 784225 h 4505325"/>
                  <a:gd name="connsiteX18" fmla="*/ 194988 w 896663"/>
                  <a:gd name="connsiteY18" fmla="*/ 835025 h 4505325"/>
                  <a:gd name="connsiteX19" fmla="*/ 204513 w 896663"/>
                  <a:gd name="connsiteY19" fmla="*/ 885825 h 4505325"/>
                  <a:gd name="connsiteX20" fmla="*/ 220388 w 896663"/>
                  <a:gd name="connsiteY20" fmla="*/ 923925 h 4505325"/>
                  <a:gd name="connsiteX21" fmla="*/ 163238 w 896663"/>
                  <a:gd name="connsiteY21" fmla="*/ 1022350 h 4505325"/>
                  <a:gd name="connsiteX22" fmla="*/ 96563 w 896663"/>
                  <a:gd name="connsiteY22" fmla="*/ 1057275 h 4505325"/>
                  <a:gd name="connsiteX23" fmla="*/ 52113 w 896663"/>
                  <a:gd name="connsiteY23" fmla="*/ 1143000 h 4505325"/>
                  <a:gd name="connsiteX24" fmla="*/ 20363 w 896663"/>
                  <a:gd name="connsiteY24" fmla="*/ 1244600 h 4505325"/>
                  <a:gd name="connsiteX25" fmla="*/ 1313 w 896663"/>
                  <a:gd name="connsiteY25" fmla="*/ 1346200 h 4505325"/>
                  <a:gd name="connsiteX26" fmla="*/ 10838 w 896663"/>
                  <a:gd name="connsiteY26" fmla="*/ 1438275 h 4505325"/>
                  <a:gd name="connsiteX27" fmla="*/ 83863 w 896663"/>
                  <a:gd name="connsiteY27" fmla="*/ 1511300 h 4505325"/>
                  <a:gd name="connsiteX28" fmla="*/ 112438 w 896663"/>
                  <a:gd name="connsiteY28" fmla="*/ 1558925 h 4505325"/>
                  <a:gd name="connsiteX29" fmla="*/ 150538 w 896663"/>
                  <a:gd name="connsiteY29" fmla="*/ 1590675 h 4505325"/>
                  <a:gd name="connsiteX30" fmla="*/ 169588 w 896663"/>
                  <a:gd name="connsiteY30" fmla="*/ 1644650 h 4505325"/>
                  <a:gd name="connsiteX31" fmla="*/ 226738 w 896663"/>
                  <a:gd name="connsiteY31" fmla="*/ 1685925 h 4505325"/>
                  <a:gd name="connsiteX32" fmla="*/ 264838 w 896663"/>
                  <a:gd name="connsiteY32" fmla="*/ 1730375 h 4505325"/>
                  <a:gd name="connsiteX33" fmla="*/ 277538 w 896663"/>
                  <a:gd name="connsiteY33" fmla="*/ 1758950 h 4505325"/>
                  <a:gd name="connsiteX34" fmla="*/ 277538 w 896663"/>
                  <a:gd name="connsiteY34" fmla="*/ 1828800 h 4505325"/>
                  <a:gd name="connsiteX35" fmla="*/ 325163 w 896663"/>
                  <a:gd name="connsiteY35" fmla="*/ 1905000 h 4505325"/>
                  <a:gd name="connsiteX36" fmla="*/ 363263 w 896663"/>
                  <a:gd name="connsiteY36" fmla="*/ 1962150 h 4505325"/>
                  <a:gd name="connsiteX37" fmla="*/ 369613 w 896663"/>
                  <a:gd name="connsiteY37" fmla="*/ 2028825 h 4505325"/>
                  <a:gd name="connsiteX38" fmla="*/ 407713 w 896663"/>
                  <a:gd name="connsiteY38" fmla="*/ 2085975 h 4505325"/>
                  <a:gd name="connsiteX39" fmla="*/ 414063 w 896663"/>
                  <a:gd name="connsiteY39" fmla="*/ 2209800 h 4505325"/>
                  <a:gd name="connsiteX40" fmla="*/ 252138 w 896663"/>
                  <a:gd name="connsiteY40" fmla="*/ 2251075 h 4505325"/>
                  <a:gd name="connsiteX41" fmla="*/ 201338 w 896663"/>
                  <a:gd name="connsiteY41" fmla="*/ 2390775 h 4505325"/>
                  <a:gd name="connsiteX42" fmla="*/ 210863 w 896663"/>
                  <a:gd name="connsiteY42" fmla="*/ 2454275 h 4505325"/>
                  <a:gd name="connsiteX43" fmla="*/ 226738 w 896663"/>
                  <a:gd name="connsiteY43" fmla="*/ 2482850 h 4505325"/>
                  <a:gd name="connsiteX44" fmla="*/ 226738 w 896663"/>
                  <a:gd name="connsiteY44" fmla="*/ 2527300 h 4505325"/>
                  <a:gd name="connsiteX45" fmla="*/ 236263 w 896663"/>
                  <a:gd name="connsiteY45" fmla="*/ 2603500 h 4505325"/>
                  <a:gd name="connsiteX46" fmla="*/ 153713 w 896663"/>
                  <a:gd name="connsiteY46" fmla="*/ 2917824 h 4505325"/>
                  <a:gd name="connsiteX47" fmla="*/ 80688 w 896663"/>
                  <a:gd name="connsiteY47" fmla="*/ 3063874 h 4505325"/>
                  <a:gd name="connsiteX48" fmla="*/ 42588 w 896663"/>
                  <a:gd name="connsiteY48" fmla="*/ 3133724 h 4505325"/>
                  <a:gd name="connsiteX49" fmla="*/ 17188 w 896663"/>
                  <a:gd name="connsiteY49" fmla="*/ 3203574 h 4505325"/>
                  <a:gd name="connsiteX50" fmla="*/ 10838 w 896663"/>
                  <a:gd name="connsiteY50" fmla="*/ 3390899 h 4505325"/>
                  <a:gd name="connsiteX51" fmla="*/ 33063 w 896663"/>
                  <a:gd name="connsiteY51" fmla="*/ 3492499 h 4505325"/>
                  <a:gd name="connsiteX52" fmla="*/ 52113 w 896663"/>
                  <a:gd name="connsiteY52" fmla="*/ 3616324 h 4505325"/>
                  <a:gd name="connsiteX53" fmla="*/ 90213 w 896663"/>
                  <a:gd name="connsiteY53" fmla="*/ 3682999 h 4505325"/>
                  <a:gd name="connsiteX54" fmla="*/ 112438 w 896663"/>
                  <a:gd name="connsiteY54" fmla="*/ 3809999 h 4505325"/>
                  <a:gd name="connsiteX55" fmla="*/ 201338 w 896663"/>
                  <a:gd name="connsiteY55" fmla="*/ 3892549 h 4505325"/>
                  <a:gd name="connsiteX56" fmla="*/ 268013 w 896663"/>
                  <a:gd name="connsiteY56" fmla="*/ 3905249 h 4505325"/>
                  <a:gd name="connsiteX57" fmla="*/ 382313 w 896663"/>
                  <a:gd name="connsiteY57" fmla="*/ 4203699 h 4505325"/>
                  <a:gd name="connsiteX58" fmla="*/ 502963 w 896663"/>
                  <a:gd name="connsiteY58" fmla="*/ 4254499 h 4505325"/>
                  <a:gd name="connsiteX59" fmla="*/ 639488 w 896663"/>
                  <a:gd name="connsiteY59" fmla="*/ 4302124 h 4505325"/>
                  <a:gd name="connsiteX60" fmla="*/ 760138 w 896663"/>
                  <a:gd name="connsiteY60" fmla="*/ 4292599 h 4505325"/>
                  <a:gd name="connsiteX61" fmla="*/ 896663 w 896663"/>
                  <a:gd name="connsiteY61" fmla="*/ 4505325 h 4505325"/>
                  <a:gd name="connsiteX0" fmla="*/ 445813 w 896663"/>
                  <a:gd name="connsiteY0" fmla="*/ 0 h 4505325"/>
                  <a:gd name="connsiteX1" fmla="*/ 407713 w 896663"/>
                  <a:gd name="connsiteY1" fmla="*/ 66675 h 4505325"/>
                  <a:gd name="connsiteX2" fmla="*/ 353738 w 896663"/>
                  <a:gd name="connsiteY2" fmla="*/ 85725 h 4505325"/>
                  <a:gd name="connsiteX3" fmla="*/ 283888 w 896663"/>
                  <a:gd name="connsiteY3" fmla="*/ 98425 h 4505325"/>
                  <a:gd name="connsiteX4" fmla="*/ 223563 w 896663"/>
                  <a:gd name="connsiteY4" fmla="*/ 133350 h 4505325"/>
                  <a:gd name="connsiteX5" fmla="*/ 121963 w 896663"/>
                  <a:gd name="connsiteY5" fmla="*/ 196850 h 4505325"/>
                  <a:gd name="connsiteX6" fmla="*/ 131488 w 896663"/>
                  <a:gd name="connsiteY6" fmla="*/ 247650 h 4505325"/>
                  <a:gd name="connsiteX7" fmla="*/ 172763 w 896663"/>
                  <a:gd name="connsiteY7" fmla="*/ 276225 h 4505325"/>
                  <a:gd name="connsiteX8" fmla="*/ 185463 w 896663"/>
                  <a:gd name="connsiteY8" fmla="*/ 327025 h 4505325"/>
                  <a:gd name="connsiteX9" fmla="*/ 239438 w 896663"/>
                  <a:gd name="connsiteY9" fmla="*/ 368300 h 4505325"/>
                  <a:gd name="connsiteX10" fmla="*/ 239438 w 896663"/>
                  <a:gd name="connsiteY10" fmla="*/ 412750 h 4505325"/>
                  <a:gd name="connsiteX11" fmla="*/ 207688 w 896663"/>
                  <a:gd name="connsiteY11" fmla="*/ 454025 h 4505325"/>
                  <a:gd name="connsiteX12" fmla="*/ 287063 w 896663"/>
                  <a:gd name="connsiteY12" fmla="*/ 479425 h 4505325"/>
                  <a:gd name="connsiteX13" fmla="*/ 302938 w 896663"/>
                  <a:gd name="connsiteY13" fmla="*/ 511175 h 4505325"/>
                  <a:gd name="connsiteX14" fmla="*/ 210863 w 896663"/>
                  <a:gd name="connsiteY14" fmla="*/ 581025 h 4505325"/>
                  <a:gd name="connsiteX15" fmla="*/ 160063 w 896663"/>
                  <a:gd name="connsiteY15" fmla="*/ 638175 h 4505325"/>
                  <a:gd name="connsiteX16" fmla="*/ 160063 w 896663"/>
                  <a:gd name="connsiteY16" fmla="*/ 695325 h 4505325"/>
                  <a:gd name="connsiteX17" fmla="*/ 185463 w 896663"/>
                  <a:gd name="connsiteY17" fmla="*/ 784225 h 4505325"/>
                  <a:gd name="connsiteX18" fmla="*/ 194988 w 896663"/>
                  <a:gd name="connsiteY18" fmla="*/ 835025 h 4505325"/>
                  <a:gd name="connsiteX19" fmla="*/ 204513 w 896663"/>
                  <a:gd name="connsiteY19" fmla="*/ 885825 h 4505325"/>
                  <a:gd name="connsiteX20" fmla="*/ 220388 w 896663"/>
                  <a:gd name="connsiteY20" fmla="*/ 923925 h 4505325"/>
                  <a:gd name="connsiteX21" fmla="*/ 163238 w 896663"/>
                  <a:gd name="connsiteY21" fmla="*/ 1022350 h 4505325"/>
                  <a:gd name="connsiteX22" fmla="*/ 96563 w 896663"/>
                  <a:gd name="connsiteY22" fmla="*/ 1057275 h 4505325"/>
                  <a:gd name="connsiteX23" fmla="*/ 52113 w 896663"/>
                  <a:gd name="connsiteY23" fmla="*/ 1143000 h 4505325"/>
                  <a:gd name="connsiteX24" fmla="*/ 20363 w 896663"/>
                  <a:gd name="connsiteY24" fmla="*/ 1244600 h 4505325"/>
                  <a:gd name="connsiteX25" fmla="*/ 1313 w 896663"/>
                  <a:gd name="connsiteY25" fmla="*/ 1346200 h 4505325"/>
                  <a:gd name="connsiteX26" fmla="*/ 10838 w 896663"/>
                  <a:gd name="connsiteY26" fmla="*/ 1438275 h 4505325"/>
                  <a:gd name="connsiteX27" fmla="*/ 83863 w 896663"/>
                  <a:gd name="connsiteY27" fmla="*/ 1511300 h 4505325"/>
                  <a:gd name="connsiteX28" fmla="*/ 112438 w 896663"/>
                  <a:gd name="connsiteY28" fmla="*/ 1558925 h 4505325"/>
                  <a:gd name="connsiteX29" fmla="*/ 150538 w 896663"/>
                  <a:gd name="connsiteY29" fmla="*/ 1590675 h 4505325"/>
                  <a:gd name="connsiteX30" fmla="*/ 169588 w 896663"/>
                  <a:gd name="connsiteY30" fmla="*/ 1644650 h 4505325"/>
                  <a:gd name="connsiteX31" fmla="*/ 226738 w 896663"/>
                  <a:gd name="connsiteY31" fmla="*/ 1685925 h 4505325"/>
                  <a:gd name="connsiteX32" fmla="*/ 264838 w 896663"/>
                  <a:gd name="connsiteY32" fmla="*/ 1730375 h 4505325"/>
                  <a:gd name="connsiteX33" fmla="*/ 277538 w 896663"/>
                  <a:gd name="connsiteY33" fmla="*/ 1758950 h 4505325"/>
                  <a:gd name="connsiteX34" fmla="*/ 277538 w 896663"/>
                  <a:gd name="connsiteY34" fmla="*/ 1828800 h 4505325"/>
                  <a:gd name="connsiteX35" fmla="*/ 325163 w 896663"/>
                  <a:gd name="connsiteY35" fmla="*/ 1905000 h 4505325"/>
                  <a:gd name="connsiteX36" fmla="*/ 363263 w 896663"/>
                  <a:gd name="connsiteY36" fmla="*/ 1962150 h 4505325"/>
                  <a:gd name="connsiteX37" fmla="*/ 369613 w 896663"/>
                  <a:gd name="connsiteY37" fmla="*/ 2028825 h 4505325"/>
                  <a:gd name="connsiteX38" fmla="*/ 407713 w 896663"/>
                  <a:gd name="connsiteY38" fmla="*/ 2085975 h 4505325"/>
                  <a:gd name="connsiteX39" fmla="*/ 414063 w 896663"/>
                  <a:gd name="connsiteY39" fmla="*/ 2209800 h 4505325"/>
                  <a:gd name="connsiteX40" fmla="*/ 252138 w 896663"/>
                  <a:gd name="connsiteY40" fmla="*/ 2251075 h 4505325"/>
                  <a:gd name="connsiteX41" fmla="*/ 201338 w 896663"/>
                  <a:gd name="connsiteY41" fmla="*/ 2390775 h 4505325"/>
                  <a:gd name="connsiteX42" fmla="*/ 210863 w 896663"/>
                  <a:gd name="connsiteY42" fmla="*/ 2454275 h 4505325"/>
                  <a:gd name="connsiteX43" fmla="*/ 226738 w 896663"/>
                  <a:gd name="connsiteY43" fmla="*/ 2482850 h 4505325"/>
                  <a:gd name="connsiteX44" fmla="*/ 226738 w 896663"/>
                  <a:gd name="connsiteY44" fmla="*/ 2527300 h 4505325"/>
                  <a:gd name="connsiteX45" fmla="*/ 236263 w 896663"/>
                  <a:gd name="connsiteY45" fmla="*/ 2603500 h 4505325"/>
                  <a:gd name="connsiteX46" fmla="*/ 153713 w 896663"/>
                  <a:gd name="connsiteY46" fmla="*/ 2917824 h 4505325"/>
                  <a:gd name="connsiteX47" fmla="*/ 80688 w 896663"/>
                  <a:gd name="connsiteY47" fmla="*/ 3063874 h 4505325"/>
                  <a:gd name="connsiteX48" fmla="*/ 42588 w 896663"/>
                  <a:gd name="connsiteY48" fmla="*/ 3133724 h 4505325"/>
                  <a:gd name="connsiteX49" fmla="*/ 17188 w 896663"/>
                  <a:gd name="connsiteY49" fmla="*/ 3203574 h 4505325"/>
                  <a:gd name="connsiteX50" fmla="*/ 10838 w 896663"/>
                  <a:gd name="connsiteY50" fmla="*/ 3390899 h 4505325"/>
                  <a:gd name="connsiteX51" fmla="*/ 39413 w 896663"/>
                  <a:gd name="connsiteY51" fmla="*/ 3482974 h 4505325"/>
                  <a:gd name="connsiteX52" fmla="*/ 52113 w 896663"/>
                  <a:gd name="connsiteY52" fmla="*/ 3616324 h 4505325"/>
                  <a:gd name="connsiteX53" fmla="*/ 90213 w 896663"/>
                  <a:gd name="connsiteY53" fmla="*/ 3682999 h 4505325"/>
                  <a:gd name="connsiteX54" fmla="*/ 112438 w 896663"/>
                  <a:gd name="connsiteY54" fmla="*/ 3809999 h 4505325"/>
                  <a:gd name="connsiteX55" fmla="*/ 201338 w 896663"/>
                  <a:gd name="connsiteY55" fmla="*/ 3892549 h 4505325"/>
                  <a:gd name="connsiteX56" fmla="*/ 268013 w 896663"/>
                  <a:gd name="connsiteY56" fmla="*/ 3905249 h 4505325"/>
                  <a:gd name="connsiteX57" fmla="*/ 382313 w 896663"/>
                  <a:gd name="connsiteY57" fmla="*/ 4203699 h 4505325"/>
                  <a:gd name="connsiteX58" fmla="*/ 502963 w 896663"/>
                  <a:gd name="connsiteY58" fmla="*/ 4254499 h 4505325"/>
                  <a:gd name="connsiteX59" fmla="*/ 639488 w 896663"/>
                  <a:gd name="connsiteY59" fmla="*/ 4302124 h 4505325"/>
                  <a:gd name="connsiteX60" fmla="*/ 760138 w 896663"/>
                  <a:gd name="connsiteY60" fmla="*/ 4292599 h 4505325"/>
                  <a:gd name="connsiteX61" fmla="*/ 896663 w 896663"/>
                  <a:gd name="connsiteY61" fmla="*/ 4505325 h 4505325"/>
                  <a:gd name="connsiteX0" fmla="*/ 445813 w 896663"/>
                  <a:gd name="connsiteY0" fmla="*/ 0 h 4505325"/>
                  <a:gd name="connsiteX1" fmla="*/ 407713 w 896663"/>
                  <a:gd name="connsiteY1" fmla="*/ 66675 h 4505325"/>
                  <a:gd name="connsiteX2" fmla="*/ 353738 w 896663"/>
                  <a:gd name="connsiteY2" fmla="*/ 85725 h 4505325"/>
                  <a:gd name="connsiteX3" fmla="*/ 283888 w 896663"/>
                  <a:gd name="connsiteY3" fmla="*/ 98425 h 4505325"/>
                  <a:gd name="connsiteX4" fmla="*/ 223563 w 896663"/>
                  <a:gd name="connsiteY4" fmla="*/ 133350 h 4505325"/>
                  <a:gd name="connsiteX5" fmla="*/ 121963 w 896663"/>
                  <a:gd name="connsiteY5" fmla="*/ 196850 h 4505325"/>
                  <a:gd name="connsiteX6" fmla="*/ 131488 w 896663"/>
                  <a:gd name="connsiteY6" fmla="*/ 247650 h 4505325"/>
                  <a:gd name="connsiteX7" fmla="*/ 172763 w 896663"/>
                  <a:gd name="connsiteY7" fmla="*/ 276225 h 4505325"/>
                  <a:gd name="connsiteX8" fmla="*/ 185463 w 896663"/>
                  <a:gd name="connsiteY8" fmla="*/ 327025 h 4505325"/>
                  <a:gd name="connsiteX9" fmla="*/ 239438 w 896663"/>
                  <a:gd name="connsiteY9" fmla="*/ 368300 h 4505325"/>
                  <a:gd name="connsiteX10" fmla="*/ 239438 w 896663"/>
                  <a:gd name="connsiteY10" fmla="*/ 412750 h 4505325"/>
                  <a:gd name="connsiteX11" fmla="*/ 207688 w 896663"/>
                  <a:gd name="connsiteY11" fmla="*/ 454025 h 4505325"/>
                  <a:gd name="connsiteX12" fmla="*/ 287063 w 896663"/>
                  <a:gd name="connsiteY12" fmla="*/ 479425 h 4505325"/>
                  <a:gd name="connsiteX13" fmla="*/ 302938 w 896663"/>
                  <a:gd name="connsiteY13" fmla="*/ 511175 h 4505325"/>
                  <a:gd name="connsiteX14" fmla="*/ 210863 w 896663"/>
                  <a:gd name="connsiteY14" fmla="*/ 581025 h 4505325"/>
                  <a:gd name="connsiteX15" fmla="*/ 160063 w 896663"/>
                  <a:gd name="connsiteY15" fmla="*/ 638175 h 4505325"/>
                  <a:gd name="connsiteX16" fmla="*/ 160063 w 896663"/>
                  <a:gd name="connsiteY16" fmla="*/ 695325 h 4505325"/>
                  <a:gd name="connsiteX17" fmla="*/ 185463 w 896663"/>
                  <a:gd name="connsiteY17" fmla="*/ 784225 h 4505325"/>
                  <a:gd name="connsiteX18" fmla="*/ 194988 w 896663"/>
                  <a:gd name="connsiteY18" fmla="*/ 835025 h 4505325"/>
                  <a:gd name="connsiteX19" fmla="*/ 204513 w 896663"/>
                  <a:gd name="connsiteY19" fmla="*/ 885825 h 4505325"/>
                  <a:gd name="connsiteX20" fmla="*/ 220388 w 896663"/>
                  <a:gd name="connsiteY20" fmla="*/ 923925 h 4505325"/>
                  <a:gd name="connsiteX21" fmla="*/ 163238 w 896663"/>
                  <a:gd name="connsiteY21" fmla="*/ 1022350 h 4505325"/>
                  <a:gd name="connsiteX22" fmla="*/ 96563 w 896663"/>
                  <a:gd name="connsiteY22" fmla="*/ 1057275 h 4505325"/>
                  <a:gd name="connsiteX23" fmla="*/ 52113 w 896663"/>
                  <a:gd name="connsiteY23" fmla="*/ 1143000 h 4505325"/>
                  <a:gd name="connsiteX24" fmla="*/ 20363 w 896663"/>
                  <a:gd name="connsiteY24" fmla="*/ 1244600 h 4505325"/>
                  <a:gd name="connsiteX25" fmla="*/ 1313 w 896663"/>
                  <a:gd name="connsiteY25" fmla="*/ 1346200 h 4505325"/>
                  <a:gd name="connsiteX26" fmla="*/ 10838 w 896663"/>
                  <a:gd name="connsiteY26" fmla="*/ 1438275 h 4505325"/>
                  <a:gd name="connsiteX27" fmla="*/ 83863 w 896663"/>
                  <a:gd name="connsiteY27" fmla="*/ 1511300 h 4505325"/>
                  <a:gd name="connsiteX28" fmla="*/ 112438 w 896663"/>
                  <a:gd name="connsiteY28" fmla="*/ 1558925 h 4505325"/>
                  <a:gd name="connsiteX29" fmla="*/ 150538 w 896663"/>
                  <a:gd name="connsiteY29" fmla="*/ 1590675 h 4505325"/>
                  <a:gd name="connsiteX30" fmla="*/ 169588 w 896663"/>
                  <a:gd name="connsiteY30" fmla="*/ 1644650 h 4505325"/>
                  <a:gd name="connsiteX31" fmla="*/ 226738 w 896663"/>
                  <a:gd name="connsiteY31" fmla="*/ 1685925 h 4505325"/>
                  <a:gd name="connsiteX32" fmla="*/ 264838 w 896663"/>
                  <a:gd name="connsiteY32" fmla="*/ 1730375 h 4505325"/>
                  <a:gd name="connsiteX33" fmla="*/ 277538 w 896663"/>
                  <a:gd name="connsiteY33" fmla="*/ 1758950 h 4505325"/>
                  <a:gd name="connsiteX34" fmla="*/ 277538 w 896663"/>
                  <a:gd name="connsiteY34" fmla="*/ 1828800 h 4505325"/>
                  <a:gd name="connsiteX35" fmla="*/ 325163 w 896663"/>
                  <a:gd name="connsiteY35" fmla="*/ 1905000 h 4505325"/>
                  <a:gd name="connsiteX36" fmla="*/ 363263 w 896663"/>
                  <a:gd name="connsiteY36" fmla="*/ 1962150 h 4505325"/>
                  <a:gd name="connsiteX37" fmla="*/ 369613 w 896663"/>
                  <a:gd name="connsiteY37" fmla="*/ 2028825 h 4505325"/>
                  <a:gd name="connsiteX38" fmla="*/ 407713 w 896663"/>
                  <a:gd name="connsiteY38" fmla="*/ 2085975 h 4505325"/>
                  <a:gd name="connsiteX39" fmla="*/ 414063 w 896663"/>
                  <a:gd name="connsiteY39" fmla="*/ 2209800 h 4505325"/>
                  <a:gd name="connsiteX40" fmla="*/ 252138 w 896663"/>
                  <a:gd name="connsiteY40" fmla="*/ 2251075 h 4505325"/>
                  <a:gd name="connsiteX41" fmla="*/ 201338 w 896663"/>
                  <a:gd name="connsiteY41" fmla="*/ 2390775 h 4505325"/>
                  <a:gd name="connsiteX42" fmla="*/ 210863 w 896663"/>
                  <a:gd name="connsiteY42" fmla="*/ 2454275 h 4505325"/>
                  <a:gd name="connsiteX43" fmla="*/ 226738 w 896663"/>
                  <a:gd name="connsiteY43" fmla="*/ 2482850 h 4505325"/>
                  <a:gd name="connsiteX44" fmla="*/ 226738 w 896663"/>
                  <a:gd name="connsiteY44" fmla="*/ 2527300 h 4505325"/>
                  <a:gd name="connsiteX45" fmla="*/ 236263 w 896663"/>
                  <a:gd name="connsiteY45" fmla="*/ 2603500 h 4505325"/>
                  <a:gd name="connsiteX46" fmla="*/ 153713 w 896663"/>
                  <a:gd name="connsiteY46" fmla="*/ 2917824 h 4505325"/>
                  <a:gd name="connsiteX47" fmla="*/ 80688 w 896663"/>
                  <a:gd name="connsiteY47" fmla="*/ 3063874 h 4505325"/>
                  <a:gd name="connsiteX48" fmla="*/ 42588 w 896663"/>
                  <a:gd name="connsiteY48" fmla="*/ 3133724 h 4505325"/>
                  <a:gd name="connsiteX49" fmla="*/ 17188 w 896663"/>
                  <a:gd name="connsiteY49" fmla="*/ 3203574 h 4505325"/>
                  <a:gd name="connsiteX50" fmla="*/ 10838 w 896663"/>
                  <a:gd name="connsiteY50" fmla="*/ 3390899 h 4505325"/>
                  <a:gd name="connsiteX51" fmla="*/ 39413 w 896663"/>
                  <a:gd name="connsiteY51" fmla="*/ 3482974 h 4505325"/>
                  <a:gd name="connsiteX52" fmla="*/ 52113 w 896663"/>
                  <a:gd name="connsiteY52" fmla="*/ 3616324 h 4505325"/>
                  <a:gd name="connsiteX53" fmla="*/ 90213 w 896663"/>
                  <a:gd name="connsiteY53" fmla="*/ 3682999 h 4505325"/>
                  <a:gd name="connsiteX54" fmla="*/ 112438 w 896663"/>
                  <a:gd name="connsiteY54" fmla="*/ 3809999 h 4505325"/>
                  <a:gd name="connsiteX55" fmla="*/ 201338 w 896663"/>
                  <a:gd name="connsiteY55" fmla="*/ 3892549 h 4505325"/>
                  <a:gd name="connsiteX56" fmla="*/ 258488 w 896663"/>
                  <a:gd name="connsiteY56" fmla="*/ 3908424 h 4505325"/>
                  <a:gd name="connsiteX57" fmla="*/ 382313 w 896663"/>
                  <a:gd name="connsiteY57" fmla="*/ 4203699 h 4505325"/>
                  <a:gd name="connsiteX58" fmla="*/ 502963 w 896663"/>
                  <a:gd name="connsiteY58" fmla="*/ 4254499 h 4505325"/>
                  <a:gd name="connsiteX59" fmla="*/ 639488 w 896663"/>
                  <a:gd name="connsiteY59" fmla="*/ 4302124 h 4505325"/>
                  <a:gd name="connsiteX60" fmla="*/ 760138 w 896663"/>
                  <a:gd name="connsiteY60" fmla="*/ 4292599 h 4505325"/>
                  <a:gd name="connsiteX61" fmla="*/ 896663 w 896663"/>
                  <a:gd name="connsiteY61" fmla="*/ 4505325 h 4505325"/>
                  <a:gd name="connsiteX0" fmla="*/ 445813 w 896663"/>
                  <a:gd name="connsiteY0" fmla="*/ 0 h 4505325"/>
                  <a:gd name="connsiteX1" fmla="*/ 407713 w 896663"/>
                  <a:gd name="connsiteY1" fmla="*/ 66675 h 4505325"/>
                  <a:gd name="connsiteX2" fmla="*/ 353738 w 896663"/>
                  <a:gd name="connsiteY2" fmla="*/ 85725 h 4505325"/>
                  <a:gd name="connsiteX3" fmla="*/ 283888 w 896663"/>
                  <a:gd name="connsiteY3" fmla="*/ 98425 h 4505325"/>
                  <a:gd name="connsiteX4" fmla="*/ 223563 w 896663"/>
                  <a:gd name="connsiteY4" fmla="*/ 133350 h 4505325"/>
                  <a:gd name="connsiteX5" fmla="*/ 121963 w 896663"/>
                  <a:gd name="connsiteY5" fmla="*/ 196850 h 4505325"/>
                  <a:gd name="connsiteX6" fmla="*/ 131488 w 896663"/>
                  <a:gd name="connsiteY6" fmla="*/ 247650 h 4505325"/>
                  <a:gd name="connsiteX7" fmla="*/ 172763 w 896663"/>
                  <a:gd name="connsiteY7" fmla="*/ 276225 h 4505325"/>
                  <a:gd name="connsiteX8" fmla="*/ 185463 w 896663"/>
                  <a:gd name="connsiteY8" fmla="*/ 327025 h 4505325"/>
                  <a:gd name="connsiteX9" fmla="*/ 239438 w 896663"/>
                  <a:gd name="connsiteY9" fmla="*/ 368300 h 4505325"/>
                  <a:gd name="connsiteX10" fmla="*/ 239438 w 896663"/>
                  <a:gd name="connsiteY10" fmla="*/ 412750 h 4505325"/>
                  <a:gd name="connsiteX11" fmla="*/ 207688 w 896663"/>
                  <a:gd name="connsiteY11" fmla="*/ 454025 h 4505325"/>
                  <a:gd name="connsiteX12" fmla="*/ 287063 w 896663"/>
                  <a:gd name="connsiteY12" fmla="*/ 479425 h 4505325"/>
                  <a:gd name="connsiteX13" fmla="*/ 302938 w 896663"/>
                  <a:gd name="connsiteY13" fmla="*/ 511175 h 4505325"/>
                  <a:gd name="connsiteX14" fmla="*/ 210863 w 896663"/>
                  <a:gd name="connsiteY14" fmla="*/ 581025 h 4505325"/>
                  <a:gd name="connsiteX15" fmla="*/ 160063 w 896663"/>
                  <a:gd name="connsiteY15" fmla="*/ 638175 h 4505325"/>
                  <a:gd name="connsiteX16" fmla="*/ 160063 w 896663"/>
                  <a:gd name="connsiteY16" fmla="*/ 695325 h 4505325"/>
                  <a:gd name="connsiteX17" fmla="*/ 185463 w 896663"/>
                  <a:gd name="connsiteY17" fmla="*/ 784225 h 4505325"/>
                  <a:gd name="connsiteX18" fmla="*/ 194988 w 896663"/>
                  <a:gd name="connsiteY18" fmla="*/ 835025 h 4505325"/>
                  <a:gd name="connsiteX19" fmla="*/ 204513 w 896663"/>
                  <a:gd name="connsiteY19" fmla="*/ 885825 h 4505325"/>
                  <a:gd name="connsiteX20" fmla="*/ 220388 w 896663"/>
                  <a:gd name="connsiteY20" fmla="*/ 923925 h 4505325"/>
                  <a:gd name="connsiteX21" fmla="*/ 163238 w 896663"/>
                  <a:gd name="connsiteY21" fmla="*/ 1022350 h 4505325"/>
                  <a:gd name="connsiteX22" fmla="*/ 96563 w 896663"/>
                  <a:gd name="connsiteY22" fmla="*/ 1057275 h 4505325"/>
                  <a:gd name="connsiteX23" fmla="*/ 52113 w 896663"/>
                  <a:gd name="connsiteY23" fmla="*/ 1143000 h 4505325"/>
                  <a:gd name="connsiteX24" fmla="*/ 20363 w 896663"/>
                  <a:gd name="connsiteY24" fmla="*/ 1244600 h 4505325"/>
                  <a:gd name="connsiteX25" fmla="*/ 1313 w 896663"/>
                  <a:gd name="connsiteY25" fmla="*/ 1346200 h 4505325"/>
                  <a:gd name="connsiteX26" fmla="*/ 10838 w 896663"/>
                  <a:gd name="connsiteY26" fmla="*/ 1438275 h 4505325"/>
                  <a:gd name="connsiteX27" fmla="*/ 83863 w 896663"/>
                  <a:gd name="connsiteY27" fmla="*/ 1511300 h 4505325"/>
                  <a:gd name="connsiteX28" fmla="*/ 112438 w 896663"/>
                  <a:gd name="connsiteY28" fmla="*/ 1558925 h 4505325"/>
                  <a:gd name="connsiteX29" fmla="*/ 150538 w 896663"/>
                  <a:gd name="connsiteY29" fmla="*/ 1590675 h 4505325"/>
                  <a:gd name="connsiteX30" fmla="*/ 169588 w 896663"/>
                  <a:gd name="connsiteY30" fmla="*/ 1644650 h 4505325"/>
                  <a:gd name="connsiteX31" fmla="*/ 226738 w 896663"/>
                  <a:gd name="connsiteY31" fmla="*/ 1685925 h 4505325"/>
                  <a:gd name="connsiteX32" fmla="*/ 264838 w 896663"/>
                  <a:gd name="connsiteY32" fmla="*/ 1730375 h 4505325"/>
                  <a:gd name="connsiteX33" fmla="*/ 277538 w 896663"/>
                  <a:gd name="connsiteY33" fmla="*/ 1758950 h 4505325"/>
                  <a:gd name="connsiteX34" fmla="*/ 277538 w 896663"/>
                  <a:gd name="connsiteY34" fmla="*/ 1828800 h 4505325"/>
                  <a:gd name="connsiteX35" fmla="*/ 325163 w 896663"/>
                  <a:gd name="connsiteY35" fmla="*/ 1905000 h 4505325"/>
                  <a:gd name="connsiteX36" fmla="*/ 363263 w 896663"/>
                  <a:gd name="connsiteY36" fmla="*/ 1962150 h 4505325"/>
                  <a:gd name="connsiteX37" fmla="*/ 369613 w 896663"/>
                  <a:gd name="connsiteY37" fmla="*/ 2028825 h 4505325"/>
                  <a:gd name="connsiteX38" fmla="*/ 407713 w 896663"/>
                  <a:gd name="connsiteY38" fmla="*/ 2085975 h 4505325"/>
                  <a:gd name="connsiteX39" fmla="*/ 414063 w 896663"/>
                  <a:gd name="connsiteY39" fmla="*/ 2209800 h 4505325"/>
                  <a:gd name="connsiteX40" fmla="*/ 252138 w 896663"/>
                  <a:gd name="connsiteY40" fmla="*/ 2251075 h 4505325"/>
                  <a:gd name="connsiteX41" fmla="*/ 201338 w 896663"/>
                  <a:gd name="connsiteY41" fmla="*/ 2390775 h 4505325"/>
                  <a:gd name="connsiteX42" fmla="*/ 210863 w 896663"/>
                  <a:gd name="connsiteY42" fmla="*/ 2454275 h 4505325"/>
                  <a:gd name="connsiteX43" fmla="*/ 226738 w 896663"/>
                  <a:gd name="connsiteY43" fmla="*/ 2482850 h 4505325"/>
                  <a:gd name="connsiteX44" fmla="*/ 226738 w 896663"/>
                  <a:gd name="connsiteY44" fmla="*/ 2527300 h 4505325"/>
                  <a:gd name="connsiteX45" fmla="*/ 236263 w 896663"/>
                  <a:gd name="connsiteY45" fmla="*/ 2603500 h 4505325"/>
                  <a:gd name="connsiteX46" fmla="*/ 204513 w 896663"/>
                  <a:gd name="connsiteY46" fmla="*/ 2825749 h 4505325"/>
                  <a:gd name="connsiteX47" fmla="*/ 153713 w 896663"/>
                  <a:gd name="connsiteY47" fmla="*/ 2917824 h 4505325"/>
                  <a:gd name="connsiteX48" fmla="*/ 80688 w 896663"/>
                  <a:gd name="connsiteY48" fmla="*/ 3063874 h 4505325"/>
                  <a:gd name="connsiteX49" fmla="*/ 42588 w 896663"/>
                  <a:gd name="connsiteY49" fmla="*/ 3133724 h 4505325"/>
                  <a:gd name="connsiteX50" fmla="*/ 17188 w 896663"/>
                  <a:gd name="connsiteY50" fmla="*/ 3203574 h 4505325"/>
                  <a:gd name="connsiteX51" fmla="*/ 10838 w 896663"/>
                  <a:gd name="connsiteY51" fmla="*/ 3390899 h 4505325"/>
                  <a:gd name="connsiteX52" fmla="*/ 39413 w 896663"/>
                  <a:gd name="connsiteY52" fmla="*/ 3482974 h 4505325"/>
                  <a:gd name="connsiteX53" fmla="*/ 52113 w 896663"/>
                  <a:gd name="connsiteY53" fmla="*/ 3616324 h 4505325"/>
                  <a:gd name="connsiteX54" fmla="*/ 90213 w 896663"/>
                  <a:gd name="connsiteY54" fmla="*/ 3682999 h 4505325"/>
                  <a:gd name="connsiteX55" fmla="*/ 112438 w 896663"/>
                  <a:gd name="connsiteY55" fmla="*/ 3809999 h 4505325"/>
                  <a:gd name="connsiteX56" fmla="*/ 201338 w 896663"/>
                  <a:gd name="connsiteY56" fmla="*/ 3892549 h 4505325"/>
                  <a:gd name="connsiteX57" fmla="*/ 258488 w 896663"/>
                  <a:gd name="connsiteY57" fmla="*/ 3908424 h 4505325"/>
                  <a:gd name="connsiteX58" fmla="*/ 382313 w 896663"/>
                  <a:gd name="connsiteY58" fmla="*/ 4203699 h 4505325"/>
                  <a:gd name="connsiteX59" fmla="*/ 502963 w 896663"/>
                  <a:gd name="connsiteY59" fmla="*/ 4254499 h 4505325"/>
                  <a:gd name="connsiteX60" fmla="*/ 639488 w 896663"/>
                  <a:gd name="connsiteY60" fmla="*/ 4302124 h 4505325"/>
                  <a:gd name="connsiteX61" fmla="*/ 760138 w 896663"/>
                  <a:gd name="connsiteY61" fmla="*/ 4292599 h 4505325"/>
                  <a:gd name="connsiteX62" fmla="*/ 896663 w 896663"/>
                  <a:gd name="connsiteY62" fmla="*/ 4505325 h 4505325"/>
                  <a:gd name="connsiteX0" fmla="*/ 445813 w 896663"/>
                  <a:gd name="connsiteY0" fmla="*/ 0 h 4505325"/>
                  <a:gd name="connsiteX1" fmla="*/ 407713 w 896663"/>
                  <a:gd name="connsiteY1" fmla="*/ 66675 h 4505325"/>
                  <a:gd name="connsiteX2" fmla="*/ 353738 w 896663"/>
                  <a:gd name="connsiteY2" fmla="*/ 85725 h 4505325"/>
                  <a:gd name="connsiteX3" fmla="*/ 283888 w 896663"/>
                  <a:gd name="connsiteY3" fmla="*/ 98425 h 4505325"/>
                  <a:gd name="connsiteX4" fmla="*/ 223563 w 896663"/>
                  <a:gd name="connsiteY4" fmla="*/ 133350 h 4505325"/>
                  <a:gd name="connsiteX5" fmla="*/ 121963 w 896663"/>
                  <a:gd name="connsiteY5" fmla="*/ 196850 h 4505325"/>
                  <a:gd name="connsiteX6" fmla="*/ 131488 w 896663"/>
                  <a:gd name="connsiteY6" fmla="*/ 247650 h 4505325"/>
                  <a:gd name="connsiteX7" fmla="*/ 172763 w 896663"/>
                  <a:gd name="connsiteY7" fmla="*/ 276225 h 4505325"/>
                  <a:gd name="connsiteX8" fmla="*/ 185463 w 896663"/>
                  <a:gd name="connsiteY8" fmla="*/ 327025 h 4505325"/>
                  <a:gd name="connsiteX9" fmla="*/ 239438 w 896663"/>
                  <a:gd name="connsiteY9" fmla="*/ 368300 h 4505325"/>
                  <a:gd name="connsiteX10" fmla="*/ 239438 w 896663"/>
                  <a:gd name="connsiteY10" fmla="*/ 412750 h 4505325"/>
                  <a:gd name="connsiteX11" fmla="*/ 207688 w 896663"/>
                  <a:gd name="connsiteY11" fmla="*/ 454025 h 4505325"/>
                  <a:gd name="connsiteX12" fmla="*/ 287063 w 896663"/>
                  <a:gd name="connsiteY12" fmla="*/ 479425 h 4505325"/>
                  <a:gd name="connsiteX13" fmla="*/ 302938 w 896663"/>
                  <a:gd name="connsiteY13" fmla="*/ 511175 h 4505325"/>
                  <a:gd name="connsiteX14" fmla="*/ 210863 w 896663"/>
                  <a:gd name="connsiteY14" fmla="*/ 581025 h 4505325"/>
                  <a:gd name="connsiteX15" fmla="*/ 160063 w 896663"/>
                  <a:gd name="connsiteY15" fmla="*/ 638175 h 4505325"/>
                  <a:gd name="connsiteX16" fmla="*/ 160063 w 896663"/>
                  <a:gd name="connsiteY16" fmla="*/ 695325 h 4505325"/>
                  <a:gd name="connsiteX17" fmla="*/ 185463 w 896663"/>
                  <a:gd name="connsiteY17" fmla="*/ 784225 h 4505325"/>
                  <a:gd name="connsiteX18" fmla="*/ 194988 w 896663"/>
                  <a:gd name="connsiteY18" fmla="*/ 835025 h 4505325"/>
                  <a:gd name="connsiteX19" fmla="*/ 204513 w 896663"/>
                  <a:gd name="connsiteY19" fmla="*/ 885825 h 4505325"/>
                  <a:gd name="connsiteX20" fmla="*/ 220388 w 896663"/>
                  <a:gd name="connsiteY20" fmla="*/ 923925 h 4505325"/>
                  <a:gd name="connsiteX21" fmla="*/ 163238 w 896663"/>
                  <a:gd name="connsiteY21" fmla="*/ 1022350 h 4505325"/>
                  <a:gd name="connsiteX22" fmla="*/ 96563 w 896663"/>
                  <a:gd name="connsiteY22" fmla="*/ 1057275 h 4505325"/>
                  <a:gd name="connsiteX23" fmla="*/ 52113 w 896663"/>
                  <a:gd name="connsiteY23" fmla="*/ 1143000 h 4505325"/>
                  <a:gd name="connsiteX24" fmla="*/ 20363 w 896663"/>
                  <a:gd name="connsiteY24" fmla="*/ 1244600 h 4505325"/>
                  <a:gd name="connsiteX25" fmla="*/ 1313 w 896663"/>
                  <a:gd name="connsiteY25" fmla="*/ 1346200 h 4505325"/>
                  <a:gd name="connsiteX26" fmla="*/ 10838 w 896663"/>
                  <a:gd name="connsiteY26" fmla="*/ 1438275 h 4505325"/>
                  <a:gd name="connsiteX27" fmla="*/ 83863 w 896663"/>
                  <a:gd name="connsiteY27" fmla="*/ 1511300 h 4505325"/>
                  <a:gd name="connsiteX28" fmla="*/ 112438 w 896663"/>
                  <a:gd name="connsiteY28" fmla="*/ 1558925 h 4505325"/>
                  <a:gd name="connsiteX29" fmla="*/ 150538 w 896663"/>
                  <a:gd name="connsiteY29" fmla="*/ 1590675 h 4505325"/>
                  <a:gd name="connsiteX30" fmla="*/ 169588 w 896663"/>
                  <a:gd name="connsiteY30" fmla="*/ 1644650 h 4505325"/>
                  <a:gd name="connsiteX31" fmla="*/ 226738 w 896663"/>
                  <a:gd name="connsiteY31" fmla="*/ 1685925 h 4505325"/>
                  <a:gd name="connsiteX32" fmla="*/ 264838 w 896663"/>
                  <a:gd name="connsiteY32" fmla="*/ 1730375 h 4505325"/>
                  <a:gd name="connsiteX33" fmla="*/ 277538 w 896663"/>
                  <a:gd name="connsiteY33" fmla="*/ 1758950 h 4505325"/>
                  <a:gd name="connsiteX34" fmla="*/ 277538 w 896663"/>
                  <a:gd name="connsiteY34" fmla="*/ 1828800 h 4505325"/>
                  <a:gd name="connsiteX35" fmla="*/ 325163 w 896663"/>
                  <a:gd name="connsiteY35" fmla="*/ 1905000 h 4505325"/>
                  <a:gd name="connsiteX36" fmla="*/ 363263 w 896663"/>
                  <a:gd name="connsiteY36" fmla="*/ 1962150 h 4505325"/>
                  <a:gd name="connsiteX37" fmla="*/ 369613 w 896663"/>
                  <a:gd name="connsiteY37" fmla="*/ 2028825 h 4505325"/>
                  <a:gd name="connsiteX38" fmla="*/ 407713 w 896663"/>
                  <a:gd name="connsiteY38" fmla="*/ 2085975 h 4505325"/>
                  <a:gd name="connsiteX39" fmla="*/ 414063 w 896663"/>
                  <a:gd name="connsiteY39" fmla="*/ 2255981 h 4505325"/>
                  <a:gd name="connsiteX40" fmla="*/ 252138 w 896663"/>
                  <a:gd name="connsiteY40" fmla="*/ 2251075 h 4505325"/>
                  <a:gd name="connsiteX41" fmla="*/ 201338 w 896663"/>
                  <a:gd name="connsiteY41" fmla="*/ 2390775 h 4505325"/>
                  <a:gd name="connsiteX42" fmla="*/ 210863 w 896663"/>
                  <a:gd name="connsiteY42" fmla="*/ 2454275 h 4505325"/>
                  <a:gd name="connsiteX43" fmla="*/ 226738 w 896663"/>
                  <a:gd name="connsiteY43" fmla="*/ 2482850 h 4505325"/>
                  <a:gd name="connsiteX44" fmla="*/ 226738 w 896663"/>
                  <a:gd name="connsiteY44" fmla="*/ 2527300 h 4505325"/>
                  <a:gd name="connsiteX45" fmla="*/ 236263 w 896663"/>
                  <a:gd name="connsiteY45" fmla="*/ 2603500 h 4505325"/>
                  <a:gd name="connsiteX46" fmla="*/ 204513 w 896663"/>
                  <a:gd name="connsiteY46" fmla="*/ 2825749 h 4505325"/>
                  <a:gd name="connsiteX47" fmla="*/ 153713 w 896663"/>
                  <a:gd name="connsiteY47" fmla="*/ 2917824 h 4505325"/>
                  <a:gd name="connsiteX48" fmla="*/ 80688 w 896663"/>
                  <a:gd name="connsiteY48" fmla="*/ 3063874 h 4505325"/>
                  <a:gd name="connsiteX49" fmla="*/ 42588 w 896663"/>
                  <a:gd name="connsiteY49" fmla="*/ 3133724 h 4505325"/>
                  <a:gd name="connsiteX50" fmla="*/ 17188 w 896663"/>
                  <a:gd name="connsiteY50" fmla="*/ 3203574 h 4505325"/>
                  <a:gd name="connsiteX51" fmla="*/ 10838 w 896663"/>
                  <a:gd name="connsiteY51" fmla="*/ 3390899 h 4505325"/>
                  <a:gd name="connsiteX52" fmla="*/ 39413 w 896663"/>
                  <a:gd name="connsiteY52" fmla="*/ 3482974 h 4505325"/>
                  <a:gd name="connsiteX53" fmla="*/ 52113 w 896663"/>
                  <a:gd name="connsiteY53" fmla="*/ 3616324 h 4505325"/>
                  <a:gd name="connsiteX54" fmla="*/ 90213 w 896663"/>
                  <a:gd name="connsiteY54" fmla="*/ 3682999 h 4505325"/>
                  <a:gd name="connsiteX55" fmla="*/ 112438 w 896663"/>
                  <a:gd name="connsiteY55" fmla="*/ 3809999 h 4505325"/>
                  <a:gd name="connsiteX56" fmla="*/ 201338 w 896663"/>
                  <a:gd name="connsiteY56" fmla="*/ 3892549 h 4505325"/>
                  <a:gd name="connsiteX57" fmla="*/ 258488 w 896663"/>
                  <a:gd name="connsiteY57" fmla="*/ 3908424 h 4505325"/>
                  <a:gd name="connsiteX58" fmla="*/ 382313 w 896663"/>
                  <a:gd name="connsiteY58" fmla="*/ 4203699 h 4505325"/>
                  <a:gd name="connsiteX59" fmla="*/ 502963 w 896663"/>
                  <a:gd name="connsiteY59" fmla="*/ 4254499 h 4505325"/>
                  <a:gd name="connsiteX60" fmla="*/ 639488 w 896663"/>
                  <a:gd name="connsiteY60" fmla="*/ 4302124 h 4505325"/>
                  <a:gd name="connsiteX61" fmla="*/ 760138 w 896663"/>
                  <a:gd name="connsiteY61" fmla="*/ 4292599 h 4505325"/>
                  <a:gd name="connsiteX62" fmla="*/ 896663 w 896663"/>
                  <a:gd name="connsiteY62" fmla="*/ 4505325 h 4505325"/>
                  <a:gd name="connsiteX0" fmla="*/ 445813 w 896663"/>
                  <a:gd name="connsiteY0" fmla="*/ 0 h 4505325"/>
                  <a:gd name="connsiteX1" fmla="*/ 407713 w 896663"/>
                  <a:gd name="connsiteY1" fmla="*/ 66675 h 4505325"/>
                  <a:gd name="connsiteX2" fmla="*/ 353738 w 896663"/>
                  <a:gd name="connsiteY2" fmla="*/ 85725 h 4505325"/>
                  <a:gd name="connsiteX3" fmla="*/ 283888 w 896663"/>
                  <a:gd name="connsiteY3" fmla="*/ 98425 h 4505325"/>
                  <a:gd name="connsiteX4" fmla="*/ 223563 w 896663"/>
                  <a:gd name="connsiteY4" fmla="*/ 133350 h 4505325"/>
                  <a:gd name="connsiteX5" fmla="*/ 121963 w 896663"/>
                  <a:gd name="connsiteY5" fmla="*/ 196850 h 4505325"/>
                  <a:gd name="connsiteX6" fmla="*/ 131488 w 896663"/>
                  <a:gd name="connsiteY6" fmla="*/ 247650 h 4505325"/>
                  <a:gd name="connsiteX7" fmla="*/ 172763 w 896663"/>
                  <a:gd name="connsiteY7" fmla="*/ 276225 h 4505325"/>
                  <a:gd name="connsiteX8" fmla="*/ 185463 w 896663"/>
                  <a:gd name="connsiteY8" fmla="*/ 327025 h 4505325"/>
                  <a:gd name="connsiteX9" fmla="*/ 239438 w 896663"/>
                  <a:gd name="connsiteY9" fmla="*/ 368300 h 4505325"/>
                  <a:gd name="connsiteX10" fmla="*/ 239438 w 896663"/>
                  <a:gd name="connsiteY10" fmla="*/ 412750 h 4505325"/>
                  <a:gd name="connsiteX11" fmla="*/ 207688 w 896663"/>
                  <a:gd name="connsiteY11" fmla="*/ 454025 h 4505325"/>
                  <a:gd name="connsiteX12" fmla="*/ 287063 w 896663"/>
                  <a:gd name="connsiteY12" fmla="*/ 479425 h 4505325"/>
                  <a:gd name="connsiteX13" fmla="*/ 302938 w 896663"/>
                  <a:gd name="connsiteY13" fmla="*/ 511175 h 4505325"/>
                  <a:gd name="connsiteX14" fmla="*/ 210863 w 896663"/>
                  <a:gd name="connsiteY14" fmla="*/ 581025 h 4505325"/>
                  <a:gd name="connsiteX15" fmla="*/ 160063 w 896663"/>
                  <a:gd name="connsiteY15" fmla="*/ 638175 h 4505325"/>
                  <a:gd name="connsiteX16" fmla="*/ 160063 w 896663"/>
                  <a:gd name="connsiteY16" fmla="*/ 695325 h 4505325"/>
                  <a:gd name="connsiteX17" fmla="*/ 185463 w 896663"/>
                  <a:gd name="connsiteY17" fmla="*/ 784225 h 4505325"/>
                  <a:gd name="connsiteX18" fmla="*/ 194988 w 896663"/>
                  <a:gd name="connsiteY18" fmla="*/ 835025 h 4505325"/>
                  <a:gd name="connsiteX19" fmla="*/ 204513 w 896663"/>
                  <a:gd name="connsiteY19" fmla="*/ 885825 h 4505325"/>
                  <a:gd name="connsiteX20" fmla="*/ 220388 w 896663"/>
                  <a:gd name="connsiteY20" fmla="*/ 923925 h 4505325"/>
                  <a:gd name="connsiteX21" fmla="*/ 163238 w 896663"/>
                  <a:gd name="connsiteY21" fmla="*/ 1022350 h 4505325"/>
                  <a:gd name="connsiteX22" fmla="*/ 96563 w 896663"/>
                  <a:gd name="connsiteY22" fmla="*/ 1057275 h 4505325"/>
                  <a:gd name="connsiteX23" fmla="*/ 52113 w 896663"/>
                  <a:gd name="connsiteY23" fmla="*/ 1143000 h 4505325"/>
                  <a:gd name="connsiteX24" fmla="*/ 20363 w 896663"/>
                  <a:gd name="connsiteY24" fmla="*/ 1244600 h 4505325"/>
                  <a:gd name="connsiteX25" fmla="*/ 1313 w 896663"/>
                  <a:gd name="connsiteY25" fmla="*/ 1346200 h 4505325"/>
                  <a:gd name="connsiteX26" fmla="*/ 10838 w 896663"/>
                  <a:gd name="connsiteY26" fmla="*/ 1438275 h 4505325"/>
                  <a:gd name="connsiteX27" fmla="*/ 83863 w 896663"/>
                  <a:gd name="connsiteY27" fmla="*/ 1511300 h 4505325"/>
                  <a:gd name="connsiteX28" fmla="*/ 112438 w 896663"/>
                  <a:gd name="connsiteY28" fmla="*/ 1558925 h 4505325"/>
                  <a:gd name="connsiteX29" fmla="*/ 150538 w 896663"/>
                  <a:gd name="connsiteY29" fmla="*/ 1590675 h 4505325"/>
                  <a:gd name="connsiteX30" fmla="*/ 169588 w 896663"/>
                  <a:gd name="connsiteY30" fmla="*/ 1644650 h 4505325"/>
                  <a:gd name="connsiteX31" fmla="*/ 226738 w 896663"/>
                  <a:gd name="connsiteY31" fmla="*/ 1685925 h 4505325"/>
                  <a:gd name="connsiteX32" fmla="*/ 264838 w 896663"/>
                  <a:gd name="connsiteY32" fmla="*/ 1730375 h 4505325"/>
                  <a:gd name="connsiteX33" fmla="*/ 277538 w 896663"/>
                  <a:gd name="connsiteY33" fmla="*/ 1758950 h 4505325"/>
                  <a:gd name="connsiteX34" fmla="*/ 277538 w 896663"/>
                  <a:gd name="connsiteY34" fmla="*/ 1828800 h 4505325"/>
                  <a:gd name="connsiteX35" fmla="*/ 325163 w 896663"/>
                  <a:gd name="connsiteY35" fmla="*/ 1905000 h 4505325"/>
                  <a:gd name="connsiteX36" fmla="*/ 363263 w 896663"/>
                  <a:gd name="connsiteY36" fmla="*/ 1962150 h 4505325"/>
                  <a:gd name="connsiteX37" fmla="*/ 369613 w 896663"/>
                  <a:gd name="connsiteY37" fmla="*/ 2028825 h 4505325"/>
                  <a:gd name="connsiteX38" fmla="*/ 407713 w 896663"/>
                  <a:gd name="connsiteY38" fmla="*/ 2085975 h 4505325"/>
                  <a:gd name="connsiteX39" fmla="*/ 414063 w 896663"/>
                  <a:gd name="connsiteY39" fmla="*/ 2255981 h 4505325"/>
                  <a:gd name="connsiteX40" fmla="*/ 242901 w 896663"/>
                  <a:gd name="connsiteY40" fmla="*/ 2278784 h 4505325"/>
                  <a:gd name="connsiteX41" fmla="*/ 201338 w 896663"/>
                  <a:gd name="connsiteY41" fmla="*/ 2390775 h 4505325"/>
                  <a:gd name="connsiteX42" fmla="*/ 210863 w 896663"/>
                  <a:gd name="connsiteY42" fmla="*/ 2454275 h 4505325"/>
                  <a:gd name="connsiteX43" fmla="*/ 226738 w 896663"/>
                  <a:gd name="connsiteY43" fmla="*/ 2482850 h 4505325"/>
                  <a:gd name="connsiteX44" fmla="*/ 226738 w 896663"/>
                  <a:gd name="connsiteY44" fmla="*/ 2527300 h 4505325"/>
                  <a:gd name="connsiteX45" fmla="*/ 236263 w 896663"/>
                  <a:gd name="connsiteY45" fmla="*/ 2603500 h 4505325"/>
                  <a:gd name="connsiteX46" fmla="*/ 204513 w 896663"/>
                  <a:gd name="connsiteY46" fmla="*/ 2825749 h 4505325"/>
                  <a:gd name="connsiteX47" fmla="*/ 153713 w 896663"/>
                  <a:gd name="connsiteY47" fmla="*/ 2917824 h 4505325"/>
                  <a:gd name="connsiteX48" fmla="*/ 80688 w 896663"/>
                  <a:gd name="connsiteY48" fmla="*/ 3063874 h 4505325"/>
                  <a:gd name="connsiteX49" fmla="*/ 42588 w 896663"/>
                  <a:gd name="connsiteY49" fmla="*/ 3133724 h 4505325"/>
                  <a:gd name="connsiteX50" fmla="*/ 17188 w 896663"/>
                  <a:gd name="connsiteY50" fmla="*/ 3203574 h 4505325"/>
                  <a:gd name="connsiteX51" fmla="*/ 10838 w 896663"/>
                  <a:gd name="connsiteY51" fmla="*/ 3390899 h 4505325"/>
                  <a:gd name="connsiteX52" fmla="*/ 39413 w 896663"/>
                  <a:gd name="connsiteY52" fmla="*/ 3482974 h 4505325"/>
                  <a:gd name="connsiteX53" fmla="*/ 52113 w 896663"/>
                  <a:gd name="connsiteY53" fmla="*/ 3616324 h 4505325"/>
                  <a:gd name="connsiteX54" fmla="*/ 90213 w 896663"/>
                  <a:gd name="connsiteY54" fmla="*/ 3682999 h 4505325"/>
                  <a:gd name="connsiteX55" fmla="*/ 112438 w 896663"/>
                  <a:gd name="connsiteY55" fmla="*/ 3809999 h 4505325"/>
                  <a:gd name="connsiteX56" fmla="*/ 201338 w 896663"/>
                  <a:gd name="connsiteY56" fmla="*/ 3892549 h 4505325"/>
                  <a:gd name="connsiteX57" fmla="*/ 258488 w 896663"/>
                  <a:gd name="connsiteY57" fmla="*/ 3908424 h 4505325"/>
                  <a:gd name="connsiteX58" fmla="*/ 382313 w 896663"/>
                  <a:gd name="connsiteY58" fmla="*/ 4203699 h 4505325"/>
                  <a:gd name="connsiteX59" fmla="*/ 502963 w 896663"/>
                  <a:gd name="connsiteY59" fmla="*/ 4254499 h 4505325"/>
                  <a:gd name="connsiteX60" fmla="*/ 639488 w 896663"/>
                  <a:gd name="connsiteY60" fmla="*/ 4302124 h 4505325"/>
                  <a:gd name="connsiteX61" fmla="*/ 760138 w 896663"/>
                  <a:gd name="connsiteY61" fmla="*/ 4292599 h 4505325"/>
                  <a:gd name="connsiteX62" fmla="*/ 896663 w 896663"/>
                  <a:gd name="connsiteY62" fmla="*/ 4505325 h 4505325"/>
                  <a:gd name="connsiteX0" fmla="*/ 445813 w 760138"/>
                  <a:gd name="connsiteY0" fmla="*/ 0 h 4302124"/>
                  <a:gd name="connsiteX1" fmla="*/ 407713 w 760138"/>
                  <a:gd name="connsiteY1" fmla="*/ 66675 h 4302124"/>
                  <a:gd name="connsiteX2" fmla="*/ 353738 w 760138"/>
                  <a:gd name="connsiteY2" fmla="*/ 85725 h 4302124"/>
                  <a:gd name="connsiteX3" fmla="*/ 283888 w 760138"/>
                  <a:gd name="connsiteY3" fmla="*/ 98425 h 4302124"/>
                  <a:gd name="connsiteX4" fmla="*/ 223563 w 760138"/>
                  <a:gd name="connsiteY4" fmla="*/ 133350 h 4302124"/>
                  <a:gd name="connsiteX5" fmla="*/ 121963 w 760138"/>
                  <a:gd name="connsiteY5" fmla="*/ 196850 h 4302124"/>
                  <a:gd name="connsiteX6" fmla="*/ 131488 w 760138"/>
                  <a:gd name="connsiteY6" fmla="*/ 247650 h 4302124"/>
                  <a:gd name="connsiteX7" fmla="*/ 172763 w 760138"/>
                  <a:gd name="connsiteY7" fmla="*/ 276225 h 4302124"/>
                  <a:gd name="connsiteX8" fmla="*/ 185463 w 760138"/>
                  <a:gd name="connsiteY8" fmla="*/ 327025 h 4302124"/>
                  <a:gd name="connsiteX9" fmla="*/ 239438 w 760138"/>
                  <a:gd name="connsiteY9" fmla="*/ 368300 h 4302124"/>
                  <a:gd name="connsiteX10" fmla="*/ 239438 w 760138"/>
                  <a:gd name="connsiteY10" fmla="*/ 412750 h 4302124"/>
                  <a:gd name="connsiteX11" fmla="*/ 207688 w 760138"/>
                  <a:gd name="connsiteY11" fmla="*/ 454025 h 4302124"/>
                  <a:gd name="connsiteX12" fmla="*/ 287063 w 760138"/>
                  <a:gd name="connsiteY12" fmla="*/ 479425 h 4302124"/>
                  <a:gd name="connsiteX13" fmla="*/ 302938 w 760138"/>
                  <a:gd name="connsiteY13" fmla="*/ 511175 h 4302124"/>
                  <a:gd name="connsiteX14" fmla="*/ 210863 w 760138"/>
                  <a:gd name="connsiteY14" fmla="*/ 581025 h 4302124"/>
                  <a:gd name="connsiteX15" fmla="*/ 160063 w 760138"/>
                  <a:gd name="connsiteY15" fmla="*/ 638175 h 4302124"/>
                  <a:gd name="connsiteX16" fmla="*/ 160063 w 760138"/>
                  <a:gd name="connsiteY16" fmla="*/ 695325 h 4302124"/>
                  <a:gd name="connsiteX17" fmla="*/ 185463 w 760138"/>
                  <a:gd name="connsiteY17" fmla="*/ 784225 h 4302124"/>
                  <a:gd name="connsiteX18" fmla="*/ 194988 w 760138"/>
                  <a:gd name="connsiteY18" fmla="*/ 835025 h 4302124"/>
                  <a:gd name="connsiteX19" fmla="*/ 204513 w 760138"/>
                  <a:gd name="connsiteY19" fmla="*/ 885825 h 4302124"/>
                  <a:gd name="connsiteX20" fmla="*/ 220388 w 760138"/>
                  <a:gd name="connsiteY20" fmla="*/ 923925 h 4302124"/>
                  <a:gd name="connsiteX21" fmla="*/ 163238 w 760138"/>
                  <a:gd name="connsiteY21" fmla="*/ 1022350 h 4302124"/>
                  <a:gd name="connsiteX22" fmla="*/ 96563 w 760138"/>
                  <a:gd name="connsiteY22" fmla="*/ 1057275 h 4302124"/>
                  <a:gd name="connsiteX23" fmla="*/ 52113 w 760138"/>
                  <a:gd name="connsiteY23" fmla="*/ 1143000 h 4302124"/>
                  <a:gd name="connsiteX24" fmla="*/ 20363 w 760138"/>
                  <a:gd name="connsiteY24" fmla="*/ 1244600 h 4302124"/>
                  <a:gd name="connsiteX25" fmla="*/ 1313 w 760138"/>
                  <a:gd name="connsiteY25" fmla="*/ 1346200 h 4302124"/>
                  <a:gd name="connsiteX26" fmla="*/ 10838 w 760138"/>
                  <a:gd name="connsiteY26" fmla="*/ 1438275 h 4302124"/>
                  <a:gd name="connsiteX27" fmla="*/ 83863 w 760138"/>
                  <a:gd name="connsiteY27" fmla="*/ 1511300 h 4302124"/>
                  <a:gd name="connsiteX28" fmla="*/ 112438 w 760138"/>
                  <a:gd name="connsiteY28" fmla="*/ 1558925 h 4302124"/>
                  <a:gd name="connsiteX29" fmla="*/ 150538 w 760138"/>
                  <a:gd name="connsiteY29" fmla="*/ 1590675 h 4302124"/>
                  <a:gd name="connsiteX30" fmla="*/ 169588 w 760138"/>
                  <a:gd name="connsiteY30" fmla="*/ 1644650 h 4302124"/>
                  <a:gd name="connsiteX31" fmla="*/ 226738 w 760138"/>
                  <a:gd name="connsiteY31" fmla="*/ 1685925 h 4302124"/>
                  <a:gd name="connsiteX32" fmla="*/ 264838 w 760138"/>
                  <a:gd name="connsiteY32" fmla="*/ 1730375 h 4302124"/>
                  <a:gd name="connsiteX33" fmla="*/ 277538 w 760138"/>
                  <a:gd name="connsiteY33" fmla="*/ 1758950 h 4302124"/>
                  <a:gd name="connsiteX34" fmla="*/ 277538 w 760138"/>
                  <a:gd name="connsiteY34" fmla="*/ 1828800 h 4302124"/>
                  <a:gd name="connsiteX35" fmla="*/ 325163 w 760138"/>
                  <a:gd name="connsiteY35" fmla="*/ 1905000 h 4302124"/>
                  <a:gd name="connsiteX36" fmla="*/ 363263 w 760138"/>
                  <a:gd name="connsiteY36" fmla="*/ 1962150 h 4302124"/>
                  <a:gd name="connsiteX37" fmla="*/ 369613 w 760138"/>
                  <a:gd name="connsiteY37" fmla="*/ 2028825 h 4302124"/>
                  <a:gd name="connsiteX38" fmla="*/ 407713 w 760138"/>
                  <a:gd name="connsiteY38" fmla="*/ 2085975 h 4302124"/>
                  <a:gd name="connsiteX39" fmla="*/ 414063 w 760138"/>
                  <a:gd name="connsiteY39" fmla="*/ 2255981 h 4302124"/>
                  <a:gd name="connsiteX40" fmla="*/ 242901 w 760138"/>
                  <a:gd name="connsiteY40" fmla="*/ 2278784 h 4302124"/>
                  <a:gd name="connsiteX41" fmla="*/ 201338 w 760138"/>
                  <a:gd name="connsiteY41" fmla="*/ 2390775 h 4302124"/>
                  <a:gd name="connsiteX42" fmla="*/ 210863 w 760138"/>
                  <a:gd name="connsiteY42" fmla="*/ 2454275 h 4302124"/>
                  <a:gd name="connsiteX43" fmla="*/ 226738 w 760138"/>
                  <a:gd name="connsiteY43" fmla="*/ 2482850 h 4302124"/>
                  <a:gd name="connsiteX44" fmla="*/ 226738 w 760138"/>
                  <a:gd name="connsiteY44" fmla="*/ 2527300 h 4302124"/>
                  <a:gd name="connsiteX45" fmla="*/ 236263 w 760138"/>
                  <a:gd name="connsiteY45" fmla="*/ 2603500 h 4302124"/>
                  <a:gd name="connsiteX46" fmla="*/ 204513 w 760138"/>
                  <a:gd name="connsiteY46" fmla="*/ 2825749 h 4302124"/>
                  <a:gd name="connsiteX47" fmla="*/ 153713 w 760138"/>
                  <a:gd name="connsiteY47" fmla="*/ 2917824 h 4302124"/>
                  <a:gd name="connsiteX48" fmla="*/ 80688 w 760138"/>
                  <a:gd name="connsiteY48" fmla="*/ 3063874 h 4302124"/>
                  <a:gd name="connsiteX49" fmla="*/ 42588 w 760138"/>
                  <a:gd name="connsiteY49" fmla="*/ 3133724 h 4302124"/>
                  <a:gd name="connsiteX50" fmla="*/ 17188 w 760138"/>
                  <a:gd name="connsiteY50" fmla="*/ 3203574 h 4302124"/>
                  <a:gd name="connsiteX51" fmla="*/ 10838 w 760138"/>
                  <a:gd name="connsiteY51" fmla="*/ 3390899 h 4302124"/>
                  <a:gd name="connsiteX52" fmla="*/ 39413 w 760138"/>
                  <a:gd name="connsiteY52" fmla="*/ 3482974 h 4302124"/>
                  <a:gd name="connsiteX53" fmla="*/ 52113 w 760138"/>
                  <a:gd name="connsiteY53" fmla="*/ 3616324 h 4302124"/>
                  <a:gd name="connsiteX54" fmla="*/ 90213 w 760138"/>
                  <a:gd name="connsiteY54" fmla="*/ 3682999 h 4302124"/>
                  <a:gd name="connsiteX55" fmla="*/ 112438 w 760138"/>
                  <a:gd name="connsiteY55" fmla="*/ 3809999 h 4302124"/>
                  <a:gd name="connsiteX56" fmla="*/ 201338 w 760138"/>
                  <a:gd name="connsiteY56" fmla="*/ 3892549 h 4302124"/>
                  <a:gd name="connsiteX57" fmla="*/ 258488 w 760138"/>
                  <a:gd name="connsiteY57" fmla="*/ 3908424 h 4302124"/>
                  <a:gd name="connsiteX58" fmla="*/ 382313 w 760138"/>
                  <a:gd name="connsiteY58" fmla="*/ 4203699 h 4302124"/>
                  <a:gd name="connsiteX59" fmla="*/ 502963 w 760138"/>
                  <a:gd name="connsiteY59" fmla="*/ 4254499 h 4302124"/>
                  <a:gd name="connsiteX60" fmla="*/ 639488 w 760138"/>
                  <a:gd name="connsiteY60" fmla="*/ 4302124 h 4302124"/>
                  <a:gd name="connsiteX61" fmla="*/ 760138 w 760138"/>
                  <a:gd name="connsiteY61" fmla="*/ 4292599 h 4302124"/>
                  <a:gd name="connsiteX0" fmla="*/ 445813 w 639488"/>
                  <a:gd name="connsiteY0" fmla="*/ 0 h 4302124"/>
                  <a:gd name="connsiteX1" fmla="*/ 407713 w 639488"/>
                  <a:gd name="connsiteY1" fmla="*/ 66675 h 4302124"/>
                  <a:gd name="connsiteX2" fmla="*/ 353738 w 639488"/>
                  <a:gd name="connsiteY2" fmla="*/ 85725 h 4302124"/>
                  <a:gd name="connsiteX3" fmla="*/ 283888 w 639488"/>
                  <a:gd name="connsiteY3" fmla="*/ 98425 h 4302124"/>
                  <a:gd name="connsiteX4" fmla="*/ 223563 w 639488"/>
                  <a:gd name="connsiteY4" fmla="*/ 133350 h 4302124"/>
                  <a:gd name="connsiteX5" fmla="*/ 121963 w 639488"/>
                  <a:gd name="connsiteY5" fmla="*/ 196850 h 4302124"/>
                  <a:gd name="connsiteX6" fmla="*/ 131488 w 639488"/>
                  <a:gd name="connsiteY6" fmla="*/ 247650 h 4302124"/>
                  <a:gd name="connsiteX7" fmla="*/ 172763 w 639488"/>
                  <a:gd name="connsiteY7" fmla="*/ 276225 h 4302124"/>
                  <a:gd name="connsiteX8" fmla="*/ 185463 w 639488"/>
                  <a:gd name="connsiteY8" fmla="*/ 327025 h 4302124"/>
                  <a:gd name="connsiteX9" fmla="*/ 239438 w 639488"/>
                  <a:gd name="connsiteY9" fmla="*/ 368300 h 4302124"/>
                  <a:gd name="connsiteX10" fmla="*/ 239438 w 639488"/>
                  <a:gd name="connsiteY10" fmla="*/ 412750 h 4302124"/>
                  <a:gd name="connsiteX11" fmla="*/ 207688 w 639488"/>
                  <a:gd name="connsiteY11" fmla="*/ 454025 h 4302124"/>
                  <a:gd name="connsiteX12" fmla="*/ 287063 w 639488"/>
                  <a:gd name="connsiteY12" fmla="*/ 479425 h 4302124"/>
                  <a:gd name="connsiteX13" fmla="*/ 302938 w 639488"/>
                  <a:gd name="connsiteY13" fmla="*/ 511175 h 4302124"/>
                  <a:gd name="connsiteX14" fmla="*/ 210863 w 639488"/>
                  <a:gd name="connsiteY14" fmla="*/ 581025 h 4302124"/>
                  <a:gd name="connsiteX15" fmla="*/ 160063 w 639488"/>
                  <a:gd name="connsiteY15" fmla="*/ 638175 h 4302124"/>
                  <a:gd name="connsiteX16" fmla="*/ 160063 w 639488"/>
                  <a:gd name="connsiteY16" fmla="*/ 695325 h 4302124"/>
                  <a:gd name="connsiteX17" fmla="*/ 185463 w 639488"/>
                  <a:gd name="connsiteY17" fmla="*/ 784225 h 4302124"/>
                  <a:gd name="connsiteX18" fmla="*/ 194988 w 639488"/>
                  <a:gd name="connsiteY18" fmla="*/ 835025 h 4302124"/>
                  <a:gd name="connsiteX19" fmla="*/ 204513 w 639488"/>
                  <a:gd name="connsiteY19" fmla="*/ 885825 h 4302124"/>
                  <a:gd name="connsiteX20" fmla="*/ 220388 w 639488"/>
                  <a:gd name="connsiteY20" fmla="*/ 923925 h 4302124"/>
                  <a:gd name="connsiteX21" fmla="*/ 163238 w 639488"/>
                  <a:gd name="connsiteY21" fmla="*/ 1022350 h 4302124"/>
                  <a:gd name="connsiteX22" fmla="*/ 96563 w 639488"/>
                  <a:gd name="connsiteY22" fmla="*/ 1057275 h 4302124"/>
                  <a:gd name="connsiteX23" fmla="*/ 52113 w 639488"/>
                  <a:gd name="connsiteY23" fmla="*/ 1143000 h 4302124"/>
                  <a:gd name="connsiteX24" fmla="*/ 20363 w 639488"/>
                  <a:gd name="connsiteY24" fmla="*/ 1244600 h 4302124"/>
                  <a:gd name="connsiteX25" fmla="*/ 1313 w 639488"/>
                  <a:gd name="connsiteY25" fmla="*/ 1346200 h 4302124"/>
                  <a:gd name="connsiteX26" fmla="*/ 10838 w 639488"/>
                  <a:gd name="connsiteY26" fmla="*/ 1438275 h 4302124"/>
                  <a:gd name="connsiteX27" fmla="*/ 83863 w 639488"/>
                  <a:gd name="connsiteY27" fmla="*/ 1511300 h 4302124"/>
                  <a:gd name="connsiteX28" fmla="*/ 112438 w 639488"/>
                  <a:gd name="connsiteY28" fmla="*/ 1558925 h 4302124"/>
                  <a:gd name="connsiteX29" fmla="*/ 150538 w 639488"/>
                  <a:gd name="connsiteY29" fmla="*/ 1590675 h 4302124"/>
                  <a:gd name="connsiteX30" fmla="*/ 169588 w 639488"/>
                  <a:gd name="connsiteY30" fmla="*/ 1644650 h 4302124"/>
                  <a:gd name="connsiteX31" fmla="*/ 226738 w 639488"/>
                  <a:gd name="connsiteY31" fmla="*/ 1685925 h 4302124"/>
                  <a:gd name="connsiteX32" fmla="*/ 264838 w 639488"/>
                  <a:gd name="connsiteY32" fmla="*/ 1730375 h 4302124"/>
                  <a:gd name="connsiteX33" fmla="*/ 277538 w 639488"/>
                  <a:gd name="connsiteY33" fmla="*/ 1758950 h 4302124"/>
                  <a:gd name="connsiteX34" fmla="*/ 277538 w 639488"/>
                  <a:gd name="connsiteY34" fmla="*/ 1828800 h 4302124"/>
                  <a:gd name="connsiteX35" fmla="*/ 325163 w 639488"/>
                  <a:gd name="connsiteY35" fmla="*/ 1905000 h 4302124"/>
                  <a:gd name="connsiteX36" fmla="*/ 363263 w 639488"/>
                  <a:gd name="connsiteY36" fmla="*/ 1962150 h 4302124"/>
                  <a:gd name="connsiteX37" fmla="*/ 369613 w 639488"/>
                  <a:gd name="connsiteY37" fmla="*/ 2028825 h 4302124"/>
                  <a:gd name="connsiteX38" fmla="*/ 407713 w 639488"/>
                  <a:gd name="connsiteY38" fmla="*/ 2085975 h 4302124"/>
                  <a:gd name="connsiteX39" fmla="*/ 414063 w 639488"/>
                  <a:gd name="connsiteY39" fmla="*/ 2255981 h 4302124"/>
                  <a:gd name="connsiteX40" fmla="*/ 242901 w 639488"/>
                  <a:gd name="connsiteY40" fmla="*/ 2278784 h 4302124"/>
                  <a:gd name="connsiteX41" fmla="*/ 201338 w 639488"/>
                  <a:gd name="connsiteY41" fmla="*/ 2390775 h 4302124"/>
                  <a:gd name="connsiteX42" fmla="*/ 210863 w 639488"/>
                  <a:gd name="connsiteY42" fmla="*/ 2454275 h 4302124"/>
                  <a:gd name="connsiteX43" fmla="*/ 226738 w 639488"/>
                  <a:gd name="connsiteY43" fmla="*/ 2482850 h 4302124"/>
                  <a:gd name="connsiteX44" fmla="*/ 226738 w 639488"/>
                  <a:gd name="connsiteY44" fmla="*/ 2527300 h 4302124"/>
                  <a:gd name="connsiteX45" fmla="*/ 236263 w 639488"/>
                  <a:gd name="connsiteY45" fmla="*/ 2603500 h 4302124"/>
                  <a:gd name="connsiteX46" fmla="*/ 204513 w 639488"/>
                  <a:gd name="connsiteY46" fmla="*/ 2825749 h 4302124"/>
                  <a:gd name="connsiteX47" fmla="*/ 153713 w 639488"/>
                  <a:gd name="connsiteY47" fmla="*/ 2917824 h 4302124"/>
                  <a:gd name="connsiteX48" fmla="*/ 80688 w 639488"/>
                  <a:gd name="connsiteY48" fmla="*/ 3063874 h 4302124"/>
                  <a:gd name="connsiteX49" fmla="*/ 42588 w 639488"/>
                  <a:gd name="connsiteY49" fmla="*/ 3133724 h 4302124"/>
                  <a:gd name="connsiteX50" fmla="*/ 17188 w 639488"/>
                  <a:gd name="connsiteY50" fmla="*/ 3203574 h 4302124"/>
                  <a:gd name="connsiteX51" fmla="*/ 10838 w 639488"/>
                  <a:gd name="connsiteY51" fmla="*/ 3390899 h 4302124"/>
                  <a:gd name="connsiteX52" fmla="*/ 39413 w 639488"/>
                  <a:gd name="connsiteY52" fmla="*/ 3482974 h 4302124"/>
                  <a:gd name="connsiteX53" fmla="*/ 52113 w 639488"/>
                  <a:gd name="connsiteY53" fmla="*/ 3616324 h 4302124"/>
                  <a:gd name="connsiteX54" fmla="*/ 90213 w 639488"/>
                  <a:gd name="connsiteY54" fmla="*/ 3682999 h 4302124"/>
                  <a:gd name="connsiteX55" fmla="*/ 112438 w 639488"/>
                  <a:gd name="connsiteY55" fmla="*/ 3809999 h 4302124"/>
                  <a:gd name="connsiteX56" fmla="*/ 201338 w 639488"/>
                  <a:gd name="connsiteY56" fmla="*/ 3892549 h 4302124"/>
                  <a:gd name="connsiteX57" fmla="*/ 258488 w 639488"/>
                  <a:gd name="connsiteY57" fmla="*/ 3908424 h 4302124"/>
                  <a:gd name="connsiteX58" fmla="*/ 382313 w 639488"/>
                  <a:gd name="connsiteY58" fmla="*/ 4203699 h 4302124"/>
                  <a:gd name="connsiteX59" fmla="*/ 502963 w 639488"/>
                  <a:gd name="connsiteY59" fmla="*/ 4254499 h 4302124"/>
                  <a:gd name="connsiteX60" fmla="*/ 639488 w 639488"/>
                  <a:gd name="connsiteY60" fmla="*/ 4302124 h 4302124"/>
                  <a:gd name="connsiteX0" fmla="*/ 445813 w 502963"/>
                  <a:gd name="connsiteY0" fmla="*/ 0 h 4254499"/>
                  <a:gd name="connsiteX1" fmla="*/ 407713 w 502963"/>
                  <a:gd name="connsiteY1" fmla="*/ 66675 h 4254499"/>
                  <a:gd name="connsiteX2" fmla="*/ 353738 w 502963"/>
                  <a:gd name="connsiteY2" fmla="*/ 85725 h 4254499"/>
                  <a:gd name="connsiteX3" fmla="*/ 283888 w 502963"/>
                  <a:gd name="connsiteY3" fmla="*/ 98425 h 4254499"/>
                  <a:gd name="connsiteX4" fmla="*/ 223563 w 502963"/>
                  <a:gd name="connsiteY4" fmla="*/ 133350 h 4254499"/>
                  <a:gd name="connsiteX5" fmla="*/ 121963 w 502963"/>
                  <a:gd name="connsiteY5" fmla="*/ 196850 h 4254499"/>
                  <a:gd name="connsiteX6" fmla="*/ 131488 w 502963"/>
                  <a:gd name="connsiteY6" fmla="*/ 247650 h 4254499"/>
                  <a:gd name="connsiteX7" fmla="*/ 172763 w 502963"/>
                  <a:gd name="connsiteY7" fmla="*/ 276225 h 4254499"/>
                  <a:gd name="connsiteX8" fmla="*/ 185463 w 502963"/>
                  <a:gd name="connsiteY8" fmla="*/ 327025 h 4254499"/>
                  <a:gd name="connsiteX9" fmla="*/ 239438 w 502963"/>
                  <a:gd name="connsiteY9" fmla="*/ 368300 h 4254499"/>
                  <a:gd name="connsiteX10" fmla="*/ 239438 w 502963"/>
                  <a:gd name="connsiteY10" fmla="*/ 412750 h 4254499"/>
                  <a:gd name="connsiteX11" fmla="*/ 207688 w 502963"/>
                  <a:gd name="connsiteY11" fmla="*/ 454025 h 4254499"/>
                  <a:gd name="connsiteX12" fmla="*/ 287063 w 502963"/>
                  <a:gd name="connsiteY12" fmla="*/ 479425 h 4254499"/>
                  <a:gd name="connsiteX13" fmla="*/ 302938 w 502963"/>
                  <a:gd name="connsiteY13" fmla="*/ 511175 h 4254499"/>
                  <a:gd name="connsiteX14" fmla="*/ 210863 w 502963"/>
                  <a:gd name="connsiteY14" fmla="*/ 581025 h 4254499"/>
                  <a:gd name="connsiteX15" fmla="*/ 160063 w 502963"/>
                  <a:gd name="connsiteY15" fmla="*/ 638175 h 4254499"/>
                  <a:gd name="connsiteX16" fmla="*/ 160063 w 502963"/>
                  <a:gd name="connsiteY16" fmla="*/ 695325 h 4254499"/>
                  <a:gd name="connsiteX17" fmla="*/ 185463 w 502963"/>
                  <a:gd name="connsiteY17" fmla="*/ 784225 h 4254499"/>
                  <a:gd name="connsiteX18" fmla="*/ 194988 w 502963"/>
                  <a:gd name="connsiteY18" fmla="*/ 835025 h 4254499"/>
                  <a:gd name="connsiteX19" fmla="*/ 204513 w 502963"/>
                  <a:gd name="connsiteY19" fmla="*/ 885825 h 4254499"/>
                  <a:gd name="connsiteX20" fmla="*/ 220388 w 502963"/>
                  <a:gd name="connsiteY20" fmla="*/ 923925 h 4254499"/>
                  <a:gd name="connsiteX21" fmla="*/ 163238 w 502963"/>
                  <a:gd name="connsiteY21" fmla="*/ 1022350 h 4254499"/>
                  <a:gd name="connsiteX22" fmla="*/ 96563 w 502963"/>
                  <a:gd name="connsiteY22" fmla="*/ 1057275 h 4254499"/>
                  <a:gd name="connsiteX23" fmla="*/ 52113 w 502963"/>
                  <a:gd name="connsiteY23" fmla="*/ 1143000 h 4254499"/>
                  <a:gd name="connsiteX24" fmla="*/ 20363 w 502963"/>
                  <a:gd name="connsiteY24" fmla="*/ 1244600 h 4254499"/>
                  <a:gd name="connsiteX25" fmla="*/ 1313 w 502963"/>
                  <a:gd name="connsiteY25" fmla="*/ 1346200 h 4254499"/>
                  <a:gd name="connsiteX26" fmla="*/ 10838 w 502963"/>
                  <a:gd name="connsiteY26" fmla="*/ 1438275 h 4254499"/>
                  <a:gd name="connsiteX27" fmla="*/ 83863 w 502963"/>
                  <a:gd name="connsiteY27" fmla="*/ 1511300 h 4254499"/>
                  <a:gd name="connsiteX28" fmla="*/ 112438 w 502963"/>
                  <a:gd name="connsiteY28" fmla="*/ 1558925 h 4254499"/>
                  <a:gd name="connsiteX29" fmla="*/ 150538 w 502963"/>
                  <a:gd name="connsiteY29" fmla="*/ 1590675 h 4254499"/>
                  <a:gd name="connsiteX30" fmla="*/ 169588 w 502963"/>
                  <a:gd name="connsiteY30" fmla="*/ 1644650 h 4254499"/>
                  <a:gd name="connsiteX31" fmla="*/ 226738 w 502963"/>
                  <a:gd name="connsiteY31" fmla="*/ 1685925 h 4254499"/>
                  <a:gd name="connsiteX32" fmla="*/ 264838 w 502963"/>
                  <a:gd name="connsiteY32" fmla="*/ 1730375 h 4254499"/>
                  <a:gd name="connsiteX33" fmla="*/ 277538 w 502963"/>
                  <a:gd name="connsiteY33" fmla="*/ 1758950 h 4254499"/>
                  <a:gd name="connsiteX34" fmla="*/ 277538 w 502963"/>
                  <a:gd name="connsiteY34" fmla="*/ 1828800 h 4254499"/>
                  <a:gd name="connsiteX35" fmla="*/ 325163 w 502963"/>
                  <a:gd name="connsiteY35" fmla="*/ 1905000 h 4254499"/>
                  <a:gd name="connsiteX36" fmla="*/ 363263 w 502963"/>
                  <a:gd name="connsiteY36" fmla="*/ 1962150 h 4254499"/>
                  <a:gd name="connsiteX37" fmla="*/ 369613 w 502963"/>
                  <a:gd name="connsiteY37" fmla="*/ 2028825 h 4254499"/>
                  <a:gd name="connsiteX38" fmla="*/ 407713 w 502963"/>
                  <a:gd name="connsiteY38" fmla="*/ 2085975 h 4254499"/>
                  <a:gd name="connsiteX39" fmla="*/ 414063 w 502963"/>
                  <a:gd name="connsiteY39" fmla="*/ 2255981 h 4254499"/>
                  <a:gd name="connsiteX40" fmla="*/ 242901 w 502963"/>
                  <a:gd name="connsiteY40" fmla="*/ 2278784 h 4254499"/>
                  <a:gd name="connsiteX41" fmla="*/ 201338 w 502963"/>
                  <a:gd name="connsiteY41" fmla="*/ 2390775 h 4254499"/>
                  <a:gd name="connsiteX42" fmla="*/ 210863 w 502963"/>
                  <a:gd name="connsiteY42" fmla="*/ 2454275 h 4254499"/>
                  <a:gd name="connsiteX43" fmla="*/ 226738 w 502963"/>
                  <a:gd name="connsiteY43" fmla="*/ 2482850 h 4254499"/>
                  <a:gd name="connsiteX44" fmla="*/ 226738 w 502963"/>
                  <a:gd name="connsiteY44" fmla="*/ 2527300 h 4254499"/>
                  <a:gd name="connsiteX45" fmla="*/ 236263 w 502963"/>
                  <a:gd name="connsiteY45" fmla="*/ 2603500 h 4254499"/>
                  <a:gd name="connsiteX46" fmla="*/ 204513 w 502963"/>
                  <a:gd name="connsiteY46" fmla="*/ 2825749 h 4254499"/>
                  <a:gd name="connsiteX47" fmla="*/ 153713 w 502963"/>
                  <a:gd name="connsiteY47" fmla="*/ 2917824 h 4254499"/>
                  <a:gd name="connsiteX48" fmla="*/ 80688 w 502963"/>
                  <a:gd name="connsiteY48" fmla="*/ 3063874 h 4254499"/>
                  <a:gd name="connsiteX49" fmla="*/ 42588 w 502963"/>
                  <a:gd name="connsiteY49" fmla="*/ 3133724 h 4254499"/>
                  <a:gd name="connsiteX50" fmla="*/ 17188 w 502963"/>
                  <a:gd name="connsiteY50" fmla="*/ 3203574 h 4254499"/>
                  <a:gd name="connsiteX51" fmla="*/ 10838 w 502963"/>
                  <a:gd name="connsiteY51" fmla="*/ 3390899 h 4254499"/>
                  <a:gd name="connsiteX52" fmla="*/ 39413 w 502963"/>
                  <a:gd name="connsiteY52" fmla="*/ 3482974 h 4254499"/>
                  <a:gd name="connsiteX53" fmla="*/ 52113 w 502963"/>
                  <a:gd name="connsiteY53" fmla="*/ 3616324 h 4254499"/>
                  <a:gd name="connsiteX54" fmla="*/ 90213 w 502963"/>
                  <a:gd name="connsiteY54" fmla="*/ 3682999 h 4254499"/>
                  <a:gd name="connsiteX55" fmla="*/ 112438 w 502963"/>
                  <a:gd name="connsiteY55" fmla="*/ 3809999 h 4254499"/>
                  <a:gd name="connsiteX56" fmla="*/ 201338 w 502963"/>
                  <a:gd name="connsiteY56" fmla="*/ 3892549 h 4254499"/>
                  <a:gd name="connsiteX57" fmla="*/ 258488 w 502963"/>
                  <a:gd name="connsiteY57" fmla="*/ 3908424 h 4254499"/>
                  <a:gd name="connsiteX58" fmla="*/ 382313 w 502963"/>
                  <a:gd name="connsiteY58" fmla="*/ 4203699 h 4254499"/>
                  <a:gd name="connsiteX59" fmla="*/ 502963 w 502963"/>
                  <a:gd name="connsiteY59" fmla="*/ 4254499 h 4254499"/>
                  <a:gd name="connsiteX0" fmla="*/ 445813 w 445813"/>
                  <a:gd name="connsiteY0" fmla="*/ 0 h 4203699"/>
                  <a:gd name="connsiteX1" fmla="*/ 407713 w 445813"/>
                  <a:gd name="connsiteY1" fmla="*/ 66675 h 4203699"/>
                  <a:gd name="connsiteX2" fmla="*/ 353738 w 445813"/>
                  <a:gd name="connsiteY2" fmla="*/ 85725 h 4203699"/>
                  <a:gd name="connsiteX3" fmla="*/ 283888 w 445813"/>
                  <a:gd name="connsiteY3" fmla="*/ 98425 h 4203699"/>
                  <a:gd name="connsiteX4" fmla="*/ 223563 w 445813"/>
                  <a:gd name="connsiteY4" fmla="*/ 133350 h 4203699"/>
                  <a:gd name="connsiteX5" fmla="*/ 121963 w 445813"/>
                  <a:gd name="connsiteY5" fmla="*/ 196850 h 4203699"/>
                  <a:gd name="connsiteX6" fmla="*/ 131488 w 445813"/>
                  <a:gd name="connsiteY6" fmla="*/ 247650 h 4203699"/>
                  <a:gd name="connsiteX7" fmla="*/ 172763 w 445813"/>
                  <a:gd name="connsiteY7" fmla="*/ 276225 h 4203699"/>
                  <a:gd name="connsiteX8" fmla="*/ 185463 w 445813"/>
                  <a:gd name="connsiteY8" fmla="*/ 327025 h 4203699"/>
                  <a:gd name="connsiteX9" fmla="*/ 239438 w 445813"/>
                  <a:gd name="connsiteY9" fmla="*/ 368300 h 4203699"/>
                  <a:gd name="connsiteX10" fmla="*/ 239438 w 445813"/>
                  <a:gd name="connsiteY10" fmla="*/ 412750 h 4203699"/>
                  <a:gd name="connsiteX11" fmla="*/ 207688 w 445813"/>
                  <a:gd name="connsiteY11" fmla="*/ 454025 h 4203699"/>
                  <a:gd name="connsiteX12" fmla="*/ 287063 w 445813"/>
                  <a:gd name="connsiteY12" fmla="*/ 479425 h 4203699"/>
                  <a:gd name="connsiteX13" fmla="*/ 302938 w 445813"/>
                  <a:gd name="connsiteY13" fmla="*/ 511175 h 4203699"/>
                  <a:gd name="connsiteX14" fmla="*/ 210863 w 445813"/>
                  <a:gd name="connsiteY14" fmla="*/ 581025 h 4203699"/>
                  <a:gd name="connsiteX15" fmla="*/ 160063 w 445813"/>
                  <a:gd name="connsiteY15" fmla="*/ 638175 h 4203699"/>
                  <a:gd name="connsiteX16" fmla="*/ 160063 w 445813"/>
                  <a:gd name="connsiteY16" fmla="*/ 695325 h 4203699"/>
                  <a:gd name="connsiteX17" fmla="*/ 185463 w 445813"/>
                  <a:gd name="connsiteY17" fmla="*/ 784225 h 4203699"/>
                  <a:gd name="connsiteX18" fmla="*/ 194988 w 445813"/>
                  <a:gd name="connsiteY18" fmla="*/ 835025 h 4203699"/>
                  <a:gd name="connsiteX19" fmla="*/ 204513 w 445813"/>
                  <a:gd name="connsiteY19" fmla="*/ 885825 h 4203699"/>
                  <a:gd name="connsiteX20" fmla="*/ 220388 w 445813"/>
                  <a:gd name="connsiteY20" fmla="*/ 923925 h 4203699"/>
                  <a:gd name="connsiteX21" fmla="*/ 163238 w 445813"/>
                  <a:gd name="connsiteY21" fmla="*/ 1022350 h 4203699"/>
                  <a:gd name="connsiteX22" fmla="*/ 96563 w 445813"/>
                  <a:gd name="connsiteY22" fmla="*/ 1057275 h 4203699"/>
                  <a:gd name="connsiteX23" fmla="*/ 52113 w 445813"/>
                  <a:gd name="connsiteY23" fmla="*/ 1143000 h 4203699"/>
                  <a:gd name="connsiteX24" fmla="*/ 20363 w 445813"/>
                  <a:gd name="connsiteY24" fmla="*/ 1244600 h 4203699"/>
                  <a:gd name="connsiteX25" fmla="*/ 1313 w 445813"/>
                  <a:gd name="connsiteY25" fmla="*/ 1346200 h 4203699"/>
                  <a:gd name="connsiteX26" fmla="*/ 10838 w 445813"/>
                  <a:gd name="connsiteY26" fmla="*/ 1438275 h 4203699"/>
                  <a:gd name="connsiteX27" fmla="*/ 83863 w 445813"/>
                  <a:gd name="connsiteY27" fmla="*/ 1511300 h 4203699"/>
                  <a:gd name="connsiteX28" fmla="*/ 112438 w 445813"/>
                  <a:gd name="connsiteY28" fmla="*/ 1558925 h 4203699"/>
                  <a:gd name="connsiteX29" fmla="*/ 150538 w 445813"/>
                  <a:gd name="connsiteY29" fmla="*/ 1590675 h 4203699"/>
                  <a:gd name="connsiteX30" fmla="*/ 169588 w 445813"/>
                  <a:gd name="connsiteY30" fmla="*/ 1644650 h 4203699"/>
                  <a:gd name="connsiteX31" fmla="*/ 226738 w 445813"/>
                  <a:gd name="connsiteY31" fmla="*/ 1685925 h 4203699"/>
                  <a:gd name="connsiteX32" fmla="*/ 264838 w 445813"/>
                  <a:gd name="connsiteY32" fmla="*/ 1730375 h 4203699"/>
                  <a:gd name="connsiteX33" fmla="*/ 277538 w 445813"/>
                  <a:gd name="connsiteY33" fmla="*/ 1758950 h 4203699"/>
                  <a:gd name="connsiteX34" fmla="*/ 277538 w 445813"/>
                  <a:gd name="connsiteY34" fmla="*/ 1828800 h 4203699"/>
                  <a:gd name="connsiteX35" fmla="*/ 325163 w 445813"/>
                  <a:gd name="connsiteY35" fmla="*/ 1905000 h 4203699"/>
                  <a:gd name="connsiteX36" fmla="*/ 363263 w 445813"/>
                  <a:gd name="connsiteY36" fmla="*/ 1962150 h 4203699"/>
                  <a:gd name="connsiteX37" fmla="*/ 369613 w 445813"/>
                  <a:gd name="connsiteY37" fmla="*/ 2028825 h 4203699"/>
                  <a:gd name="connsiteX38" fmla="*/ 407713 w 445813"/>
                  <a:gd name="connsiteY38" fmla="*/ 2085975 h 4203699"/>
                  <a:gd name="connsiteX39" fmla="*/ 414063 w 445813"/>
                  <a:gd name="connsiteY39" fmla="*/ 2255981 h 4203699"/>
                  <a:gd name="connsiteX40" fmla="*/ 242901 w 445813"/>
                  <a:gd name="connsiteY40" fmla="*/ 2278784 h 4203699"/>
                  <a:gd name="connsiteX41" fmla="*/ 201338 w 445813"/>
                  <a:gd name="connsiteY41" fmla="*/ 2390775 h 4203699"/>
                  <a:gd name="connsiteX42" fmla="*/ 210863 w 445813"/>
                  <a:gd name="connsiteY42" fmla="*/ 2454275 h 4203699"/>
                  <a:gd name="connsiteX43" fmla="*/ 226738 w 445813"/>
                  <a:gd name="connsiteY43" fmla="*/ 2482850 h 4203699"/>
                  <a:gd name="connsiteX44" fmla="*/ 226738 w 445813"/>
                  <a:gd name="connsiteY44" fmla="*/ 2527300 h 4203699"/>
                  <a:gd name="connsiteX45" fmla="*/ 236263 w 445813"/>
                  <a:gd name="connsiteY45" fmla="*/ 2603500 h 4203699"/>
                  <a:gd name="connsiteX46" fmla="*/ 204513 w 445813"/>
                  <a:gd name="connsiteY46" fmla="*/ 2825749 h 4203699"/>
                  <a:gd name="connsiteX47" fmla="*/ 153713 w 445813"/>
                  <a:gd name="connsiteY47" fmla="*/ 2917824 h 4203699"/>
                  <a:gd name="connsiteX48" fmla="*/ 80688 w 445813"/>
                  <a:gd name="connsiteY48" fmla="*/ 3063874 h 4203699"/>
                  <a:gd name="connsiteX49" fmla="*/ 42588 w 445813"/>
                  <a:gd name="connsiteY49" fmla="*/ 3133724 h 4203699"/>
                  <a:gd name="connsiteX50" fmla="*/ 17188 w 445813"/>
                  <a:gd name="connsiteY50" fmla="*/ 3203574 h 4203699"/>
                  <a:gd name="connsiteX51" fmla="*/ 10838 w 445813"/>
                  <a:gd name="connsiteY51" fmla="*/ 3390899 h 4203699"/>
                  <a:gd name="connsiteX52" fmla="*/ 39413 w 445813"/>
                  <a:gd name="connsiteY52" fmla="*/ 3482974 h 4203699"/>
                  <a:gd name="connsiteX53" fmla="*/ 52113 w 445813"/>
                  <a:gd name="connsiteY53" fmla="*/ 3616324 h 4203699"/>
                  <a:gd name="connsiteX54" fmla="*/ 90213 w 445813"/>
                  <a:gd name="connsiteY54" fmla="*/ 3682999 h 4203699"/>
                  <a:gd name="connsiteX55" fmla="*/ 112438 w 445813"/>
                  <a:gd name="connsiteY55" fmla="*/ 3809999 h 4203699"/>
                  <a:gd name="connsiteX56" fmla="*/ 201338 w 445813"/>
                  <a:gd name="connsiteY56" fmla="*/ 3892549 h 4203699"/>
                  <a:gd name="connsiteX57" fmla="*/ 258488 w 445813"/>
                  <a:gd name="connsiteY57" fmla="*/ 3908424 h 4203699"/>
                  <a:gd name="connsiteX58" fmla="*/ 382313 w 445813"/>
                  <a:gd name="connsiteY58" fmla="*/ 4203699 h 4203699"/>
                  <a:gd name="connsiteX0" fmla="*/ 445813 w 445813"/>
                  <a:gd name="connsiteY0" fmla="*/ 0 h 3908424"/>
                  <a:gd name="connsiteX1" fmla="*/ 407713 w 445813"/>
                  <a:gd name="connsiteY1" fmla="*/ 66675 h 3908424"/>
                  <a:gd name="connsiteX2" fmla="*/ 353738 w 445813"/>
                  <a:gd name="connsiteY2" fmla="*/ 85725 h 3908424"/>
                  <a:gd name="connsiteX3" fmla="*/ 283888 w 445813"/>
                  <a:gd name="connsiteY3" fmla="*/ 98425 h 3908424"/>
                  <a:gd name="connsiteX4" fmla="*/ 223563 w 445813"/>
                  <a:gd name="connsiteY4" fmla="*/ 133350 h 3908424"/>
                  <a:gd name="connsiteX5" fmla="*/ 121963 w 445813"/>
                  <a:gd name="connsiteY5" fmla="*/ 196850 h 3908424"/>
                  <a:gd name="connsiteX6" fmla="*/ 131488 w 445813"/>
                  <a:gd name="connsiteY6" fmla="*/ 247650 h 3908424"/>
                  <a:gd name="connsiteX7" fmla="*/ 172763 w 445813"/>
                  <a:gd name="connsiteY7" fmla="*/ 276225 h 3908424"/>
                  <a:gd name="connsiteX8" fmla="*/ 185463 w 445813"/>
                  <a:gd name="connsiteY8" fmla="*/ 327025 h 3908424"/>
                  <a:gd name="connsiteX9" fmla="*/ 239438 w 445813"/>
                  <a:gd name="connsiteY9" fmla="*/ 368300 h 3908424"/>
                  <a:gd name="connsiteX10" fmla="*/ 239438 w 445813"/>
                  <a:gd name="connsiteY10" fmla="*/ 412750 h 3908424"/>
                  <a:gd name="connsiteX11" fmla="*/ 207688 w 445813"/>
                  <a:gd name="connsiteY11" fmla="*/ 454025 h 3908424"/>
                  <a:gd name="connsiteX12" fmla="*/ 287063 w 445813"/>
                  <a:gd name="connsiteY12" fmla="*/ 479425 h 3908424"/>
                  <a:gd name="connsiteX13" fmla="*/ 302938 w 445813"/>
                  <a:gd name="connsiteY13" fmla="*/ 511175 h 3908424"/>
                  <a:gd name="connsiteX14" fmla="*/ 210863 w 445813"/>
                  <a:gd name="connsiteY14" fmla="*/ 581025 h 3908424"/>
                  <a:gd name="connsiteX15" fmla="*/ 160063 w 445813"/>
                  <a:gd name="connsiteY15" fmla="*/ 638175 h 3908424"/>
                  <a:gd name="connsiteX16" fmla="*/ 160063 w 445813"/>
                  <a:gd name="connsiteY16" fmla="*/ 695325 h 3908424"/>
                  <a:gd name="connsiteX17" fmla="*/ 185463 w 445813"/>
                  <a:gd name="connsiteY17" fmla="*/ 784225 h 3908424"/>
                  <a:gd name="connsiteX18" fmla="*/ 194988 w 445813"/>
                  <a:gd name="connsiteY18" fmla="*/ 835025 h 3908424"/>
                  <a:gd name="connsiteX19" fmla="*/ 204513 w 445813"/>
                  <a:gd name="connsiteY19" fmla="*/ 885825 h 3908424"/>
                  <a:gd name="connsiteX20" fmla="*/ 220388 w 445813"/>
                  <a:gd name="connsiteY20" fmla="*/ 923925 h 3908424"/>
                  <a:gd name="connsiteX21" fmla="*/ 163238 w 445813"/>
                  <a:gd name="connsiteY21" fmla="*/ 1022350 h 3908424"/>
                  <a:gd name="connsiteX22" fmla="*/ 96563 w 445813"/>
                  <a:gd name="connsiteY22" fmla="*/ 1057275 h 3908424"/>
                  <a:gd name="connsiteX23" fmla="*/ 52113 w 445813"/>
                  <a:gd name="connsiteY23" fmla="*/ 1143000 h 3908424"/>
                  <a:gd name="connsiteX24" fmla="*/ 20363 w 445813"/>
                  <a:gd name="connsiteY24" fmla="*/ 1244600 h 3908424"/>
                  <a:gd name="connsiteX25" fmla="*/ 1313 w 445813"/>
                  <a:gd name="connsiteY25" fmla="*/ 1346200 h 3908424"/>
                  <a:gd name="connsiteX26" fmla="*/ 10838 w 445813"/>
                  <a:gd name="connsiteY26" fmla="*/ 1438275 h 3908424"/>
                  <a:gd name="connsiteX27" fmla="*/ 83863 w 445813"/>
                  <a:gd name="connsiteY27" fmla="*/ 1511300 h 3908424"/>
                  <a:gd name="connsiteX28" fmla="*/ 112438 w 445813"/>
                  <a:gd name="connsiteY28" fmla="*/ 1558925 h 3908424"/>
                  <a:gd name="connsiteX29" fmla="*/ 150538 w 445813"/>
                  <a:gd name="connsiteY29" fmla="*/ 1590675 h 3908424"/>
                  <a:gd name="connsiteX30" fmla="*/ 169588 w 445813"/>
                  <a:gd name="connsiteY30" fmla="*/ 1644650 h 3908424"/>
                  <a:gd name="connsiteX31" fmla="*/ 226738 w 445813"/>
                  <a:gd name="connsiteY31" fmla="*/ 1685925 h 3908424"/>
                  <a:gd name="connsiteX32" fmla="*/ 264838 w 445813"/>
                  <a:gd name="connsiteY32" fmla="*/ 1730375 h 3908424"/>
                  <a:gd name="connsiteX33" fmla="*/ 277538 w 445813"/>
                  <a:gd name="connsiteY33" fmla="*/ 1758950 h 3908424"/>
                  <a:gd name="connsiteX34" fmla="*/ 277538 w 445813"/>
                  <a:gd name="connsiteY34" fmla="*/ 1828800 h 3908424"/>
                  <a:gd name="connsiteX35" fmla="*/ 325163 w 445813"/>
                  <a:gd name="connsiteY35" fmla="*/ 1905000 h 3908424"/>
                  <a:gd name="connsiteX36" fmla="*/ 363263 w 445813"/>
                  <a:gd name="connsiteY36" fmla="*/ 1962150 h 3908424"/>
                  <a:gd name="connsiteX37" fmla="*/ 369613 w 445813"/>
                  <a:gd name="connsiteY37" fmla="*/ 2028825 h 3908424"/>
                  <a:gd name="connsiteX38" fmla="*/ 407713 w 445813"/>
                  <a:gd name="connsiteY38" fmla="*/ 2085975 h 3908424"/>
                  <a:gd name="connsiteX39" fmla="*/ 414063 w 445813"/>
                  <a:gd name="connsiteY39" fmla="*/ 2255981 h 3908424"/>
                  <a:gd name="connsiteX40" fmla="*/ 242901 w 445813"/>
                  <a:gd name="connsiteY40" fmla="*/ 2278784 h 3908424"/>
                  <a:gd name="connsiteX41" fmla="*/ 201338 w 445813"/>
                  <a:gd name="connsiteY41" fmla="*/ 2390775 h 3908424"/>
                  <a:gd name="connsiteX42" fmla="*/ 210863 w 445813"/>
                  <a:gd name="connsiteY42" fmla="*/ 2454275 h 3908424"/>
                  <a:gd name="connsiteX43" fmla="*/ 226738 w 445813"/>
                  <a:gd name="connsiteY43" fmla="*/ 2482850 h 3908424"/>
                  <a:gd name="connsiteX44" fmla="*/ 226738 w 445813"/>
                  <a:gd name="connsiteY44" fmla="*/ 2527300 h 3908424"/>
                  <a:gd name="connsiteX45" fmla="*/ 236263 w 445813"/>
                  <a:gd name="connsiteY45" fmla="*/ 2603500 h 3908424"/>
                  <a:gd name="connsiteX46" fmla="*/ 204513 w 445813"/>
                  <a:gd name="connsiteY46" fmla="*/ 2825749 h 3908424"/>
                  <a:gd name="connsiteX47" fmla="*/ 153713 w 445813"/>
                  <a:gd name="connsiteY47" fmla="*/ 2917824 h 3908424"/>
                  <a:gd name="connsiteX48" fmla="*/ 80688 w 445813"/>
                  <a:gd name="connsiteY48" fmla="*/ 3063874 h 3908424"/>
                  <a:gd name="connsiteX49" fmla="*/ 42588 w 445813"/>
                  <a:gd name="connsiteY49" fmla="*/ 3133724 h 3908424"/>
                  <a:gd name="connsiteX50" fmla="*/ 17188 w 445813"/>
                  <a:gd name="connsiteY50" fmla="*/ 3203574 h 3908424"/>
                  <a:gd name="connsiteX51" fmla="*/ 10838 w 445813"/>
                  <a:gd name="connsiteY51" fmla="*/ 3390899 h 3908424"/>
                  <a:gd name="connsiteX52" fmla="*/ 39413 w 445813"/>
                  <a:gd name="connsiteY52" fmla="*/ 3482974 h 3908424"/>
                  <a:gd name="connsiteX53" fmla="*/ 52113 w 445813"/>
                  <a:gd name="connsiteY53" fmla="*/ 3616324 h 3908424"/>
                  <a:gd name="connsiteX54" fmla="*/ 90213 w 445813"/>
                  <a:gd name="connsiteY54" fmla="*/ 3682999 h 3908424"/>
                  <a:gd name="connsiteX55" fmla="*/ 112438 w 445813"/>
                  <a:gd name="connsiteY55" fmla="*/ 3809999 h 3908424"/>
                  <a:gd name="connsiteX56" fmla="*/ 201338 w 445813"/>
                  <a:gd name="connsiteY56" fmla="*/ 3892549 h 3908424"/>
                  <a:gd name="connsiteX57" fmla="*/ 258488 w 445813"/>
                  <a:gd name="connsiteY57" fmla="*/ 3908424 h 3908424"/>
                  <a:gd name="connsiteX0" fmla="*/ 445813 w 445813"/>
                  <a:gd name="connsiteY0" fmla="*/ 0 h 3892549"/>
                  <a:gd name="connsiteX1" fmla="*/ 407713 w 445813"/>
                  <a:gd name="connsiteY1" fmla="*/ 66675 h 3892549"/>
                  <a:gd name="connsiteX2" fmla="*/ 353738 w 445813"/>
                  <a:gd name="connsiteY2" fmla="*/ 85725 h 3892549"/>
                  <a:gd name="connsiteX3" fmla="*/ 283888 w 445813"/>
                  <a:gd name="connsiteY3" fmla="*/ 98425 h 3892549"/>
                  <a:gd name="connsiteX4" fmla="*/ 223563 w 445813"/>
                  <a:gd name="connsiteY4" fmla="*/ 133350 h 3892549"/>
                  <a:gd name="connsiteX5" fmla="*/ 121963 w 445813"/>
                  <a:gd name="connsiteY5" fmla="*/ 196850 h 3892549"/>
                  <a:gd name="connsiteX6" fmla="*/ 131488 w 445813"/>
                  <a:gd name="connsiteY6" fmla="*/ 247650 h 3892549"/>
                  <a:gd name="connsiteX7" fmla="*/ 172763 w 445813"/>
                  <a:gd name="connsiteY7" fmla="*/ 276225 h 3892549"/>
                  <a:gd name="connsiteX8" fmla="*/ 185463 w 445813"/>
                  <a:gd name="connsiteY8" fmla="*/ 327025 h 3892549"/>
                  <a:gd name="connsiteX9" fmla="*/ 239438 w 445813"/>
                  <a:gd name="connsiteY9" fmla="*/ 368300 h 3892549"/>
                  <a:gd name="connsiteX10" fmla="*/ 239438 w 445813"/>
                  <a:gd name="connsiteY10" fmla="*/ 412750 h 3892549"/>
                  <a:gd name="connsiteX11" fmla="*/ 207688 w 445813"/>
                  <a:gd name="connsiteY11" fmla="*/ 454025 h 3892549"/>
                  <a:gd name="connsiteX12" fmla="*/ 287063 w 445813"/>
                  <a:gd name="connsiteY12" fmla="*/ 479425 h 3892549"/>
                  <a:gd name="connsiteX13" fmla="*/ 302938 w 445813"/>
                  <a:gd name="connsiteY13" fmla="*/ 511175 h 3892549"/>
                  <a:gd name="connsiteX14" fmla="*/ 210863 w 445813"/>
                  <a:gd name="connsiteY14" fmla="*/ 581025 h 3892549"/>
                  <a:gd name="connsiteX15" fmla="*/ 160063 w 445813"/>
                  <a:gd name="connsiteY15" fmla="*/ 638175 h 3892549"/>
                  <a:gd name="connsiteX16" fmla="*/ 160063 w 445813"/>
                  <a:gd name="connsiteY16" fmla="*/ 695325 h 3892549"/>
                  <a:gd name="connsiteX17" fmla="*/ 185463 w 445813"/>
                  <a:gd name="connsiteY17" fmla="*/ 784225 h 3892549"/>
                  <a:gd name="connsiteX18" fmla="*/ 194988 w 445813"/>
                  <a:gd name="connsiteY18" fmla="*/ 835025 h 3892549"/>
                  <a:gd name="connsiteX19" fmla="*/ 204513 w 445813"/>
                  <a:gd name="connsiteY19" fmla="*/ 885825 h 3892549"/>
                  <a:gd name="connsiteX20" fmla="*/ 220388 w 445813"/>
                  <a:gd name="connsiteY20" fmla="*/ 923925 h 3892549"/>
                  <a:gd name="connsiteX21" fmla="*/ 163238 w 445813"/>
                  <a:gd name="connsiteY21" fmla="*/ 1022350 h 3892549"/>
                  <a:gd name="connsiteX22" fmla="*/ 96563 w 445813"/>
                  <a:gd name="connsiteY22" fmla="*/ 1057275 h 3892549"/>
                  <a:gd name="connsiteX23" fmla="*/ 52113 w 445813"/>
                  <a:gd name="connsiteY23" fmla="*/ 1143000 h 3892549"/>
                  <a:gd name="connsiteX24" fmla="*/ 20363 w 445813"/>
                  <a:gd name="connsiteY24" fmla="*/ 1244600 h 3892549"/>
                  <a:gd name="connsiteX25" fmla="*/ 1313 w 445813"/>
                  <a:gd name="connsiteY25" fmla="*/ 1346200 h 3892549"/>
                  <a:gd name="connsiteX26" fmla="*/ 10838 w 445813"/>
                  <a:gd name="connsiteY26" fmla="*/ 1438275 h 3892549"/>
                  <a:gd name="connsiteX27" fmla="*/ 83863 w 445813"/>
                  <a:gd name="connsiteY27" fmla="*/ 1511300 h 3892549"/>
                  <a:gd name="connsiteX28" fmla="*/ 112438 w 445813"/>
                  <a:gd name="connsiteY28" fmla="*/ 1558925 h 3892549"/>
                  <a:gd name="connsiteX29" fmla="*/ 150538 w 445813"/>
                  <a:gd name="connsiteY29" fmla="*/ 1590675 h 3892549"/>
                  <a:gd name="connsiteX30" fmla="*/ 169588 w 445813"/>
                  <a:gd name="connsiteY30" fmla="*/ 1644650 h 3892549"/>
                  <a:gd name="connsiteX31" fmla="*/ 226738 w 445813"/>
                  <a:gd name="connsiteY31" fmla="*/ 1685925 h 3892549"/>
                  <a:gd name="connsiteX32" fmla="*/ 264838 w 445813"/>
                  <a:gd name="connsiteY32" fmla="*/ 1730375 h 3892549"/>
                  <a:gd name="connsiteX33" fmla="*/ 277538 w 445813"/>
                  <a:gd name="connsiteY33" fmla="*/ 1758950 h 3892549"/>
                  <a:gd name="connsiteX34" fmla="*/ 277538 w 445813"/>
                  <a:gd name="connsiteY34" fmla="*/ 1828800 h 3892549"/>
                  <a:gd name="connsiteX35" fmla="*/ 325163 w 445813"/>
                  <a:gd name="connsiteY35" fmla="*/ 1905000 h 3892549"/>
                  <a:gd name="connsiteX36" fmla="*/ 363263 w 445813"/>
                  <a:gd name="connsiteY36" fmla="*/ 1962150 h 3892549"/>
                  <a:gd name="connsiteX37" fmla="*/ 369613 w 445813"/>
                  <a:gd name="connsiteY37" fmla="*/ 2028825 h 3892549"/>
                  <a:gd name="connsiteX38" fmla="*/ 407713 w 445813"/>
                  <a:gd name="connsiteY38" fmla="*/ 2085975 h 3892549"/>
                  <a:gd name="connsiteX39" fmla="*/ 414063 w 445813"/>
                  <a:gd name="connsiteY39" fmla="*/ 2255981 h 3892549"/>
                  <a:gd name="connsiteX40" fmla="*/ 242901 w 445813"/>
                  <a:gd name="connsiteY40" fmla="*/ 2278784 h 3892549"/>
                  <a:gd name="connsiteX41" fmla="*/ 201338 w 445813"/>
                  <a:gd name="connsiteY41" fmla="*/ 2390775 h 3892549"/>
                  <a:gd name="connsiteX42" fmla="*/ 210863 w 445813"/>
                  <a:gd name="connsiteY42" fmla="*/ 2454275 h 3892549"/>
                  <a:gd name="connsiteX43" fmla="*/ 226738 w 445813"/>
                  <a:gd name="connsiteY43" fmla="*/ 2482850 h 3892549"/>
                  <a:gd name="connsiteX44" fmla="*/ 226738 w 445813"/>
                  <a:gd name="connsiteY44" fmla="*/ 2527300 h 3892549"/>
                  <a:gd name="connsiteX45" fmla="*/ 236263 w 445813"/>
                  <a:gd name="connsiteY45" fmla="*/ 2603500 h 3892549"/>
                  <a:gd name="connsiteX46" fmla="*/ 204513 w 445813"/>
                  <a:gd name="connsiteY46" fmla="*/ 2825749 h 3892549"/>
                  <a:gd name="connsiteX47" fmla="*/ 153713 w 445813"/>
                  <a:gd name="connsiteY47" fmla="*/ 2917824 h 3892549"/>
                  <a:gd name="connsiteX48" fmla="*/ 80688 w 445813"/>
                  <a:gd name="connsiteY48" fmla="*/ 3063874 h 3892549"/>
                  <a:gd name="connsiteX49" fmla="*/ 42588 w 445813"/>
                  <a:gd name="connsiteY49" fmla="*/ 3133724 h 3892549"/>
                  <a:gd name="connsiteX50" fmla="*/ 17188 w 445813"/>
                  <a:gd name="connsiteY50" fmla="*/ 3203574 h 3892549"/>
                  <a:gd name="connsiteX51" fmla="*/ 10838 w 445813"/>
                  <a:gd name="connsiteY51" fmla="*/ 3390899 h 3892549"/>
                  <a:gd name="connsiteX52" fmla="*/ 39413 w 445813"/>
                  <a:gd name="connsiteY52" fmla="*/ 3482974 h 3892549"/>
                  <a:gd name="connsiteX53" fmla="*/ 52113 w 445813"/>
                  <a:gd name="connsiteY53" fmla="*/ 3616324 h 3892549"/>
                  <a:gd name="connsiteX54" fmla="*/ 90213 w 445813"/>
                  <a:gd name="connsiteY54" fmla="*/ 3682999 h 3892549"/>
                  <a:gd name="connsiteX55" fmla="*/ 112438 w 445813"/>
                  <a:gd name="connsiteY55" fmla="*/ 3809999 h 3892549"/>
                  <a:gd name="connsiteX56" fmla="*/ 201338 w 445813"/>
                  <a:gd name="connsiteY56" fmla="*/ 3892549 h 3892549"/>
                  <a:gd name="connsiteX0" fmla="*/ 445813 w 445813"/>
                  <a:gd name="connsiteY0" fmla="*/ 0 h 3809999"/>
                  <a:gd name="connsiteX1" fmla="*/ 407713 w 445813"/>
                  <a:gd name="connsiteY1" fmla="*/ 66675 h 3809999"/>
                  <a:gd name="connsiteX2" fmla="*/ 353738 w 445813"/>
                  <a:gd name="connsiteY2" fmla="*/ 85725 h 3809999"/>
                  <a:gd name="connsiteX3" fmla="*/ 283888 w 445813"/>
                  <a:gd name="connsiteY3" fmla="*/ 98425 h 3809999"/>
                  <a:gd name="connsiteX4" fmla="*/ 223563 w 445813"/>
                  <a:gd name="connsiteY4" fmla="*/ 133350 h 3809999"/>
                  <a:gd name="connsiteX5" fmla="*/ 121963 w 445813"/>
                  <a:gd name="connsiteY5" fmla="*/ 196850 h 3809999"/>
                  <a:gd name="connsiteX6" fmla="*/ 131488 w 445813"/>
                  <a:gd name="connsiteY6" fmla="*/ 247650 h 3809999"/>
                  <a:gd name="connsiteX7" fmla="*/ 172763 w 445813"/>
                  <a:gd name="connsiteY7" fmla="*/ 276225 h 3809999"/>
                  <a:gd name="connsiteX8" fmla="*/ 185463 w 445813"/>
                  <a:gd name="connsiteY8" fmla="*/ 327025 h 3809999"/>
                  <a:gd name="connsiteX9" fmla="*/ 239438 w 445813"/>
                  <a:gd name="connsiteY9" fmla="*/ 368300 h 3809999"/>
                  <a:gd name="connsiteX10" fmla="*/ 239438 w 445813"/>
                  <a:gd name="connsiteY10" fmla="*/ 412750 h 3809999"/>
                  <a:gd name="connsiteX11" fmla="*/ 207688 w 445813"/>
                  <a:gd name="connsiteY11" fmla="*/ 454025 h 3809999"/>
                  <a:gd name="connsiteX12" fmla="*/ 287063 w 445813"/>
                  <a:gd name="connsiteY12" fmla="*/ 479425 h 3809999"/>
                  <a:gd name="connsiteX13" fmla="*/ 302938 w 445813"/>
                  <a:gd name="connsiteY13" fmla="*/ 511175 h 3809999"/>
                  <a:gd name="connsiteX14" fmla="*/ 210863 w 445813"/>
                  <a:gd name="connsiteY14" fmla="*/ 581025 h 3809999"/>
                  <a:gd name="connsiteX15" fmla="*/ 160063 w 445813"/>
                  <a:gd name="connsiteY15" fmla="*/ 638175 h 3809999"/>
                  <a:gd name="connsiteX16" fmla="*/ 160063 w 445813"/>
                  <a:gd name="connsiteY16" fmla="*/ 695325 h 3809999"/>
                  <a:gd name="connsiteX17" fmla="*/ 185463 w 445813"/>
                  <a:gd name="connsiteY17" fmla="*/ 784225 h 3809999"/>
                  <a:gd name="connsiteX18" fmla="*/ 194988 w 445813"/>
                  <a:gd name="connsiteY18" fmla="*/ 835025 h 3809999"/>
                  <a:gd name="connsiteX19" fmla="*/ 204513 w 445813"/>
                  <a:gd name="connsiteY19" fmla="*/ 885825 h 3809999"/>
                  <a:gd name="connsiteX20" fmla="*/ 220388 w 445813"/>
                  <a:gd name="connsiteY20" fmla="*/ 923925 h 3809999"/>
                  <a:gd name="connsiteX21" fmla="*/ 163238 w 445813"/>
                  <a:gd name="connsiteY21" fmla="*/ 1022350 h 3809999"/>
                  <a:gd name="connsiteX22" fmla="*/ 96563 w 445813"/>
                  <a:gd name="connsiteY22" fmla="*/ 1057275 h 3809999"/>
                  <a:gd name="connsiteX23" fmla="*/ 52113 w 445813"/>
                  <a:gd name="connsiteY23" fmla="*/ 1143000 h 3809999"/>
                  <a:gd name="connsiteX24" fmla="*/ 20363 w 445813"/>
                  <a:gd name="connsiteY24" fmla="*/ 1244600 h 3809999"/>
                  <a:gd name="connsiteX25" fmla="*/ 1313 w 445813"/>
                  <a:gd name="connsiteY25" fmla="*/ 1346200 h 3809999"/>
                  <a:gd name="connsiteX26" fmla="*/ 10838 w 445813"/>
                  <a:gd name="connsiteY26" fmla="*/ 1438275 h 3809999"/>
                  <a:gd name="connsiteX27" fmla="*/ 83863 w 445813"/>
                  <a:gd name="connsiteY27" fmla="*/ 1511300 h 3809999"/>
                  <a:gd name="connsiteX28" fmla="*/ 112438 w 445813"/>
                  <a:gd name="connsiteY28" fmla="*/ 1558925 h 3809999"/>
                  <a:gd name="connsiteX29" fmla="*/ 150538 w 445813"/>
                  <a:gd name="connsiteY29" fmla="*/ 1590675 h 3809999"/>
                  <a:gd name="connsiteX30" fmla="*/ 169588 w 445813"/>
                  <a:gd name="connsiteY30" fmla="*/ 1644650 h 3809999"/>
                  <a:gd name="connsiteX31" fmla="*/ 226738 w 445813"/>
                  <a:gd name="connsiteY31" fmla="*/ 1685925 h 3809999"/>
                  <a:gd name="connsiteX32" fmla="*/ 264838 w 445813"/>
                  <a:gd name="connsiteY32" fmla="*/ 1730375 h 3809999"/>
                  <a:gd name="connsiteX33" fmla="*/ 277538 w 445813"/>
                  <a:gd name="connsiteY33" fmla="*/ 1758950 h 3809999"/>
                  <a:gd name="connsiteX34" fmla="*/ 277538 w 445813"/>
                  <a:gd name="connsiteY34" fmla="*/ 1828800 h 3809999"/>
                  <a:gd name="connsiteX35" fmla="*/ 325163 w 445813"/>
                  <a:gd name="connsiteY35" fmla="*/ 1905000 h 3809999"/>
                  <a:gd name="connsiteX36" fmla="*/ 363263 w 445813"/>
                  <a:gd name="connsiteY36" fmla="*/ 1962150 h 3809999"/>
                  <a:gd name="connsiteX37" fmla="*/ 369613 w 445813"/>
                  <a:gd name="connsiteY37" fmla="*/ 2028825 h 3809999"/>
                  <a:gd name="connsiteX38" fmla="*/ 407713 w 445813"/>
                  <a:gd name="connsiteY38" fmla="*/ 2085975 h 3809999"/>
                  <a:gd name="connsiteX39" fmla="*/ 414063 w 445813"/>
                  <a:gd name="connsiteY39" fmla="*/ 2255981 h 3809999"/>
                  <a:gd name="connsiteX40" fmla="*/ 242901 w 445813"/>
                  <a:gd name="connsiteY40" fmla="*/ 2278784 h 3809999"/>
                  <a:gd name="connsiteX41" fmla="*/ 201338 w 445813"/>
                  <a:gd name="connsiteY41" fmla="*/ 2390775 h 3809999"/>
                  <a:gd name="connsiteX42" fmla="*/ 210863 w 445813"/>
                  <a:gd name="connsiteY42" fmla="*/ 2454275 h 3809999"/>
                  <a:gd name="connsiteX43" fmla="*/ 226738 w 445813"/>
                  <a:gd name="connsiteY43" fmla="*/ 2482850 h 3809999"/>
                  <a:gd name="connsiteX44" fmla="*/ 226738 w 445813"/>
                  <a:gd name="connsiteY44" fmla="*/ 2527300 h 3809999"/>
                  <a:gd name="connsiteX45" fmla="*/ 236263 w 445813"/>
                  <a:gd name="connsiteY45" fmla="*/ 2603500 h 3809999"/>
                  <a:gd name="connsiteX46" fmla="*/ 204513 w 445813"/>
                  <a:gd name="connsiteY46" fmla="*/ 2825749 h 3809999"/>
                  <a:gd name="connsiteX47" fmla="*/ 153713 w 445813"/>
                  <a:gd name="connsiteY47" fmla="*/ 2917824 h 3809999"/>
                  <a:gd name="connsiteX48" fmla="*/ 80688 w 445813"/>
                  <a:gd name="connsiteY48" fmla="*/ 3063874 h 3809999"/>
                  <a:gd name="connsiteX49" fmla="*/ 42588 w 445813"/>
                  <a:gd name="connsiteY49" fmla="*/ 3133724 h 3809999"/>
                  <a:gd name="connsiteX50" fmla="*/ 17188 w 445813"/>
                  <a:gd name="connsiteY50" fmla="*/ 3203574 h 3809999"/>
                  <a:gd name="connsiteX51" fmla="*/ 10838 w 445813"/>
                  <a:gd name="connsiteY51" fmla="*/ 3390899 h 3809999"/>
                  <a:gd name="connsiteX52" fmla="*/ 39413 w 445813"/>
                  <a:gd name="connsiteY52" fmla="*/ 3482974 h 3809999"/>
                  <a:gd name="connsiteX53" fmla="*/ 52113 w 445813"/>
                  <a:gd name="connsiteY53" fmla="*/ 3616324 h 3809999"/>
                  <a:gd name="connsiteX54" fmla="*/ 90213 w 445813"/>
                  <a:gd name="connsiteY54" fmla="*/ 3682999 h 3809999"/>
                  <a:gd name="connsiteX55" fmla="*/ 112438 w 445813"/>
                  <a:gd name="connsiteY55" fmla="*/ 3809999 h 3809999"/>
                  <a:gd name="connsiteX0" fmla="*/ 445813 w 445813"/>
                  <a:gd name="connsiteY0" fmla="*/ 0 h 3809999"/>
                  <a:gd name="connsiteX1" fmla="*/ 407713 w 445813"/>
                  <a:gd name="connsiteY1" fmla="*/ 66675 h 3809999"/>
                  <a:gd name="connsiteX2" fmla="*/ 353738 w 445813"/>
                  <a:gd name="connsiteY2" fmla="*/ 85725 h 3809999"/>
                  <a:gd name="connsiteX3" fmla="*/ 283888 w 445813"/>
                  <a:gd name="connsiteY3" fmla="*/ 98425 h 3809999"/>
                  <a:gd name="connsiteX4" fmla="*/ 223563 w 445813"/>
                  <a:gd name="connsiteY4" fmla="*/ 133350 h 3809999"/>
                  <a:gd name="connsiteX5" fmla="*/ 121963 w 445813"/>
                  <a:gd name="connsiteY5" fmla="*/ 196850 h 3809999"/>
                  <a:gd name="connsiteX6" fmla="*/ 131488 w 445813"/>
                  <a:gd name="connsiteY6" fmla="*/ 247650 h 3809999"/>
                  <a:gd name="connsiteX7" fmla="*/ 172763 w 445813"/>
                  <a:gd name="connsiteY7" fmla="*/ 276225 h 3809999"/>
                  <a:gd name="connsiteX8" fmla="*/ 185463 w 445813"/>
                  <a:gd name="connsiteY8" fmla="*/ 327025 h 3809999"/>
                  <a:gd name="connsiteX9" fmla="*/ 239438 w 445813"/>
                  <a:gd name="connsiteY9" fmla="*/ 368300 h 3809999"/>
                  <a:gd name="connsiteX10" fmla="*/ 239438 w 445813"/>
                  <a:gd name="connsiteY10" fmla="*/ 412750 h 3809999"/>
                  <a:gd name="connsiteX11" fmla="*/ 207688 w 445813"/>
                  <a:gd name="connsiteY11" fmla="*/ 454025 h 3809999"/>
                  <a:gd name="connsiteX12" fmla="*/ 287063 w 445813"/>
                  <a:gd name="connsiteY12" fmla="*/ 479425 h 3809999"/>
                  <a:gd name="connsiteX13" fmla="*/ 302938 w 445813"/>
                  <a:gd name="connsiteY13" fmla="*/ 511175 h 3809999"/>
                  <a:gd name="connsiteX14" fmla="*/ 210863 w 445813"/>
                  <a:gd name="connsiteY14" fmla="*/ 581025 h 3809999"/>
                  <a:gd name="connsiteX15" fmla="*/ 160063 w 445813"/>
                  <a:gd name="connsiteY15" fmla="*/ 638175 h 3809999"/>
                  <a:gd name="connsiteX16" fmla="*/ 160063 w 445813"/>
                  <a:gd name="connsiteY16" fmla="*/ 695325 h 3809999"/>
                  <a:gd name="connsiteX17" fmla="*/ 185463 w 445813"/>
                  <a:gd name="connsiteY17" fmla="*/ 784225 h 3809999"/>
                  <a:gd name="connsiteX18" fmla="*/ 194988 w 445813"/>
                  <a:gd name="connsiteY18" fmla="*/ 835025 h 3809999"/>
                  <a:gd name="connsiteX19" fmla="*/ 204513 w 445813"/>
                  <a:gd name="connsiteY19" fmla="*/ 885825 h 3809999"/>
                  <a:gd name="connsiteX20" fmla="*/ 220388 w 445813"/>
                  <a:gd name="connsiteY20" fmla="*/ 923925 h 3809999"/>
                  <a:gd name="connsiteX21" fmla="*/ 163238 w 445813"/>
                  <a:gd name="connsiteY21" fmla="*/ 1022350 h 3809999"/>
                  <a:gd name="connsiteX22" fmla="*/ 96563 w 445813"/>
                  <a:gd name="connsiteY22" fmla="*/ 1057275 h 3809999"/>
                  <a:gd name="connsiteX23" fmla="*/ 52113 w 445813"/>
                  <a:gd name="connsiteY23" fmla="*/ 1143000 h 3809999"/>
                  <a:gd name="connsiteX24" fmla="*/ 20363 w 445813"/>
                  <a:gd name="connsiteY24" fmla="*/ 1244600 h 3809999"/>
                  <a:gd name="connsiteX25" fmla="*/ 1313 w 445813"/>
                  <a:gd name="connsiteY25" fmla="*/ 1346200 h 3809999"/>
                  <a:gd name="connsiteX26" fmla="*/ 10838 w 445813"/>
                  <a:gd name="connsiteY26" fmla="*/ 1438275 h 3809999"/>
                  <a:gd name="connsiteX27" fmla="*/ 83863 w 445813"/>
                  <a:gd name="connsiteY27" fmla="*/ 1511300 h 3809999"/>
                  <a:gd name="connsiteX28" fmla="*/ 112438 w 445813"/>
                  <a:gd name="connsiteY28" fmla="*/ 1558925 h 3809999"/>
                  <a:gd name="connsiteX29" fmla="*/ 150538 w 445813"/>
                  <a:gd name="connsiteY29" fmla="*/ 1590675 h 3809999"/>
                  <a:gd name="connsiteX30" fmla="*/ 169588 w 445813"/>
                  <a:gd name="connsiteY30" fmla="*/ 1644650 h 3809999"/>
                  <a:gd name="connsiteX31" fmla="*/ 226738 w 445813"/>
                  <a:gd name="connsiteY31" fmla="*/ 1685925 h 3809999"/>
                  <a:gd name="connsiteX32" fmla="*/ 264838 w 445813"/>
                  <a:gd name="connsiteY32" fmla="*/ 1730375 h 3809999"/>
                  <a:gd name="connsiteX33" fmla="*/ 277538 w 445813"/>
                  <a:gd name="connsiteY33" fmla="*/ 1758950 h 3809999"/>
                  <a:gd name="connsiteX34" fmla="*/ 277538 w 445813"/>
                  <a:gd name="connsiteY34" fmla="*/ 1828800 h 3809999"/>
                  <a:gd name="connsiteX35" fmla="*/ 325163 w 445813"/>
                  <a:gd name="connsiteY35" fmla="*/ 1905000 h 3809999"/>
                  <a:gd name="connsiteX36" fmla="*/ 363263 w 445813"/>
                  <a:gd name="connsiteY36" fmla="*/ 1962150 h 3809999"/>
                  <a:gd name="connsiteX37" fmla="*/ 369613 w 445813"/>
                  <a:gd name="connsiteY37" fmla="*/ 2028825 h 3809999"/>
                  <a:gd name="connsiteX38" fmla="*/ 407713 w 445813"/>
                  <a:gd name="connsiteY38" fmla="*/ 2085975 h 3809999"/>
                  <a:gd name="connsiteX39" fmla="*/ 414063 w 445813"/>
                  <a:gd name="connsiteY39" fmla="*/ 2255981 h 3809999"/>
                  <a:gd name="connsiteX40" fmla="*/ 242901 w 445813"/>
                  <a:gd name="connsiteY40" fmla="*/ 2278784 h 3809999"/>
                  <a:gd name="connsiteX41" fmla="*/ 201338 w 445813"/>
                  <a:gd name="connsiteY41" fmla="*/ 2390775 h 3809999"/>
                  <a:gd name="connsiteX42" fmla="*/ 210863 w 445813"/>
                  <a:gd name="connsiteY42" fmla="*/ 2454275 h 3809999"/>
                  <a:gd name="connsiteX43" fmla="*/ 226738 w 445813"/>
                  <a:gd name="connsiteY43" fmla="*/ 2482850 h 3809999"/>
                  <a:gd name="connsiteX44" fmla="*/ 226738 w 445813"/>
                  <a:gd name="connsiteY44" fmla="*/ 2527300 h 3809999"/>
                  <a:gd name="connsiteX45" fmla="*/ 236263 w 445813"/>
                  <a:gd name="connsiteY45" fmla="*/ 2603500 h 3809999"/>
                  <a:gd name="connsiteX46" fmla="*/ 204513 w 445813"/>
                  <a:gd name="connsiteY46" fmla="*/ 2825749 h 3809999"/>
                  <a:gd name="connsiteX47" fmla="*/ 153713 w 445813"/>
                  <a:gd name="connsiteY47" fmla="*/ 2917824 h 3809999"/>
                  <a:gd name="connsiteX48" fmla="*/ 80688 w 445813"/>
                  <a:gd name="connsiteY48" fmla="*/ 3063874 h 3809999"/>
                  <a:gd name="connsiteX49" fmla="*/ 42588 w 445813"/>
                  <a:gd name="connsiteY49" fmla="*/ 3133724 h 3809999"/>
                  <a:gd name="connsiteX50" fmla="*/ 17188 w 445813"/>
                  <a:gd name="connsiteY50" fmla="*/ 3203574 h 3809999"/>
                  <a:gd name="connsiteX51" fmla="*/ 10838 w 445813"/>
                  <a:gd name="connsiteY51" fmla="*/ 3390899 h 3809999"/>
                  <a:gd name="connsiteX52" fmla="*/ 39413 w 445813"/>
                  <a:gd name="connsiteY52" fmla="*/ 3482974 h 3809999"/>
                  <a:gd name="connsiteX53" fmla="*/ 52113 w 445813"/>
                  <a:gd name="connsiteY53" fmla="*/ 3616324 h 3809999"/>
                  <a:gd name="connsiteX54" fmla="*/ 90213 w 445813"/>
                  <a:gd name="connsiteY54" fmla="*/ 3682999 h 3809999"/>
                  <a:gd name="connsiteX55" fmla="*/ 85089 w 445813"/>
                  <a:gd name="connsiteY55" fmla="*/ 3766423 h 3809999"/>
                  <a:gd name="connsiteX56" fmla="*/ 112438 w 445813"/>
                  <a:gd name="connsiteY56" fmla="*/ 3809999 h 3809999"/>
                  <a:gd name="connsiteX0" fmla="*/ 445813 w 445813"/>
                  <a:gd name="connsiteY0" fmla="*/ 0 h 3766423"/>
                  <a:gd name="connsiteX1" fmla="*/ 407713 w 445813"/>
                  <a:gd name="connsiteY1" fmla="*/ 66675 h 3766423"/>
                  <a:gd name="connsiteX2" fmla="*/ 353738 w 445813"/>
                  <a:gd name="connsiteY2" fmla="*/ 85725 h 3766423"/>
                  <a:gd name="connsiteX3" fmla="*/ 283888 w 445813"/>
                  <a:gd name="connsiteY3" fmla="*/ 98425 h 3766423"/>
                  <a:gd name="connsiteX4" fmla="*/ 223563 w 445813"/>
                  <a:gd name="connsiteY4" fmla="*/ 133350 h 3766423"/>
                  <a:gd name="connsiteX5" fmla="*/ 121963 w 445813"/>
                  <a:gd name="connsiteY5" fmla="*/ 196850 h 3766423"/>
                  <a:gd name="connsiteX6" fmla="*/ 131488 w 445813"/>
                  <a:gd name="connsiteY6" fmla="*/ 247650 h 3766423"/>
                  <a:gd name="connsiteX7" fmla="*/ 172763 w 445813"/>
                  <a:gd name="connsiteY7" fmla="*/ 276225 h 3766423"/>
                  <a:gd name="connsiteX8" fmla="*/ 185463 w 445813"/>
                  <a:gd name="connsiteY8" fmla="*/ 327025 h 3766423"/>
                  <a:gd name="connsiteX9" fmla="*/ 239438 w 445813"/>
                  <a:gd name="connsiteY9" fmla="*/ 368300 h 3766423"/>
                  <a:gd name="connsiteX10" fmla="*/ 239438 w 445813"/>
                  <a:gd name="connsiteY10" fmla="*/ 412750 h 3766423"/>
                  <a:gd name="connsiteX11" fmla="*/ 207688 w 445813"/>
                  <a:gd name="connsiteY11" fmla="*/ 454025 h 3766423"/>
                  <a:gd name="connsiteX12" fmla="*/ 287063 w 445813"/>
                  <a:gd name="connsiteY12" fmla="*/ 479425 h 3766423"/>
                  <a:gd name="connsiteX13" fmla="*/ 302938 w 445813"/>
                  <a:gd name="connsiteY13" fmla="*/ 511175 h 3766423"/>
                  <a:gd name="connsiteX14" fmla="*/ 210863 w 445813"/>
                  <a:gd name="connsiteY14" fmla="*/ 581025 h 3766423"/>
                  <a:gd name="connsiteX15" fmla="*/ 160063 w 445813"/>
                  <a:gd name="connsiteY15" fmla="*/ 638175 h 3766423"/>
                  <a:gd name="connsiteX16" fmla="*/ 160063 w 445813"/>
                  <a:gd name="connsiteY16" fmla="*/ 695325 h 3766423"/>
                  <a:gd name="connsiteX17" fmla="*/ 185463 w 445813"/>
                  <a:gd name="connsiteY17" fmla="*/ 784225 h 3766423"/>
                  <a:gd name="connsiteX18" fmla="*/ 194988 w 445813"/>
                  <a:gd name="connsiteY18" fmla="*/ 835025 h 3766423"/>
                  <a:gd name="connsiteX19" fmla="*/ 204513 w 445813"/>
                  <a:gd name="connsiteY19" fmla="*/ 885825 h 3766423"/>
                  <a:gd name="connsiteX20" fmla="*/ 220388 w 445813"/>
                  <a:gd name="connsiteY20" fmla="*/ 923925 h 3766423"/>
                  <a:gd name="connsiteX21" fmla="*/ 163238 w 445813"/>
                  <a:gd name="connsiteY21" fmla="*/ 1022350 h 3766423"/>
                  <a:gd name="connsiteX22" fmla="*/ 96563 w 445813"/>
                  <a:gd name="connsiteY22" fmla="*/ 1057275 h 3766423"/>
                  <a:gd name="connsiteX23" fmla="*/ 52113 w 445813"/>
                  <a:gd name="connsiteY23" fmla="*/ 1143000 h 3766423"/>
                  <a:gd name="connsiteX24" fmla="*/ 20363 w 445813"/>
                  <a:gd name="connsiteY24" fmla="*/ 1244600 h 3766423"/>
                  <a:gd name="connsiteX25" fmla="*/ 1313 w 445813"/>
                  <a:gd name="connsiteY25" fmla="*/ 1346200 h 3766423"/>
                  <a:gd name="connsiteX26" fmla="*/ 10838 w 445813"/>
                  <a:gd name="connsiteY26" fmla="*/ 1438275 h 3766423"/>
                  <a:gd name="connsiteX27" fmla="*/ 83863 w 445813"/>
                  <a:gd name="connsiteY27" fmla="*/ 1511300 h 3766423"/>
                  <a:gd name="connsiteX28" fmla="*/ 112438 w 445813"/>
                  <a:gd name="connsiteY28" fmla="*/ 1558925 h 3766423"/>
                  <a:gd name="connsiteX29" fmla="*/ 150538 w 445813"/>
                  <a:gd name="connsiteY29" fmla="*/ 1590675 h 3766423"/>
                  <a:gd name="connsiteX30" fmla="*/ 169588 w 445813"/>
                  <a:gd name="connsiteY30" fmla="*/ 1644650 h 3766423"/>
                  <a:gd name="connsiteX31" fmla="*/ 226738 w 445813"/>
                  <a:gd name="connsiteY31" fmla="*/ 1685925 h 3766423"/>
                  <a:gd name="connsiteX32" fmla="*/ 264838 w 445813"/>
                  <a:gd name="connsiteY32" fmla="*/ 1730375 h 3766423"/>
                  <a:gd name="connsiteX33" fmla="*/ 277538 w 445813"/>
                  <a:gd name="connsiteY33" fmla="*/ 1758950 h 3766423"/>
                  <a:gd name="connsiteX34" fmla="*/ 277538 w 445813"/>
                  <a:gd name="connsiteY34" fmla="*/ 1828800 h 3766423"/>
                  <a:gd name="connsiteX35" fmla="*/ 325163 w 445813"/>
                  <a:gd name="connsiteY35" fmla="*/ 1905000 h 3766423"/>
                  <a:gd name="connsiteX36" fmla="*/ 363263 w 445813"/>
                  <a:gd name="connsiteY36" fmla="*/ 1962150 h 3766423"/>
                  <a:gd name="connsiteX37" fmla="*/ 369613 w 445813"/>
                  <a:gd name="connsiteY37" fmla="*/ 2028825 h 3766423"/>
                  <a:gd name="connsiteX38" fmla="*/ 407713 w 445813"/>
                  <a:gd name="connsiteY38" fmla="*/ 2085975 h 3766423"/>
                  <a:gd name="connsiteX39" fmla="*/ 414063 w 445813"/>
                  <a:gd name="connsiteY39" fmla="*/ 2255981 h 3766423"/>
                  <a:gd name="connsiteX40" fmla="*/ 242901 w 445813"/>
                  <a:gd name="connsiteY40" fmla="*/ 2278784 h 3766423"/>
                  <a:gd name="connsiteX41" fmla="*/ 201338 w 445813"/>
                  <a:gd name="connsiteY41" fmla="*/ 2390775 h 3766423"/>
                  <a:gd name="connsiteX42" fmla="*/ 210863 w 445813"/>
                  <a:gd name="connsiteY42" fmla="*/ 2454275 h 3766423"/>
                  <a:gd name="connsiteX43" fmla="*/ 226738 w 445813"/>
                  <a:gd name="connsiteY43" fmla="*/ 2482850 h 3766423"/>
                  <a:gd name="connsiteX44" fmla="*/ 226738 w 445813"/>
                  <a:gd name="connsiteY44" fmla="*/ 2527300 h 3766423"/>
                  <a:gd name="connsiteX45" fmla="*/ 236263 w 445813"/>
                  <a:gd name="connsiteY45" fmla="*/ 2603500 h 3766423"/>
                  <a:gd name="connsiteX46" fmla="*/ 204513 w 445813"/>
                  <a:gd name="connsiteY46" fmla="*/ 2825749 h 3766423"/>
                  <a:gd name="connsiteX47" fmla="*/ 153713 w 445813"/>
                  <a:gd name="connsiteY47" fmla="*/ 2917824 h 3766423"/>
                  <a:gd name="connsiteX48" fmla="*/ 80688 w 445813"/>
                  <a:gd name="connsiteY48" fmla="*/ 3063874 h 3766423"/>
                  <a:gd name="connsiteX49" fmla="*/ 42588 w 445813"/>
                  <a:gd name="connsiteY49" fmla="*/ 3133724 h 3766423"/>
                  <a:gd name="connsiteX50" fmla="*/ 17188 w 445813"/>
                  <a:gd name="connsiteY50" fmla="*/ 3203574 h 3766423"/>
                  <a:gd name="connsiteX51" fmla="*/ 10838 w 445813"/>
                  <a:gd name="connsiteY51" fmla="*/ 3390899 h 3766423"/>
                  <a:gd name="connsiteX52" fmla="*/ 39413 w 445813"/>
                  <a:gd name="connsiteY52" fmla="*/ 3482974 h 3766423"/>
                  <a:gd name="connsiteX53" fmla="*/ 52113 w 445813"/>
                  <a:gd name="connsiteY53" fmla="*/ 3616324 h 3766423"/>
                  <a:gd name="connsiteX54" fmla="*/ 90213 w 445813"/>
                  <a:gd name="connsiteY54" fmla="*/ 3682999 h 3766423"/>
                  <a:gd name="connsiteX55" fmla="*/ 85089 w 445813"/>
                  <a:gd name="connsiteY55" fmla="*/ 3766423 h 3766423"/>
                  <a:gd name="connsiteX0" fmla="*/ 445813 w 445813"/>
                  <a:gd name="connsiteY0" fmla="*/ 0 h 3682999"/>
                  <a:gd name="connsiteX1" fmla="*/ 407713 w 445813"/>
                  <a:gd name="connsiteY1" fmla="*/ 66675 h 3682999"/>
                  <a:gd name="connsiteX2" fmla="*/ 353738 w 445813"/>
                  <a:gd name="connsiteY2" fmla="*/ 85725 h 3682999"/>
                  <a:gd name="connsiteX3" fmla="*/ 283888 w 445813"/>
                  <a:gd name="connsiteY3" fmla="*/ 98425 h 3682999"/>
                  <a:gd name="connsiteX4" fmla="*/ 223563 w 445813"/>
                  <a:gd name="connsiteY4" fmla="*/ 133350 h 3682999"/>
                  <a:gd name="connsiteX5" fmla="*/ 121963 w 445813"/>
                  <a:gd name="connsiteY5" fmla="*/ 196850 h 3682999"/>
                  <a:gd name="connsiteX6" fmla="*/ 131488 w 445813"/>
                  <a:gd name="connsiteY6" fmla="*/ 247650 h 3682999"/>
                  <a:gd name="connsiteX7" fmla="*/ 172763 w 445813"/>
                  <a:gd name="connsiteY7" fmla="*/ 276225 h 3682999"/>
                  <a:gd name="connsiteX8" fmla="*/ 185463 w 445813"/>
                  <a:gd name="connsiteY8" fmla="*/ 327025 h 3682999"/>
                  <a:gd name="connsiteX9" fmla="*/ 239438 w 445813"/>
                  <a:gd name="connsiteY9" fmla="*/ 368300 h 3682999"/>
                  <a:gd name="connsiteX10" fmla="*/ 239438 w 445813"/>
                  <a:gd name="connsiteY10" fmla="*/ 412750 h 3682999"/>
                  <a:gd name="connsiteX11" fmla="*/ 207688 w 445813"/>
                  <a:gd name="connsiteY11" fmla="*/ 454025 h 3682999"/>
                  <a:gd name="connsiteX12" fmla="*/ 287063 w 445813"/>
                  <a:gd name="connsiteY12" fmla="*/ 479425 h 3682999"/>
                  <a:gd name="connsiteX13" fmla="*/ 302938 w 445813"/>
                  <a:gd name="connsiteY13" fmla="*/ 511175 h 3682999"/>
                  <a:gd name="connsiteX14" fmla="*/ 210863 w 445813"/>
                  <a:gd name="connsiteY14" fmla="*/ 581025 h 3682999"/>
                  <a:gd name="connsiteX15" fmla="*/ 160063 w 445813"/>
                  <a:gd name="connsiteY15" fmla="*/ 638175 h 3682999"/>
                  <a:gd name="connsiteX16" fmla="*/ 160063 w 445813"/>
                  <a:gd name="connsiteY16" fmla="*/ 695325 h 3682999"/>
                  <a:gd name="connsiteX17" fmla="*/ 185463 w 445813"/>
                  <a:gd name="connsiteY17" fmla="*/ 784225 h 3682999"/>
                  <a:gd name="connsiteX18" fmla="*/ 194988 w 445813"/>
                  <a:gd name="connsiteY18" fmla="*/ 835025 h 3682999"/>
                  <a:gd name="connsiteX19" fmla="*/ 204513 w 445813"/>
                  <a:gd name="connsiteY19" fmla="*/ 885825 h 3682999"/>
                  <a:gd name="connsiteX20" fmla="*/ 220388 w 445813"/>
                  <a:gd name="connsiteY20" fmla="*/ 923925 h 3682999"/>
                  <a:gd name="connsiteX21" fmla="*/ 163238 w 445813"/>
                  <a:gd name="connsiteY21" fmla="*/ 1022350 h 3682999"/>
                  <a:gd name="connsiteX22" fmla="*/ 96563 w 445813"/>
                  <a:gd name="connsiteY22" fmla="*/ 1057275 h 3682999"/>
                  <a:gd name="connsiteX23" fmla="*/ 52113 w 445813"/>
                  <a:gd name="connsiteY23" fmla="*/ 1143000 h 3682999"/>
                  <a:gd name="connsiteX24" fmla="*/ 20363 w 445813"/>
                  <a:gd name="connsiteY24" fmla="*/ 1244600 h 3682999"/>
                  <a:gd name="connsiteX25" fmla="*/ 1313 w 445813"/>
                  <a:gd name="connsiteY25" fmla="*/ 1346200 h 3682999"/>
                  <a:gd name="connsiteX26" fmla="*/ 10838 w 445813"/>
                  <a:gd name="connsiteY26" fmla="*/ 1438275 h 3682999"/>
                  <a:gd name="connsiteX27" fmla="*/ 83863 w 445813"/>
                  <a:gd name="connsiteY27" fmla="*/ 1511300 h 3682999"/>
                  <a:gd name="connsiteX28" fmla="*/ 112438 w 445813"/>
                  <a:gd name="connsiteY28" fmla="*/ 1558925 h 3682999"/>
                  <a:gd name="connsiteX29" fmla="*/ 150538 w 445813"/>
                  <a:gd name="connsiteY29" fmla="*/ 1590675 h 3682999"/>
                  <a:gd name="connsiteX30" fmla="*/ 169588 w 445813"/>
                  <a:gd name="connsiteY30" fmla="*/ 1644650 h 3682999"/>
                  <a:gd name="connsiteX31" fmla="*/ 226738 w 445813"/>
                  <a:gd name="connsiteY31" fmla="*/ 1685925 h 3682999"/>
                  <a:gd name="connsiteX32" fmla="*/ 264838 w 445813"/>
                  <a:gd name="connsiteY32" fmla="*/ 1730375 h 3682999"/>
                  <a:gd name="connsiteX33" fmla="*/ 277538 w 445813"/>
                  <a:gd name="connsiteY33" fmla="*/ 1758950 h 3682999"/>
                  <a:gd name="connsiteX34" fmla="*/ 277538 w 445813"/>
                  <a:gd name="connsiteY34" fmla="*/ 1828800 h 3682999"/>
                  <a:gd name="connsiteX35" fmla="*/ 325163 w 445813"/>
                  <a:gd name="connsiteY35" fmla="*/ 1905000 h 3682999"/>
                  <a:gd name="connsiteX36" fmla="*/ 363263 w 445813"/>
                  <a:gd name="connsiteY36" fmla="*/ 1962150 h 3682999"/>
                  <a:gd name="connsiteX37" fmla="*/ 369613 w 445813"/>
                  <a:gd name="connsiteY37" fmla="*/ 2028825 h 3682999"/>
                  <a:gd name="connsiteX38" fmla="*/ 407713 w 445813"/>
                  <a:gd name="connsiteY38" fmla="*/ 2085975 h 3682999"/>
                  <a:gd name="connsiteX39" fmla="*/ 414063 w 445813"/>
                  <a:gd name="connsiteY39" fmla="*/ 2255981 h 3682999"/>
                  <a:gd name="connsiteX40" fmla="*/ 242901 w 445813"/>
                  <a:gd name="connsiteY40" fmla="*/ 2278784 h 3682999"/>
                  <a:gd name="connsiteX41" fmla="*/ 201338 w 445813"/>
                  <a:gd name="connsiteY41" fmla="*/ 2390775 h 3682999"/>
                  <a:gd name="connsiteX42" fmla="*/ 210863 w 445813"/>
                  <a:gd name="connsiteY42" fmla="*/ 2454275 h 3682999"/>
                  <a:gd name="connsiteX43" fmla="*/ 226738 w 445813"/>
                  <a:gd name="connsiteY43" fmla="*/ 2482850 h 3682999"/>
                  <a:gd name="connsiteX44" fmla="*/ 226738 w 445813"/>
                  <a:gd name="connsiteY44" fmla="*/ 2527300 h 3682999"/>
                  <a:gd name="connsiteX45" fmla="*/ 236263 w 445813"/>
                  <a:gd name="connsiteY45" fmla="*/ 2603500 h 3682999"/>
                  <a:gd name="connsiteX46" fmla="*/ 204513 w 445813"/>
                  <a:gd name="connsiteY46" fmla="*/ 2825749 h 3682999"/>
                  <a:gd name="connsiteX47" fmla="*/ 153713 w 445813"/>
                  <a:gd name="connsiteY47" fmla="*/ 2917824 h 3682999"/>
                  <a:gd name="connsiteX48" fmla="*/ 80688 w 445813"/>
                  <a:gd name="connsiteY48" fmla="*/ 3063874 h 3682999"/>
                  <a:gd name="connsiteX49" fmla="*/ 42588 w 445813"/>
                  <a:gd name="connsiteY49" fmla="*/ 3133724 h 3682999"/>
                  <a:gd name="connsiteX50" fmla="*/ 17188 w 445813"/>
                  <a:gd name="connsiteY50" fmla="*/ 3203574 h 3682999"/>
                  <a:gd name="connsiteX51" fmla="*/ 10838 w 445813"/>
                  <a:gd name="connsiteY51" fmla="*/ 3390899 h 3682999"/>
                  <a:gd name="connsiteX52" fmla="*/ 39413 w 445813"/>
                  <a:gd name="connsiteY52" fmla="*/ 3482974 h 3682999"/>
                  <a:gd name="connsiteX53" fmla="*/ 52113 w 445813"/>
                  <a:gd name="connsiteY53" fmla="*/ 3616324 h 3682999"/>
                  <a:gd name="connsiteX54" fmla="*/ 90213 w 445813"/>
                  <a:gd name="connsiteY54" fmla="*/ 3682999 h 3682999"/>
                  <a:gd name="connsiteX0" fmla="*/ 445813 w 445813"/>
                  <a:gd name="connsiteY0" fmla="*/ 0 h 3616324"/>
                  <a:gd name="connsiteX1" fmla="*/ 407713 w 445813"/>
                  <a:gd name="connsiteY1" fmla="*/ 66675 h 3616324"/>
                  <a:gd name="connsiteX2" fmla="*/ 353738 w 445813"/>
                  <a:gd name="connsiteY2" fmla="*/ 85725 h 3616324"/>
                  <a:gd name="connsiteX3" fmla="*/ 283888 w 445813"/>
                  <a:gd name="connsiteY3" fmla="*/ 98425 h 3616324"/>
                  <a:gd name="connsiteX4" fmla="*/ 223563 w 445813"/>
                  <a:gd name="connsiteY4" fmla="*/ 133350 h 3616324"/>
                  <a:gd name="connsiteX5" fmla="*/ 121963 w 445813"/>
                  <a:gd name="connsiteY5" fmla="*/ 196850 h 3616324"/>
                  <a:gd name="connsiteX6" fmla="*/ 131488 w 445813"/>
                  <a:gd name="connsiteY6" fmla="*/ 247650 h 3616324"/>
                  <a:gd name="connsiteX7" fmla="*/ 172763 w 445813"/>
                  <a:gd name="connsiteY7" fmla="*/ 276225 h 3616324"/>
                  <a:gd name="connsiteX8" fmla="*/ 185463 w 445813"/>
                  <a:gd name="connsiteY8" fmla="*/ 327025 h 3616324"/>
                  <a:gd name="connsiteX9" fmla="*/ 239438 w 445813"/>
                  <a:gd name="connsiteY9" fmla="*/ 368300 h 3616324"/>
                  <a:gd name="connsiteX10" fmla="*/ 239438 w 445813"/>
                  <a:gd name="connsiteY10" fmla="*/ 412750 h 3616324"/>
                  <a:gd name="connsiteX11" fmla="*/ 207688 w 445813"/>
                  <a:gd name="connsiteY11" fmla="*/ 454025 h 3616324"/>
                  <a:gd name="connsiteX12" fmla="*/ 287063 w 445813"/>
                  <a:gd name="connsiteY12" fmla="*/ 479425 h 3616324"/>
                  <a:gd name="connsiteX13" fmla="*/ 302938 w 445813"/>
                  <a:gd name="connsiteY13" fmla="*/ 511175 h 3616324"/>
                  <a:gd name="connsiteX14" fmla="*/ 210863 w 445813"/>
                  <a:gd name="connsiteY14" fmla="*/ 581025 h 3616324"/>
                  <a:gd name="connsiteX15" fmla="*/ 160063 w 445813"/>
                  <a:gd name="connsiteY15" fmla="*/ 638175 h 3616324"/>
                  <a:gd name="connsiteX16" fmla="*/ 160063 w 445813"/>
                  <a:gd name="connsiteY16" fmla="*/ 695325 h 3616324"/>
                  <a:gd name="connsiteX17" fmla="*/ 185463 w 445813"/>
                  <a:gd name="connsiteY17" fmla="*/ 784225 h 3616324"/>
                  <a:gd name="connsiteX18" fmla="*/ 194988 w 445813"/>
                  <a:gd name="connsiteY18" fmla="*/ 835025 h 3616324"/>
                  <a:gd name="connsiteX19" fmla="*/ 204513 w 445813"/>
                  <a:gd name="connsiteY19" fmla="*/ 885825 h 3616324"/>
                  <a:gd name="connsiteX20" fmla="*/ 220388 w 445813"/>
                  <a:gd name="connsiteY20" fmla="*/ 923925 h 3616324"/>
                  <a:gd name="connsiteX21" fmla="*/ 163238 w 445813"/>
                  <a:gd name="connsiteY21" fmla="*/ 1022350 h 3616324"/>
                  <a:gd name="connsiteX22" fmla="*/ 96563 w 445813"/>
                  <a:gd name="connsiteY22" fmla="*/ 1057275 h 3616324"/>
                  <a:gd name="connsiteX23" fmla="*/ 52113 w 445813"/>
                  <a:gd name="connsiteY23" fmla="*/ 1143000 h 3616324"/>
                  <a:gd name="connsiteX24" fmla="*/ 20363 w 445813"/>
                  <a:gd name="connsiteY24" fmla="*/ 1244600 h 3616324"/>
                  <a:gd name="connsiteX25" fmla="*/ 1313 w 445813"/>
                  <a:gd name="connsiteY25" fmla="*/ 1346200 h 3616324"/>
                  <a:gd name="connsiteX26" fmla="*/ 10838 w 445813"/>
                  <a:gd name="connsiteY26" fmla="*/ 1438275 h 3616324"/>
                  <a:gd name="connsiteX27" fmla="*/ 83863 w 445813"/>
                  <a:gd name="connsiteY27" fmla="*/ 1511300 h 3616324"/>
                  <a:gd name="connsiteX28" fmla="*/ 112438 w 445813"/>
                  <a:gd name="connsiteY28" fmla="*/ 1558925 h 3616324"/>
                  <a:gd name="connsiteX29" fmla="*/ 150538 w 445813"/>
                  <a:gd name="connsiteY29" fmla="*/ 1590675 h 3616324"/>
                  <a:gd name="connsiteX30" fmla="*/ 169588 w 445813"/>
                  <a:gd name="connsiteY30" fmla="*/ 1644650 h 3616324"/>
                  <a:gd name="connsiteX31" fmla="*/ 226738 w 445813"/>
                  <a:gd name="connsiteY31" fmla="*/ 1685925 h 3616324"/>
                  <a:gd name="connsiteX32" fmla="*/ 264838 w 445813"/>
                  <a:gd name="connsiteY32" fmla="*/ 1730375 h 3616324"/>
                  <a:gd name="connsiteX33" fmla="*/ 277538 w 445813"/>
                  <a:gd name="connsiteY33" fmla="*/ 1758950 h 3616324"/>
                  <a:gd name="connsiteX34" fmla="*/ 277538 w 445813"/>
                  <a:gd name="connsiteY34" fmla="*/ 1828800 h 3616324"/>
                  <a:gd name="connsiteX35" fmla="*/ 325163 w 445813"/>
                  <a:gd name="connsiteY35" fmla="*/ 1905000 h 3616324"/>
                  <a:gd name="connsiteX36" fmla="*/ 363263 w 445813"/>
                  <a:gd name="connsiteY36" fmla="*/ 1962150 h 3616324"/>
                  <a:gd name="connsiteX37" fmla="*/ 369613 w 445813"/>
                  <a:gd name="connsiteY37" fmla="*/ 2028825 h 3616324"/>
                  <a:gd name="connsiteX38" fmla="*/ 407713 w 445813"/>
                  <a:gd name="connsiteY38" fmla="*/ 2085975 h 3616324"/>
                  <a:gd name="connsiteX39" fmla="*/ 414063 w 445813"/>
                  <a:gd name="connsiteY39" fmla="*/ 2255981 h 3616324"/>
                  <a:gd name="connsiteX40" fmla="*/ 242901 w 445813"/>
                  <a:gd name="connsiteY40" fmla="*/ 2278784 h 3616324"/>
                  <a:gd name="connsiteX41" fmla="*/ 201338 w 445813"/>
                  <a:gd name="connsiteY41" fmla="*/ 2390775 h 3616324"/>
                  <a:gd name="connsiteX42" fmla="*/ 210863 w 445813"/>
                  <a:gd name="connsiteY42" fmla="*/ 2454275 h 3616324"/>
                  <a:gd name="connsiteX43" fmla="*/ 226738 w 445813"/>
                  <a:gd name="connsiteY43" fmla="*/ 2482850 h 3616324"/>
                  <a:gd name="connsiteX44" fmla="*/ 226738 w 445813"/>
                  <a:gd name="connsiteY44" fmla="*/ 2527300 h 3616324"/>
                  <a:gd name="connsiteX45" fmla="*/ 236263 w 445813"/>
                  <a:gd name="connsiteY45" fmla="*/ 2603500 h 3616324"/>
                  <a:gd name="connsiteX46" fmla="*/ 204513 w 445813"/>
                  <a:gd name="connsiteY46" fmla="*/ 2825749 h 3616324"/>
                  <a:gd name="connsiteX47" fmla="*/ 153713 w 445813"/>
                  <a:gd name="connsiteY47" fmla="*/ 2917824 h 3616324"/>
                  <a:gd name="connsiteX48" fmla="*/ 80688 w 445813"/>
                  <a:gd name="connsiteY48" fmla="*/ 3063874 h 3616324"/>
                  <a:gd name="connsiteX49" fmla="*/ 42588 w 445813"/>
                  <a:gd name="connsiteY49" fmla="*/ 3133724 h 3616324"/>
                  <a:gd name="connsiteX50" fmla="*/ 17188 w 445813"/>
                  <a:gd name="connsiteY50" fmla="*/ 3203574 h 3616324"/>
                  <a:gd name="connsiteX51" fmla="*/ 10838 w 445813"/>
                  <a:gd name="connsiteY51" fmla="*/ 3390899 h 3616324"/>
                  <a:gd name="connsiteX52" fmla="*/ 39413 w 445813"/>
                  <a:gd name="connsiteY52" fmla="*/ 3482974 h 3616324"/>
                  <a:gd name="connsiteX53" fmla="*/ 52113 w 445813"/>
                  <a:gd name="connsiteY53" fmla="*/ 3616324 h 3616324"/>
                  <a:gd name="connsiteX0" fmla="*/ 445813 w 445813"/>
                  <a:gd name="connsiteY0" fmla="*/ 0 h 3482974"/>
                  <a:gd name="connsiteX1" fmla="*/ 407713 w 445813"/>
                  <a:gd name="connsiteY1" fmla="*/ 66675 h 3482974"/>
                  <a:gd name="connsiteX2" fmla="*/ 353738 w 445813"/>
                  <a:gd name="connsiteY2" fmla="*/ 85725 h 3482974"/>
                  <a:gd name="connsiteX3" fmla="*/ 283888 w 445813"/>
                  <a:gd name="connsiteY3" fmla="*/ 98425 h 3482974"/>
                  <a:gd name="connsiteX4" fmla="*/ 223563 w 445813"/>
                  <a:gd name="connsiteY4" fmla="*/ 133350 h 3482974"/>
                  <a:gd name="connsiteX5" fmla="*/ 121963 w 445813"/>
                  <a:gd name="connsiteY5" fmla="*/ 196850 h 3482974"/>
                  <a:gd name="connsiteX6" fmla="*/ 131488 w 445813"/>
                  <a:gd name="connsiteY6" fmla="*/ 247650 h 3482974"/>
                  <a:gd name="connsiteX7" fmla="*/ 172763 w 445813"/>
                  <a:gd name="connsiteY7" fmla="*/ 276225 h 3482974"/>
                  <a:gd name="connsiteX8" fmla="*/ 185463 w 445813"/>
                  <a:gd name="connsiteY8" fmla="*/ 327025 h 3482974"/>
                  <a:gd name="connsiteX9" fmla="*/ 239438 w 445813"/>
                  <a:gd name="connsiteY9" fmla="*/ 368300 h 3482974"/>
                  <a:gd name="connsiteX10" fmla="*/ 239438 w 445813"/>
                  <a:gd name="connsiteY10" fmla="*/ 412750 h 3482974"/>
                  <a:gd name="connsiteX11" fmla="*/ 207688 w 445813"/>
                  <a:gd name="connsiteY11" fmla="*/ 454025 h 3482974"/>
                  <a:gd name="connsiteX12" fmla="*/ 287063 w 445813"/>
                  <a:gd name="connsiteY12" fmla="*/ 479425 h 3482974"/>
                  <a:gd name="connsiteX13" fmla="*/ 302938 w 445813"/>
                  <a:gd name="connsiteY13" fmla="*/ 511175 h 3482974"/>
                  <a:gd name="connsiteX14" fmla="*/ 210863 w 445813"/>
                  <a:gd name="connsiteY14" fmla="*/ 581025 h 3482974"/>
                  <a:gd name="connsiteX15" fmla="*/ 160063 w 445813"/>
                  <a:gd name="connsiteY15" fmla="*/ 638175 h 3482974"/>
                  <a:gd name="connsiteX16" fmla="*/ 160063 w 445813"/>
                  <a:gd name="connsiteY16" fmla="*/ 695325 h 3482974"/>
                  <a:gd name="connsiteX17" fmla="*/ 185463 w 445813"/>
                  <a:gd name="connsiteY17" fmla="*/ 784225 h 3482974"/>
                  <a:gd name="connsiteX18" fmla="*/ 194988 w 445813"/>
                  <a:gd name="connsiteY18" fmla="*/ 835025 h 3482974"/>
                  <a:gd name="connsiteX19" fmla="*/ 204513 w 445813"/>
                  <a:gd name="connsiteY19" fmla="*/ 885825 h 3482974"/>
                  <a:gd name="connsiteX20" fmla="*/ 220388 w 445813"/>
                  <a:gd name="connsiteY20" fmla="*/ 923925 h 3482974"/>
                  <a:gd name="connsiteX21" fmla="*/ 163238 w 445813"/>
                  <a:gd name="connsiteY21" fmla="*/ 1022350 h 3482974"/>
                  <a:gd name="connsiteX22" fmla="*/ 96563 w 445813"/>
                  <a:gd name="connsiteY22" fmla="*/ 1057275 h 3482974"/>
                  <a:gd name="connsiteX23" fmla="*/ 52113 w 445813"/>
                  <a:gd name="connsiteY23" fmla="*/ 1143000 h 3482974"/>
                  <a:gd name="connsiteX24" fmla="*/ 20363 w 445813"/>
                  <a:gd name="connsiteY24" fmla="*/ 1244600 h 3482974"/>
                  <a:gd name="connsiteX25" fmla="*/ 1313 w 445813"/>
                  <a:gd name="connsiteY25" fmla="*/ 1346200 h 3482974"/>
                  <a:gd name="connsiteX26" fmla="*/ 10838 w 445813"/>
                  <a:gd name="connsiteY26" fmla="*/ 1438275 h 3482974"/>
                  <a:gd name="connsiteX27" fmla="*/ 83863 w 445813"/>
                  <a:gd name="connsiteY27" fmla="*/ 1511300 h 3482974"/>
                  <a:gd name="connsiteX28" fmla="*/ 112438 w 445813"/>
                  <a:gd name="connsiteY28" fmla="*/ 1558925 h 3482974"/>
                  <a:gd name="connsiteX29" fmla="*/ 150538 w 445813"/>
                  <a:gd name="connsiteY29" fmla="*/ 1590675 h 3482974"/>
                  <a:gd name="connsiteX30" fmla="*/ 169588 w 445813"/>
                  <a:gd name="connsiteY30" fmla="*/ 1644650 h 3482974"/>
                  <a:gd name="connsiteX31" fmla="*/ 226738 w 445813"/>
                  <a:gd name="connsiteY31" fmla="*/ 1685925 h 3482974"/>
                  <a:gd name="connsiteX32" fmla="*/ 264838 w 445813"/>
                  <a:gd name="connsiteY32" fmla="*/ 1730375 h 3482974"/>
                  <a:gd name="connsiteX33" fmla="*/ 277538 w 445813"/>
                  <a:gd name="connsiteY33" fmla="*/ 1758950 h 3482974"/>
                  <a:gd name="connsiteX34" fmla="*/ 277538 w 445813"/>
                  <a:gd name="connsiteY34" fmla="*/ 1828800 h 3482974"/>
                  <a:gd name="connsiteX35" fmla="*/ 325163 w 445813"/>
                  <a:gd name="connsiteY35" fmla="*/ 1905000 h 3482974"/>
                  <a:gd name="connsiteX36" fmla="*/ 363263 w 445813"/>
                  <a:gd name="connsiteY36" fmla="*/ 1962150 h 3482974"/>
                  <a:gd name="connsiteX37" fmla="*/ 369613 w 445813"/>
                  <a:gd name="connsiteY37" fmla="*/ 2028825 h 3482974"/>
                  <a:gd name="connsiteX38" fmla="*/ 407713 w 445813"/>
                  <a:gd name="connsiteY38" fmla="*/ 2085975 h 3482974"/>
                  <a:gd name="connsiteX39" fmla="*/ 414063 w 445813"/>
                  <a:gd name="connsiteY39" fmla="*/ 2255981 h 3482974"/>
                  <a:gd name="connsiteX40" fmla="*/ 242901 w 445813"/>
                  <a:gd name="connsiteY40" fmla="*/ 2278784 h 3482974"/>
                  <a:gd name="connsiteX41" fmla="*/ 201338 w 445813"/>
                  <a:gd name="connsiteY41" fmla="*/ 2390775 h 3482974"/>
                  <a:gd name="connsiteX42" fmla="*/ 210863 w 445813"/>
                  <a:gd name="connsiteY42" fmla="*/ 2454275 h 3482974"/>
                  <a:gd name="connsiteX43" fmla="*/ 226738 w 445813"/>
                  <a:gd name="connsiteY43" fmla="*/ 2482850 h 3482974"/>
                  <a:gd name="connsiteX44" fmla="*/ 226738 w 445813"/>
                  <a:gd name="connsiteY44" fmla="*/ 2527300 h 3482974"/>
                  <a:gd name="connsiteX45" fmla="*/ 236263 w 445813"/>
                  <a:gd name="connsiteY45" fmla="*/ 2603500 h 3482974"/>
                  <a:gd name="connsiteX46" fmla="*/ 204513 w 445813"/>
                  <a:gd name="connsiteY46" fmla="*/ 2825749 h 3482974"/>
                  <a:gd name="connsiteX47" fmla="*/ 153713 w 445813"/>
                  <a:gd name="connsiteY47" fmla="*/ 2917824 h 3482974"/>
                  <a:gd name="connsiteX48" fmla="*/ 80688 w 445813"/>
                  <a:gd name="connsiteY48" fmla="*/ 3063874 h 3482974"/>
                  <a:gd name="connsiteX49" fmla="*/ 42588 w 445813"/>
                  <a:gd name="connsiteY49" fmla="*/ 3133724 h 3482974"/>
                  <a:gd name="connsiteX50" fmla="*/ 17188 w 445813"/>
                  <a:gd name="connsiteY50" fmla="*/ 3203574 h 3482974"/>
                  <a:gd name="connsiteX51" fmla="*/ 10838 w 445813"/>
                  <a:gd name="connsiteY51" fmla="*/ 3390899 h 3482974"/>
                  <a:gd name="connsiteX52" fmla="*/ 39413 w 445813"/>
                  <a:gd name="connsiteY52" fmla="*/ 3482974 h 3482974"/>
                  <a:gd name="connsiteX0" fmla="*/ 445813 w 445813"/>
                  <a:gd name="connsiteY0" fmla="*/ 0 h 3390899"/>
                  <a:gd name="connsiteX1" fmla="*/ 407713 w 445813"/>
                  <a:gd name="connsiteY1" fmla="*/ 66675 h 3390899"/>
                  <a:gd name="connsiteX2" fmla="*/ 353738 w 445813"/>
                  <a:gd name="connsiteY2" fmla="*/ 85725 h 3390899"/>
                  <a:gd name="connsiteX3" fmla="*/ 283888 w 445813"/>
                  <a:gd name="connsiteY3" fmla="*/ 98425 h 3390899"/>
                  <a:gd name="connsiteX4" fmla="*/ 223563 w 445813"/>
                  <a:gd name="connsiteY4" fmla="*/ 133350 h 3390899"/>
                  <a:gd name="connsiteX5" fmla="*/ 121963 w 445813"/>
                  <a:gd name="connsiteY5" fmla="*/ 196850 h 3390899"/>
                  <a:gd name="connsiteX6" fmla="*/ 131488 w 445813"/>
                  <a:gd name="connsiteY6" fmla="*/ 247650 h 3390899"/>
                  <a:gd name="connsiteX7" fmla="*/ 172763 w 445813"/>
                  <a:gd name="connsiteY7" fmla="*/ 276225 h 3390899"/>
                  <a:gd name="connsiteX8" fmla="*/ 185463 w 445813"/>
                  <a:gd name="connsiteY8" fmla="*/ 327025 h 3390899"/>
                  <a:gd name="connsiteX9" fmla="*/ 239438 w 445813"/>
                  <a:gd name="connsiteY9" fmla="*/ 368300 h 3390899"/>
                  <a:gd name="connsiteX10" fmla="*/ 239438 w 445813"/>
                  <a:gd name="connsiteY10" fmla="*/ 412750 h 3390899"/>
                  <a:gd name="connsiteX11" fmla="*/ 207688 w 445813"/>
                  <a:gd name="connsiteY11" fmla="*/ 454025 h 3390899"/>
                  <a:gd name="connsiteX12" fmla="*/ 287063 w 445813"/>
                  <a:gd name="connsiteY12" fmla="*/ 479425 h 3390899"/>
                  <a:gd name="connsiteX13" fmla="*/ 302938 w 445813"/>
                  <a:gd name="connsiteY13" fmla="*/ 511175 h 3390899"/>
                  <a:gd name="connsiteX14" fmla="*/ 210863 w 445813"/>
                  <a:gd name="connsiteY14" fmla="*/ 581025 h 3390899"/>
                  <a:gd name="connsiteX15" fmla="*/ 160063 w 445813"/>
                  <a:gd name="connsiteY15" fmla="*/ 638175 h 3390899"/>
                  <a:gd name="connsiteX16" fmla="*/ 160063 w 445813"/>
                  <a:gd name="connsiteY16" fmla="*/ 695325 h 3390899"/>
                  <a:gd name="connsiteX17" fmla="*/ 185463 w 445813"/>
                  <a:gd name="connsiteY17" fmla="*/ 784225 h 3390899"/>
                  <a:gd name="connsiteX18" fmla="*/ 194988 w 445813"/>
                  <a:gd name="connsiteY18" fmla="*/ 835025 h 3390899"/>
                  <a:gd name="connsiteX19" fmla="*/ 204513 w 445813"/>
                  <a:gd name="connsiteY19" fmla="*/ 885825 h 3390899"/>
                  <a:gd name="connsiteX20" fmla="*/ 220388 w 445813"/>
                  <a:gd name="connsiteY20" fmla="*/ 923925 h 3390899"/>
                  <a:gd name="connsiteX21" fmla="*/ 163238 w 445813"/>
                  <a:gd name="connsiteY21" fmla="*/ 1022350 h 3390899"/>
                  <a:gd name="connsiteX22" fmla="*/ 96563 w 445813"/>
                  <a:gd name="connsiteY22" fmla="*/ 1057275 h 3390899"/>
                  <a:gd name="connsiteX23" fmla="*/ 52113 w 445813"/>
                  <a:gd name="connsiteY23" fmla="*/ 1143000 h 3390899"/>
                  <a:gd name="connsiteX24" fmla="*/ 20363 w 445813"/>
                  <a:gd name="connsiteY24" fmla="*/ 1244600 h 3390899"/>
                  <a:gd name="connsiteX25" fmla="*/ 1313 w 445813"/>
                  <a:gd name="connsiteY25" fmla="*/ 1346200 h 3390899"/>
                  <a:gd name="connsiteX26" fmla="*/ 10838 w 445813"/>
                  <a:gd name="connsiteY26" fmla="*/ 1438275 h 3390899"/>
                  <a:gd name="connsiteX27" fmla="*/ 83863 w 445813"/>
                  <a:gd name="connsiteY27" fmla="*/ 1511300 h 3390899"/>
                  <a:gd name="connsiteX28" fmla="*/ 112438 w 445813"/>
                  <a:gd name="connsiteY28" fmla="*/ 1558925 h 3390899"/>
                  <a:gd name="connsiteX29" fmla="*/ 150538 w 445813"/>
                  <a:gd name="connsiteY29" fmla="*/ 1590675 h 3390899"/>
                  <a:gd name="connsiteX30" fmla="*/ 169588 w 445813"/>
                  <a:gd name="connsiteY30" fmla="*/ 1644650 h 3390899"/>
                  <a:gd name="connsiteX31" fmla="*/ 226738 w 445813"/>
                  <a:gd name="connsiteY31" fmla="*/ 1685925 h 3390899"/>
                  <a:gd name="connsiteX32" fmla="*/ 264838 w 445813"/>
                  <a:gd name="connsiteY32" fmla="*/ 1730375 h 3390899"/>
                  <a:gd name="connsiteX33" fmla="*/ 277538 w 445813"/>
                  <a:gd name="connsiteY33" fmla="*/ 1758950 h 3390899"/>
                  <a:gd name="connsiteX34" fmla="*/ 277538 w 445813"/>
                  <a:gd name="connsiteY34" fmla="*/ 1828800 h 3390899"/>
                  <a:gd name="connsiteX35" fmla="*/ 325163 w 445813"/>
                  <a:gd name="connsiteY35" fmla="*/ 1905000 h 3390899"/>
                  <a:gd name="connsiteX36" fmla="*/ 363263 w 445813"/>
                  <a:gd name="connsiteY36" fmla="*/ 1962150 h 3390899"/>
                  <a:gd name="connsiteX37" fmla="*/ 369613 w 445813"/>
                  <a:gd name="connsiteY37" fmla="*/ 2028825 h 3390899"/>
                  <a:gd name="connsiteX38" fmla="*/ 407713 w 445813"/>
                  <a:gd name="connsiteY38" fmla="*/ 2085975 h 3390899"/>
                  <a:gd name="connsiteX39" fmla="*/ 414063 w 445813"/>
                  <a:gd name="connsiteY39" fmla="*/ 2255981 h 3390899"/>
                  <a:gd name="connsiteX40" fmla="*/ 242901 w 445813"/>
                  <a:gd name="connsiteY40" fmla="*/ 2278784 h 3390899"/>
                  <a:gd name="connsiteX41" fmla="*/ 201338 w 445813"/>
                  <a:gd name="connsiteY41" fmla="*/ 2390775 h 3390899"/>
                  <a:gd name="connsiteX42" fmla="*/ 210863 w 445813"/>
                  <a:gd name="connsiteY42" fmla="*/ 2454275 h 3390899"/>
                  <a:gd name="connsiteX43" fmla="*/ 226738 w 445813"/>
                  <a:gd name="connsiteY43" fmla="*/ 2482850 h 3390899"/>
                  <a:gd name="connsiteX44" fmla="*/ 226738 w 445813"/>
                  <a:gd name="connsiteY44" fmla="*/ 2527300 h 3390899"/>
                  <a:gd name="connsiteX45" fmla="*/ 236263 w 445813"/>
                  <a:gd name="connsiteY45" fmla="*/ 2603500 h 3390899"/>
                  <a:gd name="connsiteX46" fmla="*/ 204513 w 445813"/>
                  <a:gd name="connsiteY46" fmla="*/ 2825749 h 3390899"/>
                  <a:gd name="connsiteX47" fmla="*/ 153713 w 445813"/>
                  <a:gd name="connsiteY47" fmla="*/ 2917824 h 3390899"/>
                  <a:gd name="connsiteX48" fmla="*/ 80688 w 445813"/>
                  <a:gd name="connsiteY48" fmla="*/ 3063874 h 3390899"/>
                  <a:gd name="connsiteX49" fmla="*/ 42588 w 445813"/>
                  <a:gd name="connsiteY49" fmla="*/ 3133724 h 3390899"/>
                  <a:gd name="connsiteX50" fmla="*/ 17188 w 445813"/>
                  <a:gd name="connsiteY50" fmla="*/ 3203574 h 3390899"/>
                  <a:gd name="connsiteX51" fmla="*/ 10838 w 445813"/>
                  <a:gd name="connsiteY51" fmla="*/ 3390899 h 3390899"/>
                  <a:gd name="connsiteX0" fmla="*/ 445813 w 445813"/>
                  <a:gd name="connsiteY0" fmla="*/ 0 h 3203574"/>
                  <a:gd name="connsiteX1" fmla="*/ 407713 w 445813"/>
                  <a:gd name="connsiteY1" fmla="*/ 66675 h 3203574"/>
                  <a:gd name="connsiteX2" fmla="*/ 353738 w 445813"/>
                  <a:gd name="connsiteY2" fmla="*/ 85725 h 3203574"/>
                  <a:gd name="connsiteX3" fmla="*/ 283888 w 445813"/>
                  <a:gd name="connsiteY3" fmla="*/ 98425 h 3203574"/>
                  <a:gd name="connsiteX4" fmla="*/ 223563 w 445813"/>
                  <a:gd name="connsiteY4" fmla="*/ 133350 h 3203574"/>
                  <a:gd name="connsiteX5" fmla="*/ 121963 w 445813"/>
                  <a:gd name="connsiteY5" fmla="*/ 196850 h 3203574"/>
                  <a:gd name="connsiteX6" fmla="*/ 131488 w 445813"/>
                  <a:gd name="connsiteY6" fmla="*/ 247650 h 3203574"/>
                  <a:gd name="connsiteX7" fmla="*/ 172763 w 445813"/>
                  <a:gd name="connsiteY7" fmla="*/ 276225 h 3203574"/>
                  <a:gd name="connsiteX8" fmla="*/ 185463 w 445813"/>
                  <a:gd name="connsiteY8" fmla="*/ 327025 h 3203574"/>
                  <a:gd name="connsiteX9" fmla="*/ 239438 w 445813"/>
                  <a:gd name="connsiteY9" fmla="*/ 368300 h 3203574"/>
                  <a:gd name="connsiteX10" fmla="*/ 239438 w 445813"/>
                  <a:gd name="connsiteY10" fmla="*/ 412750 h 3203574"/>
                  <a:gd name="connsiteX11" fmla="*/ 207688 w 445813"/>
                  <a:gd name="connsiteY11" fmla="*/ 454025 h 3203574"/>
                  <a:gd name="connsiteX12" fmla="*/ 287063 w 445813"/>
                  <a:gd name="connsiteY12" fmla="*/ 479425 h 3203574"/>
                  <a:gd name="connsiteX13" fmla="*/ 302938 w 445813"/>
                  <a:gd name="connsiteY13" fmla="*/ 511175 h 3203574"/>
                  <a:gd name="connsiteX14" fmla="*/ 210863 w 445813"/>
                  <a:gd name="connsiteY14" fmla="*/ 581025 h 3203574"/>
                  <a:gd name="connsiteX15" fmla="*/ 160063 w 445813"/>
                  <a:gd name="connsiteY15" fmla="*/ 638175 h 3203574"/>
                  <a:gd name="connsiteX16" fmla="*/ 160063 w 445813"/>
                  <a:gd name="connsiteY16" fmla="*/ 695325 h 3203574"/>
                  <a:gd name="connsiteX17" fmla="*/ 185463 w 445813"/>
                  <a:gd name="connsiteY17" fmla="*/ 784225 h 3203574"/>
                  <a:gd name="connsiteX18" fmla="*/ 194988 w 445813"/>
                  <a:gd name="connsiteY18" fmla="*/ 835025 h 3203574"/>
                  <a:gd name="connsiteX19" fmla="*/ 204513 w 445813"/>
                  <a:gd name="connsiteY19" fmla="*/ 885825 h 3203574"/>
                  <a:gd name="connsiteX20" fmla="*/ 220388 w 445813"/>
                  <a:gd name="connsiteY20" fmla="*/ 923925 h 3203574"/>
                  <a:gd name="connsiteX21" fmla="*/ 163238 w 445813"/>
                  <a:gd name="connsiteY21" fmla="*/ 1022350 h 3203574"/>
                  <a:gd name="connsiteX22" fmla="*/ 96563 w 445813"/>
                  <a:gd name="connsiteY22" fmla="*/ 1057275 h 3203574"/>
                  <a:gd name="connsiteX23" fmla="*/ 52113 w 445813"/>
                  <a:gd name="connsiteY23" fmla="*/ 1143000 h 3203574"/>
                  <a:gd name="connsiteX24" fmla="*/ 20363 w 445813"/>
                  <a:gd name="connsiteY24" fmla="*/ 1244600 h 3203574"/>
                  <a:gd name="connsiteX25" fmla="*/ 1313 w 445813"/>
                  <a:gd name="connsiteY25" fmla="*/ 1346200 h 3203574"/>
                  <a:gd name="connsiteX26" fmla="*/ 10838 w 445813"/>
                  <a:gd name="connsiteY26" fmla="*/ 1438275 h 3203574"/>
                  <a:gd name="connsiteX27" fmla="*/ 83863 w 445813"/>
                  <a:gd name="connsiteY27" fmla="*/ 1511300 h 3203574"/>
                  <a:gd name="connsiteX28" fmla="*/ 112438 w 445813"/>
                  <a:gd name="connsiteY28" fmla="*/ 1558925 h 3203574"/>
                  <a:gd name="connsiteX29" fmla="*/ 150538 w 445813"/>
                  <a:gd name="connsiteY29" fmla="*/ 1590675 h 3203574"/>
                  <a:gd name="connsiteX30" fmla="*/ 169588 w 445813"/>
                  <a:gd name="connsiteY30" fmla="*/ 1644650 h 3203574"/>
                  <a:gd name="connsiteX31" fmla="*/ 226738 w 445813"/>
                  <a:gd name="connsiteY31" fmla="*/ 1685925 h 3203574"/>
                  <a:gd name="connsiteX32" fmla="*/ 264838 w 445813"/>
                  <a:gd name="connsiteY32" fmla="*/ 1730375 h 3203574"/>
                  <a:gd name="connsiteX33" fmla="*/ 277538 w 445813"/>
                  <a:gd name="connsiteY33" fmla="*/ 1758950 h 3203574"/>
                  <a:gd name="connsiteX34" fmla="*/ 277538 w 445813"/>
                  <a:gd name="connsiteY34" fmla="*/ 1828800 h 3203574"/>
                  <a:gd name="connsiteX35" fmla="*/ 325163 w 445813"/>
                  <a:gd name="connsiteY35" fmla="*/ 1905000 h 3203574"/>
                  <a:gd name="connsiteX36" fmla="*/ 363263 w 445813"/>
                  <a:gd name="connsiteY36" fmla="*/ 1962150 h 3203574"/>
                  <a:gd name="connsiteX37" fmla="*/ 369613 w 445813"/>
                  <a:gd name="connsiteY37" fmla="*/ 2028825 h 3203574"/>
                  <a:gd name="connsiteX38" fmla="*/ 407713 w 445813"/>
                  <a:gd name="connsiteY38" fmla="*/ 2085975 h 3203574"/>
                  <a:gd name="connsiteX39" fmla="*/ 414063 w 445813"/>
                  <a:gd name="connsiteY39" fmla="*/ 2255981 h 3203574"/>
                  <a:gd name="connsiteX40" fmla="*/ 242901 w 445813"/>
                  <a:gd name="connsiteY40" fmla="*/ 2278784 h 3203574"/>
                  <a:gd name="connsiteX41" fmla="*/ 201338 w 445813"/>
                  <a:gd name="connsiteY41" fmla="*/ 2390775 h 3203574"/>
                  <a:gd name="connsiteX42" fmla="*/ 210863 w 445813"/>
                  <a:gd name="connsiteY42" fmla="*/ 2454275 h 3203574"/>
                  <a:gd name="connsiteX43" fmla="*/ 226738 w 445813"/>
                  <a:gd name="connsiteY43" fmla="*/ 2482850 h 3203574"/>
                  <a:gd name="connsiteX44" fmla="*/ 226738 w 445813"/>
                  <a:gd name="connsiteY44" fmla="*/ 2527300 h 3203574"/>
                  <a:gd name="connsiteX45" fmla="*/ 236263 w 445813"/>
                  <a:gd name="connsiteY45" fmla="*/ 2603500 h 3203574"/>
                  <a:gd name="connsiteX46" fmla="*/ 204513 w 445813"/>
                  <a:gd name="connsiteY46" fmla="*/ 2825749 h 3203574"/>
                  <a:gd name="connsiteX47" fmla="*/ 153713 w 445813"/>
                  <a:gd name="connsiteY47" fmla="*/ 2917824 h 3203574"/>
                  <a:gd name="connsiteX48" fmla="*/ 80688 w 445813"/>
                  <a:gd name="connsiteY48" fmla="*/ 3063874 h 3203574"/>
                  <a:gd name="connsiteX49" fmla="*/ 42588 w 445813"/>
                  <a:gd name="connsiteY49" fmla="*/ 3133724 h 3203574"/>
                  <a:gd name="connsiteX50" fmla="*/ 17188 w 445813"/>
                  <a:gd name="connsiteY50" fmla="*/ 3203574 h 3203574"/>
                  <a:gd name="connsiteX0" fmla="*/ 445813 w 445813"/>
                  <a:gd name="connsiteY0" fmla="*/ 0 h 3133724"/>
                  <a:gd name="connsiteX1" fmla="*/ 407713 w 445813"/>
                  <a:gd name="connsiteY1" fmla="*/ 66675 h 3133724"/>
                  <a:gd name="connsiteX2" fmla="*/ 353738 w 445813"/>
                  <a:gd name="connsiteY2" fmla="*/ 85725 h 3133724"/>
                  <a:gd name="connsiteX3" fmla="*/ 283888 w 445813"/>
                  <a:gd name="connsiteY3" fmla="*/ 98425 h 3133724"/>
                  <a:gd name="connsiteX4" fmla="*/ 223563 w 445813"/>
                  <a:gd name="connsiteY4" fmla="*/ 133350 h 3133724"/>
                  <a:gd name="connsiteX5" fmla="*/ 121963 w 445813"/>
                  <a:gd name="connsiteY5" fmla="*/ 196850 h 3133724"/>
                  <a:gd name="connsiteX6" fmla="*/ 131488 w 445813"/>
                  <a:gd name="connsiteY6" fmla="*/ 247650 h 3133724"/>
                  <a:gd name="connsiteX7" fmla="*/ 172763 w 445813"/>
                  <a:gd name="connsiteY7" fmla="*/ 276225 h 3133724"/>
                  <a:gd name="connsiteX8" fmla="*/ 185463 w 445813"/>
                  <a:gd name="connsiteY8" fmla="*/ 327025 h 3133724"/>
                  <a:gd name="connsiteX9" fmla="*/ 239438 w 445813"/>
                  <a:gd name="connsiteY9" fmla="*/ 368300 h 3133724"/>
                  <a:gd name="connsiteX10" fmla="*/ 239438 w 445813"/>
                  <a:gd name="connsiteY10" fmla="*/ 412750 h 3133724"/>
                  <a:gd name="connsiteX11" fmla="*/ 207688 w 445813"/>
                  <a:gd name="connsiteY11" fmla="*/ 454025 h 3133724"/>
                  <a:gd name="connsiteX12" fmla="*/ 287063 w 445813"/>
                  <a:gd name="connsiteY12" fmla="*/ 479425 h 3133724"/>
                  <a:gd name="connsiteX13" fmla="*/ 302938 w 445813"/>
                  <a:gd name="connsiteY13" fmla="*/ 511175 h 3133724"/>
                  <a:gd name="connsiteX14" fmla="*/ 210863 w 445813"/>
                  <a:gd name="connsiteY14" fmla="*/ 581025 h 3133724"/>
                  <a:gd name="connsiteX15" fmla="*/ 160063 w 445813"/>
                  <a:gd name="connsiteY15" fmla="*/ 638175 h 3133724"/>
                  <a:gd name="connsiteX16" fmla="*/ 160063 w 445813"/>
                  <a:gd name="connsiteY16" fmla="*/ 695325 h 3133724"/>
                  <a:gd name="connsiteX17" fmla="*/ 185463 w 445813"/>
                  <a:gd name="connsiteY17" fmla="*/ 784225 h 3133724"/>
                  <a:gd name="connsiteX18" fmla="*/ 194988 w 445813"/>
                  <a:gd name="connsiteY18" fmla="*/ 835025 h 3133724"/>
                  <a:gd name="connsiteX19" fmla="*/ 204513 w 445813"/>
                  <a:gd name="connsiteY19" fmla="*/ 885825 h 3133724"/>
                  <a:gd name="connsiteX20" fmla="*/ 220388 w 445813"/>
                  <a:gd name="connsiteY20" fmla="*/ 923925 h 3133724"/>
                  <a:gd name="connsiteX21" fmla="*/ 163238 w 445813"/>
                  <a:gd name="connsiteY21" fmla="*/ 1022350 h 3133724"/>
                  <a:gd name="connsiteX22" fmla="*/ 96563 w 445813"/>
                  <a:gd name="connsiteY22" fmla="*/ 1057275 h 3133724"/>
                  <a:gd name="connsiteX23" fmla="*/ 52113 w 445813"/>
                  <a:gd name="connsiteY23" fmla="*/ 1143000 h 3133724"/>
                  <a:gd name="connsiteX24" fmla="*/ 20363 w 445813"/>
                  <a:gd name="connsiteY24" fmla="*/ 1244600 h 3133724"/>
                  <a:gd name="connsiteX25" fmla="*/ 1313 w 445813"/>
                  <a:gd name="connsiteY25" fmla="*/ 1346200 h 3133724"/>
                  <a:gd name="connsiteX26" fmla="*/ 10838 w 445813"/>
                  <a:gd name="connsiteY26" fmla="*/ 1438275 h 3133724"/>
                  <a:gd name="connsiteX27" fmla="*/ 83863 w 445813"/>
                  <a:gd name="connsiteY27" fmla="*/ 1511300 h 3133724"/>
                  <a:gd name="connsiteX28" fmla="*/ 112438 w 445813"/>
                  <a:gd name="connsiteY28" fmla="*/ 1558925 h 3133724"/>
                  <a:gd name="connsiteX29" fmla="*/ 150538 w 445813"/>
                  <a:gd name="connsiteY29" fmla="*/ 1590675 h 3133724"/>
                  <a:gd name="connsiteX30" fmla="*/ 169588 w 445813"/>
                  <a:gd name="connsiteY30" fmla="*/ 1644650 h 3133724"/>
                  <a:gd name="connsiteX31" fmla="*/ 226738 w 445813"/>
                  <a:gd name="connsiteY31" fmla="*/ 1685925 h 3133724"/>
                  <a:gd name="connsiteX32" fmla="*/ 264838 w 445813"/>
                  <a:gd name="connsiteY32" fmla="*/ 1730375 h 3133724"/>
                  <a:gd name="connsiteX33" fmla="*/ 277538 w 445813"/>
                  <a:gd name="connsiteY33" fmla="*/ 1758950 h 3133724"/>
                  <a:gd name="connsiteX34" fmla="*/ 277538 w 445813"/>
                  <a:gd name="connsiteY34" fmla="*/ 1828800 h 3133724"/>
                  <a:gd name="connsiteX35" fmla="*/ 325163 w 445813"/>
                  <a:gd name="connsiteY35" fmla="*/ 1905000 h 3133724"/>
                  <a:gd name="connsiteX36" fmla="*/ 363263 w 445813"/>
                  <a:gd name="connsiteY36" fmla="*/ 1962150 h 3133724"/>
                  <a:gd name="connsiteX37" fmla="*/ 369613 w 445813"/>
                  <a:gd name="connsiteY37" fmla="*/ 2028825 h 3133724"/>
                  <a:gd name="connsiteX38" fmla="*/ 407713 w 445813"/>
                  <a:gd name="connsiteY38" fmla="*/ 2085975 h 3133724"/>
                  <a:gd name="connsiteX39" fmla="*/ 414063 w 445813"/>
                  <a:gd name="connsiteY39" fmla="*/ 2255981 h 3133724"/>
                  <a:gd name="connsiteX40" fmla="*/ 242901 w 445813"/>
                  <a:gd name="connsiteY40" fmla="*/ 2278784 h 3133724"/>
                  <a:gd name="connsiteX41" fmla="*/ 201338 w 445813"/>
                  <a:gd name="connsiteY41" fmla="*/ 2390775 h 3133724"/>
                  <a:gd name="connsiteX42" fmla="*/ 210863 w 445813"/>
                  <a:gd name="connsiteY42" fmla="*/ 2454275 h 3133724"/>
                  <a:gd name="connsiteX43" fmla="*/ 226738 w 445813"/>
                  <a:gd name="connsiteY43" fmla="*/ 2482850 h 3133724"/>
                  <a:gd name="connsiteX44" fmla="*/ 226738 w 445813"/>
                  <a:gd name="connsiteY44" fmla="*/ 2527300 h 3133724"/>
                  <a:gd name="connsiteX45" fmla="*/ 236263 w 445813"/>
                  <a:gd name="connsiteY45" fmla="*/ 2603500 h 3133724"/>
                  <a:gd name="connsiteX46" fmla="*/ 204513 w 445813"/>
                  <a:gd name="connsiteY46" fmla="*/ 2825749 h 3133724"/>
                  <a:gd name="connsiteX47" fmla="*/ 153713 w 445813"/>
                  <a:gd name="connsiteY47" fmla="*/ 2917824 h 3133724"/>
                  <a:gd name="connsiteX48" fmla="*/ 80688 w 445813"/>
                  <a:gd name="connsiteY48" fmla="*/ 3063874 h 3133724"/>
                  <a:gd name="connsiteX49" fmla="*/ 42588 w 445813"/>
                  <a:gd name="connsiteY49" fmla="*/ 3133724 h 3133724"/>
                  <a:gd name="connsiteX0" fmla="*/ 445813 w 445813"/>
                  <a:gd name="connsiteY0" fmla="*/ 0 h 3133724"/>
                  <a:gd name="connsiteX1" fmla="*/ 407713 w 445813"/>
                  <a:gd name="connsiteY1" fmla="*/ 66675 h 3133724"/>
                  <a:gd name="connsiteX2" fmla="*/ 353738 w 445813"/>
                  <a:gd name="connsiteY2" fmla="*/ 85725 h 3133724"/>
                  <a:gd name="connsiteX3" fmla="*/ 283888 w 445813"/>
                  <a:gd name="connsiteY3" fmla="*/ 98425 h 3133724"/>
                  <a:gd name="connsiteX4" fmla="*/ 223563 w 445813"/>
                  <a:gd name="connsiteY4" fmla="*/ 133350 h 3133724"/>
                  <a:gd name="connsiteX5" fmla="*/ 121963 w 445813"/>
                  <a:gd name="connsiteY5" fmla="*/ 196850 h 3133724"/>
                  <a:gd name="connsiteX6" fmla="*/ 131488 w 445813"/>
                  <a:gd name="connsiteY6" fmla="*/ 247650 h 3133724"/>
                  <a:gd name="connsiteX7" fmla="*/ 172763 w 445813"/>
                  <a:gd name="connsiteY7" fmla="*/ 276225 h 3133724"/>
                  <a:gd name="connsiteX8" fmla="*/ 185463 w 445813"/>
                  <a:gd name="connsiteY8" fmla="*/ 327025 h 3133724"/>
                  <a:gd name="connsiteX9" fmla="*/ 239438 w 445813"/>
                  <a:gd name="connsiteY9" fmla="*/ 368300 h 3133724"/>
                  <a:gd name="connsiteX10" fmla="*/ 239438 w 445813"/>
                  <a:gd name="connsiteY10" fmla="*/ 412750 h 3133724"/>
                  <a:gd name="connsiteX11" fmla="*/ 207688 w 445813"/>
                  <a:gd name="connsiteY11" fmla="*/ 454025 h 3133724"/>
                  <a:gd name="connsiteX12" fmla="*/ 287063 w 445813"/>
                  <a:gd name="connsiteY12" fmla="*/ 479425 h 3133724"/>
                  <a:gd name="connsiteX13" fmla="*/ 302938 w 445813"/>
                  <a:gd name="connsiteY13" fmla="*/ 511175 h 3133724"/>
                  <a:gd name="connsiteX14" fmla="*/ 210863 w 445813"/>
                  <a:gd name="connsiteY14" fmla="*/ 581025 h 3133724"/>
                  <a:gd name="connsiteX15" fmla="*/ 160063 w 445813"/>
                  <a:gd name="connsiteY15" fmla="*/ 638175 h 3133724"/>
                  <a:gd name="connsiteX16" fmla="*/ 160063 w 445813"/>
                  <a:gd name="connsiteY16" fmla="*/ 695325 h 3133724"/>
                  <a:gd name="connsiteX17" fmla="*/ 185463 w 445813"/>
                  <a:gd name="connsiteY17" fmla="*/ 784225 h 3133724"/>
                  <a:gd name="connsiteX18" fmla="*/ 194988 w 445813"/>
                  <a:gd name="connsiteY18" fmla="*/ 835025 h 3133724"/>
                  <a:gd name="connsiteX19" fmla="*/ 204513 w 445813"/>
                  <a:gd name="connsiteY19" fmla="*/ 885825 h 3133724"/>
                  <a:gd name="connsiteX20" fmla="*/ 220388 w 445813"/>
                  <a:gd name="connsiteY20" fmla="*/ 923925 h 3133724"/>
                  <a:gd name="connsiteX21" fmla="*/ 163238 w 445813"/>
                  <a:gd name="connsiteY21" fmla="*/ 1022350 h 3133724"/>
                  <a:gd name="connsiteX22" fmla="*/ 96563 w 445813"/>
                  <a:gd name="connsiteY22" fmla="*/ 1057275 h 3133724"/>
                  <a:gd name="connsiteX23" fmla="*/ 52113 w 445813"/>
                  <a:gd name="connsiteY23" fmla="*/ 1143000 h 3133724"/>
                  <a:gd name="connsiteX24" fmla="*/ 20363 w 445813"/>
                  <a:gd name="connsiteY24" fmla="*/ 1244600 h 3133724"/>
                  <a:gd name="connsiteX25" fmla="*/ 1313 w 445813"/>
                  <a:gd name="connsiteY25" fmla="*/ 1346200 h 3133724"/>
                  <a:gd name="connsiteX26" fmla="*/ 10838 w 445813"/>
                  <a:gd name="connsiteY26" fmla="*/ 1438275 h 3133724"/>
                  <a:gd name="connsiteX27" fmla="*/ 83863 w 445813"/>
                  <a:gd name="connsiteY27" fmla="*/ 1511300 h 3133724"/>
                  <a:gd name="connsiteX28" fmla="*/ 112438 w 445813"/>
                  <a:gd name="connsiteY28" fmla="*/ 1558925 h 3133724"/>
                  <a:gd name="connsiteX29" fmla="*/ 150538 w 445813"/>
                  <a:gd name="connsiteY29" fmla="*/ 1590675 h 3133724"/>
                  <a:gd name="connsiteX30" fmla="*/ 169588 w 445813"/>
                  <a:gd name="connsiteY30" fmla="*/ 1644650 h 3133724"/>
                  <a:gd name="connsiteX31" fmla="*/ 226738 w 445813"/>
                  <a:gd name="connsiteY31" fmla="*/ 1685925 h 3133724"/>
                  <a:gd name="connsiteX32" fmla="*/ 264838 w 445813"/>
                  <a:gd name="connsiteY32" fmla="*/ 1730375 h 3133724"/>
                  <a:gd name="connsiteX33" fmla="*/ 277538 w 445813"/>
                  <a:gd name="connsiteY33" fmla="*/ 1758950 h 3133724"/>
                  <a:gd name="connsiteX34" fmla="*/ 277538 w 445813"/>
                  <a:gd name="connsiteY34" fmla="*/ 1828800 h 3133724"/>
                  <a:gd name="connsiteX35" fmla="*/ 325163 w 445813"/>
                  <a:gd name="connsiteY35" fmla="*/ 1905000 h 3133724"/>
                  <a:gd name="connsiteX36" fmla="*/ 363263 w 445813"/>
                  <a:gd name="connsiteY36" fmla="*/ 1962150 h 3133724"/>
                  <a:gd name="connsiteX37" fmla="*/ 369613 w 445813"/>
                  <a:gd name="connsiteY37" fmla="*/ 2028825 h 3133724"/>
                  <a:gd name="connsiteX38" fmla="*/ 407713 w 445813"/>
                  <a:gd name="connsiteY38" fmla="*/ 2085975 h 3133724"/>
                  <a:gd name="connsiteX39" fmla="*/ 414063 w 445813"/>
                  <a:gd name="connsiteY39" fmla="*/ 2255981 h 3133724"/>
                  <a:gd name="connsiteX40" fmla="*/ 242901 w 445813"/>
                  <a:gd name="connsiteY40" fmla="*/ 2278784 h 3133724"/>
                  <a:gd name="connsiteX41" fmla="*/ 201338 w 445813"/>
                  <a:gd name="connsiteY41" fmla="*/ 2390775 h 3133724"/>
                  <a:gd name="connsiteX42" fmla="*/ 210863 w 445813"/>
                  <a:gd name="connsiteY42" fmla="*/ 2454275 h 3133724"/>
                  <a:gd name="connsiteX43" fmla="*/ 226738 w 445813"/>
                  <a:gd name="connsiteY43" fmla="*/ 2482850 h 3133724"/>
                  <a:gd name="connsiteX44" fmla="*/ 226738 w 445813"/>
                  <a:gd name="connsiteY44" fmla="*/ 2527300 h 3133724"/>
                  <a:gd name="connsiteX45" fmla="*/ 236263 w 445813"/>
                  <a:gd name="connsiteY45" fmla="*/ 2603500 h 3133724"/>
                  <a:gd name="connsiteX46" fmla="*/ 204513 w 445813"/>
                  <a:gd name="connsiteY46" fmla="*/ 2825749 h 3133724"/>
                  <a:gd name="connsiteX47" fmla="*/ 153713 w 445813"/>
                  <a:gd name="connsiteY47" fmla="*/ 2917824 h 3133724"/>
                  <a:gd name="connsiteX48" fmla="*/ 80688 w 445813"/>
                  <a:gd name="connsiteY48" fmla="*/ 3063874 h 3133724"/>
                  <a:gd name="connsiteX49" fmla="*/ 48143 w 445813"/>
                  <a:gd name="connsiteY49" fmla="*/ 3092169 h 3133724"/>
                  <a:gd name="connsiteX50" fmla="*/ 42588 w 445813"/>
                  <a:gd name="connsiteY50" fmla="*/ 3133724 h 3133724"/>
                  <a:gd name="connsiteX0" fmla="*/ 445813 w 445813"/>
                  <a:gd name="connsiteY0" fmla="*/ 0 h 3133724"/>
                  <a:gd name="connsiteX1" fmla="*/ 407713 w 445813"/>
                  <a:gd name="connsiteY1" fmla="*/ 66675 h 3133724"/>
                  <a:gd name="connsiteX2" fmla="*/ 353738 w 445813"/>
                  <a:gd name="connsiteY2" fmla="*/ 85725 h 3133724"/>
                  <a:gd name="connsiteX3" fmla="*/ 283888 w 445813"/>
                  <a:gd name="connsiteY3" fmla="*/ 98425 h 3133724"/>
                  <a:gd name="connsiteX4" fmla="*/ 223563 w 445813"/>
                  <a:gd name="connsiteY4" fmla="*/ 133350 h 3133724"/>
                  <a:gd name="connsiteX5" fmla="*/ 121963 w 445813"/>
                  <a:gd name="connsiteY5" fmla="*/ 196850 h 3133724"/>
                  <a:gd name="connsiteX6" fmla="*/ 131488 w 445813"/>
                  <a:gd name="connsiteY6" fmla="*/ 247650 h 3133724"/>
                  <a:gd name="connsiteX7" fmla="*/ 172763 w 445813"/>
                  <a:gd name="connsiteY7" fmla="*/ 276225 h 3133724"/>
                  <a:gd name="connsiteX8" fmla="*/ 185463 w 445813"/>
                  <a:gd name="connsiteY8" fmla="*/ 327025 h 3133724"/>
                  <a:gd name="connsiteX9" fmla="*/ 239438 w 445813"/>
                  <a:gd name="connsiteY9" fmla="*/ 368300 h 3133724"/>
                  <a:gd name="connsiteX10" fmla="*/ 239438 w 445813"/>
                  <a:gd name="connsiteY10" fmla="*/ 412750 h 3133724"/>
                  <a:gd name="connsiteX11" fmla="*/ 207688 w 445813"/>
                  <a:gd name="connsiteY11" fmla="*/ 454025 h 3133724"/>
                  <a:gd name="connsiteX12" fmla="*/ 287063 w 445813"/>
                  <a:gd name="connsiteY12" fmla="*/ 479425 h 3133724"/>
                  <a:gd name="connsiteX13" fmla="*/ 302938 w 445813"/>
                  <a:gd name="connsiteY13" fmla="*/ 511175 h 3133724"/>
                  <a:gd name="connsiteX14" fmla="*/ 210863 w 445813"/>
                  <a:gd name="connsiteY14" fmla="*/ 581025 h 3133724"/>
                  <a:gd name="connsiteX15" fmla="*/ 160063 w 445813"/>
                  <a:gd name="connsiteY15" fmla="*/ 638175 h 3133724"/>
                  <a:gd name="connsiteX16" fmla="*/ 160063 w 445813"/>
                  <a:gd name="connsiteY16" fmla="*/ 695325 h 3133724"/>
                  <a:gd name="connsiteX17" fmla="*/ 185463 w 445813"/>
                  <a:gd name="connsiteY17" fmla="*/ 784225 h 3133724"/>
                  <a:gd name="connsiteX18" fmla="*/ 194988 w 445813"/>
                  <a:gd name="connsiteY18" fmla="*/ 835025 h 3133724"/>
                  <a:gd name="connsiteX19" fmla="*/ 204513 w 445813"/>
                  <a:gd name="connsiteY19" fmla="*/ 885825 h 3133724"/>
                  <a:gd name="connsiteX20" fmla="*/ 220388 w 445813"/>
                  <a:gd name="connsiteY20" fmla="*/ 923925 h 3133724"/>
                  <a:gd name="connsiteX21" fmla="*/ 163238 w 445813"/>
                  <a:gd name="connsiteY21" fmla="*/ 1022350 h 3133724"/>
                  <a:gd name="connsiteX22" fmla="*/ 96563 w 445813"/>
                  <a:gd name="connsiteY22" fmla="*/ 1057275 h 3133724"/>
                  <a:gd name="connsiteX23" fmla="*/ 52113 w 445813"/>
                  <a:gd name="connsiteY23" fmla="*/ 1143000 h 3133724"/>
                  <a:gd name="connsiteX24" fmla="*/ 20363 w 445813"/>
                  <a:gd name="connsiteY24" fmla="*/ 1244600 h 3133724"/>
                  <a:gd name="connsiteX25" fmla="*/ 1313 w 445813"/>
                  <a:gd name="connsiteY25" fmla="*/ 1346200 h 3133724"/>
                  <a:gd name="connsiteX26" fmla="*/ 10838 w 445813"/>
                  <a:gd name="connsiteY26" fmla="*/ 1438275 h 3133724"/>
                  <a:gd name="connsiteX27" fmla="*/ 83863 w 445813"/>
                  <a:gd name="connsiteY27" fmla="*/ 1511300 h 3133724"/>
                  <a:gd name="connsiteX28" fmla="*/ 112438 w 445813"/>
                  <a:gd name="connsiteY28" fmla="*/ 1558925 h 3133724"/>
                  <a:gd name="connsiteX29" fmla="*/ 150538 w 445813"/>
                  <a:gd name="connsiteY29" fmla="*/ 1590675 h 3133724"/>
                  <a:gd name="connsiteX30" fmla="*/ 169588 w 445813"/>
                  <a:gd name="connsiteY30" fmla="*/ 1644650 h 3133724"/>
                  <a:gd name="connsiteX31" fmla="*/ 226738 w 445813"/>
                  <a:gd name="connsiteY31" fmla="*/ 1685925 h 3133724"/>
                  <a:gd name="connsiteX32" fmla="*/ 264838 w 445813"/>
                  <a:gd name="connsiteY32" fmla="*/ 1730375 h 3133724"/>
                  <a:gd name="connsiteX33" fmla="*/ 277538 w 445813"/>
                  <a:gd name="connsiteY33" fmla="*/ 1758950 h 3133724"/>
                  <a:gd name="connsiteX34" fmla="*/ 277538 w 445813"/>
                  <a:gd name="connsiteY34" fmla="*/ 1828800 h 3133724"/>
                  <a:gd name="connsiteX35" fmla="*/ 325163 w 445813"/>
                  <a:gd name="connsiteY35" fmla="*/ 1905000 h 3133724"/>
                  <a:gd name="connsiteX36" fmla="*/ 363263 w 445813"/>
                  <a:gd name="connsiteY36" fmla="*/ 1962150 h 3133724"/>
                  <a:gd name="connsiteX37" fmla="*/ 369613 w 445813"/>
                  <a:gd name="connsiteY37" fmla="*/ 2028825 h 3133724"/>
                  <a:gd name="connsiteX38" fmla="*/ 407713 w 445813"/>
                  <a:gd name="connsiteY38" fmla="*/ 2085975 h 3133724"/>
                  <a:gd name="connsiteX39" fmla="*/ 414063 w 445813"/>
                  <a:gd name="connsiteY39" fmla="*/ 2255981 h 3133724"/>
                  <a:gd name="connsiteX40" fmla="*/ 242901 w 445813"/>
                  <a:gd name="connsiteY40" fmla="*/ 2278784 h 3133724"/>
                  <a:gd name="connsiteX41" fmla="*/ 201338 w 445813"/>
                  <a:gd name="connsiteY41" fmla="*/ 2390775 h 3133724"/>
                  <a:gd name="connsiteX42" fmla="*/ 210863 w 445813"/>
                  <a:gd name="connsiteY42" fmla="*/ 2454275 h 3133724"/>
                  <a:gd name="connsiteX43" fmla="*/ 226738 w 445813"/>
                  <a:gd name="connsiteY43" fmla="*/ 2482850 h 3133724"/>
                  <a:gd name="connsiteX44" fmla="*/ 226738 w 445813"/>
                  <a:gd name="connsiteY44" fmla="*/ 2527300 h 3133724"/>
                  <a:gd name="connsiteX45" fmla="*/ 236263 w 445813"/>
                  <a:gd name="connsiteY45" fmla="*/ 2603500 h 3133724"/>
                  <a:gd name="connsiteX46" fmla="*/ 204513 w 445813"/>
                  <a:gd name="connsiteY46" fmla="*/ 2825749 h 3133724"/>
                  <a:gd name="connsiteX47" fmla="*/ 153713 w 445813"/>
                  <a:gd name="connsiteY47" fmla="*/ 2917824 h 3133724"/>
                  <a:gd name="connsiteX48" fmla="*/ 48143 w 445813"/>
                  <a:gd name="connsiteY48" fmla="*/ 3092169 h 3133724"/>
                  <a:gd name="connsiteX49" fmla="*/ 42588 w 445813"/>
                  <a:gd name="connsiteY49" fmla="*/ 3133724 h 3133724"/>
                  <a:gd name="connsiteX0" fmla="*/ 445813 w 445813"/>
                  <a:gd name="connsiteY0" fmla="*/ 0 h 3092169"/>
                  <a:gd name="connsiteX1" fmla="*/ 407713 w 445813"/>
                  <a:gd name="connsiteY1" fmla="*/ 66675 h 3092169"/>
                  <a:gd name="connsiteX2" fmla="*/ 353738 w 445813"/>
                  <a:gd name="connsiteY2" fmla="*/ 85725 h 3092169"/>
                  <a:gd name="connsiteX3" fmla="*/ 283888 w 445813"/>
                  <a:gd name="connsiteY3" fmla="*/ 98425 h 3092169"/>
                  <a:gd name="connsiteX4" fmla="*/ 223563 w 445813"/>
                  <a:gd name="connsiteY4" fmla="*/ 133350 h 3092169"/>
                  <a:gd name="connsiteX5" fmla="*/ 121963 w 445813"/>
                  <a:gd name="connsiteY5" fmla="*/ 196850 h 3092169"/>
                  <a:gd name="connsiteX6" fmla="*/ 131488 w 445813"/>
                  <a:gd name="connsiteY6" fmla="*/ 247650 h 3092169"/>
                  <a:gd name="connsiteX7" fmla="*/ 172763 w 445813"/>
                  <a:gd name="connsiteY7" fmla="*/ 276225 h 3092169"/>
                  <a:gd name="connsiteX8" fmla="*/ 185463 w 445813"/>
                  <a:gd name="connsiteY8" fmla="*/ 327025 h 3092169"/>
                  <a:gd name="connsiteX9" fmla="*/ 239438 w 445813"/>
                  <a:gd name="connsiteY9" fmla="*/ 368300 h 3092169"/>
                  <a:gd name="connsiteX10" fmla="*/ 239438 w 445813"/>
                  <a:gd name="connsiteY10" fmla="*/ 412750 h 3092169"/>
                  <a:gd name="connsiteX11" fmla="*/ 207688 w 445813"/>
                  <a:gd name="connsiteY11" fmla="*/ 454025 h 3092169"/>
                  <a:gd name="connsiteX12" fmla="*/ 287063 w 445813"/>
                  <a:gd name="connsiteY12" fmla="*/ 479425 h 3092169"/>
                  <a:gd name="connsiteX13" fmla="*/ 302938 w 445813"/>
                  <a:gd name="connsiteY13" fmla="*/ 511175 h 3092169"/>
                  <a:gd name="connsiteX14" fmla="*/ 210863 w 445813"/>
                  <a:gd name="connsiteY14" fmla="*/ 581025 h 3092169"/>
                  <a:gd name="connsiteX15" fmla="*/ 160063 w 445813"/>
                  <a:gd name="connsiteY15" fmla="*/ 638175 h 3092169"/>
                  <a:gd name="connsiteX16" fmla="*/ 160063 w 445813"/>
                  <a:gd name="connsiteY16" fmla="*/ 695325 h 3092169"/>
                  <a:gd name="connsiteX17" fmla="*/ 185463 w 445813"/>
                  <a:gd name="connsiteY17" fmla="*/ 784225 h 3092169"/>
                  <a:gd name="connsiteX18" fmla="*/ 194988 w 445813"/>
                  <a:gd name="connsiteY18" fmla="*/ 835025 h 3092169"/>
                  <a:gd name="connsiteX19" fmla="*/ 204513 w 445813"/>
                  <a:gd name="connsiteY19" fmla="*/ 885825 h 3092169"/>
                  <a:gd name="connsiteX20" fmla="*/ 220388 w 445813"/>
                  <a:gd name="connsiteY20" fmla="*/ 923925 h 3092169"/>
                  <a:gd name="connsiteX21" fmla="*/ 163238 w 445813"/>
                  <a:gd name="connsiteY21" fmla="*/ 1022350 h 3092169"/>
                  <a:gd name="connsiteX22" fmla="*/ 96563 w 445813"/>
                  <a:gd name="connsiteY22" fmla="*/ 1057275 h 3092169"/>
                  <a:gd name="connsiteX23" fmla="*/ 52113 w 445813"/>
                  <a:gd name="connsiteY23" fmla="*/ 1143000 h 3092169"/>
                  <a:gd name="connsiteX24" fmla="*/ 20363 w 445813"/>
                  <a:gd name="connsiteY24" fmla="*/ 1244600 h 3092169"/>
                  <a:gd name="connsiteX25" fmla="*/ 1313 w 445813"/>
                  <a:gd name="connsiteY25" fmla="*/ 1346200 h 3092169"/>
                  <a:gd name="connsiteX26" fmla="*/ 10838 w 445813"/>
                  <a:gd name="connsiteY26" fmla="*/ 1438275 h 3092169"/>
                  <a:gd name="connsiteX27" fmla="*/ 83863 w 445813"/>
                  <a:gd name="connsiteY27" fmla="*/ 1511300 h 3092169"/>
                  <a:gd name="connsiteX28" fmla="*/ 112438 w 445813"/>
                  <a:gd name="connsiteY28" fmla="*/ 1558925 h 3092169"/>
                  <a:gd name="connsiteX29" fmla="*/ 150538 w 445813"/>
                  <a:gd name="connsiteY29" fmla="*/ 1590675 h 3092169"/>
                  <a:gd name="connsiteX30" fmla="*/ 169588 w 445813"/>
                  <a:gd name="connsiteY30" fmla="*/ 1644650 h 3092169"/>
                  <a:gd name="connsiteX31" fmla="*/ 226738 w 445813"/>
                  <a:gd name="connsiteY31" fmla="*/ 1685925 h 3092169"/>
                  <a:gd name="connsiteX32" fmla="*/ 264838 w 445813"/>
                  <a:gd name="connsiteY32" fmla="*/ 1730375 h 3092169"/>
                  <a:gd name="connsiteX33" fmla="*/ 277538 w 445813"/>
                  <a:gd name="connsiteY33" fmla="*/ 1758950 h 3092169"/>
                  <a:gd name="connsiteX34" fmla="*/ 277538 w 445813"/>
                  <a:gd name="connsiteY34" fmla="*/ 1828800 h 3092169"/>
                  <a:gd name="connsiteX35" fmla="*/ 325163 w 445813"/>
                  <a:gd name="connsiteY35" fmla="*/ 1905000 h 3092169"/>
                  <a:gd name="connsiteX36" fmla="*/ 363263 w 445813"/>
                  <a:gd name="connsiteY36" fmla="*/ 1962150 h 3092169"/>
                  <a:gd name="connsiteX37" fmla="*/ 369613 w 445813"/>
                  <a:gd name="connsiteY37" fmla="*/ 2028825 h 3092169"/>
                  <a:gd name="connsiteX38" fmla="*/ 407713 w 445813"/>
                  <a:gd name="connsiteY38" fmla="*/ 2085975 h 3092169"/>
                  <a:gd name="connsiteX39" fmla="*/ 414063 w 445813"/>
                  <a:gd name="connsiteY39" fmla="*/ 2255981 h 3092169"/>
                  <a:gd name="connsiteX40" fmla="*/ 242901 w 445813"/>
                  <a:gd name="connsiteY40" fmla="*/ 2278784 h 3092169"/>
                  <a:gd name="connsiteX41" fmla="*/ 201338 w 445813"/>
                  <a:gd name="connsiteY41" fmla="*/ 2390775 h 3092169"/>
                  <a:gd name="connsiteX42" fmla="*/ 210863 w 445813"/>
                  <a:gd name="connsiteY42" fmla="*/ 2454275 h 3092169"/>
                  <a:gd name="connsiteX43" fmla="*/ 226738 w 445813"/>
                  <a:gd name="connsiteY43" fmla="*/ 2482850 h 3092169"/>
                  <a:gd name="connsiteX44" fmla="*/ 226738 w 445813"/>
                  <a:gd name="connsiteY44" fmla="*/ 2527300 h 3092169"/>
                  <a:gd name="connsiteX45" fmla="*/ 236263 w 445813"/>
                  <a:gd name="connsiteY45" fmla="*/ 2603500 h 3092169"/>
                  <a:gd name="connsiteX46" fmla="*/ 204513 w 445813"/>
                  <a:gd name="connsiteY46" fmla="*/ 2825749 h 3092169"/>
                  <a:gd name="connsiteX47" fmla="*/ 153713 w 445813"/>
                  <a:gd name="connsiteY47" fmla="*/ 2917824 h 3092169"/>
                  <a:gd name="connsiteX48" fmla="*/ 48143 w 445813"/>
                  <a:gd name="connsiteY48" fmla="*/ 3092169 h 3092169"/>
                  <a:gd name="connsiteX0" fmla="*/ 445813 w 445813"/>
                  <a:gd name="connsiteY0" fmla="*/ 0 h 2917824"/>
                  <a:gd name="connsiteX1" fmla="*/ 407713 w 445813"/>
                  <a:gd name="connsiteY1" fmla="*/ 66675 h 2917824"/>
                  <a:gd name="connsiteX2" fmla="*/ 353738 w 445813"/>
                  <a:gd name="connsiteY2" fmla="*/ 85725 h 2917824"/>
                  <a:gd name="connsiteX3" fmla="*/ 283888 w 445813"/>
                  <a:gd name="connsiteY3" fmla="*/ 98425 h 2917824"/>
                  <a:gd name="connsiteX4" fmla="*/ 223563 w 445813"/>
                  <a:gd name="connsiteY4" fmla="*/ 133350 h 2917824"/>
                  <a:gd name="connsiteX5" fmla="*/ 121963 w 445813"/>
                  <a:gd name="connsiteY5" fmla="*/ 196850 h 2917824"/>
                  <a:gd name="connsiteX6" fmla="*/ 131488 w 445813"/>
                  <a:gd name="connsiteY6" fmla="*/ 247650 h 2917824"/>
                  <a:gd name="connsiteX7" fmla="*/ 172763 w 445813"/>
                  <a:gd name="connsiteY7" fmla="*/ 276225 h 2917824"/>
                  <a:gd name="connsiteX8" fmla="*/ 185463 w 445813"/>
                  <a:gd name="connsiteY8" fmla="*/ 327025 h 2917824"/>
                  <a:gd name="connsiteX9" fmla="*/ 239438 w 445813"/>
                  <a:gd name="connsiteY9" fmla="*/ 368300 h 2917824"/>
                  <a:gd name="connsiteX10" fmla="*/ 239438 w 445813"/>
                  <a:gd name="connsiteY10" fmla="*/ 412750 h 2917824"/>
                  <a:gd name="connsiteX11" fmla="*/ 207688 w 445813"/>
                  <a:gd name="connsiteY11" fmla="*/ 454025 h 2917824"/>
                  <a:gd name="connsiteX12" fmla="*/ 287063 w 445813"/>
                  <a:gd name="connsiteY12" fmla="*/ 479425 h 2917824"/>
                  <a:gd name="connsiteX13" fmla="*/ 302938 w 445813"/>
                  <a:gd name="connsiteY13" fmla="*/ 511175 h 2917824"/>
                  <a:gd name="connsiteX14" fmla="*/ 210863 w 445813"/>
                  <a:gd name="connsiteY14" fmla="*/ 581025 h 2917824"/>
                  <a:gd name="connsiteX15" fmla="*/ 160063 w 445813"/>
                  <a:gd name="connsiteY15" fmla="*/ 638175 h 2917824"/>
                  <a:gd name="connsiteX16" fmla="*/ 160063 w 445813"/>
                  <a:gd name="connsiteY16" fmla="*/ 695325 h 2917824"/>
                  <a:gd name="connsiteX17" fmla="*/ 185463 w 445813"/>
                  <a:gd name="connsiteY17" fmla="*/ 784225 h 2917824"/>
                  <a:gd name="connsiteX18" fmla="*/ 194988 w 445813"/>
                  <a:gd name="connsiteY18" fmla="*/ 835025 h 2917824"/>
                  <a:gd name="connsiteX19" fmla="*/ 204513 w 445813"/>
                  <a:gd name="connsiteY19" fmla="*/ 885825 h 2917824"/>
                  <a:gd name="connsiteX20" fmla="*/ 220388 w 445813"/>
                  <a:gd name="connsiteY20" fmla="*/ 923925 h 2917824"/>
                  <a:gd name="connsiteX21" fmla="*/ 163238 w 445813"/>
                  <a:gd name="connsiteY21" fmla="*/ 1022350 h 2917824"/>
                  <a:gd name="connsiteX22" fmla="*/ 96563 w 445813"/>
                  <a:gd name="connsiteY22" fmla="*/ 1057275 h 2917824"/>
                  <a:gd name="connsiteX23" fmla="*/ 52113 w 445813"/>
                  <a:gd name="connsiteY23" fmla="*/ 1143000 h 2917824"/>
                  <a:gd name="connsiteX24" fmla="*/ 20363 w 445813"/>
                  <a:gd name="connsiteY24" fmla="*/ 1244600 h 2917824"/>
                  <a:gd name="connsiteX25" fmla="*/ 1313 w 445813"/>
                  <a:gd name="connsiteY25" fmla="*/ 1346200 h 2917824"/>
                  <a:gd name="connsiteX26" fmla="*/ 10838 w 445813"/>
                  <a:gd name="connsiteY26" fmla="*/ 1438275 h 2917824"/>
                  <a:gd name="connsiteX27" fmla="*/ 83863 w 445813"/>
                  <a:gd name="connsiteY27" fmla="*/ 1511300 h 2917824"/>
                  <a:gd name="connsiteX28" fmla="*/ 112438 w 445813"/>
                  <a:gd name="connsiteY28" fmla="*/ 1558925 h 2917824"/>
                  <a:gd name="connsiteX29" fmla="*/ 150538 w 445813"/>
                  <a:gd name="connsiteY29" fmla="*/ 1590675 h 2917824"/>
                  <a:gd name="connsiteX30" fmla="*/ 169588 w 445813"/>
                  <a:gd name="connsiteY30" fmla="*/ 1644650 h 2917824"/>
                  <a:gd name="connsiteX31" fmla="*/ 226738 w 445813"/>
                  <a:gd name="connsiteY31" fmla="*/ 1685925 h 2917824"/>
                  <a:gd name="connsiteX32" fmla="*/ 264838 w 445813"/>
                  <a:gd name="connsiteY32" fmla="*/ 1730375 h 2917824"/>
                  <a:gd name="connsiteX33" fmla="*/ 277538 w 445813"/>
                  <a:gd name="connsiteY33" fmla="*/ 1758950 h 2917824"/>
                  <a:gd name="connsiteX34" fmla="*/ 277538 w 445813"/>
                  <a:gd name="connsiteY34" fmla="*/ 1828800 h 2917824"/>
                  <a:gd name="connsiteX35" fmla="*/ 325163 w 445813"/>
                  <a:gd name="connsiteY35" fmla="*/ 1905000 h 2917824"/>
                  <a:gd name="connsiteX36" fmla="*/ 363263 w 445813"/>
                  <a:gd name="connsiteY36" fmla="*/ 1962150 h 2917824"/>
                  <a:gd name="connsiteX37" fmla="*/ 369613 w 445813"/>
                  <a:gd name="connsiteY37" fmla="*/ 2028825 h 2917824"/>
                  <a:gd name="connsiteX38" fmla="*/ 407713 w 445813"/>
                  <a:gd name="connsiteY38" fmla="*/ 2085975 h 2917824"/>
                  <a:gd name="connsiteX39" fmla="*/ 414063 w 445813"/>
                  <a:gd name="connsiteY39" fmla="*/ 2255981 h 2917824"/>
                  <a:gd name="connsiteX40" fmla="*/ 242901 w 445813"/>
                  <a:gd name="connsiteY40" fmla="*/ 2278784 h 2917824"/>
                  <a:gd name="connsiteX41" fmla="*/ 201338 w 445813"/>
                  <a:gd name="connsiteY41" fmla="*/ 2390775 h 2917824"/>
                  <a:gd name="connsiteX42" fmla="*/ 210863 w 445813"/>
                  <a:gd name="connsiteY42" fmla="*/ 2454275 h 2917824"/>
                  <a:gd name="connsiteX43" fmla="*/ 226738 w 445813"/>
                  <a:gd name="connsiteY43" fmla="*/ 2482850 h 2917824"/>
                  <a:gd name="connsiteX44" fmla="*/ 226738 w 445813"/>
                  <a:gd name="connsiteY44" fmla="*/ 2527300 h 2917824"/>
                  <a:gd name="connsiteX45" fmla="*/ 236263 w 445813"/>
                  <a:gd name="connsiteY45" fmla="*/ 2603500 h 2917824"/>
                  <a:gd name="connsiteX46" fmla="*/ 204513 w 445813"/>
                  <a:gd name="connsiteY46" fmla="*/ 2825749 h 2917824"/>
                  <a:gd name="connsiteX47" fmla="*/ 153713 w 445813"/>
                  <a:gd name="connsiteY47" fmla="*/ 2917824 h 2917824"/>
                  <a:gd name="connsiteX0" fmla="*/ 445813 w 445813"/>
                  <a:gd name="connsiteY0" fmla="*/ 0 h 2917824"/>
                  <a:gd name="connsiteX1" fmla="*/ 407713 w 445813"/>
                  <a:gd name="connsiteY1" fmla="*/ 66675 h 2917824"/>
                  <a:gd name="connsiteX2" fmla="*/ 353738 w 445813"/>
                  <a:gd name="connsiteY2" fmla="*/ 85725 h 2917824"/>
                  <a:gd name="connsiteX3" fmla="*/ 283888 w 445813"/>
                  <a:gd name="connsiteY3" fmla="*/ 98425 h 2917824"/>
                  <a:gd name="connsiteX4" fmla="*/ 223563 w 445813"/>
                  <a:gd name="connsiteY4" fmla="*/ 133350 h 2917824"/>
                  <a:gd name="connsiteX5" fmla="*/ 121963 w 445813"/>
                  <a:gd name="connsiteY5" fmla="*/ 196850 h 2917824"/>
                  <a:gd name="connsiteX6" fmla="*/ 131488 w 445813"/>
                  <a:gd name="connsiteY6" fmla="*/ 247650 h 2917824"/>
                  <a:gd name="connsiteX7" fmla="*/ 172763 w 445813"/>
                  <a:gd name="connsiteY7" fmla="*/ 276225 h 2917824"/>
                  <a:gd name="connsiteX8" fmla="*/ 185463 w 445813"/>
                  <a:gd name="connsiteY8" fmla="*/ 327025 h 2917824"/>
                  <a:gd name="connsiteX9" fmla="*/ 239438 w 445813"/>
                  <a:gd name="connsiteY9" fmla="*/ 368300 h 2917824"/>
                  <a:gd name="connsiteX10" fmla="*/ 239438 w 445813"/>
                  <a:gd name="connsiteY10" fmla="*/ 412750 h 2917824"/>
                  <a:gd name="connsiteX11" fmla="*/ 207688 w 445813"/>
                  <a:gd name="connsiteY11" fmla="*/ 454025 h 2917824"/>
                  <a:gd name="connsiteX12" fmla="*/ 287063 w 445813"/>
                  <a:gd name="connsiteY12" fmla="*/ 479425 h 2917824"/>
                  <a:gd name="connsiteX13" fmla="*/ 302938 w 445813"/>
                  <a:gd name="connsiteY13" fmla="*/ 511175 h 2917824"/>
                  <a:gd name="connsiteX14" fmla="*/ 210863 w 445813"/>
                  <a:gd name="connsiteY14" fmla="*/ 581025 h 2917824"/>
                  <a:gd name="connsiteX15" fmla="*/ 160063 w 445813"/>
                  <a:gd name="connsiteY15" fmla="*/ 638175 h 2917824"/>
                  <a:gd name="connsiteX16" fmla="*/ 160063 w 445813"/>
                  <a:gd name="connsiteY16" fmla="*/ 695325 h 2917824"/>
                  <a:gd name="connsiteX17" fmla="*/ 185463 w 445813"/>
                  <a:gd name="connsiteY17" fmla="*/ 784225 h 2917824"/>
                  <a:gd name="connsiteX18" fmla="*/ 194988 w 445813"/>
                  <a:gd name="connsiteY18" fmla="*/ 835025 h 2917824"/>
                  <a:gd name="connsiteX19" fmla="*/ 204513 w 445813"/>
                  <a:gd name="connsiteY19" fmla="*/ 885825 h 2917824"/>
                  <a:gd name="connsiteX20" fmla="*/ 220388 w 445813"/>
                  <a:gd name="connsiteY20" fmla="*/ 923925 h 2917824"/>
                  <a:gd name="connsiteX21" fmla="*/ 163238 w 445813"/>
                  <a:gd name="connsiteY21" fmla="*/ 1022350 h 2917824"/>
                  <a:gd name="connsiteX22" fmla="*/ 96563 w 445813"/>
                  <a:gd name="connsiteY22" fmla="*/ 1057275 h 2917824"/>
                  <a:gd name="connsiteX23" fmla="*/ 52113 w 445813"/>
                  <a:gd name="connsiteY23" fmla="*/ 1143000 h 2917824"/>
                  <a:gd name="connsiteX24" fmla="*/ 20363 w 445813"/>
                  <a:gd name="connsiteY24" fmla="*/ 1244600 h 2917824"/>
                  <a:gd name="connsiteX25" fmla="*/ 1313 w 445813"/>
                  <a:gd name="connsiteY25" fmla="*/ 1346200 h 2917824"/>
                  <a:gd name="connsiteX26" fmla="*/ 10838 w 445813"/>
                  <a:gd name="connsiteY26" fmla="*/ 1438275 h 2917824"/>
                  <a:gd name="connsiteX27" fmla="*/ 83863 w 445813"/>
                  <a:gd name="connsiteY27" fmla="*/ 1511300 h 2917824"/>
                  <a:gd name="connsiteX28" fmla="*/ 112438 w 445813"/>
                  <a:gd name="connsiteY28" fmla="*/ 1558925 h 2917824"/>
                  <a:gd name="connsiteX29" fmla="*/ 150538 w 445813"/>
                  <a:gd name="connsiteY29" fmla="*/ 1590675 h 2917824"/>
                  <a:gd name="connsiteX30" fmla="*/ 169588 w 445813"/>
                  <a:gd name="connsiteY30" fmla="*/ 1644650 h 2917824"/>
                  <a:gd name="connsiteX31" fmla="*/ 226738 w 445813"/>
                  <a:gd name="connsiteY31" fmla="*/ 1685925 h 2917824"/>
                  <a:gd name="connsiteX32" fmla="*/ 264838 w 445813"/>
                  <a:gd name="connsiteY32" fmla="*/ 1730375 h 2917824"/>
                  <a:gd name="connsiteX33" fmla="*/ 277538 w 445813"/>
                  <a:gd name="connsiteY33" fmla="*/ 1758950 h 2917824"/>
                  <a:gd name="connsiteX34" fmla="*/ 277538 w 445813"/>
                  <a:gd name="connsiteY34" fmla="*/ 1828800 h 2917824"/>
                  <a:gd name="connsiteX35" fmla="*/ 325163 w 445813"/>
                  <a:gd name="connsiteY35" fmla="*/ 1905000 h 2917824"/>
                  <a:gd name="connsiteX36" fmla="*/ 363263 w 445813"/>
                  <a:gd name="connsiteY36" fmla="*/ 1962150 h 2917824"/>
                  <a:gd name="connsiteX37" fmla="*/ 369613 w 445813"/>
                  <a:gd name="connsiteY37" fmla="*/ 2028825 h 2917824"/>
                  <a:gd name="connsiteX38" fmla="*/ 407713 w 445813"/>
                  <a:gd name="connsiteY38" fmla="*/ 2085975 h 2917824"/>
                  <a:gd name="connsiteX39" fmla="*/ 414063 w 445813"/>
                  <a:gd name="connsiteY39" fmla="*/ 2255981 h 2917824"/>
                  <a:gd name="connsiteX40" fmla="*/ 242901 w 445813"/>
                  <a:gd name="connsiteY40" fmla="*/ 2278784 h 2917824"/>
                  <a:gd name="connsiteX41" fmla="*/ 201338 w 445813"/>
                  <a:gd name="connsiteY41" fmla="*/ 2390775 h 2917824"/>
                  <a:gd name="connsiteX42" fmla="*/ 210863 w 445813"/>
                  <a:gd name="connsiteY42" fmla="*/ 2454275 h 2917824"/>
                  <a:gd name="connsiteX43" fmla="*/ 226738 w 445813"/>
                  <a:gd name="connsiteY43" fmla="*/ 2482850 h 2917824"/>
                  <a:gd name="connsiteX44" fmla="*/ 226738 w 445813"/>
                  <a:gd name="connsiteY44" fmla="*/ 2527300 h 2917824"/>
                  <a:gd name="connsiteX45" fmla="*/ 236263 w 445813"/>
                  <a:gd name="connsiteY45" fmla="*/ 2603500 h 2917824"/>
                  <a:gd name="connsiteX46" fmla="*/ 153713 w 445813"/>
                  <a:gd name="connsiteY46" fmla="*/ 2917824 h 2917824"/>
                  <a:gd name="connsiteX0" fmla="*/ 445813 w 445813"/>
                  <a:gd name="connsiteY0" fmla="*/ 0 h 2603500"/>
                  <a:gd name="connsiteX1" fmla="*/ 407713 w 445813"/>
                  <a:gd name="connsiteY1" fmla="*/ 66675 h 2603500"/>
                  <a:gd name="connsiteX2" fmla="*/ 353738 w 445813"/>
                  <a:gd name="connsiteY2" fmla="*/ 85725 h 2603500"/>
                  <a:gd name="connsiteX3" fmla="*/ 283888 w 445813"/>
                  <a:gd name="connsiteY3" fmla="*/ 98425 h 2603500"/>
                  <a:gd name="connsiteX4" fmla="*/ 223563 w 445813"/>
                  <a:gd name="connsiteY4" fmla="*/ 133350 h 2603500"/>
                  <a:gd name="connsiteX5" fmla="*/ 121963 w 445813"/>
                  <a:gd name="connsiteY5" fmla="*/ 196850 h 2603500"/>
                  <a:gd name="connsiteX6" fmla="*/ 131488 w 445813"/>
                  <a:gd name="connsiteY6" fmla="*/ 247650 h 2603500"/>
                  <a:gd name="connsiteX7" fmla="*/ 172763 w 445813"/>
                  <a:gd name="connsiteY7" fmla="*/ 276225 h 2603500"/>
                  <a:gd name="connsiteX8" fmla="*/ 185463 w 445813"/>
                  <a:gd name="connsiteY8" fmla="*/ 327025 h 2603500"/>
                  <a:gd name="connsiteX9" fmla="*/ 239438 w 445813"/>
                  <a:gd name="connsiteY9" fmla="*/ 368300 h 2603500"/>
                  <a:gd name="connsiteX10" fmla="*/ 239438 w 445813"/>
                  <a:gd name="connsiteY10" fmla="*/ 412750 h 2603500"/>
                  <a:gd name="connsiteX11" fmla="*/ 207688 w 445813"/>
                  <a:gd name="connsiteY11" fmla="*/ 454025 h 2603500"/>
                  <a:gd name="connsiteX12" fmla="*/ 287063 w 445813"/>
                  <a:gd name="connsiteY12" fmla="*/ 479425 h 2603500"/>
                  <a:gd name="connsiteX13" fmla="*/ 302938 w 445813"/>
                  <a:gd name="connsiteY13" fmla="*/ 511175 h 2603500"/>
                  <a:gd name="connsiteX14" fmla="*/ 210863 w 445813"/>
                  <a:gd name="connsiteY14" fmla="*/ 581025 h 2603500"/>
                  <a:gd name="connsiteX15" fmla="*/ 160063 w 445813"/>
                  <a:gd name="connsiteY15" fmla="*/ 638175 h 2603500"/>
                  <a:gd name="connsiteX16" fmla="*/ 160063 w 445813"/>
                  <a:gd name="connsiteY16" fmla="*/ 695325 h 2603500"/>
                  <a:gd name="connsiteX17" fmla="*/ 185463 w 445813"/>
                  <a:gd name="connsiteY17" fmla="*/ 784225 h 2603500"/>
                  <a:gd name="connsiteX18" fmla="*/ 194988 w 445813"/>
                  <a:gd name="connsiteY18" fmla="*/ 835025 h 2603500"/>
                  <a:gd name="connsiteX19" fmla="*/ 204513 w 445813"/>
                  <a:gd name="connsiteY19" fmla="*/ 885825 h 2603500"/>
                  <a:gd name="connsiteX20" fmla="*/ 220388 w 445813"/>
                  <a:gd name="connsiteY20" fmla="*/ 923925 h 2603500"/>
                  <a:gd name="connsiteX21" fmla="*/ 163238 w 445813"/>
                  <a:gd name="connsiteY21" fmla="*/ 1022350 h 2603500"/>
                  <a:gd name="connsiteX22" fmla="*/ 96563 w 445813"/>
                  <a:gd name="connsiteY22" fmla="*/ 1057275 h 2603500"/>
                  <a:gd name="connsiteX23" fmla="*/ 52113 w 445813"/>
                  <a:gd name="connsiteY23" fmla="*/ 1143000 h 2603500"/>
                  <a:gd name="connsiteX24" fmla="*/ 20363 w 445813"/>
                  <a:gd name="connsiteY24" fmla="*/ 1244600 h 2603500"/>
                  <a:gd name="connsiteX25" fmla="*/ 1313 w 445813"/>
                  <a:gd name="connsiteY25" fmla="*/ 1346200 h 2603500"/>
                  <a:gd name="connsiteX26" fmla="*/ 10838 w 445813"/>
                  <a:gd name="connsiteY26" fmla="*/ 1438275 h 2603500"/>
                  <a:gd name="connsiteX27" fmla="*/ 83863 w 445813"/>
                  <a:gd name="connsiteY27" fmla="*/ 1511300 h 2603500"/>
                  <a:gd name="connsiteX28" fmla="*/ 112438 w 445813"/>
                  <a:gd name="connsiteY28" fmla="*/ 1558925 h 2603500"/>
                  <a:gd name="connsiteX29" fmla="*/ 150538 w 445813"/>
                  <a:gd name="connsiteY29" fmla="*/ 1590675 h 2603500"/>
                  <a:gd name="connsiteX30" fmla="*/ 169588 w 445813"/>
                  <a:gd name="connsiteY30" fmla="*/ 1644650 h 2603500"/>
                  <a:gd name="connsiteX31" fmla="*/ 226738 w 445813"/>
                  <a:gd name="connsiteY31" fmla="*/ 1685925 h 2603500"/>
                  <a:gd name="connsiteX32" fmla="*/ 264838 w 445813"/>
                  <a:gd name="connsiteY32" fmla="*/ 1730375 h 2603500"/>
                  <a:gd name="connsiteX33" fmla="*/ 277538 w 445813"/>
                  <a:gd name="connsiteY33" fmla="*/ 1758950 h 2603500"/>
                  <a:gd name="connsiteX34" fmla="*/ 277538 w 445813"/>
                  <a:gd name="connsiteY34" fmla="*/ 1828800 h 2603500"/>
                  <a:gd name="connsiteX35" fmla="*/ 325163 w 445813"/>
                  <a:gd name="connsiteY35" fmla="*/ 1905000 h 2603500"/>
                  <a:gd name="connsiteX36" fmla="*/ 363263 w 445813"/>
                  <a:gd name="connsiteY36" fmla="*/ 1962150 h 2603500"/>
                  <a:gd name="connsiteX37" fmla="*/ 369613 w 445813"/>
                  <a:gd name="connsiteY37" fmla="*/ 2028825 h 2603500"/>
                  <a:gd name="connsiteX38" fmla="*/ 407713 w 445813"/>
                  <a:gd name="connsiteY38" fmla="*/ 2085975 h 2603500"/>
                  <a:gd name="connsiteX39" fmla="*/ 414063 w 445813"/>
                  <a:gd name="connsiteY39" fmla="*/ 2255981 h 2603500"/>
                  <a:gd name="connsiteX40" fmla="*/ 242901 w 445813"/>
                  <a:gd name="connsiteY40" fmla="*/ 2278784 h 2603500"/>
                  <a:gd name="connsiteX41" fmla="*/ 201338 w 445813"/>
                  <a:gd name="connsiteY41" fmla="*/ 2390775 h 2603500"/>
                  <a:gd name="connsiteX42" fmla="*/ 210863 w 445813"/>
                  <a:gd name="connsiteY42" fmla="*/ 2454275 h 2603500"/>
                  <a:gd name="connsiteX43" fmla="*/ 226738 w 445813"/>
                  <a:gd name="connsiteY43" fmla="*/ 2482850 h 2603500"/>
                  <a:gd name="connsiteX44" fmla="*/ 226738 w 445813"/>
                  <a:gd name="connsiteY44" fmla="*/ 2527300 h 2603500"/>
                  <a:gd name="connsiteX45" fmla="*/ 236263 w 445813"/>
                  <a:gd name="connsiteY45" fmla="*/ 2603500 h 2603500"/>
                  <a:gd name="connsiteX0" fmla="*/ 445813 w 445813"/>
                  <a:gd name="connsiteY0" fmla="*/ 0 h 2527300"/>
                  <a:gd name="connsiteX1" fmla="*/ 407713 w 445813"/>
                  <a:gd name="connsiteY1" fmla="*/ 66675 h 2527300"/>
                  <a:gd name="connsiteX2" fmla="*/ 353738 w 445813"/>
                  <a:gd name="connsiteY2" fmla="*/ 85725 h 2527300"/>
                  <a:gd name="connsiteX3" fmla="*/ 283888 w 445813"/>
                  <a:gd name="connsiteY3" fmla="*/ 98425 h 2527300"/>
                  <a:gd name="connsiteX4" fmla="*/ 223563 w 445813"/>
                  <a:gd name="connsiteY4" fmla="*/ 133350 h 2527300"/>
                  <a:gd name="connsiteX5" fmla="*/ 121963 w 445813"/>
                  <a:gd name="connsiteY5" fmla="*/ 196850 h 2527300"/>
                  <a:gd name="connsiteX6" fmla="*/ 131488 w 445813"/>
                  <a:gd name="connsiteY6" fmla="*/ 247650 h 2527300"/>
                  <a:gd name="connsiteX7" fmla="*/ 172763 w 445813"/>
                  <a:gd name="connsiteY7" fmla="*/ 276225 h 2527300"/>
                  <a:gd name="connsiteX8" fmla="*/ 185463 w 445813"/>
                  <a:gd name="connsiteY8" fmla="*/ 327025 h 2527300"/>
                  <a:gd name="connsiteX9" fmla="*/ 239438 w 445813"/>
                  <a:gd name="connsiteY9" fmla="*/ 368300 h 2527300"/>
                  <a:gd name="connsiteX10" fmla="*/ 239438 w 445813"/>
                  <a:gd name="connsiteY10" fmla="*/ 412750 h 2527300"/>
                  <a:gd name="connsiteX11" fmla="*/ 207688 w 445813"/>
                  <a:gd name="connsiteY11" fmla="*/ 454025 h 2527300"/>
                  <a:gd name="connsiteX12" fmla="*/ 287063 w 445813"/>
                  <a:gd name="connsiteY12" fmla="*/ 479425 h 2527300"/>
                  <a:gd name="connsiteX13" fmla="*/ 302938 w 445813"/>
                  <a:gd name="connsiteY13" fmla="*/ 511175 h 2527300"/>
                  <a:gd name="connsiteX14" fmla="*/ 210863 w 445813"/>
                  <a:gd name="connsiteY14" fmla="*/ 581025 h 2527300"/>
                  <a:gd name="connsiteX15" fmla="*/ 160063 w 445813"/>
                  <a:gd name="connsiteY15" fmla="*/ 638175 h 2527300"/>
                  <a:gd name="connsiteX16" fmla="*/ 160063 w 445813"/>
                  <a:gd name="connsiteY16" fmla="*/ 695325 h 2527300"/>
                  <a:gd name="connsiteX17" fmla="*/ 185463 w 445813"/>
                  <a:gd name="connsiteY17" fmla="*/ 784225 h 2527300"/>
                  <a:gd name="connsiteX18" fmla="*/ 194988 w 445813"/>
                  <a:gd name="connsiteY18" fmla="*/ 835025 h 2527300"/>
                  <a:gd name="connsiteX19" fmla="*/ 204513 w 445813"/>
                  <a:gd name="connsiteY19" fmla="*/ 885825 h 2527300"/>
                  <a:gd name="connsiteX20" fmla="*/ 220388 w 445813"/>
                  <a:gd name="connsiteY20" fmla="*/ 923925 h 2527300"/>
                  <a:gd name="connsiteX21" fmla="*/ 163238 w 445813"/>
                  <a:gd name="connsiteY21" fmla="*/ 1022350 h 2527300"/>
                  <a:gd name="connsiteX22" fmla="*/ 96563 w 445813"/>
                  <a:gd name="connsiteY22" fmla="*/ 1057275 h 2527300"/>
                  <a:gd name="connsiteX23" fmla="*/ 52113 w 445813"/>
                  <a:gd name="connsiteY23" fmla="*/ 1143000 h 2527300"/>
                  <a:gd name="connsiteX24" fmla="*/ 20363 w 445813"/>
                  <a:gd name="connsiteY24" fmla="*/ 1244600 h 2527300"/>
                  <a:gd name="connsiteX25" fmla="*/ 1313 w 445813"/>
                  <a:gd name="connsiteY25" fmla="*/ 1346200 h 2527300"/>
                  <a:gd name="connsiteX26" fmla="*/ 10838 w 445813"/>
                  <a:gd name="connsiteY26" fmla="*/ 1438275 h 2527300"/>
                  <a:gd name="connsiteX27" fmla="*/ 83863 w 445813"/>
                  <a:gd name="connsiteY27" fmla="*/ 1511300 h 2527300"/>
                  <a:gd name="connsiteX28" fmla="*/ 112438 w 445813"/>
                  <a:gd name="connsiteY28" fmla="*/ 1558925 h 2527300"/>
                  <a:gd name="connsiteX29" fmla="*/ 150538 w 445813"/>
                  <a:gd name="connsiteY29" fmla="*/ 1590675 h 2527300"/>
                  <a:gd name="connsiteX30" fmla="*/ 169588 w 445813"/>
                  <a:gd name="connsiteY30" fmla="*/ 1644650 h 2527300"/>
                  <a:gd name="connsiteX31" fmla="*/ 226738 w 445813"/>
                  <a:gd name="connsiteY31" fmla="*/ 1685925 h 2527300"/>
                  <a:gd name="connsiteX32" fmla="*/ 264838 w 445813"/>
                  <a:gd name="connsiteY32" fmla="*/ 1730375 h 2527300"/>
                  <a:gd name="connsiteX33" fmla="*/ 277538 w 445813"/>
                  <a:gd name="connsiteY33" fmla="*/ 1758950 h 2527300"/>
                  <a:gd name="connsiteX34" fmla="*/ 277538 w 445813"/>
                  <a:gd name="connsiteY34" fmla="*/ 1828800 h 2527300"/>
                  <a:gd name="connsiteX35" fmla="*/ 325163 w 445813"/>
                  <a:gd name="connsiteY35" fmla="*/ 1905000 h 2527300"/>
                  <a:gd name="connsiteX36" fmla="*/ 363263 w 445813"/>
                  <a:gd name="connsiteY36" fmla="*/ 1962150 h 2527300"/>
                  <a:gd name="connsiteX37" fmla="*/ 369613 w 445813"/>
                  <a:gd name="connsiteY37" fmla="*/ 2028825 h 2527300"/>
                  <a:gd name="connsiteX38" fmla="*/ 407713 w 445813"/>
                  <a:gd name="connsiteY38" fmla="*/ 2085975 h 2527300"/>
                  <a:gd name="connsiteX39" fmla="*/ 414063 w 445813"/>
                  <a:gd name="connsiteY39" fmla="*/ 2255981 h 2527300"/>
                  <a:gd name="connsiteX40" fmla="*/ 242901 w 445813"/>
                  <a:gd name="connsiteY40" fmla="*/ 2278784 h 2527300"/>
                  <a:gd name="connsiteX41" fmla="*/ 201338 w 445813"/>
                  <a:gd name="connsiteY41" fmla="*/ 2390775 h 2527300"/>
                  <a:gd name="connsiteX42" fmla="*/ 210863 w 445813"/>
                  <a:gd name="connsiteY42" fmla="*/ 2454275 h 2527300"/>
                  <a:gd name="connsiteX43" fmla="*/ 226738 w 445813"/>
                  <a:gd name="connsiteY43" fmla="*/ 2482850 h 2527300"/>
                  <a:gd name="connsiteX44" fmla="*/ 226738 w 445813"/>
                  <a:gd name="connsiteY44" fmla="*/ 2527300 h 2527300"/>
                  <a:gd name="connsiteX0" fmla="*/ 445813 w 445813"/>
                  <a:gd name="connsiteY0" fmla="*/ 0 h 2482850"/>
                  <a:gd name="connsiteX1" fmla="*/ 407713 w 445813"/>
                  <a:gd name="connsiteY1" fmla="*/ 66675 h 2482850"/>
                  <a:gd name="connsiteX2" fmla="*/ 353738 w 445813"/>
                  <a:gd name="connsiteY2" fmla="*/ 85725 h 2482850"/>
                  <a:gd name="connsiteX3" fmla="*/ 283888 w 445813"/>
                  <a:gd name="connsiteY3" fmla="*/ 98425 h 2482850"/>
                  <a:gd name="connsiteX4" fmla="*/ 223563 w 445813"/>
                  <a:gd name="connsiteY4" fmla="*/ 133350 h 2482850"/>
                  <a:gd name="connsiteX5" fmla="*/ 121963 w 445813"/>
                  <a:gd name="connsiteY5" fmla="*/ 196850 h 2482850"/>
                  <a:gd name="connsiteX6" fmla="*/ 131488 w 445813"/>
                  <a:gd name="connsiteY6" fmla="*/ 247650 h 2482850"/>
                  <a:gd name="connsiteX7" fmla="*/ 172763 w 445813"/>
                  <a:gd name="connsiteY7" fmla="*/ 276225 h 2482850"/>
                  <a:gd name="connsiteX8" fmla="*/ 185463 w 445813"/>
                  <a:gd name="connsiteY8" fmla="*/ 327025 h 2482850"/>
                  <a:gd name="connsiteX9" fmla="*/ 239438 w 445813"/>
                  <a:gd name="connsiteY9" fmla="*/ 368300 h 2482850"/>
                  <a:gd name="connsiteX10" fmla="*/ 239438 w 445813"/>
                  <a:gd name="connsiteY10" fmla="*/ 412750 h 2482850"/>
                  <a:gd name="connsiteX11" fmla="*/ 207688 w 445813"/>
                  <a:gd name="connsiteY11" fmla="*/ 454025 h 2482850"/>
                  <a:gd name="connsiteX12" fmla="*/ 287063 w 445813"/>
                  <a:gd name="connsiteY12" fmla="*/ 479425 h 2482850"/>
                  <a:gd name="connsiteX13" fmla="*/ 302938 w 445813"/>
                  <a:gd name="connsiteY13" fmla="*/ 511175 h 2482850"/>
                  <a:gd name="connsiteX14" fmla="*/ 210863 w 445813"/>
                  <a:gd name="connsiteY14" fmla="*/ 581025 h 2482850"/>
                  <a:gd name="connsiteX15" fmla="*/ 160063 w 445813"/>
                  <a:gd name="connsiteY15" fmla="*/ 638175 h 2482850"/>
                  <a:gd name="connsiteX16" fmla="*/ 160063 w 445813"/>
                  <a:gd name="connsiteY16" fmla="*/ 695325 h 2482850"/>
                  <a:gd name="connsiteX17" fmla="*/ 185463 w 445813"/>
                  <a:gd name="connsiteY17" fmla="*/ 784225 h 2482850"/>
                  <a:gd name="connsiteX18" fmla="*/ 194988 w 445813"/>
                  <a:gd name="connsiteY18" fmla="*/ 835025 h 2482850"/>
                  <a:gd name="connsiteX19" fmla="*/ 204513 w 445813"/>
                  <a:gd name="connsiteY19" fmla="*/ 885825 h 2482850"/>
                  <a:gd name="connsiteX20" fmla="*/ 220388 w 445813"/>
                  <a:gd name="connsiteY20" fmla="*/ 923925 h 2482850"/>
                  <a:gd name="connsiteX21" fmla="*/ 163238 w 445813"/>
                  <a:gd name="connsiteY21" fmla="*/ 1022350 h 2482850"/>
                  <a:gd name="connsiteX22" fmla="*/ 96563 w 445813"/>
                  <a:gd name="connsiteY22" fmla="*/ 1057275 h 2482850"/>
                  <a:gd name="connsiteX23" fmla="*/ 52113 w 445813"/>
                  <a:gd name="connsiteY23" fmla="*/ 1143000 h 2482850"/>
                  <a:gd name="connsiteX24" fmla="*/ 20363 w 445813"/>
                  <a:gd name="connsiteY24" fmla="*/ 1244600 h 2482850"/>
                  <a:gd name="connsiteX25" fmla="*/ 1313 w 445813"/>
                  <a:gd name="connsiteY25" fmla="*/ 1346200 h 2482850"/>
                  <a:gd name="connsiteX26" fmla="*/ 10838 w 445813"/>
                  <a:gd name="connsiteY26" fmla="*/ 1438275 h 2482850"/>
                  <a:gd name="connsiteX27" fmla="*/ 83863 w 445813"/>
                  <a:gd name="connsiteY27" fmla="*/ 1511300 h 2482850"/>
                  <a:gd name="connsiteX28" fmla="*/ 112438 w 445813"/>
                  <a:gd name="connsiteY28" fmla="*/ 1558925 h 2482850"/>
                  <a:gd name="connsiteX29" fmla="*/ 150538 w 445813"/>
                  <a:gd name="connsiteY29" fmla="*/ 1590675 h 2482850"/>
                  <a:gd name="connsiteX30" fmla="*/ 169588 w 445813"/>
                  <a:gd name="connsiteY30" fmla="*/ 1644650 h 2482850"/>
                  <a:gd name="connsiteX31" fmla="*/ 226738 w 445813"/>
                  <a:gd name="connsiteY31" fmla="*/ 1685925 h 2482850"/>
                  <a:gd name="connsiteX32" fmla="*/ 264838 w 445813"/>
                  <a:gd name="connsiteY32" fmla="*/ 1730375 h 2482850"/>
                  <a:gd name="connsiteX33" fmla="*/ 277538 w 445813"/>
                  <a:gd name="connsiteY33" fmla="*/ 1758950 h 2482850"/>
                  <a:gd name="connsiteX34" fmla="*/ 277538 w 445813"/>
                  <a:gd name="connsiteY34" fmla="*/ 1828800 h 2482850"/>
                  <a:gd name="connsiteX35" fmla="*/ 325163 w 445813"/>
                  <a:gd name="connsiteY35" fmla="*/ 1905000 h 2482850"/>
                  <a:gd name="connsiteX36" fmla="*/ 363263 w 445813"/>
                  <a:gd name="connsiteY36" fmla="*/ 1962150 h 2482850"/>
                  <a:gd name="connsiteX37" fmla="*/ 369613 w 445813"/>
                  <a:gd name="connsiteY37" fmla="*/ 2028825 h 2482850"/>
                  <a:gd name="connsiteX38" fmla="*/ 407713 w 445813"/>
                  <a:gd name="connsiteY38" fmla="*/ 2085975 h 2482850"/>
                  <a:gd name="connsiteX39" fmla="*/ 414063 w 445813"/>
                  <a:gd name="connsiteY39" fmla="*/ 2255981 h 2482850"/>
                  <a:gd name="connsiteX40" fmla="*/ 242901 w 445813"/>
                  <a:gd name="connsiteY40" fmla="*/ 2278784 h 2482850"/>
                  <a:gd name="connsiteX41" fmla="*/ 201338 w 445813"/>
                  <a:gd name="connsiteY41" fmla="*/ 2390775 h 2482850"/>
                  <a:gd name="connsiteX42" fmla="*/ 210863 w 445813"/>
                  <a:gd name="connsiteY42" fmla="*/ 2454275 h 2482850"/>
                  <a:gd name="connsiteX43" fmla="*/ 226738 w 445813"/>
                  <a:gd name="connsiteY43" fmla="*/ 2482850 h 2482850"/>
                  <a:gd name="connsiteX0" fmla="*/ 445813 w 445813"/>
                  <a:gd name="connsiteY0" fmla="*/ 0 h 2454275"/>
                  <a:gd name="connsiteX1" fmla="*/ 407713 w 445813"/>
                  <a:gd name="connsiteY1" fmla="*/ 66675 h 2454275"/>
                  <a:gd name="connsiteX2" fmla="*/ 353738 w 445813"/>
                  <a:gd name="connsiteY2" fmla="*/ 85725 h 2454275"/>
                  <a:gd name="connsiteX3" fmla="*/ 283888 w 445813"/>
                  <a:gd name="connsiteY3" fmla="*/ 98425 h 2454275"/>
                  <a:gd name="connsiteX4" fmla="*/ 223563 w 445813"/>
                  <a:gd name="connsiteY4" fmla="*/ 133350 h 2454275"/>
                  <a:gd name="connsiteX5" fmla="*/ 121963 w 445813"/>
                  <a:gd name="connsiteY5" fmla="*/ 196850 h 2454275"/>
                  <a:gd name="connsiteX6" fmla="*/ 131488 w 445813"/>
                  <a:gd name="connsiteY6" fmla="*/ 247650 h 2454275"/>
                  <a:gd name="connsiteX7" fmla="*/ 172763 w 445813"/>
                  <a:gd name="connsiteY7" fmla="*/ 276225 h 2454275"/>
                  <a:gd name="connsiteX8" fmla="*/ 185463 w 445813"/>
                  <a:gd name="connsiteY8" fmla="*/ 327025 h 2454275"/>
                  <a:gd name="connsiteX9" fmla="*/ 239438 w 445813"/>
                  <a:gd name="connsiteY9" fmla="*/ 368300 h 2454275"/>
                  <a:gd name="connsiteX10" fmla="*/ 239438 w 445813"/>
                  <a:gd name="connsiteY10" fmla="*/ 412750 h 2454275"/>
                  <a:gd name="connsiteX11" fmla="*/ 207688 w 445813"/>
                  <a:gd name="connsiteY11" fmla="*/ 454025 h 2454275"/>
                  <a:gd name="connsiteX12" fmla="*/ 287063 w 445813"/>
                  <a:gd name="connsiteY12" fmla="*/ 479425 h 2454275"/>
                  <a:gd name="connsiteX13" fmla="*/ 302938 w 445813"/>
                  <a:gd name="connsiteY13" fmla="*/ 511175 h 2454275"/>
                  <a:gd name="connsiteX14" fmla="*/ 210863 w 445813"/>
                  <a:gd name="connsiteY14" fmla="*/ 581025 h 2454275"/>
                  <a:gd name="connsiteX15" fmla="*/ 160063 w 445813"/>
                  <a:gd name="connsiteY15" fmla="*/ 638175 h 2454275"/>
                  <a:gd name="connsiteX16" fmla="*/ 160063 w 445813"/>
                  <a:gd name="connsiteY16" fmla="*/ 695325 h 2454275"/>
                  <a:gd name="connsiteX17" fmla="*/ 185463 w 445813"/>
                  <a:gd name="connsiteY17" fmla="*/ 784225 h 2454275"/>
                  <a:gd name="connsiteX18" fmla="*/ 194988 w 445813"/>
                  <a:gd name="connsiteY18" fmla="*/ 835025 h 2454275"/>
                  <a:gd name="connsiteX19" fmla="*/ 204513 w 445813"/>
                  <a:gd name="connsiteY19" fmla="*/ 885825 h 2454275"/>
                  <a:gd name="connsiteX20" fmla="*/ 220388 w 445813"/>
                  <a:gd name="connsiteY20" fmla="*/ 923925 h 2454275"/>
                  <a:gd name="connsiteX21" fmla="*/ 163238 w 445813"/>
                  <a:gd name="connsiteY21" fmla="*/ 1022350 h 2454275"/>
                  <a:gd name="connsiteX22" fmla="*/ 96563 w 445813"/>
                  <a:gd name="connsiteY22" fmla="*/ 1057275 h 2454275"/>
                  <a:gd name="connsiteX23" fmla="*/ 52113 w 445813"/>
                  <a:gd name="connsiteY23" fmla="*/ 1143000 h 2454275"/>
                  <a:gd name="connsiteX24" fmla="*/ 20363 w 445813"/>
                  <a:gd name="connsiteY24" fmla="*/ 1244600 h 2454275"/>
                  <a:gd name="connsiteX25" fmla="*/ 1313 w 445813"/>
                  <a:gd name="connsiteY25" fmla="*/ 1346200 h 2454275"/>
                  <a:gd name="connsiteX26" fmla="*/ 10838 w 445813"/>
                  <a:gd name="connsiteY26" fmla="*/ 1438275 h 2454275"/>
                  <a:gd name="connsiteX27" fmla="*/ 83863 w 445813"/>
                  <a:gd name="connsiteY27" fmla="*/ 1511300 h 2454275"/>
                  <a:gd name="connsiteX28" fmla="*/ 112438 w 445813"/>
                  <a:gd name="connsiteY28" fmla="*/ 1558925 h 2454275"/>
                  <a:gd name="connsiteX29" fmla="*/ 150538 w 445813"/>
                  <a:gd name="connsiteY29" fmla="*/ 1590675 h 2454275"/>
                  <a:gd name="connsiteX30" fmla="*/ 169588 w 445813"/>
                  <a:gd name="connsiteY30" fmla="*/ 1644650 h 2454275"/>
                  <a:gd name="connsiteX31" fmla="*/ 226738 w 445813"/>
                  <a:gd name="connsiteY31" fmla="*/ 1685925 h 2454275"/>
                  <a:gd name="connsiteX32" fmla="*/ 264838 w 445813"/>
                  <a:gd name="connsiteY32" fmla="*/ 1730375 h 2454275"/>
                  <a:gd name="connsiteX33" fmla="*/ 277538 w 445813"/>
                  <a:gd name="connsiteY33" fmla="*/ 1758950 h 2454275"/>
                  <a:gd name="connsiteX34" fmla="*/ 277538 w 445813"/>
                  <a:gd name="connsiteY34" fmla="*/ 1828800 h 2454275"/>
                  <a:gd name="connsiteX35" fmla="*/ 325163 w 445813"/>
                  <a:gd name="connsiteY35" fmla="*/ 1905000 h 2454275"/>
                  <a:gd name="connsiteX36" fmla="*/ 363263 w 445813"/>
                  <a:gd name="connsiteY36" fmla="*/ 1962150 h 2454275"/>
                  <a:gd name="connsiteX37" fmla="*/ 369613 w 445813"/>
                  <a:gd name="connsiteY37" fmla="*/ 2028825 h 2454275"/>
                  <a:gd name="connsiteX38" fmla="*/ 407713 w 445813"/>
                  <a:gd name="connsiteY38" fmla="*/ 2085975 h 2454275"/>
                  <a:gd name="connsiteX39" fmla="*/ 414063 w 445813"/>
                  <a:gd name="connsiteY39" fmla="*/ 2255981 h 2454275"/>
                  <a:gd name="connsiteX40" fmla="*/ 242901 w 445813"/>
                  <a:gd name="connsiteY40" fmla="*/ 2278784 h 2454275"/>
                  <a:gd name="connsiteX41" fmla="*/ 201338 w 445813"/>
                  <a:gd name="connsiteY41" fmla="*/ 2390775 h 2454275"/>
                  <a:gd name="connsiteX42" fmla="*/ 210863 w 445813"/>
                  <a:gd name="connsiteY42" fmla="*/ 2454275 h 2454275"/>
                  <a:gd name="connsiteX0" fmla="*/ 445813 w 445813"/>
                  <a:gd name="connsiteY0" fmla="*/ 0 h 2390775"/>
                  <a:gd name="connsiteX1" fmla="*/ 407713 w 445813"/>
                  <a:gd name="connsiteY1" fmla="*/ 66675 h 2390775"/>
                  <a:gd name="connsiteX2" fmla="*/ 353738 w 445813"/>
                  <a:gd name="connsiteY2" fmla="*/ 85725 h 2390775"/>
                  <a:gd name="connsiteX3" fmla="*/ 283888 w 445813"/>
                  <a:gd name="connsiteY3" fmla="*/ 98425 h 2390775"/>
                  <a:gd name="connsiteX4" fmla="*/ 223563 w 445813"/>
                  <a:gd name="connsiteY4" fmla="*/ 133350 h 2390775"/>
                  <a:gd name="connsiteX5" fmla="*/ 121963 w 445813"/>
                  <a:gd name="connsiteY5" fmla="*/ 196850 h 2390775"/>
                  <a:gd name="connsiteX6" fmla="*/ 131488 w 445813"/>
                  <a:gd name="connsiteY6" fmla="*/ 247650 h 2390775"/>
                  <a:gd name="connsiteX7" fmla="*/ 172763 w 445813"/>
                  <a:gd name="connsiteY7" fmla="*/ 276225 h 2390775"/>
                  <a:gd name="connsiteX8" fmla="*/ 185463 w 445813"/>
                  <a:gd name="connsiteY8" fmla="*/ 327025 h 2390775"/>
                  <a:gd name="connsiteX9" fmla="*/ 239438 w 445813"/>
                  <a:gd name="connsiteY9" fmla="*/ 368300 h 2390775"/>
                  <a:gd name="connsiteX10" fmla="*/ 239438 w 445813"/>
                  <a:gd name="connsiteY10" fmla="*/ 412750 h 2390775"/>
                  <a:gd name="connsiteX11" fmla="*/ 207688 w 445813"/>
                  <a:gd name="connsiteY11" fmla="*/ 454025 h 2390775"/>
                  <a:gd name="connsiteX12" fmla="*/ 287063 w 445813"/>
                  <a:gd name="connsiteY12" fmla="*/ 479425 h 2390775"/>
                  <a:gd name="connsiteX13" fmla="*/ 302938 w 445813"/>
                  <a:gd name="connsiteY13" fmla="*/ 511175 h 2390775"/>
                  <a:gd name="connsiteX14" fmla="*/ 210863 w 445813"/>
                  <a:gd name="connsiteY14" fmla="*/ 581025 h 2390775"/>
                  <a:gd name="connsiteX15" fmla="*/ 160063 w 445813"/>
                  <a:gd name="connsiteY15" fmla="*/ 638175 h 2390775"/>
                  <a:gd name="connsiteX16" fmla="*/ 160063 w 445813"/>
                  <a:gd name="connsiteY16" fmla="*/ 695325 h 2390775"/>
                  <a:gd name="connsiteX17" fmla="*/ 185463 w 445813"/>
                  <a:gd name="connsiteY17" fmla="*/ 784225 h 2390775"/>
                  <a:gd name="connsiteX18" fmla="*/ 194988 w 445813"/>
                  <a:gd name="connsiteY18" fmla="*/ 835025 h 2390775"/>
                  <a:gd name="connsiteX19" fmla="*/ 204513 w 445813"/>
                  <a:gd name="connsiteY19" fmla="*/ 885825 h 2390775"/>
                  <a:gd name="connsiteX20" fmla="*/ 220388 w 445813"/>
                  <a:gd name="connsiteY20" fmla="*/ 923925 h 2390775"/>
                  <a:gd name="connsiteX21" fmla="*/ 163238 w 445813"/>
                  <a:gd name="connsiteY21" fmla="*/ 1022350 h 2390775"/>
                  <a:gd name="connsiteX22" fmla="*/ 96563 w 445813"/>
                  <a:gd name="connsiteY22" fmla="*/ 1057275 h 2390775"/>
                  <a:gd name="connsiteX23" fmla="*/ 52113 w 445813"/>
                  <a:gd name="connsiteY23" fmla="*/ 1143000 h 2390775"/>
                  <a:gd name="connsiteX24" fmla="*/ 20363 w 445813"/>
                  <a:gd name="connsiteY24" fmla="*/ 1244600 h 2390775"/>
                  <a:gd name="connsiteX25" fmla="*/ 1313 w 445813"/>
                  <a:gd name="connsiteY25" fmla="*/ 1346200 h 2390775"/>
                  <a:gd name="connsiteX26" fmla="*/ 10838 w 445813"/>
                  <a:gd name="connsiteY26" fmla="*/ 1438275 h 2390775"/>
                  <a:gd name="connsiteX27" fmla="*/ 83863 w 445813"/>
                  <a:gd name="connsiteY27" fmla="*/ 1511300 h 2390775"/>
                  <a:gd name="connsiteX28" fmla="*/ 112438 w 445813"/>
                  <a:gd name="connsiteY28" fmla="*/ 1558925 h 2390775"/>
                  <a:gd name="connsiteX29" fmla="*/ 150538 w 445813"/>
                  <a:gd name="connsiteY29" fmla="*/ 1590675 h 2390775"/>
                  <a:gd name="connsiteX30" fmla="*/ 169588 w 445813"/>
                  <a:gd name="connsiteY30" fmla="*/ 1644650 h 2390775"/>
                  <a:gd name="connsiteX31" fmla="*/ 226738 w 445813"/>
                  <a:gd name="connsiteY31" fmla="*/ 1685925 h 2390775"/>
                  <a:gd name="connsiteX32" fmla="*/ 264838 w 445813"/>
                  <a:gd name="connsiteY32" fmla="*/ 1730375 h 2390775"/>
                  <a:gd name="connsiteX33" fmla="*/ 277538 w 445813"/>
                  <a:gd name="connsiteY33" fmla="*/ 1758950 h 2390775"/>
                  <a:gd name="connsiteX34" fmla="*/ 277538 w 445813"/>
                  <a:gd name="connsiteY34" fmla="*/ 1828800 h 2390775"/>
                  <a:gd name="connsiteX35" fmla="*/ 325163 w 445813"/>
                  <a:gd name="connsiteY35" fmla="*/ 1905000 h 2390775"/>
                  <a:gd name="connsiteX36" fmla="*/ 363263 w 445813"/>
                  <a:gd name="connsiteY36" fmla="*/ 1962150 h 2390775"/>
                  <a:gd name="connsiteX37" fmla="*/ 369613 w 445813"/>
                  <a:gd name="connsiteY37" fmla="*/ 2028825 h 2390775"/>
                  <a:gd name="connsiteX38" fmla="*/ 407713 w 445813"/>
                  <a:gd name="connsiteY38" fmla="*/ 2085975 h 2390775"/>
                  <a:gd name="connsiteX39" fmla="*/ 414063 w 445813"/>
                  <a:gd name="connsiteY39" fmla="*/ 2255981 h 2390775"/>
                  <a:gd name="connsiteX40" fmla="*/ 242901 w 445813"/>
                  <a:gd name="connsiteY40" fmla="*/ 2278784 h 2390775"/>
                  <a:gd name="connsiteX41" fmla="*/ 201338 w 445813"/>
                  <a:gd name="connsiteY41" fmla="*/ 2390775 h 2390775"/>
                  <a:gd name="connsiteX0" fmla="*/ 445813 w 445813"/>
                  <a:gd name="connsiteY0" fmla="*/ 0 h 2291810"/>
                  <a:gd name="connsiteX1" fmla="*/ 407713 w 445813"/>
                  <a:gd name="connsiteY1" fmla="*/ 66675 h 2291810"/>
                  <a:gd name="connsiteX2" fmla="*/ 353738 w 445813"/>
                  <a:gd name="connsiteY2" fmla="*/ 85725 h 2291810"/>
                  <a:gd name="connsiteX3" fmla="*/ 283888 w 445813"/>
                  <a:gd name="connsiteY3" fmla="*/ 98425 h 2291810"/>
                  <a:gd name="connsiteX4" fmla="*/ 223563 w 445813"/>
                  <a:gd name="connsiteY4" fmla="*/ 133350 h 2291810"/>
                  <a:gd name="connsiteX5" fmla="*/ 121963 w 445813"/>
                  <a:gd name="connsiteY5" fmla="*/ 196850 h 2291810"/>
                  <a:gd name="connsiteX6" fmla="*/ 131488 w 445813"/>
                  <a:gd name="connsiteY6" fmla="*/ 247650 h 2291810"/>
                  <a:gd name="connsiteX7" fmla="*/ 172763 w 445813"/>
                  <a:gd name="connsiteY7" fmla="*/ 276225 h 2291810"/>
                  <a:gd name="connsiteX8" fmla="*/ 185463 w 445813"/>
                  <a:gd name="connsiteY8" fmla="*/ 327025 h 2291810"/>
                  <a:gd name="connsiteX9" fmla="*/ 239438 w 445813"/>
                  <a:gd name="connsiteY9" fmla="*/ 368300 h 2291810"/>
                  <a:gd name="connsiteX10" fmla="*/ 239438 w 445813"/>
                  <a:gd name="connsiteY10" fmla="*/ 412750 h 2291810"/>
                  <a:gd name="connsiteX11" fmla="*/ 207688 w 445813"/>
                  <a:gd name="connsiteY11" fmla="*/ 454025 h 2291810"/>
                  <a:gd name="connsiteX12" fmla="*/ 287063 w 445813"/>
                  <a:gd name="connsiteY12" fmla="*/ 479425 h 2291810"/>
                  <a:gd name="connsiteX13" fmla="*/ 302938 w 445813"/>
                  <a:gd name="connsiteY13" fmla="*/ 511175 h 2291810"/>
                  <a:gd name="connsiteX14" fmla="*/ 210863 w 445813"/>
                  <a:gd name="connsiteY14" fmla="*/ 581025 h 2291810"/>
                  <a:gd name="connsiteX15" fmla="*/ 160063 w 445813"/>
                  <a:gd name="connsiteY15" fmla="*/ 638175 h 2291810"/>
                  <a:gd name="connsiteX16" fmla="*/ 160063 w 445813"/>
                  <a:gd name="connsiteY16" fmla="*/ 695325 h 2291810"/>
                  <a:gd name="connsiteX17" fmla="*/ 185463 w 445813"/>
                  <a:gd name="connsiteY17" fmla="*/ 784225 h 2291810"/>
                  <a:gd name="connsiteX18" fmla="*/ 194988 w 445813"/>
                  <a:gd name="connsiteY18" fmla="*/ 835025 h 2291810"/>
                  <a:gd name="connsiteX19" fmla="*/ 204513 w 445813"/>
                  <a:gd name="connsiteY19" fmla="*/ 885825 h 2291810"/>
                  <a:gd name="connsiteX20" fmla="*/ 220388 w 445813"/>
                  <a:gd name="connsiteY20" fmla="*/ 923925 h 2291810"/>
                  <a:gd name="connsiteX21" fmla="*/ 163238 w 445813"/>
                  <a:gd name="connsiteY21" fmla="*/ 1022350 h 2291810"/>
                  <a:gd name="connsiteX22" fmla="*/ 96563 w 445813"/>
                  <a:gd name="connsiteY22" fmla="*/ 1057275 h 2291810"/>
                  <a:gd name="connsiteX23" fmla="*/ 52113 w 445813"/>
                  <a:gd name="connsiteY23" fmla="*/ 1143000 h 2291810"/>
                  <a:gd name="connsiteX24" fmla="*/ 20363 w 445813"/>
                  <a:gd name="connsiteY24" fmla="*/ 1244600 h 2291810"/>
                  <a:gd name="connsiteX25" fmla="*/ 1313 w 445813"/>
                  <a:gd name="connsiteY25" fmla="*/ 1346200 h 2291810"/>
                  <a:gd name="connsiteX26" fmla="*/ 10838 w 445813"/>
                  <a:gd name="connsiteY26" fmla="*/ 1438275 h 2291810"/>
                  <a:gd name="connsiteX27" fmla="*/ 83863 w 445813"/>
                  <a:gd name="connsiteY27" fmla="*/ 1511300 h 2291810"/>
                  <a:gd name="connsiteX28" fmla="*/ 112438 w 445813"/>
                  <a:gd name="connsiteY28" fmla="*/ 1558925 h 2291810"/>
                  <a:gd name="connsiteX29" fmla="*/ 150538 w 445813"/>
                  <a:gd name="connsiteY29" fmla="*/ 1590675 h 2291810"/>
                  <a:gd name="connsiteX30" fmla="*/ 169588 w 445813"/>
                  <a:gd name="connsiteY30" fmla="*/ 1644650 h 2291810"/>
                  <a:gd name="connsiteX31" fmla="*/ 226738 w 445813"/>
                  <a:gd name="connsiteY31" fmla="*/ 1685925 h 2291810"/>
                  <a:gd name="connsiteX32" fmla="*/ 264838 w 445813"/>
                  <a:gd name="connsiteY32" fmla="*/ 1730375 h 2291810"/>
                  <a:gd name="connsiteX33" fmla="*/ 277538 w 445813"/>
                  <a:gd name="connsiteY33" fmla="*/ 1758950 h 2291810"/>
                  <a:gd name="connsiteX34" fmla="*/ 277538 w 445813"/>
                  <a:gd name="connsiteY34" fmla="*/ 1828800 h 2291810"/>
                  <a:gd name="connsiteX35" fmla="*/ 325163 w 445813"/>
                  <a:gd name="connsiteY35" fmla="*/ 1905000 h 2291810"/>
                  <a:gd name="connsiteX36" fmla="*/ 363263 w 445813"/>
                  <a:gd name="connsiteY36" fmla="*/ 1962150 h 2291810"/>
                  <a:gd name="connsiteX37" fmla="*/ 369613 w 445813"/>
                  <a:gd name="connsiteY37" fmla="*/ 2028825 h 2291810"/>
                  <a:gd name="connsiteX38" fmla="*/ 407713 w 445813"/>
                  <a:gd name="connsiteY38" fmla="*/ 2085975 h 2291810"/>
                  <a:gd name="connsiteX39" fmla="*/ 414063 w 445813"/>
                  <a:gd name="connsiteY39" fmla="*/ 2255981 h 2291810"/>
                  <a:gd name="connsiteX40" fmla="*/ 242901 w 445813"/>
                  <a:gd name="connsiteY40" fmla="*/ 2278784 h 2291810"/>
                  <a:gd name="connsiteX0" fmla="*/ 445813 w 445813"/>
                  <a:gd name="connsiteY0" fmla="*/ 0 h 2255981"/>
                  <a:gd name="connsiteX1" fmla="*/ 407713 w 445813"/>
                  <a:gd name="connsiteY1" fmla="*/ 66675 h 2255981"/>
                  <a:gd name="connsiteX2" fmla="*/ 353738 w 445813"/>
                  <a:gd name="connsiteY2" fmla="*/ 85725 h 2255981"/>
                  <a:gd name="connsiteX3" fmla="*/ 283888 w 445813"/>
                  <a:gd name="connsiteY3" fmla="*/ 98425 h 2255981"/>
                  <a:gd name="connsiteX4" fmla="*/ 223563 w 445813"/>
                  <a:gd name="connsiteY4" fmla="*/ 133350 h 2255981"/>
                  <a:gd name="connsiteX5" fmla="*/ 121963 w 445813"/>
                  <a:gd name="connsiteY5" fmla="*/ 196850 h 2255981"/>
                  <a:gd name="connsiteX6" fmla="*/ 131488 w 445813"/>
                  <a:gd name="connsiteY6" fmla="*/ 247650 h 2255981"/>
                  <a:gd name="connsiteX7" fmla="*/ 172763 w 445813"/>
                  <a:gd name="connsiteY7" fmla="*/ 276225 h 2255981"/>
                  <a:gd name="connsiteX8" fmla="*/ 185463 w 445813"/>
                  <a:gd name="connsiteY8" fmla="*/ 327025 h 2255981"/>
                  <a:gd name="connsiteX9" fmla="*/ 239438 w 445813"/>
                  <a:gd name="connsiteY9" fmla="*/ 368300 h 2255981"/>
                  <a:gd name="connsiteX10" fmla="*/ 239438 w 445813"/>
                  <a:gd name="connsiteY10" fmla="*/ 412750 h 2255981"/>
                  <a:gd name="connsiteX11" fmla="*/ 207688 w 445813"/>
                  <a:gd name="connsiteY11" fmla="*/ 454025 h 2255981"/>
                  <a:gd name="connsiteX12" fmla="*/ 287063 w 445813"/>
                  <a:gd name="connsiteY12" fmla="*/ 479425 h 2255981"/>
                  <a:gd name="connsiteX13" fmla="*/ 302938 w 445813"/>
                  <a:gd name="connsiteY13" fmla="*/ 511175 h 2255981"/>
                  <a:gd name="connsiteX14" fmla="*/ 210863 w 445813"/>
                  <a:gd name="connsiteY14" fmla="*/ 581025 h 2255981"/>
                  <a:gd name="connsiteX15" fmla="*/ 160063 w 445813"/>
                  <a:gd name="connsiteY15" fmla="*/ 638175 h 2255981"/>
                  <a:gd name="connsiteX16" fmla="*/ 160063 w 445813"/>
                  <a:gd name="connsiteY16" fmla="*/ 695325 h 2255981"/>
                  <a:gd name="connsiteX17" fmla="*/ 185463 w 445813"/>
                  <a:gd name="connsiteY17" fmla="*/ 784225 h 2255981"/>
                  <a:gd name="connsiteX18" fmla="*/ 194988 w 445813"/>
                  <a:gd name="connsiteY18" fmla="*/ 835025 h 2255981"/>
                  <a:gd name="connsiteX19" fmla="*/ 204513 w 445813"/>
                  <a:gd name="connsiteY19" fmla="*/ 885825 h 2255981"/>
                  <a:gd name="connsiteX20" fmla="*/ 220388 w 445813"/>
                  <a:gd name="connsiteY20" fmla="*/ 923925 h 2255981"/>
                  <a:gd name="connsiteX21" fmla="*/ 163238 w 445813"/>
                  <a:gd name="connsiteY21" fmla="*/ 1022350 h 2255981"/>
                  <a:gd name="connsiteX22" fmla="*/ 96563 w 445813"/>
                  <a:gd name="connsiteY22" fmla="*/ 1057275 h 2255981"/>
                  <a:gd name="connsiteX23" fmla="*/ 52113 w 445813"/>
                  <a:gd name="connsiteY23" fmla="*/ 1143000 h 2255981"/>
                  <a:gd name="connsiteX24" fmla="*/ 20363 w 445813"/>
                  <a:gd name="connsiteY24" fmla="*/ 1244600 h 2255981"/>
                  <a:gd name="connsiteX25" fmla="*/ 1313 w 445813"/>
                  <a:gd name="connsiteY25" fmla="*/ 1346200 h 2255981"/>
                  <a:gd name="connsiteX26" fmla="*/ 10838 w 445813"/>
                  <a:gd name="connsiteY26" fmla="*/ 1438275 h 2255981"/>
                  <a:gd name="connsiteX27" fmla="*/ 83863 w 445813"/>
                  <a:gd name="connsiteY27" fmla="*/ 1511300 h 2255981"/>
                  <a:gd name="connsiteX28" fmla="*/ 112438 w 445813"/>
                  <a:gd name="connsiteY28" fmla="*/ 1558925 h 2255981"/>
                  <a:gd name="connsiteX29" fmla="*/ 150538 w 445813"/>
                  <a:gd name="connsiteY29" fmla="*/ 1590675 h 2255981"/>
                  <a:gd name="connsiteX30" fmla="*/ 169588 w 445813"/>
                  <a:gd name="connsiteY30" fmla="*/ 1644650 h 2255981"/>
                  <a:gd name="connsiteX31" fmla="*/ 226738 w 445813"/>
                  <a:gd name="connsiteY31" fmla="*/ 1685925 h 2255981"/>
                  <a:gd name="connsiteX32" fmla="*/ 264838 w 445813"/>
                  <a:gd name="connsiteY32" fmla="*/ 1730375 h 2255981"/>
                  <a:gd name="connsiteX33" fmla="*/ 277538 w 445813"/>
                  <a:gd name="connsiteY33" fmla="*/ 1758950 h 2255981"/>
                  <a:gd name="connsiteX34" fmla="*/ 277538 w 445813"/>
                  <a:gd name="connsiteY34" fmla="*/ 1828800 h 2255981"/>
                  <a:gd name="connsiteX35" fmla="*/ 325163 w 445813"/>
                  <a:gd name="connsiteY35" fmla="*/ 1905000 h 2255981"/>
                  <a:gd name="connsiteX36" fmla="*/ 363263 w 445813"/>
                  <a:gd name="connsiteY36" fmla="*/ 1962150 h 2255981"/>
                  <a:gd name="connsiteX37" fmla="*/ 369613 w 445813"/>
                  <a:gd name="connsiteY37" fmla="*/ 2028825 h 2255981"/>
                  <a:gd name="connsiteX38" fmla="*/ 407713 w 445813"/>
                  <a:gd name="connsiteY38" fmla="*/ 2085975 h 2255981"/>
                  <a:gd name="connsiteX39" fmla="*/ 414063 w 445813"/>
                  <a:gd name="connsiteY39" fmla="*/ 2255981 h 2255981"/>
                  <a:gd name="connsiteX0" fmla="*/ 445813 w 445813"/>
                  <a:gd name="connsiteY0" fmla="*/ 0 h 2085975"/>
                  <a:gd name="connsiteX1" fmla="*/ 407713 w 445813"/>
                  <a:gd name="connsiteY1" fmla="*/ 66675 h 2085975"/>
                  <a:gd name="connsiteX2" fmla="*/ 353738 w 445813"/>
                  <a:gd name="connsiteY2" fmla="*/ 85725 h 2085975"/>
                  <a:gd name="connsiteX3" fmla="*/ 283888 w 445813"/>
                  <a:gd name="connsiteY3" fmla="*/ 98425 h 2085975"/>
                  <a:gd name="connsiteX4" fmla="*/ 223563 w 445813"/>
                  <a:gd name="connsiteY4" fmla="*/ 133350 h 2085975"/>
                  <a:gd name="connsiteX5" fmla="*/ 121963 w 445813"/>
                  <a:gd name="connsiteY5" fmla="*/ 196850 h 2085975"/>
                  <a:gd name="connsiteX6" fmla="*/ 131488 w 445813"/>
                  <a:gd name="connsiteY6" fmla="*/ 247650 h 2085975"/>
                  <a:gd name="connsiteX7" fmla="*/ 172763 w 445813"/>
                  <a:gd name="connsiteY7" fmla="*/ 276225 h 2085975"/>
                  <a:gd name="connsiteX8" fmla="*/ 185463 w 445813"/>
                  <a:gd name="connsiteY8" fmla="*/ 327025 h 2085975"/>
                  <a:gd name="connsiteX9" fmla="*/ 239438 w 445813"/>
                  <a:gd name="connsiteY9" fmla="*/ 368300 h 2085975"/>
                  <a:gd name="connsiteX10" fmla="*/ 239438 w 445813"/>
                  <a:gd name="connsiteY10" fmla="*/ 412750 h 2085975"/>
                  <a:gd name="connsiteX11" fmla="*/ 207688 w 445813"/>
                  <a:gd name="connsiteY11" fmla="*/ 454025 h 2085975"/>
                  <a:gd name="connsiteX12" fmla="*/ 287063 w 445813"/>
                  <a:gd name="connsiteY12" fmla="*/ 479425 h 2085975"/>
                  <a:gd name="connsiteX13" fmla="*/ 302938 w 445813"/>
                  <a:gd name="connsiteY13" fmla="*/ 511175 h 2085975"/>
                  <a:gd name="connsiteX14" fmla="*/ 210863 w 445813"/>
                  <a:gd name="connsiteY14" fmla="*/ 581025 h 2085975"/>
                  <a:gd name="connsiteX15" fmla="*/ 160063 w 445813"/>
                  <a:gd name="connsiteY15" fmla="*/ 638175 h 2085975"/>
                  <a:gd name="connsiteX16" fmla="*/ 160063 w 445813"/>
                  <a:gd name="connsiteY16" fmla="*/ 695325 h 2085975"/>
                  <a:gd name="connsiteX17" fmla="*/ 185463 w 445813"/>
                  <a:gd name="connsiteY17" fmla="*/ 784225 h 2085975"/>
                  <a:gd name="connsiteX18" fmla="*/ 194988 w 445813"/>
                  <a:gd name="connsiteY18" fmla="*/ 835025 h 2085975"/>
                  <a:gd name="connsiteX19" fmla="*/ 204513 w 445813"/>
                  <a:gd name="connsiteY19" fmla="*/ 885825 h 2085975"/>
                  <a:gd name="connsiteX20" fmla="*/ 220388 w 445813"/>
                  <a:gd name="connsiteY20" fmla="*/ 923925 h 2085975"/>
                  <a:gd name="connsiteX21" fmla="*/ 163238 w 445813"/>
                  <a:gd name="connsiteY21" fmla="*/ 1022350 h 2085975"/>
                  <a:gd name="connsiteX22" fmla="*/ 96563 w 445813"/>
                  <a:gd name="connsiteY22" fmla="*/ 1057275 h 2085975"/>
                  <a:gd name="connsiteX23" fmla="*/ 52113 w 445813"/>
                  <a:gd name="connsiteY23" fmla="*/ 1143000 h 2085975"/>
                  <a:gd name="connsiteX24" fmla="*/ 20363 w 445813"/>
                  <a:gd name="connsiteY24" fmla="*/ 1244600 h 2085975"/>
                  <a:gd name="connsiteX25" fmla="*/ 1313 w 445813"/>
                  <a:gd name="connsiteY25" fmla="*/ 1346200 h 2085975"/>
                  <a:gd name="connsiteX26" fmla="*/ 10838 w 445813"/>
                  <a:gd name="connsiteY26" fmla="*/ 1438275 h 2085975"/>
                  <a:gd name="connsiteX27" fmla="*/ 83863 w 445813"/>
                  <a:gd name="connsiteY27" fmla="*/ 1511300 h 2085975"/>
                  <a:gd name="connsiteX28" fmla="*/ 112438 w 445813"/>
                  <a:gd name="connsiteY28" fmla="*/ 1558925 h 2085975"/>
                  <a:gd name="connsiteX29" fmla="*/ 150538 w 445813"/>
                  <a:gd name="connsiteY29" fmla="*/ 1590675 h 2085975"/>
                  <a:gd name="connsiteX30" fmla="*/ 169588 w 445813"/>
                  <a:gd name="connsiteY30" fmla="*/ 1644650 h 2085975"/>
                  <a:gd name="connsiteX31" fmla="*/ 226738 w 445813"/>
                  <a:gd name="connsiteY31" fmla="*/ 1685925 h 2085975"/>
                  <a:gd name="connsiteX32" fmla="*/ 264838 w 445813"/>
                  <a:gd name="connsiteY32" fmla="*/ 1730375 h 2085975"/>
                  <a:gd name="connsiteX33" fmla="*/ 277538 w 445813"/>
                  <a:gd name="connsiteY33" fmla="*/ 1758950 h 2085975"/>
                  <a:gd name="connsiteX34" fmla="*/ 277538 w 445813"/>
                  <a:gd name="connsiteY34" fmla="*/ 1828800 h 2085975"/>
                  <a:gd name="connsiteX35" fmla="*/ 325163 w 445813"/>
                  <a:gd name="connsiteY35" fmla="*/ 1905000 h 2085975"/>
                  <a:gd name="connsiteX36" fmla="*/ 363263 w 445813"/>
                  <a:gd name="connsiteY36" fmla="*/ 1962150 h 2085975"/>
                  <a:gd name="connsiteX37" fmla="*/ 369613 w 445813"/>
                  <a:gd name="connsiteY37" fmla="*/ 2028825 h 2085975"/>
                  <a:gd name="connsiteX38" fmla="*/ 407713 w 445813"/>
                  <a:gd name="connsiteY38" fmla="*/ 2085975 h 2085975"/>
                  <a:gd name="connsiteX0" fmla="*/ 445813 w 509313"/>
                  <a:gd name="connsiteY0" fmla="*/ 0 h 2261466"/>
                  <a:gd name="connsiteX1" fmla="*/ 407713 w 509313"/>
                  <a:gd name="connsiteY1" fmla="*/ 66675 h 2261466"/>
                  <a:gd name="connsiteX2" fmla="*/ 353738 w 509313"/>
                  <a:gd name="connsiteY2" fmla="*/ 85725 h 2261466"/>
                  <a:gd name="connsiteX3" fmla="*/ 283888 w 509313"/>
                  <a:gd name="connsiteY3" fmla="*/ 98425 h 2261466"/>
                  <a:gd name="connsiteX4" fmla="*/ 223563 w 509313"/>
                  <a:gd name="connsiteY4" fmla="*/ 133350 h 2261466"/>
                  <a:gd name="connsiteX5" fmla="*/ 121963 w 509313"/>
                  <a:gd name="connsiteY5" fmla="*/ 196850 h 2261466"/>
                  <a:gd name="connsiteX6" fmla="*/ 131488 w 509313"/>
                  <a:gd name="connsiteY6" fmla="*/ 247650 h 2261466"/>
                  <a:gd name="connsiteX7" fmla="*/ 172763 w 509313"/>
                  <a:gd name="connsiteY7" fmla="*/ 276225 h 2261466"/>
                  <a:gd name="connsiteX8" fmla="*/ 185463 w 509313"/>
                  <a:gd name="connsiteY8" fmla="*/ 327025 h 2261466"/>
                  <a:gd name="connsiteX9" fmla="*/ 239438 w 509313"/>
                  <a:gd name="connsiteY9" fmla="*/ 368300 h 2261466"/>
                  <a:gd name="connsiteX10" fmla="*/ 239438 w 509313"/>
                  <a:gd name="connsiteY10" fmla="*/ 412750 h 2261466"/>
                  <a:gd name="connsiteX11" fmla="*/ 207688 w 509313"/>
                  <a:gd name="connsiteY11" fmla="*/ 454025 h 2261466"/>
                  <a:gd name="connsiteX12" fmla="*/ 287063 w 509313"/>
                  <a:gd name="connsiteY12" fmla="*/ 479425 h 2261466"/>
                  <a:gd name="connsiteX13" fmla="*/ 302938 w 509313"/>
                  <a:gd name="connsiteY13" fmla="*/ 511175 h 2261466"/>
                  <a:gd name="connsiteX14" fmla="*/ 210863 w 509313"/>
                  <a:gd name="connsiteY14" fmla="*/ 581025 h 2261466"/>
                  <a:gd name="connsiteX15" fmla="*/ 160063 w 509313"/>
                  <a:gd name="connsiteY15" fmla="*/ 638175 h 2261466"/>
                  <a:gd name="connsiteX16" fmla="*/ 160063 w 509313"/>
                  <a:gd name="connsiteY16" fmla="*/ 695325 h 2261466"/>
                  <a:gd name="connsiteX17" fmla="*/ 185463 w 509313"/>
                  <a:gd name="connsiteY17" fmla="*/ 784225 h 2261466"/>
                  <a:gd name="connsiteX18" fmla="*/ 194988 w 509313"/>
                  <a:gd name="connsiteY18" fmla="*/ 835025 h 2261466"/>
                  <a:gd name="connsiteX19" fmla="*/ 204513 w 509313"/>
                  <a:gd name="connsiteY19" fmla="*/ 885825 h 2261466"/>
                  <a:gd name="connsiteX20" fmla="*/ 220388 w 509313"/>
                  <a:gd name="connsiteY20" fmla="*/ 923925 h 2261466"/>
                  <a:gd name="connsiteX21" fmla="*/ 163238 w 509313"/>
                  <a:gd name="connsiteY21" fmla="*/ 1022350 h 2261466"/>
                  <a:gd name="connsiteX22" fmla="*/ 96563 w 509313"/>
                  <a:gd name="connsiteY22" fmla="*/ 1057275 h 2261466"/>
                  <a:gd name="connsiteX23" fmla="*/ 52113 w 509313"/>
                  <a:gd name="connsiteY23" fmla="*/ 1143000 h 2261466"/>
                  <a:gd name="connsiteX24" fmla="*/ 20363 w 509313"/>
                  <a:gd name="connsiteY24" fmla="*/ 1244600 h 2261466"/>
                  <a:gd name="connsiteX25" fmla="*/ 1313 w 509313"/>
                  <a:gd name="connsiteY25" fmla="*/ 1346200 h 2261466"/>
                  <a:gd name="connsiteX26" fmla="*/ 10838 w 509313"/>
                  <a:gd name="connsiteY26" fmla="*/ 1438275 h 2261466"/>
                  <a:gd name="connsiteX27" fmla="*/ 83863 w 509313"/>
                  <a:gd name="connsiteY27" fmla="*/ 1511300 h 2261466"/>
                  <a:gd name="connsiteX28" fmla="*/ 112438 w 509313"/>
                  <a:gd name="connsiteY28" fmla="*/ 1558925 h 2261466"/>
                  <a:gd name="connsiteX29" fmla="*/ 150538 w 509313"/>
                  <a:gd name="connsiteY29" fmla="*/ 1590675 h 2261466"/>
                  <a:gd name="connsiteX30" fmla="*/ 169588 w 509313"/>
                  <a:gd name="connsiteY30" fmla="*/ 1644650 h 2261466"/>
                  <a:gd name="connsiteX31" fmla="*/ 226738 w 509313"/>
                  <a:gd name="connsiteY31" fmla="*/ 1685925 h 2261466"/>
                  <a:gd name="connsiteX32" fmla="*/ 264838 w 509313"/>
                  <a:gd name="connsiteY32" fmla="*/ 1730375 h 2261466"/>
                  <a:gd name="connsiteX33" fmla="*/ 277538 w 509313"/>
                  <a:gd name="connsiteY33" fmla="*/ 1758950 h 2261466"/>
                  <a:gd name="connsiteX34" fmla="*/ 277538 w 509313"/>
                  <a:gd name="connsiteY34" fmla="*/ 1828800 h 2261466"/>
                  <a:gd name="connsiteX35" fmla="*/ 325163 w 509313"/>
                  <a:gd name="connsiteY35" fmla="*/ 1905000 h 2261466"/>
                  <a:gd name="connsiteX36" fmla="*/ 363263 w 509313"/>
                  <a:gd name="connsiteY36" fmla="*/ 1962150 h 2261466"/>
                  <a:gd name="connsiteX37" fmla="*/ 369613 w 509313"/>
                  <a:gd name="connsiteY37" fmla="*/ 2028825 h 2261466"/>
                  <a:gd name="connsiteX38" fmla="*/ 509313 w 509313"/>
                  <a:gd name="connsiteY38" fmla="*/ 2261466 h 2261466"/>
                  <a:gd name="connsiteX0" fmla="*/ 445813 w 511375"/>
                  <a:gd name="connsiteY0" fmla="*/ 0 h 2261466"/>
                  <a:gd name="connsiteX1" fmla="*/ 407713 w 511375"/>
                  <a:gd name="connsiteY1" fmla="*/ 66675 h 2261466"/>
                  <a:gd name="connsiteX2" fmla="*/ 353738 w 511375"/>
                  <a:gd name="connsiteY2" fmla="*/ 85725 h 2261466"/>
                  <a:gd name="connsiteX3" fmla="*/ 283888 w 511375"/>
                  <a:gd name="connsiteY3" fmla="*/ 98425 h 2261466"/>
                  <a:gd name="connsiteX4" fmla="*/ 223563 w 511375"/>
                  <a:gd name="connsiteY4" fmla="*/ 133350 h 2261466"/>
                  <a:gd name="connsiteX5" fmla="*/ 121963 w 511375"/>
                  <a:gd name="connsiteY5" fmla="*/ 196850 h 2261466"/>
                  <a:gd name="connsiteX6" fmla="*/ 131488 w 511375"/>
                  <a:gd name="connsiteY6" fmla="*/ 247650 h 2261466"/>
                  <a:gd name="connsiteX7" fmla="*/ 172763 w 511375"/>
                  <a:gd name="connsiteY7" fmla="*/ 276225 h 2261466"/>
                  <a:gd name="connsiteX8" fmla="*/ 185463 w 511375"/>
                  <a:gd name="connsiteY8" fmla="*/ 327025 h 2261466"/>
                  <a:gd name="connsiteX9" fmla="*/ 239438 w 511375"/>
                  <a:gd name="connsiteY9" fmla="*/ 368300 h 2261466"/>
                  <a:gd name="connsiteX10" fmla="*/ 239438 w 511375"/>
                  <a:gd name="connsiteY10" fmla="*/ 412750 h 2261466"/>
                  <a:gd name="connsiteX11" fmla="*/ 207688 w 511375"/>
                  <a:gd name="connsiteY11" fmla="*/ 454025 h 2261466"/>
                  <a:gd name="connsiteX12" fmla="*/ 287063 w 511375"/>
                  <a:gd name="connsiteY12" fmla="*/ 479425 h 2261466"/>
                  <a:gd name="connsiteX13" fmla="*/ 302938 w 511375"/>
                  <a:gd name="connsiteY13" fmla="*/ 511175 h 2261466"/>
                  <a:gd name="connsiteX14" fmla="*/ 210863 w 511375"/>
                  <a:gd name="connsiteY14" fmla="*/ 581025 h 2261466"/>
                  <a:gd name="connsiteX15" fmla="*/ 160063 w 511375"/>
                  <a:gd name="connsiteY15" fmla="*/ 638175 h 2261466"/>
                  <a:gd name="connsiteX16" fmla="*/ 160063 w 511375"/>
                  <a:gd name="connsiteY16" fmla="*/ 695325 h 2261466"/>
                  <a:gd name="connsiteX17" fmla="*/ 185463 w 511375"/>
                  <a:gd name="connsiteY17" fmla="*/ 784225 h 2261466"/>
                  <a:gd name="connsiteX18" fmla="*/ 194988 w 511375"/>
                  <a:gd name="connsiteY18" fmla="*/ 835025 h 2261466"/>
                  <a:gd name="connsiteX19" fmla="*/ 204513 w 511375"/>
                  <a:gd name="connsiteY19" fmla="*/ 885825 h 2261466"/>
                  <a:gd name="connsiteX20" fmla="*/ 220388 w 511375"/>
                  <a:gd name="connsiteY20" fmla="*/ 923925 h 2261466"/>
                  <a:gd name="connsiteX21" fmla="*/ 163238 w 511375"/>
                  <a:gd name="connsiteY21" fmla="*/ 1022350 h 2261466"/>
                  <a:gd name="connsiteX22" fmla="*/ 96563 w 511375"/>
                  <a:gd name="connsiteY22" fmla="*/ 1057275 h 2261466"/>
                  <a:gd name="connsiteX23" fmla="*/ 52113 w 511375"/>
                  <a:gd name="connsiteY23" fmla="*/ 1143000 h 2261466"/>
                  <a:gd name="connsiteX24" fmla="*/ 20363 w 511375"/>
                  <a:gd name="connsiteY24" fmla="*/ 1244600 h 2261466"/>
                  <a:gd name="connsiteX25" fmla="*/ 1313 w 511375"/>
                  <a:gd name="connsiteY25" fmla="*/ 1346200 h 2261466"/>
                  <a:gd name="connsiteX26" fmla="*/ 10838 w 511375"/>
                  <a:gd name="connsiteY26" fmla="*/ 1438275 h 2261466"/>
                  <a:gd name="connsiteX27" fmla="*/ 83863 w 511375"/>
                  <a:gd name="connsiteY27" fmla="*/ 1511300 h 2261466"/>
                  <a:gd name="connsiteX28" fmla="*/ 112438 w 511375"/>
                  <a:gd name="connsiteY28" fmla="*/ 1558925 h 2261466"/>
                  <a:gd name="connsiteX29" fmla="*/ 150538 w 511375"/>
                  <a:gd name="connsiteY29" fmla="*/ 1590675 h 2261466"/>
                  <a:gd name="connsiteX30" fmla="*/ 169588 w 511375"/>
                  <a:gd name="connsiteY30" fmla="*/ 1644650 h 2261466"/>
                  <a:gd name="connsiteX31" fmla="*/ 226738 w 511375"/>
                  <a:gd name="connsiteY31" fmla="*/ 1685925 h 2261466"/>
                  <a:gd name="connsiteX32" fmla="*/ 264838 w 511375"/>
                  <a:gd name="connsiteY32" fmla="*/ 1730375 h 2261466"/>
                  <a:gd name="connsiteX33" fmla="*/ 277538 w 511375"/>
                  <a:gd name="connsiteY33" fmla="*/ 1758950 h 2261466"/>
                  <a:gd name="connsiteX34" fmla="*/ 277538 w 511375"/>
                  <a:gd name="connsiteY34" fmla="*/ 1828800 h 2261466"/>
                  <a:gd name="connsiteX35" fmla="*/ 325163 w 511375"/>
                  <a:gd name="connsiteY35" fmla="*/ 1905000 h 2261466"/>
                  <a:gd name="connsiteX36" fmla="*/ 363263 w 511375"/>
                  <a:gd name="connsiteY36" fmla="*/ 1962150 h 2261466"/>
                  <a:gd name="connsiteX37" fmla="*/ 369613 w 511375"/>
                  <a:gd name="connsiteY37" fmla="*/ 2028825 h 2261466"/>
                  <a:gd name="connsiteX38" fmla="*/ 509313 w 511375"/>
                  <a:gd name="connsiteY38" fmla="*/ 2261466 h 2261466"/>
                  <a:gd name="connsiteX0" fmla="*/ 445813 w 512284"/>
                  <a:gd name="connsiteY0" fmla="*/ 0 h 2261466"/>
                  <a:gd name="connsiteX1" fmla="*/ 407713 w 512284"/>
                  <a:gd name="connsiteY1" fmla="*/ 66675 h 2261466"/>
                  <a:gd name="connsiteX2" fmla="*/ 353738 w 512284"/>
                  <a:gd name="connsiteY2" fmla="*/ 85725 h 2261466"/>
                  <a:gd name="connsiteX3" fmla="*/ 283888 w 512284"/>
                  <a:gd name="connsiteY3" fmla="*/ 98425 h 2261466"/>
                  <a:gd name="connsiteX4" fmla="*/ 223563 w 512284"/>
                  <a:gd name="connsiteY4" fmla="*/ 133350 h 2261466"/>
                  <a:gd name="connsiteX5" fmla="*/ 121963 w 512284"/>
                  <a:gd name="connsiteY5" fmla="*/ 196850 h 2261466"/>
                  <a:gd name="connsiteX6" fmla="*/ 131488 w 512284"/>
                  <a:gd name="connsiteY6" fmla="*/ 247650 h 2261466"/>
                  <a:gd name="connsiteX7" fmla="*/ 172763 w 512284"/>
                  <a:gd name="connsiteY7" fmla="*/ 276225 h 2261466"/>
                  <a:gd name="connsiteX8" fmla="*/ 185463 w 512284"/>
                  <a:gd name="connsiteY8" fmla="*/ 327025 h 2261466"/>
                  <a:gd name="connsiteX9" fmla="*/ 239438 w 512284"/>
                  <a:gd name="connsiteY9" fmla="*/ 368300 h 2261466"/>
                  <a:gd name="connsiteX10" fmla="*/ 239438 w 512284"/>
                  <a:gd name="connsiteY10" fmla="*/ 412750 h 2261466"/>
                  <a:gd name="connsiteX11" fmla="*/ 207688 w 512284"/>
                  <a:gd name="connsiteY11" fmla="*/ 454025 h 2261466"/>
                  <a:gd name="connsiteX12" fmla="*/ 287063 w 512284"/>
                  <a:gd name="connsiteY12" fmla="*/ 479425 h 2261466"/>
                  <a:gd name="connsiteX13" fmla="*/ 302938 w 512284"/>
                  <a:gd name="connsiteY13" fmla="*/ 511175 h 2261466"/>
                  <a:gd name="connsiteX14" fmla="*/ 210863 w 512284"/>
                  <a:gd name="connsiteY14" fmla="*/ 581025 h 2261466"/>
                  <a:gd name="connsiteX15" fmla="*/ 160063 w 512284"/>
                  <a:gd name="connsiteY15" fmla="*/ 638175 h 2261466"/>
                  <a:gd name="connsiteX16" fmla="*/ 160063 w 512284"/>
                  <a:gd name="connsiteY16" fmla="*/ 695325 h 2261466"/>
                  <a:gd name="connsiteX17" fmla="*/ 185463 w 512284"/>
                  <a:gd name="connsiteY17" fmla="*/ 784225 h 2261466"/>
                  <a:gd name="connsiteX18" fmla="*/ 194988 w 512284"/>
                  <a:gd name="connsiteY18" fmla="*/ 835025 h 2261466"/>
                  <a:gd name="connsiteX19" fmla="*/ 204513 w 512284"/>
                  <a:gd name="connsiteY19" fmla="*/ 885825 h 2261466"/>
                  <a:gd name="connsiteX20" fmla="*/ 220388 w 512284"/>
                  <a:gd name="connsiteY20" fmla="*/ 923925 h 2261466"/>
                  <a:gd name="connsiteX21" fmla="*/ 163238 w 512284"/>
                  <a:gd name="connsiteY21" fmla="*/ 1022350 h 2261466"/>
                  <a:gd name="connsiteX22" fmla="*/ 96563 w 512284"/>
                  <a:gd name="connsiteY22" fmla="*/ 1057275 h 2261466"/>
                  <a:gd name="connsiteX23" fmla="*/ 52113 w 512284"/>
                  <a:gd name="connsiteY23" fmla="*/ 1143000 h 2261466"/>
                  <a:gd name="connsiteX24" fmla="*/ 20363 w 512284"/>
                  <a:gd name="connsiteY24" fmla="*/ 1244600 h 2261466"/>
                  <a:gd name="connsiteX25" fmla="*/ 1313 w 512284"/>
                  <a:gd name="connsiteY25" fmla="*/ 1346200 h 2261466"/>
                  <a:gd name="connsiteX26" fmla="*/ 10838 w 512284"/>
                  <a:gd name="connsiteY26" fmla="*/ 1438275 h 2261466"/>
                  <a:gd name="connsiteX27" fmla="*/ 83863 w 512284"/>
                  <a:gd name="connsiteY27" fmla="*/ 1511300 h 2261466"/>
                  <a:gd name="connsiteX28" fmla="*/ 112438 w 512284"/>
                  <a:gd name="connsiteY28" fmla="*/ 1558925 h 2261466"/>
                  <a:gd name="connsiteX29" fmla="*/ 150538 w 512284"/>
                  <a:gd name="connsiteY29" fmla="*/ 1590675 h 2261466"/>
                  <a:gd name="connsiteX30" fmla="*/ 169588 w 512284"/>
                  <a:gd name="connsiteY30" fmla="*/ 1644650 h 2261466"/>
                  <a:gd name="connsiteX31" fmla="*/ 226738 w 512284"/>
                  <a:gd name="connsiteY31" fmla="*/ 1685925 h 2261466"/>
                  <a:gd name="connsiteX32" fmla="*/ 264838 w 512284"/>
                  <a:gd name="connsiteY32" fmla="*/ 1730375 h 2261466"/>
                  <a:gd name="connsiteX33" fmla="*/ 277538 w 512284"/>
                  <a:gd name="connsiteY33" fmla="*/ 1758950 h 2261466"/>
                  <a:gd name="connsiteX34" fmla="*/ 277538 w 512284"/>
                  <a:gd name="connsiteY34" fmla="*/ 1828800 h 2261466"/>
                  <a:gd name="connsiteX35" fmla="*/ 325163 w 512284"/>
                  <a:gd name="connsiteY35" fmla="*/ 1905000 h 2261466"/>
                  <a:gd name="connsiteX36" fmla="*/ 363263 w 512284"/>
                  <a:gd name="connsiteY36" fmla="*/ 1962150 h 2261466"/>
                  <a:gd name="connsiteX37" fmla="*/ 415795 w 512284"/>
                  <a:gd name="connsiteY37" fmla="*/ 2038061 h 2261466"/>
                  <a:gd name="connsiteX38" fmla="*/ 509313 w 512284"/>
                  <a:gd name="connsiteY38" fmla="*/ 2261466 h 2261466"/>
                  <a:gd name="connsiteX0" fmla="*/ 445813 w 445813"/>
                  <a:gd name="connsiteY0" fmla="*/ 0 h 2038061"/>
                  <a:gd name="connsiteX1" fmla="*/ 407713 w 445813"/>
                  <a:gd name="connsiteY1" fmla="*/ 66675 h 2038061"/>
                  <a:gd name="connsiteX2" fmla="*/ 353738 w 445813"/>
                  <a:gd name="connsiteY2" fmla="*/ 85725 h 2038061"/>
                  <a:gd name="connsiteX3" fmla="*/ 283888 w 445813"/>
                  <a:gd name="connsiteY3" fmla="*/ 98425 h 2038061"/>
                  <a:gd name="connsiteX4" fmla="*/ 223563 w 445813"/>
                  <a:gd name="connsiteY4" fmla="*/ 133350 h 2038061"/>
                  <a:gd name="connsiteX5" fmla="*/ 121963 w 445813"/>
                  <a:gd name="connsiteY5" fmla="*/ 196850 h 2038061"/>
                  <a:gd name="connsiteX6" fmla="*/ 131488 w 445813"/>
                  <a:gd name="connsiteY6" fmla="*/ 247650 h 2038061"/>
                  <a:gd name="connsiteX7" fmla="*/ 172763 w 445813"/>
                  <a:gd name="connsiteY7" fmla="*/ 276225 h 2038061"/>
                  <a:gd name="connsiteX8" fmla="*/ 185463 w 445813"/>
                  <a:gd name="connsiteY8" fmla="*/ 327025 h 2038061"/>
                  <a:gd name="connsiteX9" fmla="*/ 239438 w 445813"/>
                  <a:gd name="connsiteY9" fmla="*/ 368300 h 2038061"/>
                  <a:gd name="connsiteX10" fmla="*/ 239438 w 445813"/>
                  <a:gd name="connsiteY10" fmla="*/ 412750 h 2038061"/>
                  <a:gd name="connsiteX11" fmla="*/ 207688 w 445813"/>
                  <a:gd name="connsiteY11" fmla="*/ 454025 h 2038061"/>
                  <a:gd name="connsiteX12" fmla="*/ 287063 w 445813"/>
                  <a:gd name="connsiteY12" fmla="*/ 479425 h 2038061"/>
                  <a:gd name="connsiteX13" fmla="*/ 302938 w 445813"/>
                  <a:gd name="connsiteY13" fmla="*/ 511175 h 2038061"/>
                  <a:gd name="connsiteX14" fmla="*/ 210863 w 445813"/>
                  <a:gd name="connsiteY14" fmla="*/ 581025 h 2038061"/>
                  <a:gd name="connsiteX15" fmla="*/ 160063 w 445813"/>
                  <a:gd name="connsiteY15" fmla="*/ 638175 h 2038061"/>
                  <a:gd name="connsiteX16" fmla="*/ 160063 w 445813"/>
                  <a:gd name="connsiteY16" fmla="*/ 695325 h 2038061"/>
                  <a:gd name="connsiteX17" fmla="*/ 185463 w 445813"/>
                  <a:gd name="connsiteY17" fmla="*/ 784225 h 2038061"/>
                  <a:gd name="connsiteX18" fmla="*/ 194988 w 445813"/>
                  <a:gd name="connsiteY18" fmla="*/ 835025 h 2038061"/>
                  <a:gd name="connsiteX19" fmla="*/ 204513 w 445813"/>
                  <a:gd name="connsiteY19" fmla="*/ 885825 h 2038061"/>
                  <a:gd name="connsiteX20" fmla="*/ 220388 w 445813"/>
                  <a:gd name="connsiteY20" fmla="*/ 923925 h 2038061"/>
                  <a:gd name="connsiteX21" fmla="*/ 163238 w 445813"/>
                  <a:gd name="connsiteY21" fmla="*/ 1022350 h 2038061"/>
                  <a:gd name="connsiteX22" fmla="*/ 96563 w 445813"/>
                  <a:gd name="connsiteY22" fmla="*/ 1057275 h 2038061"/>
                  <a:gd name="connsiteX23" fmla="*/ 52113 w 445813"/>
                  <a:gd name="connsiteY23" fmla="*/ 1143000 h 2038061"/>
                  <a:gd name="connsiteX24" fmla="*/ 20363 w 445813"/>
                  <a:gd name="connsiteY24" fmla="*/ 1244600 h 2038061"/>
                  <a:gd name="connsiteX25" fmla="*/ 1313 w 445813"/>
                  <a:gd name="connsiteY25" fmla="*/ 1346200 h 2038061"/>
                  <a:gd name="connsiteX26" fmla="*/ 10838 w 445813"/>
                  <a:gd name="connsiteY26" fmla="*/ 1438275 h 2038061"/>
                  <a:gd name="connsiteX27" fmla="*/ 83863 w 445813"/>
                  <a:gd name="connsiteY27" fmla="*/ 1511300 h 2038061"/>
                  <a:gd name="connsiteX28" fmla="*/ 112438 w 445813"/>
                  <a:gd name="connsiteY28" fmla="*/ 1558925 h 2038061"/>
                  <a:gd name="connsiteX29" fmla="*/ 150538 w 445813"/>
                  <a:gd name="connsiteY29" fmla="*/ 1590675 h 2038061"/>
                  <a:gd name="connsiteX30" fmla="*/ 169588 w 445813"/>
                  <a:gd name="connsiteY30" fmla="*/ 1644650 h 2038061"/>
                  <a:gd name="connsiteX31" fmla="*/ 226738 w 445813"/>
                  <a:gd name="connsiteY31" fmla="*/ 1685925 h 2038061"/>
                  <a:gd name="connsiteX32" fmla="*/ 264838 w 445813"/>
                  <a:gd name="connsiteY32" fmla="*/ 1730375 h 2038061"/>
                  <a:gd name="connsiteX33" fmla="*/ 277538 w 445813"/>
                  <a:gd name="connsiteY33" fmla="*/ 1758950 h 2038061"/>
                  <a:gd name="connsiteX34" fmla="*/ 277538 w 445813"/>
                  <a:gd name="connsiteY34" fmla="*/ 1828800 h 2038061"/>
                  <a:gd name="connsiteX35" fmla="*/ 325163 w 445813"/>
                  <a:gd name="connsiteY35" fmla="*/ 1905000 h 2038061"/>
                  <a:gd name="connsiteX36" fmla="*/ 363263 w 445813"/>
                  <a:gd name="connsiteY36" fmla="*/ 1962150 h 2038061"/>
                  <a:gd name="connsiteX37" fmla="*/ 415795 w 445813"/>
                  <a:gd name="connsiteY37" fmla="*/ 2038061 h 2038061"/>
                  <a:gd name="connsiteX0" fmla="*/ 445813 w 445813"/>
                  <a:gd name="connsiteY0" fmla="*/ 0 h 1962150"/>
                  <a:gd name="connsiteX1" fmla="*/ 407713 w 445813"/>
                  <a:gd name="connsiteY1" fmla="*/ 66675 h 1962150"/>
                  <a:gd name="connsiteX2" fmla="*/ 353738 w 445813"/>
                  <a:gd name="connsiteY2" fmla="*/ 85725 h 1962150"/>
                  <a:gd name="connsiteX3" fmla="*/ 283888 w 445813"/>
                  <a:gd name="connsiteY3" fmla="*/ 98425 h 1962150"/>
                  <a:gd name="connsiteX4" fmla="*/ 223563 w 445813"/>
                  <a:gd name="connsiteY4" fmla="*/ 133350 h 1962150"/>
                  <a:gd name="connsiteX5" fmla="*/ 121963 w 445813"/>
                  <a:gd name="connsiteY5" fmla="*/ 196850 h 1962150"/>
                  <a:gd name="connsiteX6" fmla="*/ 131488 w 445813"/>
                  <a:gd name="connsiteY6" fmla="*/ 247650 h 1962150"/>
                  <a:gd name="connsiteX7" fmla="*/ 172763 w 445813"/>
                  <a:gd name="connsiteY7" fmla="*/ 276225 h 1962150"/>
                  <a:gd name="connsiteX8" fmla="*/ 185463 w 445813"/>
                  <a:gd name="connsiteY8" fmla="*/ 327025 h 1962150"/>
                  <a:gd name="connsiteX9" fmla="*/ 239438 w 445813"/>
                  <a:gd name="connsiteY9" fmla="*/ 368300 h 1962150"/>
                  <a:gd name="connsiteX10" fmla="*/ 239438 w 445813"/>
                  <a:gd name="connsiteY10" fmla="*/ 412750 h 1962150"/>
                  <a:gd name="connsiteX11" fmla="*/ 207688 w 445813"/>
                  <a:gd name="connsiteY11" fmla="*/ 454025 h 1962150"/>
                  <a:gd name="connsiteX12" fmla="*/ 287063 w 445813"/>
                  <a:gd name="connsiteY12" fmla="*/ 479425 h 1962150"/>
                  <a:gd name="connsiteX13" fmla="*/ 302938 w 445813"/>
                  <a:gd name="connsiteY13" fmla="*/ 511175 h 1962150"/>
                  <a:gd name="connsiteX14" fmla="*/ 210863 w 445813"/>
                  <a:gd name="connsiteY14" fmla="*/ 581025 h 1962150"/>
                  <a:gd name="connsiteX15" fmla="*/ 160063 w 445813"/>
                  <a:gd name="connsiteY15" fmla="*/ 638175 h 1962150"/>
                  <a:gd name="connsiteX16" fmla="*/ 160063 w 445813"/>
                  <a:gd name="connsiteY16" fmla="*/ 695325 h 1962150"/>
                  <a:gd name="connsiteX17" fmla="*/ 185463 w 445813"/>
                  <a:gd name="connsiteY17" fmla="*/ 784225 h 1962150"/>
                  <a:gd name="connsiteX18" fmla="*/ 194988 w 445813"/>
                  <a:gd name="connsiteY18" fmla="*/ 835025 h 1962150"/>
                  <a:gd name="connsiteX19" fmla="*/ 204513 w 445813"/>
                  <a:gd name="connsiteY19" fmla="*/ 885825 h 1962150"/>
                  <a:gd name="connsiteX20" fmla="*/ 220388 w 445813"/>
                  <a:gd name="connsiteY20" fmla="*/ 923925 h 1962150"/>
                  <a:gd name="connsiteX21" fmla="*/ 163238 w 445813"/>
                  <a:gd name="connsiteY21" fmla="*/ 1022350 h 1962150"/>
                  <a:gd name="connsiteX22" fmla="*/ 96563 w 445813"/>
                  <a:gd name="connsiteY22" fmla="*/ 1057275 h 1962150"/>
                  <a:gd name="connsiteX23" fmla="*/ 52113 w 445813"/>
                  <a:gd name="connsiteY23" fmla="*/ 1143000 h 1962150"/>
                  <a:gd name="connsiteX24" fmla="*/ 20363 w 445813"/>
                  <a:gd name="connsiteY24" fmla="*/ 1244600 h 1962150"/>
                  <a:gd name="connsiteX25" fmla="*/ 1313 w 445813"/>
                  <a:gd name="connsiteY25" fmla="*/ 1346200 h 1962150"/>
                  <a:gd name="connsiteX26" fmla="*/ 10838 w 445813"/>
                  <a:gd name="connsiteY26" fmla="*/ 1438275 h 1962150"/>
                  <a:gd name="connsiteX27" fmla="*/ 83863 w 445813"/>
                  <a:gd name="connsiteY27" fmla="*/ 1511300 h 1962150"/>
                  <a:gd name="connsiteX28" fmla="*/ 112438 w 445813"/>
                  <a:gd name="connsiteY28" fmla="*/ 1558925 h 1962150"/>
                  <a:gd name="connsiteX29" fmla="*/ 150538 w 445813"/>
                  <a:gd name="connsiteY29" fmla="*/ 1590675 h 1962150"/>
                  <a:gd name="connsiteX30" fmla="*/ 169588 w 445813"/>
                  <a:gd name="connsiteY30" fmla="*/ 1644650 h 1962150"/>
                  <a:gd name="connsiteX31" fmla="*/ 226738 w 445813"/>
                  <a:gd name="connsiteY31" fmla="*/ 1685925 h 1962150"/>
                  <a:gd name="connsiteX32" fmla="*/ 264838 w 445813"/>
                  <a:gd name="connsiteY32" fmla="*/ 1730375 h 1962150"/>
                  <a:gd name="connsiteX33" fmla="*/ 277538 w 445813"/>
                  <a:gd name="connsiteY33" fmla="*/ 1758950 h 1962150"/>
                  <a:gd name="connsiteX34" fmla="*/ 277538 w 445813"/>
                  <a:gd name="connsiteY34" fmla="*/ 1828800 h 1962150"/>
                  <a:gd name="connsiteX35" fmla="*/ 325163 w 445813"/>
                  <a:gd name="connsiteY35" fmla="*/ 1905000 h 1962150"/>
                  <a:gd name="connsiteX36" fmla="*/ 363263 w 445813"/>
                  <a:gd name="connsiteY36" fmla="*/ 1962150 h 1962150"/>
                  <a:gd name="connsiteX0" fmla="*/ 445813 w 445813"/>
                  <a:gd name="connsiteY0" fmla="*/ 0 h 1905000"/>
                  <a:gd name="connsiteX1" fmla="*/ 407713 w 445813"/>
                  <a:gd name="connsiteY1" fmla="*/ 66675 h 1905000"/>
                  <a:gd name="connsiteX2" fmla="*/ 353738 w 445813"/>
                  <a:gd name="connsiteY2" fmla="*/ 85725 h 1905000"/>
                  <a:gd name="connsiteX3" fmla="*/ 283888 w 445813"/>
                  <a:gd name="connsiteY3" fmla="*/ 98425 h 1905000"/>
                  <a:gd name="connsiteX4" fmla="*/ 223563 w 445813"/>
                  <a:gd name="connsiteY4" fmla="*/ 133350 h 1905000"/>
                  <a:gd name="connsiteX5" fmla="*/ 121963 w 445813"/>
                  <a:gd name="connsiteY5" fmla="*/ 196850 h 1905000"/>
                  <a:gd name="connsiteX6" fmla="*/ 131488 w 445813"/>
                  <a:gd name="connsiteY6" fmla="*/ 247650 h 1905000"/>
                  <a:gd name="connsiteX7" fmla="*/ 172763 w 445813"/>
                  <a:gd name="connsiteY7" fmla="*/ 276225 h 1905000"/>
                  <a:gd name="connsiteX8" fmla="*/ 185463 w 445813"/>
                  <a:gd name="connsiteY8" fmla="*/ 327025 h 1905000"/>
                  <a:gd name="connsiteX9" fmla="*/ 239438 w 445813"/>
                  <a:gd name="connsiteY9" fmla="*/ 368300 h 1905000"/>
                  <a:gd name="connsiteX10" fmla="*/ 239438 w 445813"/>
                  <a:gd name="connsiteY10" fmla="*/ 412750 h 1905000"/>
                  <a:gd name="connsiteX11" fmla="*/ 207688 w 445813"/>
                  <a:gd name="connsiteY11" fmla="*/ 454025 h 1905000"/>
                  <a:gd name="connsiteX12" fmla="*/ 287063 w 445813"/>
                  <a:gd name="connsiteY12" fmla="*/ 479425 h 1905000"/>
                  <a:gd name="connsiteX13" fmla="*/ 302938 w 445813"/>
                  <a:gd name="connsiteY13" fmla="*/ 511175 h 1905000"/>
                  <a:gd name="connsiteX14" fmla="*/ 210863 w 445813"/>
                  <a:gd name="connsiteY14" fmla="*/ 581025 h 1905000"/>
                  <a:gd name="connsiteX15" fmla="*/ 160063 w 445813"/>
                  <a:gd name="connsiteY15" fmla="*/ 638175 h 1905000"/>
                  <a:gd name="connsiteX16" fmla="*/ 160063 w 445813"/>
                  <a:gd name="connsiteY16" fmla="*/ 695325 h 1905000"/>
                  <a:gd name="connsiteX17" fmla="*/ 185463 w 445813"/>
                  <a:gd name="connsiteY17" fmla="*/ 784225 h 1905000"/>
                  <a:gd name="connsiteX18" fmla="*/ 194988 w 445813"/>
                  <a:gd name="connsiteY18" fmla="*/ 835025 h 1905000"/>
                  <a:gd name="connsiteX19" fmla="*/ 204513 w 445813"/>
                  <a:gd name="connsiteY19" fmla="*/ 885825 h 1905000"/>
                  <a:gd name="connsiteX20" fmla="*/ 220388 w 445813"/>
                  <a:gd name="connsiteY20" fmla="*/ 923925 h 1905000"/>
                  <a:gd name="connsiteX21" fmla="*/ 163238 w 445813"/>
                  <a:gd name="connsiteY21" fmla="*/ 1022350 h 1905000"/>
                  <a:gd name="connsiteX22" fmla="*/ 96563 w 445813"/>
                  <a:gd name="connsiteY22" fmla="*/ 1057275 h 1905000"/>
                  <a:gd name="connsiteX23" fmla="*/ 52113 w 445813"/>
                  <a:gd name="connsiteY23" fmla="*/ 1143000 h 1905000"/>
                  <a:gd name="connsiteX24" fmla="*/ 20363 w 445813"/>
                  <a:gd name="connsiteY24" fmla="*/ 1244600 h 1905000"/>
                  <a:gd name="connsiteX25" fmla="*/ 1313 w 445813"/>
                  <a:gd name="connsiteY25" fmla="*/ 1346200 h 1905000"/>
                  <a:gd name="connsiteX26" fmla="*/ 10838 w 445813"/>
                  <a:gd name="connsiteY26" fmla="*/ 1438275 h 1905000"/>
                  <a:gd name="connsiteX27" fmla="*/ 83863 w 445813"/>
                  <a:gd name="connsiteY27" fmla="*/ 1511300 h 1905000"/>
                  <a:gd name="connsiteX28" fmla="*/ 112438 w 445813"/>
                  <a:gd name="connsiteY28" fmla="*/ 1558925 h 1905000"/>
                  <a:gd name="connsiteX29" fmla="*/ 150538 w 445813"/>
                  <a:gd name="connsiteY29" fmla="*/ 1590675 h 1905000"/>
                  <a:gd name="connsiteX30" fmla="*/ 169588 w 445813"/>
                  <a:gd name="connsiteY30" fmla="*/ 1644650 h 1905000"/>
                  <a:gd name="connsiteX31" fmla="*/ 226738 w 445813"/>
                  <a:gd name="connsiteY31" fmla="*/ 1685925 h 1905000"/>
                  <a:gd name="connsiteX32" fmla="*/ 264838 w 445813"/>
                  <a:gd name="connsiteY32" fmla="*/ 1730375 h 1905000"/>
                  <a:gd name="connsiteX33" fmla="*/ 277538 w 445813"/>
                  <a:gd name="connsiteY33" fmla="*/ 1758950 h 1905000"/>
                  <a:gd name="connsiteX34" fmla="*/ 277538 w 445813"/>
                  <a:gd name="connsiteY34" fmla="*/ 1828800 h 1905000"/>
                  <a:gd name="connsiteX35" fmla="*/ 325163 w 445813"/>
                  <a:gd name="connsiteY35" fmla="*/ 1905000 h 1905000"/>
                  <a:gd name="connsiteX0" fmla="*/ 445813 w 445813"/>
                  <a:gd name="connsiteY0" fmla="*/ 0 h 1828800"/>
                  <a:gd name="connsiteX1" fmla="*/ 407713 w 445813"/>
                  <a:gd name="connsiteY1" fmla="*/ 66675 h 1828800"/>
                  <a:gd name="connsiteX2" fmla="*/ 353738 w 445813"/>
                  <a:gd name="connsiteY2" fmla="*/ 85725 h 1828800"/>
                  <a:gd name="connsiteX3" fmla="*/ 283888 w 445813"/>
                  <a:gd name="connsiteY3" fmla="*/ 98425 h 1828800"/>
                  <a:gd name="connsiteX4" fmla="*/ 223563 w 445813"/>
                  <a:gd name="connsiteY4" fmla="*/ 133350 h 1828800"/>
                  <a:gd name="connsiteX5" fmla="*/ 121963 w 445813"/>
                  <a:gd name="connsiteY5" fmla="*/ 196850 h 1828800"/>
                  <a:gd name="connsiteX6" fmla="*/ 131488 w 445813"/>
                  <a:gd name="connsiteY6" fmla="*/ 247650 h 1828800"/>
                  <a:gd name="connsiteX7" fmla="*/ 172763 w 445813"/>
                  <a:gd name="connsiteY7" fmla="*/ 276225 h 1828800"/>
                  <a:gd name="connsiteX8" fmla="*/ 185463 w 445813"/>
                  <a:gd name="connsiteY8" fmla="*/ 327025 h 1828800"/>
                  <a:gd name="connsiteX9" fmla="*/ 239438 w 445813"/>
                  <a:gd name="connsiteY9" fmla="*/ 368300 h 1828800"/>
                  <a:gd name="connsiteX10" fmla="*/ 239438 w 445813"/>
                  <a:gd name="connsiteY10" fmla="*/ 412750 h 1828800"/>
                  <a:gd name="connsiteX11" fmla="*/ 207688 w 445813"/>
                  <a:gd name="connsiteY11" fmla="*/ 454025 h 1828800"/>
                  <a:gd name="connsiteX12" fmla="*/ 287063 w 445813"/>
                  <a:gd name="connsiteY12" fmla="*/ 479425 h 1828800"/>
                  <a:gd name="connsiteX13" fmla="*/ 302938 w 445813"/>
                  <a:gd name="connsiteY13" fmla="*/ 511175 h 1828800"/>
                  <a:gd name="connsiteX14" fmla="*/ 210863 w 445813"/>
                  <a:gd name="connsiteY14" fmla="*/ 581025 h 1828800"/>
                  <a:gd name="connsiteX15" fmla="*/ 160063 w 445813"/>
                  <a:gd name="connsiteY15" fmla="*/ 638175 h 1828800"/>
                  <a:gd name="connsiteX16" fmla="*/ 160063 w 445813"/>
                  <a:gd name="connsiteY16" fmla="*/ 695325 h 1828800"/>
                  <a:gd name="connsiteX17" fmla="*/ 185463 w 445813"/>
                  <a:gd name="connsiteY17" fmla="*/ 784225 h 1828800"/>
                  <a:gd name="connsiteX18" fmla="*/ 194988 w 445813"/>
                  <a:gd name="connsiteY18" fmla="*/ 835025 h 1828800"/>
                  <a:gd name="connsiteX19" fmla="*/ 204513 w 445813"/>
                  <a:gd name="connsiteY19" fmla="*/ 885825 h 1828800"/>
                  <a:gd name="connsiteX20" fmla="*/ 220388 w 445813"/>
                  <a:gd name="connsiteY20" fmla="*/ 923925 h 1828800"/>
                  <a:gd name="connsiteX21" fmla="*/ 163238 w 445813"/>
                  <a:gd name="connsiteY21" fmla="*/ 1022350 h 1828800"/>
                  <a:gd name="connsiteX22" fmla="*/ 96563 w 445813"/>
                  <a:gd name="connsiteY22" fmla="*/ 1057275 h 1828800"/>
                  <a:gd name="connsiteX23" fmla="*/ 52113 w 445813"/>
                  <a:gd name="connsiteY23" fmla="*/ 1143000 h 1828800"/>
                  <a:gd name="connsiteX24" fmla="*/ 20363 w 445813"/>
                  <a:gd name="connsiteY24" fmla="*/ 1244600 h 1828800"/>
                  <a:gd name="connsiteX25" fmla="*/ 1313 w 445813"/>
                  <a:gd name="connsiteY25" fmla="*/ 1346200 h 1828800"/>
                  <a:gd name="connsiteX26" fmla="*/ 10838 w 445813"/>
                  <a:gd name="connsiteY26" fmla="*/ 1438275 h 1828800"/>
                  <a:gd name="connsiteX27" fmla="*/ 83863 w 445813"/>
                  <a:gd name="connsiteY27" fmla="*/ 1511300 h 1828800"/>
                  <a:gd name="connsiteX28" fmla="*/ 112438 w 445813"/>
                  <a:gd name="connsiteY28" fmla="*/ 1558925 h 1828800"/>
                  <a:gd name="connsiteX29" fmla="*/ 150538 w 445813"/>
                  <a:gd name="connsiteY29" fmla="*/ 1590675 h 1828800"/>
                  <a:gd name="connsiteX30" fmla="*/ 169588 w 445813"/>
                  <a:gd name="connsiteY30" fmla="*/ 1644650 h 1828800"/>
                  <a:gd name="connsiteX31" fmla="*/ 226738 w 445813"/>
                  <a:gd name="connsiteY31" fmla="*/ 1685925 h 1828800"/>
                  <a:gd name="connsiteX32" fmla="*/ 264838 w 445813"/>
                  <a:gd name="connsiteY32" fmla="*/ 1730375 h 1828800"/>
                  <a:gd name="connsiteX33" fmla="*/ 277538 w 445813"/>
                  <a:gd name="connsiteY33" fmla="*/ 1758950 h 1828800"/>
                  <a:gd name="connsiteX34" fmla="*/ 277538 w 445813"/>
                  <a:gd name="connsiteY34" fmla="*/ 1828800 h 1828800"/>
                  <a:gd name="connsiteX0" fmla="*/ 445813 w 445813"/>
                  <a:gd name="connsiteY0" fmla="*/ 0 h 1758950"/>
                  <a:gd name="connsiteX1" fmla="*/ 407713 w 445813"/>
                  <a:gd name="connsiteY1" fmla="*/ 66675 h 1758950"/>
                  <a:gd name="connsiteX2" fmla="*/ 353738 w 445813"/>
                  <a:gd name="connsiteY2" fmla="*/ 85725 h 1758950"/>
                  <a:gd name="connsiteX3" fmla="*/ 283888 w 445813"/>
                  <a:gd name="connsiteY3" fmla="*/ 98425 h 1758950"/>
                  <a:gd name="connsiteX4" fmla="*/ 223563 w 445813"/>
                  <a:gd name="connsiteY4" fmla="*/ 133350 h 1758950"/>
                  <a:gd name="connsiteX5" fmla="*/ 121963 w 445813"/>
                  <a:gd name="connsiteY5" fmla="*/ 196850 h 1758950"/>
                  <a:gd name="connsiteX6" fmla="*/ 131488 w 445813"/>
                  <a:gd name="connsiteY6" fmla="*/ 247650 h 1758950"/>
                  <a:gd name="connsiteX7" fmla="*/ 172763 w 445813"/>
                  <a:gd name="connsiteY7" fmla="*/ 276225 h 1758950"/>
                  <a:gd name="connsiteX8" fmla="*/ 185463 w 445813"/>
                  <a:gd name="connsiteY8" fmla="*/ 327025 h 1758950"/>
                  <a:gd name="connsiteX9" fmla="*/ 239438 w 445813"/>
                  <a:gd name="connsiteY9" fmla="*/ 368300 h 1758950"/>
                  <a:gd name="connsiteX10" fmla="*/ 239438 w 445813"/>
                  <a:gd name="connsiteY10" fmla="*/ 412750 h 1758950"/>
                  <a:gd name="connsiteX11" fmla="*/ 207688 w 445813"/>
                  <a:gd name="connsiteY11" fmla="*/ 454025 h 1758950"/>
                  <a:gd name="connsiteX12" fmla="*/ 287063 w 445813"/>
                  <a:gd name="connsiteY12" fmla="*/ 479425 h 1758950"/>
                  <a:gd name="connsiteX13" fmla="*/ 302938 w 445813"/>
                  <a:gd name="connsiteY13" fmla="*/ 511175 h 1758950"/>
                  <a:gd name="connsiteX14" fmla="*/ 210863 w 445813"/>
                  <a:gd name="connsiteY14" fmla="*/ 581025 h 1758950"/>
                  <a:gd name="connsiteX15" fmla="*/ 160063 w 445813"/>
                  <a:gd name="connsiteY15" fmla="*/ 638175 h 1758950"/>
                  <a:gd name="connsiteX16" fmla="*/ 160063 w 445813"/>
                  <a:gd name="connsiteY16" fmla="*/ 695325 h 1758950"/>
                  <a:gd name="connsiteX17" fmla="*/ 185463 w 445813"/>
                  <a:gd name="connsiteY17" fmla="*/ 784225 h 1758950"/>
                  <a:gd name="connsiteX18" fmla="*/ 194988 w 445813"/>
                  <a:gd name="connsiteY18" fmla="*/ 835025 h 1758950"/>
                  <a:gd name="connsiteX19" fmla="*/ 204513 w 445813"/>
                  <a:gd name="connsiteY19" fmla="*/ 885825 h 1758950"/>
                  <a:gd name="connsiteX20" fmla="*/ 220388 w 445813"/>
                  <a:gd name="connsiteY20" fmla="*/ 923925 h 1758950"/>
                  <a:gd name="connsiteX21" fmla="*/ 163238 w 445813"/>
                  <a:gd name="connsiteY21" fmla="*/ 1022350 h 1758950"/>
                  <a:gd name="connsiteX22" fmla="*/ 96563 w 445813"/>
                  <a:gd name="connsiteY22" fmla="*/ 1057275 h 1758950"/>
                  <a:gd name="connsiteX23" fmla="*/ 52113 w 445813"/>
                  <a:gd name="connsiteY23" fmla="*/ 1143000 h 1758950"/>
                  <a:gd name="connsiteX24" fmla="*/ 20363 w 445813"/>
                  <a:gd name="connsiteY24" fmla="*/ 1244600 h 1758950"/>
                  <a:gd name="connsiteX25" fmla="*/ 1313 w 445813"/>
                  <a:gd name="connsiteY25" fmla="*/ 1346200 h 1758950"/>
                  <a:gd name="connsiteX26" fmla="*/ 10838 w 445813"/>
                  <a:gd name="connsiteY26" fmla="*/ 1438275 h 1758950"/>
                  <a:gd name="connsiteX27" fmla="*/ 83863 w 445813"/>
                  <a:gd name="connsiteY27" fmla="*/ 1511300 h 1758950"/>
                  <a:gd name="connsiteX28" fmla="*/ 112438 w 445813"/>
                  <a:gd name="connsiteY28" fmla="*/ 1558925 h 1758950"/>
                  <a:gd name="connsiteX29" fmla="*/ 150538 w 445813"/>
                  <a:gd name="connsiteY29" fmla="*/ 1590675 h 1758950"/>
                  <a:gd name="connsiteX30" fmla="*/ 169588 w 445813"/>
                  <a:gd name="connsiteY30" fmla="*/ 1644650 h 1758950"/>
                  <a:gd name="connsiteX31" fmla="*/ 226738 w 445813"/>
                  <a:gd name="connsiteY31" fmla="*/ 1685925 h 1758950"/>
                  <a:gd name="connsiteX32" fmla="*/ 264838 w 445813"/>
                  <a:gd name="connsiteY32" fmla="*/ 1730375 h 1758950"/>
                  <a:gd name="connsiteX33" fmla="*/ 277538 w 445813"/>
                  <a:gd name="connsiteY33" fmla="*/ 1758950 h 1758950"/>
                  <a:gd name="connsiteX0" fmla="*/ 445813 w 445813"/>
                  <a:gd name="connsiteY0" fmla="*/ 0 h 1730375"/>
                  <a:gd name="connsiteX1" fmla="*/ 407713 w 445813"/>
                  <a:gd name="connsiteY1" fmla="*/ 66675 h 1730375"/>
                  <a:gd name="connsiteX2" fmla="*/ 353738 w 445813"/>
                  <a:gd name="connsiteY2" fmla="*/ 85725 h 1730375"/>
                  <a:gd name="connsiteX3" fmla="*/ 283888 w 445813"/>
                  <a:gd name="connsiteY3" fmla="*/ 98425 h 1730375"/>
                  <a:gd name="connsiteX4" fmla="*/ 223563 w 445813"/>
                  <a:gd name="connsiteY4" fmla="*/ 133350 h 1730375"/>
                  <a:gd name="connsiteX5" fmla="*/ 121963 w 445813"/>
                  <a:gd name="connsiteY5" fmla="*/ 196850 h 1730375"/>
                  <a:gd name="connsiteX6" fmla="*/ 131488 w 445813"/>
                  <a:gd name="connsiteY6" fmla="*/ 247650 h 1730375"/>
                  <a:gd name="connsiteX7" fmla="*/ 172763 w 445813"/>
                  <a:gd name="connsiteY7" fmla="*/ 276225 h 1730375"/>
                  <a:gd name="connsiteX8" fmla="*/ 185463 w 445813"/>
                  <a:gd name="connsiteY8" fmla="*/ 327025 h 1730375"/>
                  <a:gd name="connsiteX9" fmla="*/ 239438 w 445813"/>
                  <a:gd name="connsiteY9" fmla="*/ 368300 h 1730375"/>
                  <a:gd name="connsiteX10" fmla="*/ 239438 w 445813"/>
                  <a:gd name="connsiteY10" fmla="*/ 412750 h 1730375"/>
                  <a:gd name="connsiteX11" fmla="*/ 207688 w 445813"/>
                  <a:gd name="connsiteY11" fmla="*/ 454025 h 1730375"/>
                  <a:gd name="connsiteX12" fmla="*/ 287063 w 445813"/>
                  <a:gd name="connsiteY12" fmla="*/ 479425 h 1730375"/>
                  <a:gd name="connsiteX13" fmla="*/ 302938 w 445813"/>
                  <a:gd name="connsiteY13" fmla="*/ 511175 h 1730375"/>
                  <a:gd name="connsiteX14" fmla="*/ 210863 w 445813"/>
                  <a:gd name="connsiteY14" fmla="*/ 581025 h 1730375"/>
                  <a:gd name="connsiteX15" fmla="*/ 160063 w 445813"/>
                  <a:gd name="connsiteY15" fmla="*/ 638175 h 1730375"/>
                  <a:gd name="connsiteX16" fmla="*/ 160063 w 445813"/>
                  <a:gd name="connsiteY16" fmla="*/ 695325 h 1730375"/>
                  <a:gd name="connsiteX17" fmla="*/ 185463 w 445813"/>
                  <a:gd name="connsiteY17" fmla="*/ 784225 h 1730375"/>
                  <a:gd name="connsiteX18" fmla="*/ 194988 w 445813"/>
                  <a:gd name="connsiteY18" fmla="*/ 835025 h 1730375"/>
                  <a:gd name="connsiteX19" fmla="*/ 204513 w 445813"/>
                  <a:gd name="connsiteY19" fmla="*/ 885825 h 1730375"/>
                  <a:gd name="connsiteX20" fmla="*/ 220388 w 445813"/>
                  <a:gd name="connsiteY20" fmla="*/ 923925 h 1730375"/>
                  <a:gd name="connsiteX21" fmla="*/ 163238 w 445813"/>
                  <a:gd name="connsiteY21" fmla="*/ 1022350 h 1730375"/>
                  <a:gd name="connsiteX22" fmla="*/ 96563 w 445813"/>
                  <a:gd name="connsiteY22" fmla="*/ 1057275 h 1730375"/>
                  <a:gd name="connsiteX23" fmla="*/ 52113 w 445813"/>
                  <a:gd name="connsiteY23" fmla="*/ 1143000 h 1730375"/>
                  <a:gd name="connsiteX24" fmla="*/ 20363 w 445813"/>
                  <a:gd name="connsiteY24" fmla="*/ 1244600 h 1730375"/>
                  <a:gd name="connsiteX25" fmla="*/ 1313 w 445813"/>
                  <a:gd name="connsiteY25" fmla="*/ 1346200 h 1730375"/>
                  <a:gd name="connsiteX26" fmla="*/ 10838 w 445813"/>
                  <a:gd name="connsiteY26" fmla="*/ 1438275 h 1730375"/>
                  <a:gd name="connsiteX27" fmla="*/ 83863 w 445813"/>
                  <a:gd name="connsiteY27" fmla="*/ 1511300 h 1730375"/>
                  <a:gd name="connsiteX28" fmla="*/ 112438 w 445813"/>
                  <a:gd name="connsiteY28" fmla="*/ 1558925 h 1730375"/>
                  <a:gd name="connsiteX29" fmla="*/ 150538 w 445813"/>
                  <a:gd name="connsiteY29" fmla="*/ 1590675 h 1730375"/>
                  <a:gd name="connsiteX30" fmla="*/ 169588 w 445813"/>
                  <a:gd name="connsiteY30" fmla="*/ 1644650 h 1730375"/>
                  <a:gd name="connsiteX31" fmla="*/ 226738 w 445813"/>
                  <a:gd name="connsiteY31" fmla="*/ 1685925 h 1730375"/>
                  <a:gd name="connsiteX32" fmla="*/ 264838 w 445813"/>
                  <a:gd name="connsiteY32" fmla="*/ 1730375 h 1730375"/>
                  <a:gd name="connsiteX0" fmla="*/ 445813 w 445813"/>
                  <a:gd name="connsiteY0" fmla="*/ 0 h 1685925"/>
                  <a:gd name="connsiteX1" fmla="*/ 407713 w 445813"/>
                  <a:gd name="connsiteY1" fmla="*/ 66675 h 1685925"/>
                  <a:gd name="connsiteX2" fmla="*/ 353738 w 445813"/>
                  <a:gd name="connsiteY2" fmla="*/ 85725 h 1685925"/>
                  <a:gd name="connsiteX3" fmla="*/ 283888 w 445813"/>
                  <a:gd name="connsiteY3" fmla="*/ 98425 h 1685925"/>
                  <a:gd name="connsiteX4" fmla="*/ 223563 w 445813"/>
                  <a:gd name="connsiteY4" fmla="*/ 133350 h 1685925"/>
                  <a:gd name="connsiteX5" fmla="*/ 121963 w 445813"/>
                  <a:gd name="connsiteY5" fmla="*/ 196850 h 1685925"/>
                  <a:gd name="connsiteX6" fmla="*/ 131488 w 445813"/>
                  <a:gd name="connsiteY6" fmla="*/ 247650 h 1685925"/>
                  <a:gd name="connsiteX7" fmla="*/ 172763 w 445813"/>
                  <a:gd name="connsiteY7" fmla="*/ 276225 h 1685925"/>
                  <a:gd name="connsiteX8" fmla="*/ 185463 w 445813"/>
                  <a:gd name="connsiteY8" fmla="*/ 327025 h 1685925"/>
                  <a:gd name="connsiteX9" fmla="*/ 239438 w 445813"/>
                  <a:gd name="connsiteY9" fmla="*/ 368300 h 1685925"/>
                  <a:gd name="connsiteX10" fmla="*/ 239438 w 445813"/>
                  <a:gd name="connsiteY10" fmla="*/ 412750 h 1685925"/>
                  <a:gd name="connsiteX11" fmla="*/ 207688 w 445813"/>
                  <a:gd name="connsiteY11" fmla="*/ 454025 h 1685925"/>
                  <a:gd name="connsiteX12" fmla="*/ 287063 w 445813"/>
                  <a:gd name="connsiteY12" fmla="*/ 479425 h 1685925"/>
                  <a:gd name="connsiteX13" fmla="*/ 302938 w 445813"/>
                  <a:gd name="connsiteY13" fmla="*/ 511175 h 1685925"/>
                  <a:gd name="connsiteX14" fmla="*/ 210863 w 445813"/>
                  <a:gd name="connsiteY14" fmla="*/ 581025 h 1685925"/>
                  <a:gd name="connsiteX15" fmla="*/ 160063 w 445813"/>
                  <a:gd name="connsiteY15" fmla="*/ 638175 h 1685925"/>
                  <a:gd name="connsiteX16" fmla="*/ 160063 w 445813"/>
                  <a:gd name="connsiteY16" fmla="*/ 695325 h 1685925"/>
                  <a:gd name="connsiteX17" fmla="*/ 185463 w 445813"/>
                  <a:gd name="connsiteY17" fmla="*/ 784225 h 1685925"/>
                  <a:gd name="connsiteX18" fmla="*/ 194988 w 445813"/>
                  <a:gd name="connsiteY18" fmla="*/ 835025 h 1685925"/>
                  <a:gd name="connsiteX19" fmla="*/ 204513 w 445813"/>
                  <a:gd name="connsiteY19" fmla="*/ 885825 h 1685925"/>
                  <a:gd name="connsiteX20" fmla="*/ 220388 w 445813"/>
                  <a:gd name="connsiteY20" fmla="*/ 923925 h 1685925"/>
                  <a:gd name="connsiteX21" fmla="*/ 163238 w 445813"/>
                  <a:gd name="connsiteY21" fmla="*/ 1022350 h 1685925"/>
                  <a:gd name="connsiteX22" fmla="*/ 96563 w 445813"/>
                  <a:gd name="connsiteY22" fmla="*/ 1057275 h 1685925"/>
                  <a:gd name="connsiteX23" fmla="*/ 52113 w 445813"/>
                  <a:gd name="connsiteY23" fmla="*/ 1143000 h 1685925"/>
                  <a:gd name="connsiteX24" fmla="*/ 20363 w 445813"/>
                  <a:gd name="connsiteY24" fmla="*/ 1244600 h 1685925"/>
                  <a:gd name="connsiteX25" fmla="*/ 1313 w 445813"/>
                  <a:gd name="connsiteY25" fmla="*/ 1346200 h 1685925"/>
                  <a:gd name="connsiteX26" fmla="*/ 10838 w 445813"/>
                  <a:gd name="connsiteY26" fmla="*/ 1438275 h 1685925"/>
                  <a:gd name="connsiteX27" fmla="*/ 83863 w 445813"/>
                  <a:gd name="connsiteY27" fmla="*/ 1511300 h 1685925"/>
                  <a:gd name="connsiteX28" fmla="*/ 112438 w 445813"/>
                  <a:gd name="connsiteY28" fmla="*/ 1558925 h 1685925"/>
                  <a:gd name="connsiteX29" fmla="*/ 150538 w 445813"/>
                  <a:gd name="connsiteY29" fmla="*/ 1590675 h 1685925"/>
                  <a:gd name="connsiteX30" fmla="*/ 169588 w 445813"/>
                  <a:gd name="connsiteY30" fmla="*/ 1644650 h 1685925"/>
                  <a:gd name="connsiteX31" fmla="*/ 226738 w 445813"/>
                  <a:gd name="connsiteY31" fmla="*/ 1685925 h 1685925"/>
                  <a:gd name="connsiteX0" fmla="*/ 445813 w 445813"/>
                  <a:gd name="connsiteY0" fmla="*/ 0 h 1644650"/>
                  <a:gd name="connsiteX1" fmla="*/ 407713 w 445813"/>
                  <a:gd name="connsiteY1" fmla="*/ 66675 h 1644650"/>
                  <a:gd name="connsiteX2" fmla="*/ 353738 w 445813"/>
                  <a:gd name="connsiteY2" fmla="*/ 85725 h 1644650"/>
                  <a:gd name="connsiteX3" fmla="*/ 283888 w 445813"/>
                  <a:gd name="connsiteY3" fmla="*/ 98425 h 1644650"/>
                  <a:gd name="connsiteX4" fmla="*/ 223563 w 445813"/>
                  <a:gd name="connsiteY4" fmla="*/ 133350 h 1644650"/>
                  <a:gd name="connsiteX5" fmla="*/ 121963 w 445813"/>
                  <a:gd name="connsiteY5" fmla="*/ 196850 h 1644650"/>
                  <a:gd name="connsiteX6" fmla="*/ 131488 w 445813"/>
                  <a:gd name="connsiteY6" fmla="*/ 247650 h 1644650"/>
                  <a:gd name="connsiteX7" fmla="*/ 172763 w 445813"/>
                  <a:gd name="connsiteY7" fmla="*/ 276225 h 1644650"/>
                  <a:gd name="connsiteX8" fmla="*/ 185463 w 445813"/>
                  <a:gd name="connsiteY8" fmla="*/ 327025 h 1644650"/>
                  <a:gd name="connsiteX9" fmla="*/ 239438 w 445813"/>
                  <a:gd name="connsiteY9" fmla="*/ 368300 h 1644650"/>
                  <a:gd name="connsiteX10" fmla="*/ 239438 w 445813"/>
                  <a:gd name="connsiteY10" fmla="*/ 412750 h 1644650"/>
                  <a:gd name="connsiteX11" fmla="*/ 207688 w 445813"/>
                  <a:gd name="connsiteY11" fmla="*/ 454025 h 1644650"/>
                  <a:gd name="connsiteX12" fmla="*/ 287063 w 445813"/>
                  <a:gd name="connsiteY12" fmla="*/ 479425 h 1644650"/>
                  <a:gd name="connsiteX13" fmla="*/ 302938 w 445813"/>
                  <a:gd name="connsiteY13" fmla="*/ 511175 h 1644650"/>
                  <a:gd name="connsiteX14" fmla="*/ 210863 w 445813"/>
                  <a:gd name="connsiteY14" fmla="*/ 581025 h 1644650"/>
                  <a:gd name="connsiteX15" fmla="*/ 160063 w 445813"/>
                  <a:gd name="connsiteY15" fmla="*/ 638175 h 1644650"/>
                  <a:gd name="connsiteX16" fmla="*/ 160063 w 445813"/>
                  <a:gd name="connsiteY16" fmla="*/ 695325 h 1644650"/>
                  <a:gd name="connsiteX17" fmla="*/ 185463 w 445813"/>
                  <a:gd name="connsiteY17" fmla="*/ 784225 h 1644650"/>
                  <a:gd name="connsiteX18" fmla="*/ 194988 w 445813"/>
                  <a:gd name="connsiteY18" fmla="*/ 835025 h 1644650"/>
                  <a:gd name="connsiteX19" fmla="*/ 204513 w 445813"/>
                  <a:gd name="connsiteY19" fmla="*/ 885825 h 1644650"/>
                  <a:gd name="connsiteX20" fmla="*/ 220388 w 445813"/>
                  <a:gd name="connsiteY20" fmla="*/ 923925 h 1644650"/>
                  <a:gd name="connsiteX21" fmla="*/ 163238 w 445813"/>
                  <a:gd name="connsiteY21" fmla="*/ 1022350 h 1644650"/>
                  <a:gd name="connsiteX22" fmla="*/ 96563 w 445813"/>
                  <a:gd name="connsiteY22" fmla="*/ 1057275 h 1644650"/>
                  <a:gd name="connsiteX23" fmla="*/ 52113 w 445813"/>
                  <a:gd name="connsiteY23" fmla="*/ 1143000 h 1644650"/>
                  <a:gd name="connsiteX24" fmla="*/ 20363 w 445813"/>
                  <a:gd name="connsiteY24" fmla="*/ 1244600 h 1644650"/>
                  <a:gd name="connsiteX25" fmla="*/ 1313 w 445813"/>
                  <a:gd name="connsiteY25" fmla="*/ 1346200 h 1644650"/>
                  <a:gd name="connsiteX26" fmla="*/ 10838 w 445813"/>
                  <a:gd name="connsiteY26" fmla="*/ 1438275 h 1644650"/>
                  <a:gd name="connsiteX27" fmla="*/ 83863 w 445813"/>
                  <a:gd name="connsiteY27" fmla="*/ 1511300 h 1644650"/>
                  <a:gd name="connsiteX28" fmla="*/ 112438 w 445813"/>
                  <a:gd name="connsiteY28" fmla="*/ 1558925 h 1644650"/>
                  <a:gd name="connsiteX29" fmla="*/ 150538 w 445813"/>
                  <a:gd name="connsiteY29" fmla="*/ 1590675 h 1644650"/>
                  <a:gd name="connsiteX30" fmla="*/ 169588 w 445813"/>
                  <a:gd name="connsiteY30" fmla="*/ 1644650 h 1644650"/>
                  <a:gd name="connsiteX0" fmla="*/ 445813 w 445813"/>
                  <a:gd name="connsiteY0" fmla="*/ 0 h 1644650"/>
                  <a:gd name="connsiteX1" fmla="*/ 407713 w 445813"/>
                  <a:gd name="connsiteY1" fmla="*/ 66675 h 1644650"/>
                  <a:gd name="connsiteX2" fmla="*/ 353738 w 445813"/>
                  <a:gd name="connsiteY2" fmla="*/ 85725 h 1644650"/>
                  <a:gd name="connsiteX3" fmla="*/ 283888 w 445813"/>
                  <a:gd name="connsiteY3" fmla="*/ 98425 h 1644650"/>
                  <a:gd name="connsiteX4" fmla="*/ 223563 w 445813"/>
                  <a:gd name="connsiteY4" fmla="*/ 133350 h 1644650"/>
                  <a:gd name="connsiteX5" fmla="*/ 121963 w 445813"/>
                  <a:gd name="connsiteY5" fmla="*/ 196850 h 1644650"/>
                  <a:gd name="connsiteX6" fmla="*/ 131488 w 445813"/>
                  <a:gd name="connsiteY6" fmla="*/ 247650 h 1644650"/>
                  <a:gd name="connsiteX7" fmla="*/ 172763 w 445813"/>
                  <a:gd name="connsiteY7" fmla="*/ 276225 h 1644650"/>
                  <a:gd name="connsiteX8" fmla="*/ 185463 w 445813"/>
                  <a:gd name="connsiteY8" fmla="*/ 327025 h 1644650"/>
                  <a:gd name="connsiteX9" fmla="*/ 239438 w 445813"/>
                  <a:gd name="connsiteY9" fmla="*/ 368300 h 1644650"/>
                  <a:gd name="connsiteX10" fmla="*/ 239438 w 445813"/>
                  <a:gd name="connsiteY10" fmla="*/ 412750 h 1644650"/>
                  <a:gd name="connsiteX11" fmla="*/ 207688 w 445813"/>
                  <a:gd name="connsiteY11" fmla="*/ 454025 h 1644650"/>
                  <a:gd name="connsiteX12" fmla="*/ 287063 w 445813"/>
                  <a:gd name="connsiteY12" fmla="*/ 479425 h 1644650"/>
                  <a:gd name="connsiteX13" fmla="*/ 302938 w 445813"/>
                  <a:gd name="connsiteY13" fmla="*/ 511175 h 1644650"/>
                  <a:gd name="connsiteX14" fmla="*/ 210863 w 445813"/>
                  <a:gd name="connsiteY14" fmla="*/ 581025 h 1644650"/>
                  <a:gd name="connsiteX15" fmla="*/ 160063 w 445813"/>
                  <a:gd name="connsiteY15" fmla="*/ 638175 h 1644650"/>
                  <a:gd name="connsiteX16" fmla="*/ 160063 w 445813"/>
                  <a:gd name="connsiteY16" fmla="*/ 695325 h 1644650"/>
                  <a:gd name="connsiteX17" fmla="*/ 185463 w 445813"/>
                  <a:gd name="connsiteY17" fmla="*/ 784225 h 1644650"/>
                  <a:gd name="connsiteX18" fmla="*/ 194988 w 445813"/>
                  <a:gd name="connsiteY18" fmla="*/ 835025 h 1644650"/>
                  <a:gd name="connsiteX19" fmla="*/ 204513 w 445813"/>
                  <a:gd name="connsiteY19" fmla="*/ 885825 h 1644650"/>
                  <a:gd name="connsiteX20" fmla="*/ 220388 w 445813"/>
                  <a:gd name="connsiteY20" fmla="*/ 923925 h 1644650"/>
                  <a:gd name="connsiteX21" fmla="*/ 163238 w 445813"/>
                  <a:gd name="connsiteY21" fmla="*/ 1022350 h 1644650"/>
                  <a:gd name="connsiteX22" fmla="*/ 96563 w 445813"/>
                  <a:gd name="connsiteY22" fmla="*/ 1057275 h 1644650"/>
                  <a:gd name="connsiteX23" fmla="*/ 52113 w 445813"/>
                  <a:gd name="connsiteY23" fmla="*/ 1143000 h 1644650"/>
                  <a:gd name="connsiteX24" fmla="*/ 20363 w 445813"/>
                  <a:gd name="connsiteY24" fmla="*/ 1244600 h 1644650"/>
                  <a:gd name="connsiteX25" fmla="*/ 1313 w 445813"/>
                  <a:gd name="connsiteY25" fmla="*/ 1346200 h 1644650"/>
                  <a:gd name="connsiteX26" fmla="*/ 10838 w 445813"/>
                  <a:gd name="connsiteY26" fmla="*/ 1438275 h 1644650"/>
                  <a:gd name="connsiteX27" fmla="*/ 83863 w 445813"/>
                  <a:gd name="connsiteY27" fmla="*/ 1511300 h 1644650"/>
                  <a:gd name="connsiteX28" fmla="*/ 112438 w 445813"/>
                  <a:gd name="connsiteY28" fmla="*/ 1558925 h 1644650"/>
                  <a:gd name="connsiteX29" fmla="*/ 169588 w 445813"/>
                  <a:gd name="connsiteY29" fmla="*/ 1644650 h 1644650"/>
                  <a:gd name="connsiteX0" fmla="*/ 445813 w 445813"/>
                  <a:gd name="connsiteY0" fmla="*/ 0 h 1558925"/>
                  <a:gd name="connsiteX1" fmla="*/ 407713 w 445813"/>
                  <a:gd name="connsiteY1" fmla="*/ 66675 h 1558925"/>
                  <a:gd name="connsiteX2" fmla="*/ 353738 w 445813"/>
                  <a:gd name="connsiteY2" fmla="*/ 85725 h 1558925"/>
                  <a:gd name="connsiteX3" fmla="*/ 283888 w 445813"/>
                  <a:gd name="connsiteY3" fmla="*/ 98425 h 1558925"/>
                  <a:gd name="connsiteX4" fmla="*/ 223563 w 445813"/>
                  <a:gd name="connsiteY4" fmla="*/ 133350 h 1558925"/>
                  <a:gd name="connsiteX5" fmla="*/ 121963 w 445813"/>
                  <a:gd name="connsiteY5" fmla="*/ 196850 h 1558925"/>
                  <a:gd name="connsiteX6" fmla="*/ 131488 w 445813"/>
                  <a:gd name="connsiteY6" fmla="*/ 247650 h 1558925"/>
                  <a:gd name="connsiteX7" fmla="*/ 172763 w 445813"/>
                  <a:gd name="connsiteY7" fmla="*/ 276225 h 1558925"/>
                  <a:gd name="connsiteX8" fmla="*/ 185463 w 445813"/>
                  <a:gd name="connsiteY8" fmla="*/ 327025 h 1558925"/>
                  <a:gd name="connsiteX9" fmla="*/ 239438 w 445813"/>
                  <a:gd name="connsiteY9" fmla="*/ 368300 h 1558925"/>
                  <a:gd name="connsiteX10" fmla="*/ 239438 w 445813"/>
                  <a:gd name="connsiteY10" fmla="*/ 412750 h 1558925"/>
                  <a:gd name="connsiteX11" fmla="*/ 207688 w 445813"/>
                  <a:gd name="connsiteY11" fmla="*/ 454025 h 1558925"/>
                  <a:gd name="connsiteX12" fmla="*/ 287063 w 445813"/>
                  <a:gd name="connsiteY12" fmla="*/ 479425 h 1558925"/>
                  <a:gd name="connsiteX13" fmla="*/ 302938 w 445813"/>
                  <a:gd name="connsiteY13" fmla="*/ 511175 h 1558925"/>
                  <a:gd name="connsiteX14" fmla="*/ 210863 w 445813"/>
                  <a:gd name="connsiteY14" fmla="*/ 581025 h 1558925"/>
                  <a:gd name="connsiteX15" fmla="*/ 160063 w 445813"/>
                  <a:gd name="connsiteY15" fmla="*/ 638175 h 1558925"/>
                  <a:gd name="connsiteX16" fmla="*/ 160063 w 445813"/>
                  <a:gd name="connsiteY16" fmla="*/ 695325 h 1558925"/>
                  <a:gd name="connsiteX17" fmla="*/ 185463 w 445813"/>
                  <a:gd name="connsiteY17" fmla="*/ 784225 h 1558925"/>
                  <a:gd name="connsiteX18" fmla="*/ 194988 w 445813"/>
                  <a:gd name="connsiteY18" fmla="*/ 835025 h 1558925"/>
                  <a:gd name="connsiteX19" fmla="*/ 204513 w 445813"/>
                  <a:gd name="connsiteY19" fmla="*/ 885825 h 1558925"/>
                  <a:gd name="connsiteX20" fmla="*/ 220388 w 445813"/>
                  <a:gd name="connsiteY20" fmla="*/ 923925 h 1558925"/>
                  <a:gd name="connsiteX21" fmla="*/ 163238 w 445813"/>
                  <a:gd name="connsiteY21" fmla="*/ 1022350 h 1558925"/>
                  <a:gd name="connsiteX22" fmla="*/ 96563 w 445813"/>
                  <a:gd name="connsiteY22" fmla="*/ 1057275 h 1558925"/>
                  <a:gd name="connsiteX23" fmla="*/ 52113 w 445813"/>
                  <a:gd name="connsiteY23" fmla="*/ 1143000 h 1558925"/>
                  <a:gd name="connsiteX24" fmla="*/ 20363 w 445813"/>
                  <a:gd name="connsiteY24" fmla="*/ 1244600 h 1558925"/>
                  <a:gd name="connsiteX25" fmla="*/ 1313 w 445813"/>
                  <a:gd name="connsiteY25" fmla="*/ 1346200 h 1558925"/>
                  <a:gd name="connsiteX26" fmla="*/ 10838 w 445813"/>
                  <a:gd name="connsiteY26" fmla="*/ 1438275 h 1558925"/>
                  <a:gd name="connsiteX27" fmla="*/ 83863 w 445813"/>
                  <a:gd name="connsiteY27" fmla="*/ 1511300 h 1558925"/>
                  <a:gd name="connsiteX28" fmla="*/ 112438 w 445813"/>
                  <a:gd name="connsiteY28" fmla="*/ 1558925 h 1558925"/>
                  <a:gd name="connsiteX0" fmla="*/ 445813 w 445813"/>
                  <a:gd name="connsiteY0" fmla="*/ 0 h 1511300"/>
                  <a:gd name="connsiteX1" fmla="*/ 407713 w 445813"/>
                  <a:gd name="connsiteY1" fmla="*/ 66675 h 1511300"/>
                  <a:gd name="connsiteX2" fmla="*/ 353738 w 445813"/>
                  <a:gd name="connsiteY2" fmla="*/ 85725 h 1511300"/>
                  <a:gd name="connsiteX3" fmla="*/ 283888 w 445813"/>
                  <a:gd name="connsiteY3" fmla="*/ 98425 h 1511300"/>
                  <a:gd name="connsiteX4" fmla="*/ 223563 w 445813"/>
                  <a:gd name="connsiteY4" fmla="*/ 133350 h 1511300"/>
                  <a:gd name="connsiteX5" fmla="*/ 121963 w 445813"/>
                  <a:gd name="connsiteY5" fmla="*/ 196850 h 1511300"/>
                  <a:gd name="connsiteX6" fmla="*/ 131488 w 445813"/>
                  <a:gd name="connsiteY6" fmla="*/ 247650 h 1511300"/>
                  <a:gd name="connsiteX7" fmla="*/ 172763 w 445813"/>
                  <a:gd name="connsiteY7" fmla="*/ 276225 h 1511300"/>
                  <a:gd name="connsiteX8" fmla="*/ 185463 w 445813"/>
                  <a:gd name="connsiteY8" fmla="*/ 327025 h 1511300"/>
                  <a:gd name="connsiteX9" fmla="*/ 239438 w 445813"/>
                  <a:gd name="connsiteY9" fmla="*/ 368300 h 1511300"/>
                  <a:gd name="connsiteX10" fmla="*/ 239438 w 445813"/>
                  <a:gd name="connsiteY10" fmla="*/ 412750 h 1511300"/>
                  <a:gd name="connsiteX11" fmla="*/ 207688 w 445813"/>
                  <a:gd name="connsiteY11" fmla="*/ 454025 h 1511300"/>
                  <a:gd name="connsiteX12" fmla="*/ 287063 w 445813"/>
                  <a:gd name="connsiteY12" fmla="*/ 479425 h 1511300"/>
                  <a:gd name="connsiteX13" fmla="*/ 302938 w 445813"/>
                  <a:gd name="connsiteY13" fmla="*/ 511175 h 1511300"/>
                  <a:gd name="connsiteX14" fmla="*/ 210863 w 445813"/>
                  <a:gd name="connsiteY14" fmla="*/ 581025 h 1511300"/>
                  <a:gd name="connsiteX15" fmla="*/ 160063 w 445813"/>
                  <a:gd name="connsiteY15" fmla="*/ 638175 h 1511300"/>
                  <a:gd name="connsiteX16" fmla="*/ 160063 w 445813"/>
                  <a:gd name="connsiteY16" fmla="*/ 695325 h 1511300"/>
                  <a:gd name="connsiteX17" fmla="*/ 185463 w 445813"/>
                  <a:gd name="connsiteY17" fmla="*/ 784225 h 1511300"/>
                  <a:gd name="connsiteX18" fmla="*/ 194988 w 445813"/>
                  <a:gd name="connsiteY18" fmla="*/ 835025 h 1511300"/>
                  <a:gd name="connsiteX19" fmla="*/ 204513 w 445813"/>
                  <a:gd name="connsiteY19" fmla="*/ 885825 h 1511300"/>
                  <a:gd name="connsiteX20" fmla="*/ 220388 w 445813"/>
                  <a:gd name="connsiteY20" fmla="*/ 923925 h 1511300"/>
                  <a:gd name="connsiteX21" fmla="*/ 163238 w 445813"/>
                  <a:gd name="connsiteY21" fmla="*/ 1022350 h 1511300"/>
                  <a:gd name="connsiteX22" fmla="*/ 96563 w 445813"/>
                  <a:gd name="connsiteY22" fmla="*/ 1057275 h 1511300"/>
                  <a:gd name="connsiteX23" fmla="*/ 52113 w 445813"/>
                  <a:gd name="connsiteY23" fmla="*/ 1143000 h 1511300"/>
                  <a:gd name="connsiteX24" fmla="*/ 20363 w 445813"/>
                  <a:gd name="connsiteY24" fmla="*/ 1244600 h 1511300"/>
                  <a:gd name="connsiteX25" fmla="*/ 1313 w 445813"/>
                  <a:gd name="connsiteY25" fmla="*/ 1346200 h 1511300"/>
                  <a:gd name="connsiteX26" fmla="*/ 10838 w 445813"/>
                  <a:gd name="connsiteY26" fmla="*/ 1438275 h 1511300"/>
                  <a:gd name="connsiteX27" fmla="*/ 83863 w 445813"/>
                  <a:gd name="connsiteY27" fmla="*/ 1511300 h 1511300"/>
                  <a:gd name="connsiteX0" fmla="*/ 445813 w 445813"/>
                  <a:gd name="connsiteY0" fmla="*/ 0 h 1438275"/>
                  <a:gd name="connsiteX1" fmla="*/ 407713 w 445813"/>
                  <a:gd name="connsiteY1" fmla="*/ 66675 h 1438275"/>
                  <a:gd name="connsiteX2" fmla="*/ 353738 w 445813"/>
                  <a:gd name="connsiteY2" fmla="*/ 85725 h 1438275"/>
                  <a:gd name="connsiteX3" fmla="*/ 283888 w 445813"/>
                  <a:gd name="connsiteY3" fmla="*/ 98425 h 1438275"/>
                  <a:gd name="connsiteX4" fmla="*/ 223563 w 445813"/>
                  <a:gd name="connsiteY4" fmla="*/ 133350 h 1438275"/>
                  <a:gd name="connsiteX5" fmla="*/ 121963 w 445813"/>
                  <a:gd name="connsiteY5" fmla="*/ 196850 h 1438275"/>
                  <a:gd name="connsiteX6" fmla="*/ 131488 w 445813"/>
                  <a:gd name="connsiteY6" fmla="*/ 247650 h 1438275"/>
                  <a:gd name="connsiteX7" fmla="*/ 172763 w 445813"/>
                  <a:gd name="connsiteY7" fmla="*/ 276225 h 1438275"/>
                  <a:gd name="connsiteX8" fmla="*/ 185463 w 445813"/>
                  <a:gd name="connsiteY8" fmla="*/ 327025 h 1438275"/>
                  <a:gd name="connsiteX9" fmla="*/ 239438 w 445813"/>
                  <a:gd name="connsiteY9" fmla="*/ 368300 h 1438275"/>
                  <a:gd name="connsiteX10" fmla="*/ 239438 w 445813"/>
                  <a:gd name="connsiteY10" fmla="*/ 412750 h 1438275"/>
                  <a:gd name="connsiteX11" fmla="*/ 207688 w 445813"/>
                  <a:gd name="connsiteY11" fmla="*/ 454025 h 1438275"/>
                  <a:gd name="connsiteX12" fmla="*/ 287063 w 445813"/>
                  <a:gd name="connsiteY12" fmla="*/ 479425 h 1438275"/>
                  <a:gd name="connsiteX13" fmla="*/ 302938 w 445813"/>
                  <a:gd name="connsiteY13" fmla="*/ 511175 h 1438275"/>
                  <a:gd name="connsiteX14" fmla="*/ 210863 w 445813"/>
                  <a:gd name="connsiteY14" fmla="*/ 581025 h 1438275"/>
                  <a:gd name="connsiteX15" fmla="*/ 160063 w 445813"/>
                  <a:gd name="connsiteY15" fmla="*/ 638175 h 1438275"/>
                  <a:gd name="connsiteX16" fmla="*/ 160063 w 445813"/>
                  <a:gd name="connsiteY16" fmla="*/ 695325 h 1438275"/>
                  <a:gd name="connsiteX17" fmla="*/ 185463 w 445813"/>
                  <a:gd name="connsiteY17" fmla="*/ 784225 h 1438275"/>
                  <a:gd name="connsiteX18" fmla="*/ 194988 w 445813"/>
                  <a:gd name="connsiteY18" fmla="*/ 835025 h 1438275"/>
                  <a:gd name="connsiteX19" fmla="*/ 204513 w 445813"/>
                  <a:gd name="connsiteY19" fmla="*/ 885825 h 1438275"/>
                  <a:gd name="connsiteX20" fmla="*/ 220388 w 445813"/>
                  <a:gd name="connsiteY20" fmla="*/ 923925 h 1438275"/>
                  <a:gd name="connsiteX21" fmla="*/ 163238 w 445813"/>
                  <a:gd name="connsiteY21" fmla="*/ 1022350 h 1438275"/>
                  <a:gd name="connsiteX22" fmla="*/ 96563 w 445813"/>
                  <a:gd name="connsiteY22" fmla="*/ 1057275 h 1438275"/>
                  <a:gd name="connsiteX23" fmla="*/ 52113 w 445813"/>
                  <a:gd name="connsiteY23" fmla="*/ 1143000 h 1438275"/>
                  <a:gd name="connsiteX24" fmla="*/ 20363 w 445813"/>
                  <a:gd name="connsiteY24" fmla="*/ 1244600 h 1438275"/>
                  <a:gd name="connsiteX25" fmla="*/ 1313 w 445813"/>
                  <a:gd name="connsiteY25" fmla="*/ 1346200 h 1438275"/>
                  <a:gd name="connsiteX26" fmla="*/ 10838 w 445813"/>
                  <a:gd name="connsiteY26" fmla="*/ 1438275 h 1438275"/>
                  <a:gd name="connsiteX0" fmla="*/ 444500 w 444500"/>
                  <a:gd name="connsiteY0" fmla="*/ 0 h 1346200"/>
                  <a:gd name="connsiteX1" fmla="*/ 406400 w 444500"/>
                  <a:gd name="connsiteY1" fmla="*/ 66675 h 1346200"/>
                  <a:gd name="connsiteX2" fmla="*/ 352425 w 444500"/>
                  <a:gd name="connsiteY2" fmla="*/ 85725 h 1346200"/>
                  <a:gd name="connsiteX3" fmla="*/ 282575 w 444500"/>
                  <a:gd name="connsiteY3" fmla="*/ 98425 h 1346200"/>
                  <a:gd name="connsiteX4" fmla="*/ 222250 w 444500"/>
                  <a:gd name="connsiteY4" fmla="*/ 133350 h 1346200"/>
                  <a:gd name="connsiteX5" fmla="*/ 120650 w 444500"/>
                  <a:gd name="connsiteY5" fmla="*/ 196850 h 1346200"/>
                  <a:gd name="connsiteX6" fmla="*/ 130175 w 444500"/>
                  <a:gd name="connsiteY6" fmla="*/ 247650 h 1346200"/>
                  <a:gd name="connsiteX7" fmla="*/ 171450 w 444500"/>
                  <a:gd name="connsiteY7" fmla="*/ 276225 h 1346200"/>
                  <a:gd name="connsiteX8" fmla="*/ 184150 w 444500"/>
                  <a:gd name="connsiteY8" fmla="*/ 327025 h 1346200"/>
                  <a:gd name="connsiteX9" fmla="*/ 238125 w 444500"/>
                  <a:gd name="connsiteY9" fmla="*/ 368300 h 1346200"/>
                  <a:gd name="connsiteX10" fmla="*/ 238125 w 444500"/>
                  <a:gd name="connsiteY10" fmla="*/ 412750 h 1346200"/>
                  <a:gd name="connsiteX11" fmla="*/ 206375 w 444500"/>
                  <a:gd name="connsiteY11" fmla="*/ 454025 h 1346200"/>
                  <a:gd name="connsiteX12" fmla="*/ 285750 w 444500"/>
                  <a:gd name="connsiteY12" fmla="*/ 479425 h 1346200"/>
                  <a:gd name="connsiteX13" fmla="*/ 301625 w 444500"/>
                  <a:gd name="connsiteY13" fmla="*/ 511175 h 1346200"/>
                  <a:gd name="connsiteX14" fmla="*/ 209550 w 444500"/>
                  <a:gd name="connsiteY14" fmla="*/ 581025 h 1346200"/>
                  <a:gd name="connsiteX15" fmla="*/ 158750 w 444500"/>
                  <a:gd name="connsiteY15" fmla="*/ 638175 h 1346200"/>
                  <a:gd name="connsiteX16" fmla="*/ 158750 w 444500"/>
                  <a:gd name="connsiteY16" fmla="*/ 695325 h 1346200"/>
                  <a:gd name="connsiteX17" fmla="*/ 184150 w 444500"/>
                  <a:gd name="connsiteY17" fmla="*/ 784225 h 1346200"/>
                  <a:gd name="connsiteX18" fmla="*/ 193675 w 444500"/>
                  <a:gd name="connsiteY18" fmla="*/ 835025 h 1346200"/>
                  <a:gd name="connsiteX19" fmla="*/ 203200 w 444500"/>
                  <a:gd name="connsiteY19" fmla="*/ 885825 h 1346200"/>
                  <a:gd name="connsiteX20" fmla="*/ 219075 w 444500"/>
                  <a:gd name="connsiteY20" fmla="*/ 923925 h 1346200"/>
                  <a:gd name="connsiteX21" fmla="*/ 161925 w 444500"/>
                  <a:gd name="connsiteY21" fmla="*/ 1022350 h 1346200"/>
                  <a:gd name="connsiteX22" fmla="*/ 95250 w 444500"/>
                  <a:gd name="connsiteY22" fmla="*/ 1057275 h 1346200"/>
                  <a:gd name="connsiteX23" fmla="*/ 50800 w 444500"/>
                  <a:gd name="connsiteY23" fmla="*/ 1143000 h 1346200"/>
                  <a:gd name="connsiteX24" fmla="*/ 19050 w 444500"/>
                  <a:gd name="connsiteY24" fmla="*/ 1244600 h 1346200"/>
                  <a:gd name="connsiteX25" fmla="*/ 0 w 444500"/>
                  <a:gd name="connsiteY25" fmla="*/ 1346200 h 1346200"/>
                  <a:gd name="connsiteX0" fmla="*/ 425450 w 425450"/>
                  <a:gd name="connsiteY0" fmla="*/ 0 h 1244600"/>
                  <a:gd name="connsiteX1" fmla="*/ 387350 w 425450"/>
                  <a:gd name="connsiteY1" fmla="*/ 66675 h 1244600"/>
                  <a:gd name="connsiteX2" fmla="*/ 333375 w 425450"/>
                  <a:gd name="connsiteY2" fmla="*/ 85725 h 1244600"/>
                  <a:gd name="connsiteX3" fmla="*/ 263525 w 425450"/>
                  <a:gd name="connsiteY3" fmla="*/ 98425 h 1244600"/>
                  <a:gd name="connsiteX4" fmla="*/ 203200 w 425450"/>
                  <a:gd name="connsiteY4" fmla="*/ 133350 h 1244600"/>
                  <a:gd name="connsiteX5" fmla="*/ 101600 w 425450"/>
                  <a:gd name="connsiteY5" fmla="*/ 196850 h 1244600"/>
                  <a:gd name="connsiteX6" fmla="*/ 111125 w 425450"/>
                  <a:gd name="connsiteY6" fmla="*/ 247650 h 1244600"/>
                  <a:gd name="connsiteX7" fmla="*/ 152400 w 425450"/>
                  <a:gd name="connsiteY7" fmla="*/ 276225 h 1244600"/>
                  <a:gd name="connsiteX8" fmla="*/ 165100 w 425450"/>
                  <a:gd name="connsiteY8" fmla="*/ 327025 h 1244600"/>
                  <a:gd name="connsiteX9" fmla="*/ 219075 w 425450"/>
                  <a:gd name="connsiteY9" fmla="*/ 368300 h 1244600"/>
                  <a:gd name="connsiteX10" fmla="*/ 219075 w 425450"/>
                  <a:gd name="connsiteY10" fmla="*/ 412750 h 1244600"/>
                  <a:gd name="connsiteX11" fmla="*/ 187325 w 425450"/>
                  <a:gd name="connsiteY11" fmla="*/ 454025 h 1244600"/>
                  <a:gd name="connsiteX12" fmla="*/ 266700 w 425450"/>
                  <a:gd name="connsiteY12" fmla="*/ 479425 h 1244600"/>
                  <a:gd name="connsiteX13" fmla="*/ 282575 w 425450"/>
                  <a:gd name="connsiteY13" fmla="*/ 511175 h 1244600"/>
                  <a:gd name="connsiteX14" fmla="*/ 190500 w 425450"/>
                  <a:gd name="connsiteY14" fmla="*/ 581025 h 1244600"/>
                  <a:gd name="connsiteX15" fmla="*/ 139700 w 425450"/>
                  <a:gd name="connsiteY15" fmla="*/ 638175 h 1244600"/>
                  <a:gd name="connsiteX16" fmla="*/ 139700 w 425450"/>
                  <a:gd name="connsiteY16" fmla="*/ 695325 h 1244600"/>
                  <a:gd name="connsiteX17" fmla="*/ 165100 w 425450"/>
                  <a:gd name="connsiteY17" fmla="*/ 784225 h 1244600"/>
                  <a:gd name="connsiteX18" fmla="*/ 174625 w 425450"/>
                  <a:gd name="connsiteY18" fmla="*/ 835025 h 1244600"/>
                  <a:gd name="connsiteX19" fmla="*/ 184150 w 425450"/>
                  <a:gd name="connsiteY19" fmla="*/ 885825 h 1244600"/>
                  <a:gd name="connsiteX20" fmla="*/ 200025 w 425450"/>
                  <a:gd name="connsiteY20" fmla="*/ 923925 h 1244600"/>
                  <a:gd name="connsiteX21" fmla="*/ 142875 w 425450"/>
                  <a:gd name="connsiteY21" fmla="*/ 1022350 h 1244600"/>
                  <a:gd name="connsiteX22" fmla="*/ 76200 w 425450"/>
                  <a:gd name="connsiteY22" fmla="*/ 1057275 h 1244600"/>
                  <a:gd name="connsiteX23" fmla="*/ 31750 w 425450"/>
                  <a:gd name="connsiteY23" fmla="*/ 1143000 h 1244600"/>
                  <a:gd name="connsiteX24" fmla="*/ 0 w 425450"/>
                  <a:gd name="connsiteY24" fmla="*/ 1244600 h 1244600"/>
                  <a:gd name="connsiteX0" fmla="*/ 393700 w 393700"/>
                  <a:gd name="connsiteY0" fmla="*/ 0 h 1143000"/>
                  <a:gd name="connsiteX1" fmla="*/ 355600 w 393700"/>
                  <a:gd name="connsiteY1" fmla="*/ 66675 h 1143000"/>
                  <a:gd name="connsiteX2" fmla="*/ 301625 w 393700"/>
                  <a:gd name="connsiteY2" fmla="*/ 85725 h 1143000"/>
                  <a:gd name="connsiteX3" fmla="*/ 231775 w 393700"/>
                  <a:gd name="connsiteY3" fmla="*/ 98425 h 1143000"/>
                  <a:gd name="connsiteX4" fmla="*/ 171450 w 393700"/>
                  <a:gd name="connsiteY4" fmla="*/ 133350 h 1143000"/>
                  <a:gd name="connsiteX5" fmla="*/ 69850 w 393700"/>
                  <a:gd name="connsiteY5" fmla="*/ 196850 h 1143000"/>
                  <a:gd name="connsiteX6" fmla="*/ 79375 w 393700"/>
                  <a:gd name="connsiteY6" fmla="*/ 247650 h 1143000"/>
                  <a:gd name="connsiteX7" fmla="*/ 120650 w 393700"/>
                  <a:gd name="connsiteY7" fmla="*/ 276225 h 1143000"/>
                  <a:gd name="connsiteX8" fmla="*/ 133350 w 393700"/>
                  <a:gd name="connsiteY8" fmla="*/ 327025 h 1143000"/>
                  <a:gd name="connsiteX9" fmla="*/ 187325 w 393700"/>
                  <a:gd name="connsiteY9" fmla="*/ 368300 h 1143000"/>
                  <a:gd name="connsiteX10" fmla="*/ 187325 w 393700"/>
                  <a:gd name="connsiteY10" fmla="*/ 412750 h 1143000"/>
                  <a:gd name="connsiteX11" fmla="*/ 155575 w 393700"/>
                  <a:gd name="connsiteY11" fmla="*/ 454025 h 1143000"/>
                  <a:gd name="connsiteX12" fmla="*/ 234950 w 393700"/>
                  <a:gd name="connsiteY12" fmla="*/ 479425 h 1143000"/>
                  <a:gd name="connsiteX13" fmla="*/ 250825 w 393700"/>
                  <a:gd name="connsiteY13" fmla="*/ 511175 h 1143000"/>
                  <a:gd name="connsiteX14" fmla="*/ 158750 w 393700"/>
                  <a:gd name="connsiteY14" fmla="*/ 581025 h 1143000"/>
                  <a:gd name="connsiteX15" fmla="*/ 107950 w 393700"/>
                  <a:gd name="connsiteY15" fmla="*/ 638175 h 1143000"/>
                  <a:gd name="connsiteX16" fmla="*/ 107950 w 393700"/>
                  <a:gd name="connsiteY16" fmla="*/ 695325 h 1143000"/>
                  <a:gd name="connsiteX17" fmla="*/ 133350 w 393700"/>
                  <a:gd name="connsiteY17" fmla="*/ 784225 h 1143000"/>
                  <a:gd name="connsiteX18" fmla="*/ 142875 w 393700"/>
                  <a:gd name="connsiteY18" fmla="*/ 835025 h 1143000"/>
                  <a:gd name="connsiteX19" fmla="*/ 152400 w 393700"/>
                  <a:gd name="connsiteY19" fmla="*/ 885825 h 1143000"/>
                  <a:gd name="connsiteX20" fmla="*/ 168275 w 393700"/>
                  <a:gd name="connsiteY20" fmla="*/ 923925 h 1143000"/>
                  <a:gd name="connsiteX21" fmla="*/ 111125 w 393700"/>
                  <a:gd name="connsiteY21" fmla="*/ 1022350 h 1143000"/>
                  <a:gd name="connsiteX22" fmla="*/ 44450 w 393700"/>
                  <a:gd name="connsiteY22" fmla="*/ 1057275 h 1143000"/>
                  <a:gd name="connsiteX23" fmla="*/ 0 w 393700"/>
                  <a:gd name="connsiteY23" fmla="*/ 1143000 h 1143000"/>
                  <a:gd name="connsiteX0" fmla="*/ 349250 w 349250"/>
                  <a:gd name="connsiteY0" fmla="*/ 0 h 1057275"/>
                  <a:gd name="connsiteX1" fmla="*/ 311150 w 349250"/>
                  <a:gd name="connsiteY1" fmla="*/ 66675 h 1057275"/>
                  <a:gd name="connsiteX2" fmla="*/ 257175 w 349250"/>
                  <a:gd name="connsiteY2" fmla="*/ 85725 h 1057275"/>
                  <a:gd name="connsiteX3" fmla="*/ 187325 w 349250"/>
                  <a:gd name="connsiteY3" fmla="*/ 98425 h 1057275"/>
                  <a:gd name="connsiteX4" fmla="*/ 127000 w 349250"/>
                  <a:gd name="connsiteY4" fmla="*/ 133350 h 1057275"/>
                  <a:gd name="connsiteX5" fmla="*/ 25400 w 349250"/>
                  <a:gd name="connsiteY5" fmla="*/ 196850 h 1057275"/>
                  <a:gd name="connsiteX6" fmla="*/ 34925 w 349250"/>
                  <a:gd name="connsiteY6" fmla="*/ 247650 h 1057275"/>
                  <a:gd name="connsiteX7" fmla="*/ 76200 w 349250"/>
                  <a:gd name="connsiteY7" fmla="*/ 276225 h 1057275"/>
                  <a:gd name="connsiteX8" fmla="*/ 88900 w 349250"/>
                  <a:gd name="connsiteY8" fmla="*/ 327025 h 1057275"/>
                  <a:gd name="connsiteX9" fmla="*/ 142875 w 349250"/>
                  <a:gd name="connsiteY9" fmla="*/ 368300 h 1057275"/>
                  <a:gd name="connsiteX10" fmla="*/ 142875 w 349250"/>
                  <a:gd name="connsiteY10" fmla="*/ 412750 h 1057275"/>
                  <a:gd name="connsiteX11" fmla="*/ 111125 w 349250"/>
                  <a:gd name="connsiteY11" fmla="*/ 454025 h 1057275"/>
                  <a:gd name="connsiteX12" fmla="*/ 190500 w 349250"/>
                  <a:gd name="connsiteY12" fmla="*/ 479425 h 1057275"/>
                  <a:gd name="connsiteX13" fmla="*/ 206375 w 349250"/>
                  <a:gd name="connsiteY13" fmla="*/ 511175 h 1057275"/>
                  <a:gd name="connsiteX14" fmla="*/ 114300 w 349250"/>
                  <a:gd name="connsiteY14" fmla="*/ 581025 h 1057275"/>
                  <a:gd name="connsiteX15" fmla="*/ 63500 w 349250"/>
                  <a:gd name="connsiteY15" fmla="*/ 638175 h 1057275"/>
                  <a:gd name="connsiteX16" fmla="*/ 63500 w 349250"/>
                  <a:gd name="connsiteY16" fmla="*/ 695325 h 1057275"/>
                  <a:gd name="connsiteX17" fmla="*/ 88900 w 349250"/>
                  <a:gd name="connsiteY17" fmla="*/ 784225 h 1057275"/>
                  <a:gd name="connsiteX18" fmla="*/ 98425 w 349250"/>
                  <a:gd name="connsiteY18" fmla="*/ 835025 h 1057275"/>
                  <a:gd name="connsiteX19" fmla="*/ 107950 w 349250"/>
                  <a:gd name="connsiteY19" fmla="*/ 885825 h 1057275"/>
                  <a:gd name="connsiteX20" fmla="*/ 123825 w 349250"/>
                  <a:gd name="connsiteY20" fmla="*/ 923925 h 1057275"/>
                  <a:gd name="connsiteX21" fmla="*/ 66675 w 349250"/>
                  <a:gd name="connsiteY21" fmla="*/ 1022350 h 1057275"/>
                  <a:gd name="connsiteX22" fmla="*/ 0 w 349250"/>
                  <a:gd name="connsiteY22" fmla="*/ 1057275 h 1057275"/>
                  <a:gd name="connsiteX0" fmla="*/ 330162 w 330162"/>
                  <a:gd name="connsiteY0" fmla="*/ 0 h 1022350"/>
                  <a:gd name="connsiteX1" fmla="*/ 292062 w 330162"/>
                  <a:gd name="connsiteY1" fmla="*/ 66675 h 1022350"/>
                  <a:gd name="connsiteX2" fmla="*/ 238087 w 330162"/>
                  <a:gd name="connsiteY2" fmla="*/ 85725 h 1022350"/>
                  <a:gd name="connsiteX3" fmla="*/ 168237 w 330162"/>
                  <a:gd name="connsiteY3" fmla="*/ 98425 h 1022350"/>
                  <a:gd name="connsiteX4" fmla="*/ 107912 w 330162"/>
                  <a:gd name="connsiteY4" fmla="*/ 133350 h 1022350"/>
                  <a:gd name="connsiteX5" fmla="*/ 6312 w 330162"/>
                  <a:gd name="connsiteY5" fmla="*/ 196850 h 1022350"/>
                  <a:gd name="connsiteX6" fmla="*/ 15837 w 330162"/>
                  <a:gd name="connsiteY6" fmla="*/ 247650 h 1022350"/>
                  <a:gd name="connsiteX7" fmla="*/ 57112 w 330162"/>
                  <a:gd name="connsiteY7" fmla="*/ 276225 h 1022350"/>
                  <a:gd name="connsiteX8" fmla="*/ 69812 w 330162"/>
                  <a:gd name="connsiteY8" fmla="*/ 327025 h 1022350"/>
                  <a:gd name="connsiteX9" fmla="*/ 123787 w 330162"/>
                  <a:gd name="connsiteY9" fmla="*/ 368300 h 1022350"/>
                  <a:gd name="connsiteX10" fmla="*/ 123787 w 330162"/>
                  <a:gd name="connsiteY10" fmla="*/ 412750 h 1022350"/>
                  <a:gd name="connsiteX11" fmla="*/ 92037 w 330162"/>
                  <a:gd name="connsiteY11" fmla="*/ 454025 h 1022350"/>
                  <a:gd name="connsiteX12" fmla="*/ 171412 w 330162"/>
                  <a:gd name="connsiteY12" fmla="*/ 479425 h 1022350"/>
                  <a:gd name="connsiteX13" fmla="*/ 187287 w 330162"/>
                  <a:gd name="connsiteY13" fmla="*/ 511175 h 1022350"/>
                  <a:gd name="connsiteX14" fmla="*/ 95212 w 330162"/>
                  <a:gd name="connsiteY14" fmla="*/ 581025 h 1022350"/>
                  <a:gd name="connsiteX15" fmla="*/ 44412 w 330162"/>
                  <a:gd name="connsiteY15" fmla="*/ 638175 h 1022350"/>
                  <a:gd name="connsiteX16" fmla="*/ 44412 w 330162"/>
                  <a:gd name="connsiteY16" fmla="*/ 695325 h 1022350"/>
                  <a:gd name="connsiteX17" fmla="*/ 69812 w 330162"/>
                  <a:gd name="connsiteY17" fmla="*/ 784225 h 1022350"/>
                  <a:gd name="connsiteX18" fmla="*/ 79337 w 330162"/>
                  <a:gd name="connsiteY18" fmla="*/ 835025 h 1022350"/>
                  <a:gd name="connsiteX19" fmla="*/ 88862 w 330162"/>
                  <a:gd name="connsiteY19" fmla="*/ 885825 h 1022350"/>
                  <a:gd name="connsiteX20" fmla="*/ 104737 w 330162"/>
                  <a:gd name="connsiteY20" fmla="*/ 923925 h 1022350"/>
                  <a:gd name="connsiteX21" fmla="*/ 47587 w 330162"/>
                  <a:gd name="connsiteY21" fmla="*/ 1022350 h 1022350"/>
                  <a:gd name="connsiteX0" fmla="*/ 330162 w 330162"/>
                  <a:gd name="connsiteY0" fmla="*/ 0 h 923925"/>
                  <a:gd name="connsiteX1" fmla="*/ 292062 w 330162"/>
                  <a:gd name="connsiteY1" fmla="*/ 66675 h 923925"/>
                  <a:gd name="connsiteX2" fmla="*/ 238087 w 330162"/>
                  <a:gd name="connsiteY2" fmla="*/ 85725 h 923925"/>
                  <a:gd name="connsiteX3" fmla="*/ 168237 w 330162"/>
                  <a:gd name="connsiteY3" fmla="*/ 98425 h 923925"/>
                  <a:gd name="connsiteX4" fmla="*/ 107912 w 330162"/>
                  <a:gd name="connsiteY4" fmla="*/ 133350 h 923925"/>
                  <a:gd name="connsiteX5" fmla="*/ 6312 w 330162"/>
                  <a:gd name="connsiteY5" fmla="*/ 196850 h 923925"/>
                  <a:gd name="connsiteX6" fmla="*/ 15837 w 330162"/>
                  <a:gd name="connsiteY6" fmla="*/ 247650 h 923925"/>
                  <a:gd name="connsiteX7" fmla="*/ 57112 w 330162"/>
                  <a:gd name="connsiteY7" fmla="*/ 276225 h 923925"/>
                  <a:gd name="connsiteX8" fmla="*/ 69812 w 330162"/>
                  <a:gd name="connsiteY8" fmla="*/ 327025 h 923925"/>
                  <a:gd name="connsiteX9" fmla="*/ 123787 w 330162"/>
                  <a:gd name="connsiteY9" fmla="*/ 368300 h 923925"/>
                  <a:gd name="connsiteX10" fmla="*/ 123787 w 330162"/>
                  <a:gd name="connsiteY10" fmla="*/ 412750 h 923925"/>
                  <a:gd name="connsiteX11" fmla="*/ 92037 w 330162"/>
                  <a:gd name="connsiteY11" fmla="*/ 454025 h 923925"/>
                  <a:gd name="connsiteX12" fmla="*/ 171412 w 330162"/>
                  <a:gd name="connsiteY12" fmla="*/ 479425 h 923925"/>
                  <a:gd name="connsiteX13" fmla="*/ 187287 w 330162"/>
                  <a:gd name="connsiteY13" fmla="*/ 511175 h 923925"/>
                  <a:gd name="connsiteX14" fmla="*/ 95212 w 330162"/>
                  <a:gd name="connsiteY14" fmla="*/ 581025 h 923925"/>
                  <a:gd name="connsiteX15" fmla="*/ 44412 w 330162"/>
                  <a:gd name="connsiteY15" fmla="*/ 638175 h 923925"/>
                  <a:gd name="connsiteX16" fmla="*/ 44412 w 330162"/>
                  <a:gd name="connsiteY16" fmla="*/ 695325 h 923925"/>
                  <a:gd name="connsiteX17" fmla="*/ 69812 w 330162"/>
                  <a:gd name="connsiteY17" fmla="*/ 784225 h 923925"/>
                  <a:gd name="connsiteX18" fmla="*/ 79337 w 330162"/>
                  <a:gd name="connsiteY18" fmla="*/ 835025 h 923925"/>
                  <a:gd name="connsiteX19" fmla="*/ 88862 w 330162"/>
                  <a:gd name="connsiteY19" fmla="*/ 885825 h 923925"/>
                  <a:gd name="connsiteX20" fmla="*/ 104737 w 330162"/>
                  <a:gd name="connsiteY20" fmla="*/ 923925 h 923925"/>
                  <a:gd name="connsiteX0" fmla="*/ 330162 w 330162"/>
                  <a:gd name="connsiteY0" fmla="*/ 0 h 885825"/>
                  <a:gd name="connsiteX1" fmla="*/ 292062 w 330162"/>
                  <a:gd name="connsiteY1" fmla="*/ 66675 h 885825"/>
                  <a:gd name="connsiteX2" fmla="*/ 238087 w 330162"/>
                  <a:gd name="connsiteY2" fmla="*/ 85725 h 885825"/>
                  <a:gd name="connsiteX3" fmla="*/ 168237 w 330162"/>
                  <a:gd name="connsiteY3" fmla="*/ 98425 h 885825"/>
                  <a:gd name="connsiteX4" fmla="*/ 107912 w 330162"/>
                  <a:gd name="connsiteY4" fmla="*/ 133350 h 885825"/>
                  <a:gd name="connsiteX5" fmla="*/ 6312 w 330162"/>
                  <a:gd name="connsiteY5" fmla="*/ 196850 h 885825"/>
                  <a:gd name="connsiteX6" fmla="*/ 15837 w 330162"/>
                  <a:gd name="connsiteY6" fmla="*/ 247650 h 885825"/>
                  <a:gd name="connsiteX7" fmla="*/ 57112 w 330162"/>
                  <a:gd name="connsiteY7" fmla="*/ 276225 h 885825"/>
                  <a:gd name="connsiteX8" fmla="*/ 69812 w 330162"/>
                  <a:gd name="connsiteY8" fmla="*/ 327025 h 885825"/>
                  <a:gd name="connsiteX9" fmla="*/ 123787 w 330162"/>
                  <a:gd name="connsiteY9" fmla="*/ 368300 h 885825"/>
                  <a:gd name="connsiteX10" fmla="*/ 123787 w 330162"/>
                  <a:gd name="connsiteY10" fmla="*/ 412750 h 885825"/>
                  <a:gd name="connsiteX11" fmla="*/ 92037 w 330162"/>
                  <a:gd name="connsiteY11" fmla="*/ 454025 h 885825"/>
                  <a:gd name="connsiteX12" fmla="*/ 171412 w 330162"/>
                  <a:gd name="connsiteY12" fmla="*/ 479425 h 885825"/>
                  <a:gd name="connsiteX13" fmla="*/ 187287 w 330162"/>
                  <a:gd name="connsiteY13" fmla="*/ 511175 h 885825"/>
                  <a:gd name="connsiteX14" fmla="*/ 95212 w 330162"/>
                  <a:gd name="connsiteY14" fmla="*/ 581025 h 885825"/>
                  <a:gd name="connsiteX15" fmla="*/ 44412 w 330162"/>
                  <a:gd name="connsiteY15" fmla="*/ 638175 h 885825"/>
                  <a:gd name="connsiteX16" fmla="*/ 44412 w 330162"/>
                  <a:gd name="connsiteY16" fmla="*/ 695325 h 885825"/>
                  <a:gd name="connsiteX17" fmla="*/ 69812 w 330162"/>
                  <a:gd name="connsiteY17" fmla="*/ 784225 h 885825"/>
                  <a:gd name="connsiteX18" fmla="*/ 79337 w 330162"/>
                  <a:gd name="connsiteY18" fmla="*/ 835025 h 885825"/>
                  <a:gd name="connsiteX19" fmla="*/ 88862 w 330162"/>
                  <a:gd name="connsiteY19" fmla="*/ 885825 h 885825"/>
                  <a:gd name="connsiteX0" fmla="*/ 330162 w 330162"/>
                  <a:gd name="connsiteY0" fmla="*/ 0 h 835025"/>
                  <a:gd name="connsiteX1" fmla="*/ 292062 w 330162"/>
                  <a:gd name="connsiteY1" fmla="*/ 66675 h 835025"/>
                  <a:gd name="connsiteX2" fmla="*/ 238087 w 330162"/>
                  <a:gd name="connsiteY2" fmla="*/ 85725 h 835025"/>
                  <a:gd name="connsiteX3" fmla="*/ 168237 w 330162"/>
                  <a:gd name="connsiteY3" fmla="*/ 98425 h 835025"/>
                  <a:gd name="connsiteX4" fmla="*/ 107912 w 330162"/>
                  <a:gd name="connsiteY4" fmla="*/ 133350 h 835025"/>
                  <a:gd name="connsiteX5" fmla="*/ 6312 w 330162"/>
                  <a:gd name="connsiteY5" fmla="*/ 196850 h 835025"/>
                  <a:gd name="connsiteX6" fmla="*/ 15837 w 330162"/>
                  <a:gd name="connsiteY6" fmla="*/ 247650 h 835025"/>
                  <a:gd name="connsiteX7" fmla="*/ 57112 w 330162"/>
                  <a:gd name="connsiteY7" fmla="*/ 276225 h 835025"/>
                  <a:gd name="connsiteX8" fmla="*/ 69812 w 330162"/>
                  <a:gd name="connsiteY8" fmla="*/ 327025 h 835025"/>
                  <a:gd name="connsiteX9" fmla="*/ 123787 w 330162"/>
                  <a:gd name="connsiteY9" fmla="*/ 368300 h 835025"/>
                  <a:gd name="connsiteX10" fmla="*/ 123787 w 330162"/>
                  <a:gd name="connsiteY10" fmla="*/ 412750 h 835025"/>
                  <a:gd name="connsiteX11" fmla="*/ 92037 w 330162"/>
                  <a:gd name="connsiteY11" fmla="*/ 454025 h 835025"/>
                  <a:gd name="connsiteX12" fmla="*/ 171412 w 330162"/>
                  <a:gd name="connsiteY12" fmla="*/ 479425 h 835025"/>
                  <a:gd name="connsiteX13" fmla="*/ 187287 w 330162"/>
                  <a:gd name="connsiteY13" fmla="*/ 511175 h 835025"/>
                  <a:gd name="connsiteX14" fmla="*/ 95212 w 330162"/>
                  <a:gd name="connsiteY14" fmla="*/ 581025 h 835025"/>
                  <a:gd name="connsiteX15" fmla="*/ 44412 w 330162"/>
                  <a:gd name="connsiteY15" fmla="*/ 638175 h 835025"/>
                  <a:gd name="connsiteX16" fmla="*/ 44412 w 330162"/>
                  <a:gd name="connsiteY16" fmla="*/ 695325 h 835025"/>
                  <a:gd name="connsiteX17" fmla="*/ 69812 w 330162"/>
                  <a:gd name="connsiteY17" fmla="*/ 784225 h 835025"/>
                  <a:gd name="connsiteX18" fmla="*/ 79337 w 330162"/>
                  <a:gd name="connsiteY18" fmla="*/ 835025 h 835025"/>
                  <a:gd name="connsiteX0" fmla="*/ 330162 w 330162"/>
                  <a:gd name="connsiteY0" fmla="*/ 0 h 784225"/>
                  <a:gd name="connsiteX1" fmla="*/ 292062 w 330162"/>
                  <a:gd name="connsiteY1" fmla="*/ 66675 h 784225"/>
                  <a:gd name="connsiteX2" fmla="*/ 238087 w 330162"/>
                  <a:gd name="connsiteY2" fmla="*/ 85725 h 784225"/>
                  <a:gd name="connsiteX3" fmla="*/ 168237 w 330162"/>
                  <a:gd name="connsiteY3" fmla="*/ 98425 h 784225"/>
                  <a:gd name="connsiteX4" fmla="*/ 107912 w 330162"/>
                  <a:gd name="connsiteY4" fmla="*/ 133350 h 784225"/>
                  <a:gd name="connsiteX5" fmla="*/ 6312 w 330162"/>
                  <a:gd name="connsiteY5" fmla="*/ 196850 h 784225"/>
                  <a:gd name="connsiteX6" fmla="*/ 15837 w 330162"/>
                  <a:gd name="connsiteY6" fmla="*/ 247650 h 784225"/>
                  <a:gd name="connsiteX7" fmla="*/ 57112 w 330162"/>
                  <a:gd name="connsiteY7" fmla="*/ 276225 h 784225"/>
                  <a:gd name="connsiteX8" fmla="*/ 69812 w 330162"/>
                  <a:gd name="connsiteY8" fmla="*/ 327025 h 784225"/>
                  <a:gd name="connsiteX9" fmla="*/ 123787 w 330162"/>
                  <a:gd name="connsiteY9" fmla="*/ 368300 h 784225"/>
                  <a:gd name="connsiteX10" fmla="*/ 123787 w 330162"/>
                  <a:gd name="connsiteY10" fmla="*/ 412750 h 784225"/>
                  <a:gd name="connsiteX11" fmla="*/ 92037 w 330162"/>
                  <a:gd name="connsiteY11" fmla="*/ 454025 h 784225"/>
                  <a:gd name="connsiteX12" fmla="*/ 171412 w 330162"/>
                  <a:gd name="connsiteY12" fmla="*/ 479425 h 784225"/>
                  <a:gd name="connsiteX13" fmla="*/ 187287 w 330162"/>
                  <a:gd name="connsiteY13" fmla="*/ 511175 h 784225"/>
                  <a:gd name="connsiteX14" fmla="*/ 95212 w 330162"/>
                  <a:gd name="connsiteY14" fmla="*/ 581025 h 784225"/>
                  <a:gd name="connsiteX15" fmla="*/ 44412 w 330162"/>
                  <a:gd name="connsiteY15" fmla="*/ 638175 h 784225"/>
                  <a:gd name="connsiteX16" fmla="*/ 44412 w 330162"/>
                  <a:gd name="connsiteY16" fmla="*/ 695325 h 784225"/>
                  <a:gd name="connsiteX17" fmla="*/ 69812 w 330162"/>
                  <a:gd name="connsiteY17" fmla="*/ 784225 h 784225"/>
                  <a:gd name="connsiteX0" fmla="*/ 330162 w 330162"/>
                  <a:gd name="connsiteY0" fmla="*/ 0 h 695325"/>
                  <a:gd name="connsiteX1" fmla="*/ 292062 w 330162"/>
                  <a:gd name="connsiteY1" fmla="*/ 66675 h 695325"/>
                  <a:gd name="connsiteX2" fmla="*/ 238087 w 330162"/>
                  <a:gd name="connsiteY2" fmla="*/ 85725 h 695325"/>
                  <a:gd name="connsiteX3" fmla="*/ 168237 w 330162"/>
                  <a:gd name="connsiteY3" fmla="*/ 98425 h 695325"/>
                  <a:gd name="connsiteX4" fmla="*/ 107912 w 330162"/>
                  <a:gd name="connsiteY4" fmla="*/ 133350 h 695325"/>
                  <a:gd name="connsiteX5" fmla="*/ 6312 w 330162"/>
                  <a:gd name="connsiteY5" fmla="*/ 196850 h 695325"/>
                  <a:gd name="connsiteX6" fmla="*/ 15837 w 330162"/>
                  <a:gd name="connsiteY6" fmla="*/ 247650 h 695325"/>
                  <a:gd name="connsiteX7" fmla="*/ 57112 w 330162"/>
                  <a:gd name="connsiteY7" fmla="*/ 276225 h 695325"/>
                  <a:gd name="connsiteX8" fmla="*/ 69812 w 330162"/>
                  <a:gd name="connsiteY8" fmla="*/ 327025 h 695325"/>
                  <a:gd name="connsiteX9" fmla="*/ 123787 w 330162"/>
                  <a:gd name="connsiteY9" fmla="*/ 368300 h 695325"/>
                  <a:gd name="connsiteX10" fmla="*/ 123787 w 330162"/>
                  <a:gd name="connsiteY10" fmla="*/ 412750 h 695325"/>
                  <a:gd name="connsiteX11" fmla="*/ 92037 w 330162"/>
                  <a:gd name="connsiteY11" fmla="*/ 454025 h 695325"/>
                  <a:gd name="connsiteX12" fmla="*/ 171412 w 330162"/>
                  <a:gd name="connsiteY12" fmla="*/ 479425 h 695325"/>
                  <a:gd name="connsiteX13" fmla="*/ 187287 w 330162"/>
                  <a:gd name="connsiteY13" fmla="*/ 511175 h 695325"/>
                  <a:gd name="connsiteX14" fmla="*/ 95212 w 330162"/>
                  <a:gd name="connsiteY14" fmla="*/ 581025 h 695325"/>
                  <a:gd name="connsiteX15" fmla="*/ 44412 w 330162"/>
                  <a:gd name="connsiteY15" fmla="*/ 638175 h 695325"/>
                  <a:gd name="connsiteX16" fmla="*/ 44412 w 330162"/>
                  <a:gd name="connsiteY16" fmla="*/ 695325 h 695325"/>
                  <a:gd name="connsiteX0" fmla="*/ 330162 w 330162"/>
                  <a:gd name="connsiteY0" fmla="*/ 0 h 638175"/>
                  <a:gd name="connsiteX1" fmla="*/ 292062 w 330162"/>
                  <a:gd name="connsiteY1" fmla="*/ 66675 h 638175"/>
                  <a:gd name="connsiteX2" fmla="*/ 238087 w 330162"/>
                  <a:gd name="connsiteY2" fmla="*/ 85725 h 638175"/>
                  <a:gd name="connsiteX3" fmla="*/ 168237 w 330162"/>
                  <a:gd name="connsiteY3" fmla="*/ 98425 h 638175"/>
                  <a:gd name="connsiteX4" fmla="*/ 107912 w 330162"/>
                  <a:gd name="connsiteY4" fmla="*/ 133350 h 638175"/>
                  <a:gd name="connsiteX5" fmla="*/ 6312 w 330162"/>
                  <a:gd name="connsiteY5" fmla="*/ 196850 h 638175"/>
                  <a:gd name="connsiteX6" fmla="*/ 15837 w 330162"/>
                  <a:gd name="connsiteY6" fmla="*/ 247650 h 638175"/>
                  <a:gd name="connsiteX7" fmla="*/ 57112 w 330162"/>
                  <a:gd name="connsiteY7" fmla="*/ 276225 h 638175"/>
                  <a:gd name="connsiteX8" fmla="*/ 69812 w 330162"/>
                  <a:gd name="connsiteY8" fmla="*/ 327025 h 638175"/>
                  <a:gd name="connsiteX9" fmla="*/ 123787 w 330162"/>
                  <a:gd name="connsiteY9" fmla="*/ 368300 h 638175"/>
                  <a:gd name="connsiteX10" fmla="*/ 123787 w 330162"/>
                  <a:gd name="connsiteY10" fmla="*/ 412750 h 638175"/>
                  <a:gd name="connsiteX11" fmla="*/ 92037 w 330162"/>
                  <a:gd name="connsiteY11" fmla="*/ 454025 h 638175"/>
                  <a:gd name="connsiteX12" fmla="*/ 171412 w 330162"/>
                  <a:gd name="connsiteY12" fmla="*/ 479425 h 638175"/>
                  <a:gd name="connsiteX13" fmla="*/ 187287 w 330162"/>
                  <a:gd name="connsiteY13" fmla="*/ 511175 h 638175"/>
                  <a:gd name="connsiteX14" fmla="*/ 95212 w 330162"/>
                  <a:gd name="connsiteY14" fmla="*/ 581025 h 638175"/>
                  <a:gd name="connsiteX15" fmla="*/ 44412 w 330162"/>
                  <a:gd name="connsiteY15" fmla="*/ 638175 h 638175"/>
                  <a:gd name="connsiteX0" fmla="*/ 330162 w 330162"/>
                  <a:gd name="connsiteY0" fmla="*/ 0 h 581025"/>
                  <a:gd name="connsiteX1" fmla="*/ 292062 w 330162"/>
                  <a:gd name="connsiteY1" fmla="*/ 66675 h 581025"/>
                  <a:gd name="connsiteX2" fmla="*/ 238087 w 330162"/>
                  <a:gd name="connsiteY2" fmla="*/ 85725 h 581025"/>
                  <a:gd name="connsiteX3" fmla="*/ 168237 w 330162"/>
                  <a:gd name="connsiteY3" fmla="*/ 98425 h 581025"/>
                  <a:gd name="connsiteX4" fmla="*/ 107912 w 330162"/>
                  <a:gd name="connsiteY4" fmla="*/ 133350 h 581025"/>
                  <a:gd name="connsiteX5" fmla="*/ 6312 w 330162"/>
                  <a:gd name="connsiteY5" fmla="*/ 196850 h 581025"/>
                  <a:gd name="connsiteX6" fmla="*/ 15837 w 330162"/>
                  <a:gd name="connsiteY6" fmla="*/ 247650 h 581025"/>
                  <a:gd name="connsiteX7" fmla="*/ 57112 w 330162"/>
                  <a:gd name="connsiteY7" fmla="*/ 276225 h 581025"/>
                  <a:gd name="connsiteX8" fmla="*/ 69812 w 330162"/>
                  <a:gd name="connsiteY8" fmla="*/ 327025 h 581025"/>
                  <a:gd name="connsiteX9" fmla="*/ 123787 w 330162"/>
                  <a:gd name="connsiteY9" fmla="*/ 368300 h 581025"/>
                  <a:gd name="connsiteX10" fmla="*/ 123787 w 330162"/>
                  <a:gd name="connsiteY10" fmla="*/ 412750 h 581025"/>
                  <a:gd name="connsiteX11" fmla="*/ 92037 w 330162"/>
                  <a:gd name="connsiteY11" fmla="*/ 454025 h 581025"/>
                  <a:gd name="connsiteX12" fmla="*/ 171412 w 330162"/>
                  <a:gd name="connsiteY12" fmla="*/ 479425 h 581025"/>
                  <a:gd name="connsiteX13" fmla="*/ 187287 w 330162"/>
                  <a:gd name="connsiteY13" fmla="*/ 511175 h 581025"/>
                  <a:gd name="connsiteX14" fmla="*/ 95212 w 330162"/>
                  <a:gd name="connsiteY14" fmla="*/ 581025 h 581025"/>
                  <a:gd name="connsiteX0" fmla="*/ 330162 w 330162"/>
                  <a:gd name="connsiteY0" fmla="*/ 0 h 511175"/>
                  <a:gd name="connsiteX1" fmla="*/ 292062 w 330162"/>
                  <a:gd name="connsiteY1" fmla="*/ 66675 h 511175"/>
                  <a:gd name="connsiteX2" fmla="*/ 238087 w 330162"/>
                  <a:gd name="connsiteY2" fmla="*/ 85725 h 511175"/>
                  <a:gd name="connsiteX3" fmla="*/ 168237 w 330162"/>
                  <a:gd name="connsiteY3" fmla="*/ 98425 h 511175"/>
                  <a:gd name="connsiteX4" fmla="*/ 107912 w 330162"/>
                  <a:gd name="connsiteY4" fmla="*/ 133350 h 511175"/>
                  <a:gd name="connsiteX5" fmla="*/ 6312 w 330162"/>
                  <a:gd name="connsiteY5" fmla="*/ 196850 h 511175"/>
                  <a:gd name="connsiteX6" fmla="*/ 15837 w 330162"/>
                  <a:gd name="connsiteY6" fmla="*/ 247650 h 511175"/>
                  <a:gd name="connsiteX7" fmla="*/ 57112 w 330162"/>
                  <a:gd name="connsiteY7" fmla="*/ 276225 h 511175"/>
                  <a:gd name="connsiteX8" fmla="*/ 69812 w 330162"/>
                  <a:gd name="connsiteY8" fmla="*/ 327025 h 511175"/>
                  <a:gd name="connsiteX9" fmla="*/ 123787 w 330162"/>
                  <a:gd name="connsiteY9" fmla="*/ 368300 h 511175"/>
                  <a:gd name="connsiteX10" fmla="*/ 123787 w 330162"/>
                  <a:gd name="connsiteY10" fmla="*/ 412750 h 511175"/>
                  <a:gd name="connsiteX11" fmla="*/ 92037 w 330162"/>
                  <a:gd name="connsiteY11" fmla="*/ 454025 h 511175"/>
                  <a:gd name="connsiteX12" fmla="*/ 171412 w 330162"/>
                  <a:gd name="connsiteY12" fmla="*/ 479425 h 511175"/>
                  <a:gd name="connsiteX13" fmla="*/ 187287 w 330162"/>
                  <a:gd name="connsiteY13" fmla="*/ 511175 h 511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30162" h="511175">
                    <a:moveTo>
                      <a:pt x="330162" y="0"/>
                    </a:moveTo>
                    <a:cubicBezTo>
                      <a:pt x="318785" y="26194"/>
                      <a:pt x="307408" y="52388"/>
                      <a:pt x="292062" y="66675"/>
                    </a:cubicBezTo>
                    <a:cubicBezTo>
                      <a:pt x="276716" y="80963"/>
                      <a:pt x="258724" y="80433"/>
                      <a:pt x="238087" y="85725"/>
                    </a:cubicBezTo>
                    <a:cubicBezTo>
                      <a:pt x="217450" y="91017"/>
                      <a:pt x="189933" y="90488"/>
                      <a:pt x="168237" y="98425"/>
                    </a:cubicBezTo>
                    <a:cubicBezTo>
                      <a:pt x="146541" y="106362"/>
                      <a:pt x="134899" y="116946"/>
                      <a:pt x="107912" y="133350"/>
                    </a:cubicBezTo>
                    <a:cubicBezTo>
                      <a:pt x="80925" y="149754"/>
                      <a:pt x="21658" y="177800"/>
                      <a:pt x="6312" y="196850"/>
                    </a:cubicBezTo>
                    <a:cubicBezTo>
                      <a:pt x="-9034" y="215900"/>
                      <a:pt x="7370" y="234421"/>
                      <a:pt x="15837" y="247650"/>
                    </a:cubicBezTo>
                    <a:cubicBezTo>
                      <a:pt x="24304" y="260879"/>
                      <a:pt x="48116" y="262996"/>
                      <a:pt x="57112" y="276225"/>
                    </a:cubicBezTo>
                    <a:cubicBezTo>
                      <a:pt x="66108" y="289454"/>
                      <a:pt x="58700" y="311679"/>
                      <a:pt x="69812" y="327025"/>
                    </a:cubicBezTo>
                    <a:cubicBezTo>
                      <a:pt x="80924" y="342371"/>
                      <a:pt x="114791" y="354013"/>
                      <a:pt x="123787" y="368300"/>
                    </a:cubicBezTo>
                    <a:cubicBezTo>
                      <a:pt x="132783" y="382587"/>
                      <a:pt x="129079" y="398463"/>
                      <a:pt x="123787" y="412750"/>
                    </a:cubicBezTo>
                    <a:cubicBezTo>
                      <a:pt x="118495" y="427037"/>
                      <a:pt x="84099" y="442913"/>
                      <a:pt x="92037" y="454025"/>
                    </a:cubicBezTo>
                    <a:cubicBezTo>
                      <a:pt x="99974" y="465138"/>
                      <a:pt x="155537" y="469900"/>
                      <a:pt x="171412" y="479425"/>
                    </a:cubicBezTo>
                    <a:cubicBezTo>
                      <a:pt x="187287" y="488950"/>
                      <a:pt x="199987" y="494242"/>
                      <a:pt x="187287" y="511175"/>
                    </a:cubicBezTo>
                  </a:path>
                </a:pathLst>
              </a:custGeom>
              <a:noFill/>
              <a:ln w="15875" cmpd="sng">
                <a:solidFill>
                  <a:srgbClr val="9E3422"/>
                </a:solidFill>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46" name="Freeform 45"/>
              <p:cNvSpPr/>
              <p:nvPr/>
            </p:nvSpPr>
            <p:spPr>
              <a:xfrm>
                <a:off x="2279744" y="3388421"/>
                <a:ext cx="236011" cy="340940"/>
              </a:xfrm>
              <a:custGeom>
                <a:avLst/>
                <a:gdLst>
                  <a:gd name="connsiteX0" fmla="*/ 135732 w 345147"/>
                  <a:gd name="connsiteY0" fmla="*/ 0 h 498597"/>
                  <a:gd name="connsiteX1" fmla="*/ 240507 w 345147"/>
                  <a:gd name="connsiteY1" fmla="*/ 38100 h 498597"/>
                  <a:gd name="connsiteX2" fmla="*/ 264319 w 345147"/>
                  <a:gd name="connsiteY2" fmla="*/ 114300 h 498597"/>
                  <a:gd name="connsiteX3" fmla="*/ 273844 w 345147"/>
                  <a:gd name="connsiteY3" fmla="*/ 150018 h 498597"/>
                  <a:gd name="connsiteX4" fmla="*/ 338138 w 345147"/>
                  <a:gd name="connsiteY4" fmla="*/ 200025 h 498597"/>
                  <a:gd name="connsiteX5" fmla="*/ 323850 w 345147"/>
                  <a:gd name="connsiteY5" fmla="*/ 276225 h 498597"/>
                  <a:gd name="connsiteX6" fmla="*/ 164307 w 345147"/>
                  <a:gd name="connsiteY6" fmla="*/ 426243 h 498597"/>
                  <a:gd name="connsiteX7" fmla="*/ 128588 w 345147"/>
                  <a:gd name="connsiteY7" fmla="*/ 488156 h 498597"/>
                  <a:gd name="connsiteX8" fmla="*/ 47625 w 345147"/>
                  <a:gd name="connsiteY8" fmla="*/ 497681 h 498597"/>
                  <a:gd name="connsiteX9" fmla="*/ 0 w 345147"/>
                  <a:gd name="connsiteY9" fmla="*/ 497681 h 4985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45147" h="498597">
                    <a:moveTo>
                      <a:pt x="135732" y="0"/>
                    </a:moveTo>
                    <a:cubicBezTo>
                      <a:pt x="177404" y="9525"/>
                      <a:pt x="219076" y="19050"/>
                      <a:pt x="240507" y="38100"/>
                    </a:cubicBezTo>
                    <a:cubicBezTo>
                      <a:pt x="261938" y="57150"/>
                      <a:pt x="258763" y="95647"/>
                      <a:pt x="264319" y="114300"/>
                    </a:cubicBezTo>
                    <a:cubicBezTo>
                      <a:pt x="269875" y="132953"/>
                      <a:pt x="261541" y="135731"/>
                      <a:pt x="273844" y="150018"/>
                    </a:cubicBezTo>
                    <a:cubicBezTo>
                      <a:pt x="286147" y="164305"/>
                      <a:pt x="329804" y="178990"/>
                      <a:pt x="338138" y="200025"/>
                    </a:cubicBezTo>
                    <a:cubicBezTo>
                      <a:pt x="346472" y="221060"/>
                      <a:pt x="352822" y="238522"/>
                      <a:pt x="323850" y="276225"/>
                    </a:cubicBezTo>
                    <a:cubicBezTo>
                      <a:pt x="294878" y="313928"/>
                      <a:pt x="196851" y="390921"/>
                      <a:pt x="164307" y="426243"/>
                    </a:cubicBezTo>
                    <a:cubicBezTo>
                      <a:pt x="131763" y="461565"/>
                      <a:pt x="148035" y="476250"/>
                      <a:pt x="128588" y="488156"/>
                    </a:cubicBezTo>
                    <a:cubicBezTo>
                      <a:pt x="109141" y="500062"/>
                      <a:pt x="69056" y="496093"/>
                      <a:pt x="47625" y="497681"/>
                    </a:cubicBezTo>
                    <a:cubicBezTo>
                      <a:pt x="26194" y="499269"/>
                      <a:pt x="13097" y="498475"/>
                      <a:pt x="0" y="497681"/>
                    </a:cubicBezTo>
                  </a:path>
                </a:pathLst>
              </a:custGeom>
              <a:noFill/>
              <a:ln w="15875" cmpd="sng">
                <a:solidFill>
                  <a:srgbClr val="9E3422"/>
                </a:solidFill>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47" name="Freeform 46"/>
              <p:cNvSpPr/>
              <p:nvPr/>
            </p:nvSpPr>
            <p:spPr>
              <a:xfrm>
                <a:off x="2440762" y="3718715"/>
                <a:ext cx="846389" cy="1188580"/>
              </a:xfrm>
              <a:custGeom>
                <a:avLst/>
                <a:gdLst>
                  <a:gd name="connsiteX0" fmla="*/ 1245394 w 1245394"/>
                  <a:gd name="connsiteY0" fmla="*/ 43227 h 1783921"/>
                  <a:gd name="connsiteX1" fmla="*/ 1164431 w 1245394"/>
                  <a:gd name="connsiteY1" fmla="*/ 364 h 1783921"/>
                  <a:gd name="connsiteX2" fmla="*/ 1109663 w 1245394"/>
                  <a:gd name="connsiteY2" fmla="*/ 21796 h 1783921"/>
                  <a:gd name="connsiteX3" fmla="*/ 1059656 w 1245394"/>
                  <a:gd name="connsiteY3" fmla="*/ 7508 h 1783921"/>
                  <a:gd name="connsiteX4" fmla="*/ 1007269 w 1245394"/>
                  <a:gd name="connsiteY4" fmla="*/ 28939 h 1783921"/>
                  <a:gd name="connsiteX5" fmla="*/ 909638 w 1245394"/>
                  <a:gd name="connsiteY5" fmla="*/ 40846 h 1783921"/>
                  <a:gd name="connsiteX6" fmla="*/ 733425 w 1245394"/>
                  <a:gd name="connsiteY6" fmla="*/ 43227 h 1783921"/>
                  <a:gd name="connsiteX7" fmla="*/ 676275 w 1245394"/>
                  <a:gd name="connsiteY7" fmla="*/ 43227 h 1783921"/>
                  <a:gd name="connsiteX8" fmla="*/ 583406 w 1245394"/>
                  <a:gd name="connsiteY8" fmla="*/ 69421 h 1783921"/>
                  <a:gd name="connsiteX9" fmla="*/ 509588 w 1245394"/>
                  <a:gd name="connsiteY9" fmla="*/ 88471 h 1783921"/>
                  <a:gd name="connsiteX10" fmla="*/ 440531 w 1245394"/>
                  <a:gd name="connsiteY10" fmla="*/ 114664 h 1783921"/>
                  <a:gd name="connsiteX11" fmla="*/ 340519 w 1245394"/>
                  <a:gd name="connsiteY11" fmla="*/ 114664 h 1783921"/>
                  <a:gd name="connsiteX12" fmla="*/ 283369 w 1245394"/>
                  <a:gd name="connsiteY12" fmla="*/ 128952 h 1783921"/>
                  <a:gd name="connsiteX13" fmla="*/ 214313 w 1245394"/>
                  <a:gd name="connsiteY13" fmla="*/ 195627 h 1783921"/>
                  <a:gd name="connsiteX14" fmla="*/ 228600 w 1245394"/>
                  <a:gd name="connsiteY14" fmla="*/ 259921 h 1783921"/>
                  <a:gd name="connsiteX15" fmla="*/ 219075 w 1245394"/>
                  <a:gd name="connsiteY15" fmla="*/ 336121 h 1783921"/>
                  <a:gd name="connsiteX16" fmla="*/ 221456 w 1245394"/>
                  <a:gd name="connsiteY16" fmla="*/ 436133 h 1783921"/>
                  <a:gd name="connsiteX17" fmla="*/ 226219 w 1245394"/>
                  <a:gd name="connsiteY17" fmla="*/ 459946 h 1783921"/>
                  <a:gd name="connsiteX18" fmla="*/ 171450 w 1245394"/>
                  <a:gd name="connsiteY18" fmla="*/ 519477 h 1783921"/>
                  <a:gd name="connsiteX19" fmla="*/ 145256 w 1245394"/>
                  <a:gd name="connsiteY19" fmla="*/ 579008 h 1783921"/>
                  <a:gd name="connsiteX20" fmla="*/ 159544 w 1245394"/>
                  <a:gd name="connsiteY20" fmla="*/ 686164 h 1783921"/>
                  <a:gd name="connsiteX21" fmla="*/ 169069 w 1245394"/>
                  <a:gd name="connsiteY21" fmla="*/ 731408 h 1783921"/>
                  <a:gd name="connsiteX22" fmla="*/ 157163 w 1245394"/>
                  <a:gd name="connsiteY22" fmla="*/ 793321 h 1783921"/>
                  <a:gd name="connsiteX23" fmla="*/ 169069 w 1245394"/>
                  <a:gd name="connsiteY23" fmla="*/ 843327 h 1783921"/>
                  <a:gd name="connsiteX24" fmla="*/ 164306 w 1245394"/>
                  <a:gd name="connsiteY24" fmla="*/ 986202 h 1783921"/>
                  <a:gd name="connsiteX25" fmla="*/ 152400 w 1245394"/>
                  <a:gd name="connsiteY25" fmla="*/ 1098121 h 1783921"/>
                  <a:gd name="connsiteX26" fmla="*/ 109538 w 1245394"/>
                  <a:gd name="connsiteY26" fmla="*/ 1179083 h 1783921"/>
                  <a:gd name="connsiteX27" fmla="*/ 90488 w 1245394"/>
                  <a:gd name="connsiteY27" fmla="*/ 1267189 h 1783921"/>
                  <a:gd name="connsiteX28" fmla="*/ 88106 w 1245394"/>
                  <a:gd name="connsiteY28" fmla="*/ 1441021 h 1783921"/>
                  <a:gd name="connsiteX29" fmla="*/ 88106 w 1245394"/>
                  <a:gd name="connsiteY29" fmla="*/ 1519602 h 1783921"/>
                  <a:gd name="connsiteX30" fmla="*/ 45244 w 1245394"/>
                  <a:gd name="connsiteY30" fmla="*/ 1669621 h 1783921"/>
                  <a:gd name="connsiteX31" fmla="*/ 0 w 1245394"/>
                  <a:gd name="connsiteY31" fmla="*/ 1783921 h 1783921"/>
                  <a:gd name="connsiteX0" fmla="*/ 1245394 w 1245394"/>
                  <a:gd name="connsiteY0" fmla="*/ 43227 h 1783921"/>
                  <a:gd name="connsiteX1" fmla="*/ 1164431 w 1245394"/>
                  <a:gd name="connsiteY1" fmla="*/ 364 h 1783921"/>
                  <a:gd name="connsiteX2" fmla="*/ 1109663 w 1245394"/>
                  <a:gd name="connsiteY2" fmla="*/ 21796 h 1783921"/>
                  <a:gd name="connsiteX3" fmla="*/ 1059656 w 1245394"/>
                  <a:gd name="connsiteY3" fmla="*/ 7508 h 1783921"/>
                  <a:gd name="connsiteX4" fmla="*/ 1007269 w 1245394"/>
                  <a:gd name="connsiteY4" fmla="*/ 28939 h 1783921"/>
                  <a:gd name="connsiteX5" fmla="*/ 909638 w 1245394"/>
                  <a:gd name="connsiteY5" fmla="*/ 40846 h 1783921"/>
                  <a:gd name="connsiteX6" fmla="*/ 733425 w 1245394"/>
                  <a:gd name="connsiteY6" fmla="*/ 43227 h 1783921"/>
                  <a:gd name="connsiteX7" fmla="*/ 676275 w 1245394"/>
                  <a:gd name="connsiteY7" fmla="*/ 43227 h 1783921"/>
                  <a:gd name="connsiteX8" fmla="*/ 583406 w 1245394"/>
                  <a:gd name="connsiteY8" fmla="*/ 69421 h 1783921"/>
                  <a:gd name="connsiteX9" fmla="*/ 509588 w 1245394"/>
                  <a:gd name="connsiteY9" fmla="*/ 88471 h 1783921"/>
                  <a:gd name="connsiteX10" fmla="*/ 440531 w 1245394"/>
                  <a:gd name="connsiteY10" fmla="*/ 114664 h 1783921"/>
                  <a:gd name="connsiteX11" fmla="*/ 340519 w 1245394"/>
                  <a:gd name="connsiteY11" fmla="*/ 114664 h 1783921"/>
                  <a:gd name="connsiteX12" fmla="*/ 283369 w 1245394"/>
                  <a:gd name="connsiteY12" fmla="*/ 128952 h 1783921"/>
                  <a:gd name="connsiteX13" fmla="*/ 214313 w 1245394"/>
                  <a:gd name="connsiteY13" fmla="*/ 195627 h 1783921"/>
                  <a:gd name="connsiteX14" fmla="*/ 228600 w 1245394"/>
                  <a:gd name="connsiteY14" fmla="*/ 259921 h 1783921"/>
                  <a:gd name="connsiteX15" fmla="*/ 219075 w 1245394"/>
                  <a:gd name="connsiteY15" fmla="*/ 336121 h 1783921"/>
                  <a:gd name="connsiteX16" fmla="*/ 226219 w 1245394"/>
                  <a:gd name="connsiteY16" fmla="*/ 459946 h 1783921"/>
                  <a:gd name="connsiteX17" fmla="*/ 171450 w 1245394"/>
                  <a:gd name="connsiteY17" fmla="*/ 519477 h 1783921"/>
                  <a:gd name="connsiteX18" fmla="*/ 145256 w 1245394"/>
                  <a:gd name="connsiteY18" fmla="*/ 579008 h 1783921"/>
                  <a:gd name="connsiteX19" fmla="*/ 159544 w 1245394"/>
                  <a:gd name="connsiteY19" fmla="*/ 686164 h 1783921"/>
                  <a:gd name="connsiteX20" fmla="*/ 169069 w 1245394"/>
                  <a:gd name="connsiteY20" fmla="*/ 731408 h 1783921"/>
                  <a:gd name="connsiteX21" fmla="*/ 157163 w 1245394"/>
                  <a:gd name="connsiteY21" fmla="*/ 793321 h 1783921"/>
                  <a:gd name="connsiteX22" fmla="*/ 169069 w 1245394"/>
                  <a:gd name="connsiteY22" fmla="*/ 843327 h 1783921"/>
                  <a:gd name="connsiteX23" fmla="*/ 164306 w 1245394"/>
                  <a:gd name="connsiteY23" fmla="*/ 986202 h 1783921"/>
                  <a:gd name="connsiteX24" fmla="*/ 152400 w 1245394"/>
                  <a:gd name="connsiteY24" fmla="*/ 1098121 h 1783921"/>
                  <a:gd name="connsiteX25" fmla="*/ 109538 w 1245394"/>
                  <a:gd name="connsiteY25" fmla="*/ 1179083 h 1783921"/>
                  <a:gd name="connsiteX26" fmla="*/ 90488 w 1245394"/>
                  <a:gd name="connsiteY26" fmla="*/ 1267189 h 1783921"/>
                  <a:gd name="connsiteX27" fmla="*/ 88106 w 1245394"/>
                  <a:gd name="connsiteY27" fmla="*/ 1441021 h 1783921"/>
                  <a:gd name="connsiteX28" fmla="*/ 88106 w 1245394"/>
                  <a:gd name="connsiteY28" fmla="*/ 1519602 h 1783921"/>
                  <a:gd name="connsiteX29" fmla="*/ 45244 w 1245394"/>
                  <a:gd name="connsiteY29" fmla="*/ 1669621 h 1783921"/>
                  <a:gd name="connsiteX30" fmla="*/ 0 w 1245394"/>
                  <a:gd name="connsiteY30" fmla="*/ 1783921 h 1783921"/>
                  <a:gd name="connsiteX0" fmla="*/ 1245394 w 1245394"/>
                  <a:gd name="connsiteY0" fmla="*/ 43227 h 1783921"/>
                  <a:gd name="connsiteX1" fmla="*/ 1164431 w 1245394"/>
                  <a:gd name="connsiteY1" fmla="*/ 364 h 1783921"/>
                  <a:gd name="connsiteX2" fmla="*/ 1109663 w 1245394"/>
                  <a:gd name="connsiteY2" fmla="*/ 21796 h 1783921"/>
                  <a:gd name="connsiteX3" fmla="*/ 1059656 w 1245394"/>
                  <a:gd name="connsiteY3" fmla="*/ 7508 h 1783921"/>
                  <a:gd name="connsiteX4" fmla="*/ 1007269 w 1245394"/>
                  <a:gd name="connsiteY4" fmla="*/ 28939 h 1783921"/>
                  <a:gd name="connsiteX5" fmla="*/ 909638 w 1245394"/>
                  <a:gd name="connsiteY5" fmla="*/ 40846 h 1783921"/>
                  <a:gd name="connsiteX6" fmla="*/ 733425 w 1245394"/>
                  <a:gd name="connsiteY6" fmla="*/ 43227 h 1783921"/>
                  <a:gd name="connsiteX7" fmla="*/ 676275 w 1245394"/>
                  <a:gd name="connsiteY7" fmla="*/ 43227 h 1783921"/>
                  <a:gd name="connsiteX8" fmla="*/ 583406 w 1245394"/>
                  <a:gd name="connsiteY8" fmla="*/ 69421 h 1783921"/>
                  <a:gd name="connsiteX9" fmla="*/ 509588 w 1245394"/>
                  <a:gd name="connsiteY9" fmla="*/ 88471 h 1783921"/>
                  <a:gd name="connsiteX10" fmla="*/ 440531 w 1245394"/>
                  <a:gd name="connsiteY10" fmla="*/ 114664 h 1783921"/>
                  <a:gd name="connsiteX11" fmla="*/ 340519 w 1245394"/>
                  <a:gd name="connsiteY11" fmla="*/ 114664 h 1783921"/>
                  <a:gd name="connsiteX12" fmla="*/ 283369 w 1245394"/>
                  <a:gd name="connsiteY12" fmla="*/ 128952 h 1783921"/>
                  <a:gd name="connsiteX13" fmla="*/ 214313 w 1245394"/>
                  <a:gd name="connsiteY13" fmla="*/ 195627 h 1783921"/>
                  <a:gd name="connsiteX14" fmla="*/ 228600 w 1245394"/>
                  <a:gd name="connsiteY14" fmla="*/ 259921 h 1783921"/>
                  <a:gd name="connsiteX15" fmla="*/ 219075 w 1245394"/>
                  <a:gd name="connsiteY15" fmla="*/ 336121 h 1783921"/>
                  <a:gd name="connsiteX16" fmla="*/ 216694 w 1245394"/>
                  <a:gd name="connsiteY16" fmla="*/ 457564 h 1783921"/>
                  <a:gd name="connsiteX17" fmla="*/ 171450 w 1245394"/>
                  <a:gd name="connsiteY17" fmla="*/ 519477 h 1783921"/>
                  <a:gd name="connsiteX18" fmla="*/ 145256 w 1245394"/>
                  <a:gd name="connsiteY18" fmla="*/ 579008 h 1783921"/>
                  <a:gd name="connsiteX19" fmla="*/ 159544 w 1245394"/>
                  <a:gd name="connsiteY19" fmla="*/ 686164 h 1783921"/>
                  <a:gd name="connsiteX20" fmla="*/ 169069 w 1245394"/>
                  <a:gd name="connsiteY20" fmla="*/ 731408 h 1783921"/>
                  <a:gd name="connsiteX21" fmla="*/ 157163 w 1245394"/>
                  <a:gd name="connsiteY21" fmla="*/ 793321 h 1783921"/>
                  <a:gd name="connsiteX22" fmla="*/ 169069 w 1245394"/>
                  <a:gd name="connsiteY22" fmla="*/ 843327 h 1783921"/>
                  <a:gd name="connsiteX23" fmla="*/ 164306 w 1245394"/>
                  <a:gd name="connsiteY23" fmla="*/ 986202 h 1783921"/>
                  <a:gd name="connsiteX24" fmla="*/ 152400 w 1245394"/>
                  <a:gd name="connsiteY24" fmla="*/ 1098121 h 1783921"/>
                  <a:gd name="connsiteX25" fmla="*/ 109538 w 1245394"/>
                  <a:gd name="connsiteY25" fmla="*/ 1179083 h 1783921"/>
                  <a:gd name="connsiteX26" fmla="*/ 90488 w 1245394"/>
                  <a:gd name="connsiteY26" fmla="*/ 1267189 h 1783921"/>
                  <a:gd name="connsiteX27" fmla="*/ 88106 w 1245394"/>
                  <a:gd name="connsiteY27" fmla="*/ 1441021 h 1783921"/>
                  <a:gd name="connsiteX28" fmla="*/ 88106 w 1245394"/>
                  <a:gd name="connsiteY28" fmla="*/ 1519602 h 1783921"/>
                  <a:gd name="connsiteX29" fmla="*/ 45244 w 1245394"/>
                  <a:gd name="connsiteY29" fmla="*/ 1669621 h 1783921"/>
                  <a:gd name="connsiteX30" fmla="*/ 0 w 1245394"/>
                  <a:gd name="connsiteY30" fmla="*/ 1783921 h 1783921"/>
                  <a:gd name="connsiteX0" fmla="*/ 1237774 w 1237774"/>
                  <a:gd name="connsiteY0" fmla="*/ 43227 h 1738201"/>
                  <a:gd name="connsiteX1" fmla="*/ 1156811 w 1237774"/>
                  <a:gd name="connsiteY1" fmla="*/ 364 h 1738201"/>
                  <a:gd name="connsiteX2" fmla="*/ 1102043 w 1237774"/>
                  <a:gd name="connsiteY2" fmla="*/ 21796 h 1738201"/>
                  <a:gd name="connsiteX3" fmla="*/ 1052036 w 1237774"/>
                  <a:gd name="connsiteY3" fmla="*/ 7508 h 1738201"/>
                  <a:gd name="connsiteX4" fmla="*/ 999649 w 1237774"/>
                  <a:gd name="connsiteY4" fmla="*/ 28939 h 1738201"/>
                  <a:gd name="connsiteX5" fmla="*/ 902018 w 1237774"/>
                  <a:gd name="connsiteY5" fmla="*/ 40846 h 1738201"/>
                  <a:gd name="connsiteX6" fmla="*/ 725805 w 1237774"/>
                  <a:gd name="connsiteY6" fmla="*/ 43227 h 1738201"/>
                  <a:gd name="connsiteX7" fmla="*/ 668655 w 1237774"/>
                  <a:gd name="connsiteY7" fmla="*/ 43227 h 1738201"/>
                  <a:gd name="connsiteX8" fmla="*/ 575786 w 1237774"/>
                  <a:gd name="connsiteY8" fmla="*/ 69421 h 1738201"/>
                  <a:gd name="connsiteX9" fmla="*/ 501968 w 1237774"/>
                  <a:gd name="connsiteY9" fmla="*/ 88471 h 1738201"/>
                  <a:gd name="connsiteX10" fmla="*/ 432911 w 1237774"/>
                  <a:gd name="connsiteY10" fmla="*/ 114664 h 1738201"/>
                  <a:gd name="connsiteX11" fmla="*/ 332899 w 1237774"/>
                  <a:gd name="connsiteY11" fmla="*/ 114664 h 1738201"/>
                  <a:gd name="connsiteX12" fmla="*/ 275749 w 1237774"/>
                  <a:gd name="connsiteY12" fmla="*/ 128952 h 1738201"/>
                  <a:gd name="connsiteX13" fmla="*/ 206693 w 1237774"/>
                  <a:gd name="connsiteY13" fmla="*/ 195627 h 1738201"/>
                  <a:gd name="connsiteX14" fmla="*/ 220980 w 1237774"/>
                  <a:gd name="connsiteY14" fmla="*/ 259921 h 1738201"/>
                  <a:gd name="connsiteX15" fmla="*/ 211455 w 1237774"/>
                  <a:gd name="connsiteY15" fmla="*/ 336121 h 1738201"/>
                  <a:gd name="connsiteX16" fmla="*/ 209074 w 1237774"/>
                  <a:gd name="connsiteY16" fmla="*/ 457564 h 1738201"/>
                  <a:gd name="connsiteX17" fmla="*/ 163830 w 1237774"/>
                  <a:gd name="connsiteY17" fmla="*/ 519477 h 1738201"/>
                  <a:gd name="connsiteX18" fmla="*/ 137636 w 1237774"/>
                  <a:gd name="connsiteY18" fmla="*/ 579008 h 1738201"/>
                  <a:gd name="connsiteX19" fmla="*/ 151924 w 1237774"/>
                  <a:gd name="connsiteY19" fmla="*/ 686164 h 1738201"/>
                  <a:gd name="connsiteX20" fmla="*/ 161449 w 1237774"/>
                  <a:gd name="connsiteY20" fmla="*/ 731408 h 1738201"/>
                  <a:gd name="connsiteX21" fmla="*/ 149543 w 1237774"/>
                  <a:gd name="connsiteY21" fmla="*/ 793321 h 1738201"/>
                  <a:gd name="connsiteX22" fmla="*/ 161449 w 1237774"/>
                  <a:gd name="connsiteY22" fmla="*/ 843327 h 1738201"/>
                  <a:gd name="connsiteX23" fmla="*/ 156686 w 1237774"/>
                  <a:gd name="connsiteY23" fmla="*/ 986202 h 1738201"/>
                  <a:gd name="connsiteX24" fmla="*/ 144780 w 1237774"/>
                  <a:gd name="connsiteY24" fmla="*/ 1098121 h 1738201"/>
                  <a:gd name="connsiteX25" fmla="*/ 101918 w 1237774"/>
                  <a:gd name="connsiteY25" fmla="*/ 1179083 h 1738201"/>
                  <a:gd name="connsiteX26" fmla="*/ 82868 w 1237774"/>
                  <a:gd name="connsiteY26" fmla="*/ 1267189 h 1738201"/>
                  <a:gd name="connsiteX27" fmla="*/ 80486 w 1237774"/>
                  <a:gd name="connsiteY27" fmla="*/ 1441021 h 1738201"/>
                  <a:gd name="connsiteX28" fmla="*/ 80486 w 1237774"/>
                  <a:gd name="connsiteY28" fmla="*/ 1519602 h 1738201"/>
                  <a:gd name="connsiteX29" fmla="*/ 37624 w 1237774"/>
                  <a:gd name="connsiteY29" fmla="*/ 1669621 h 1738201"/>
                  <a:gd name="connsiteX30" fmla="*/ 0 w 1237774"/>
                  <a:gd name="connsiteY30" fmla="*/ 1738201 h 17382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1237774" h="1738201">
                    <a:moveTo>
                      <a:pt x="1237774" y="43227"/>
                    </a:moveTo>
                    <a:cubicBezTo>
                      <a:pt x="1208603" y="23581"/>
                      <a:pt x="1179433" y="3936"/>
                      <a:pt x="1156811" y="364"/>
                    </a:cubicBezTo>
                    <a:cubicBezTo>
                      <a:pt x="1134189" y="-3208"/>
                      <a:pt x="1119505" y="20605"/>
                      <a:pt x="1102043" y="21796"/>
                    </a:cubicBezTo>
                    <a:cubicBezTo>
                      <a:pt x="1084580" y="22987"/>
                      <a:pt x="1069102" y="6318"/>
                      <a:pt x="1052036" y="7508"/>
                    </a:cubicBezTo>
                    <a:cubicBezTo>
                      <a:pt x="1034970" y="8698"/>
                      <a:pt x="1024652" y="23383"/>
                      <a:pt x="999649" y="28939"/>
                    </a:cubicBezTo>
                    <a:cubicBezTo>
                      <a:pt x="974646" y="34495"/>
                      <a:pt x="947659" y="38465"/>
                      <a:pt x="902018" y="40846"/>
                    </a:cubicBezTo>
                    <a:cubicBezTo>
                      <a:pt x="856377" y="43227"/>
                      <a:pt x="764699" y="42830"/>
                      <a:pt x="725805" y="43227"/>
                    </a:cubicBezTo>
                    <a:cubicBezTo>
                      <a:pt x="686911" y="43624"/>
                      <a:pt x="693658" y="38861"/>
                      <a:pt x="668655" y="43227"/>
                    </a:cubicBezTo>
                    <a:cubicBezTo>
                      <a:pt x="643652" y="47593"/>
                      <a:pt x="603567" y="61880"/>
                      <a:pt x="575786" y="69421"/>
                    </a:cubicBezTo>
                    <a:cubicBezTo>
                      <a:pt x="548005" y="76962"/>
                      <a:pt x="525780" y="80931"/>
                      <a:pt x="501968" y="88471"/>
                    </a:cubicBezTo>
                    <a:cubicBezTo>
                      <a:pt x="478156" y="96011"/>
                      <a:pt x="461089" y="110299"/>
                      <a:pt x="432911" y="114664"/>
                    </a:cubicBezTo>
                    <a:cubicBezTo>
                      <a:pt x="404733" y="119029"/>
                      <a:pt x="359093" y="112283"/>
                      <a:pt x="332899" y="114664"/>
                    </a:cubicBezTo>
                    <a:cubicBezTo>
                      <a:pt x="306705" y="117045"/>
                      <a:pt x="296783" y="115458"/>
                      <a:pt x="275749" y="128952"/>
                    </a:cubicBezTo>
                    <a:cubicBezTo>
                      <a:pt x="254715" y="142446"/>
                      <a:pt x="215821" y="173799"/>
                      <a:pt x="206693" y="195627"/>
                    </a:cubicBezTo>
                    <a:cubicBezTo>
                      <a:pt x="197565" y="217455"/>
                      <a:pt x="220186" y="236505"/>
                      <a:pt x="220980" y="259921"/>
                    </a:cubicBezTo>
                    <a:cubicBezTo>
                      <a:pt x="221774" y="283337"/>
                      <a:pt x="213439" y="303181"/>
                      <a:pt x="211455" y="336121"/>
                    </a:cubicBezTo>
                    <a:cubicBezTo>
                      <a:pt x="209471" y="369062"/>
                      <a:pt x="217011" y="427005"/>
                      <a:pt x="209074" y="457564"/>
                    </a:cubicBezTo>
                    <a:cubicBezTo>
                      <a:pt x="201137" y="488123"/>
                      <a:pt x="175736" y="499236"/>
                      <a:pt x="163830" y="519477"/>
                    </a:cubicBezTo>
                    <a:cubicBezTo>
                      <a:pt x="151924" y="539718"/>
                      <a:pt x="139620" y="551227"/>
                      <a:pt x="137636" y="579008"/>
                    </a:cubicBezTo>
                    <a:cubicBezTo>
                      <a:pt x="135652" y="606789"/>
                      <a:pt x="147955" y="660764"/>
                      <a:pt x="151924" y="686164"/>
                    </a:cubicBezTo>
                    <a:cubicBezTo>
                      <a:pt x="155893" y="711564"/>
                      <a:pt x="161846" y="713549"/>
                      <a:pt x="161449" y="731408"/>
                    </a:cubicBezTo>
                    <a:cubicBezTo>
                      <a:pt x="161052" y="749267"/>
                      <a:pt x="149543" y="774668"/>
                      <a:pt x="149543" y="793321"/>
                    </a:cubicBezTo>
                    <a:cubicBezTo>
                      <a:pt x="149543" y="811974"/>
                      <a:pt x="160259" y="811180"/>
                      <a:pt x="161449" y="843327"/>
                    </a:cubicBezTo>
                    <a:cubicBezTo>
                      <a:pt x="162639" y="875474"/>
                      <a:pt x="159464" y="943736"/>
                      <a:pt x="156686" y="986202"/>
                    </a:cubicBezTo>
                    <a:cubicBezTo>
                      <a:pt x="153908" y="1028668"/>
                      <a:pt x="153908" y="1065974"/>
                      <a:pt x="144780" y="1098121"/>
                    </a:cubicBezTo>
                    <a:cubicBezTo>
                      <a:pt x="135652" y="1130268"/>
                      <a:pt x="112237" y="1150905"/>
                      <a:pt x="101918" y="1179083"/>
                    </a:cubicBezTo>
                    <a:cubicBezTo>
                      <a:pt x="91599" y="1207261"/>
                      <a:pt x="86440" y="1223533"/>
                      <a:pt x="82868" y="1267189"/>
                    </a:cubicBezTo>
                    <a:cubicBezTo>
                      <a:pt x="79296" y="1310845"/>
                      <a:pt x="80883" y="1398952"/>
                      <a:pt x="80486" y="1441021"/>
                    </a:cubicBezTo>
                    <a:cubicBezTo>
                      <a:pt x="80089" y="1483090"/>
                      <a:pt x="87630" y="1481502"/>
                      <a:pt x="80486" y="1519602"/>
                    </a:cubicBezTo>
                    <a:cubicBezTo>
                      <a:pt x="73342" y="1557702"/>
                      <a:pt x="51038" y="1633188"/>
                      <a:pt x="37624" y="1669621"/>
                    </a:cubicBezTo>
                    <a:cubicBezTo>
                      <a:pt x="24210" y="1706054"/>
                      <a:pt x="0" y="1738201"/>
                      <a:pt x="0" y="1738201"/>
                    </a:cubicBezTo>
                  </a:path>
                </a:pathLst>
              </a:custGeom>
              <a:noFill/>
              <a:ln w="15875" cmpd="sng">
                <a:solidFill>
                  <a:schemeClr val="accent2">
                    <a:lumMod val="75000"/>
                  </a:schemeClr>
                </a:solidFill>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48" name="Freeform 47"/>
              <p:cNvSpPr/>
              <p:nvPr/>
            </p:nvSpPr>
            <p:spPr>
              <a:xfrm>
                <a:off x="2219192" y="4912214"/>
                <a:ext cx="574463" cy="1446360"/>
              </a:xfrm>
              <a:custGeom>
                <a:avLst/>
                <a:gdLst>
                  <a:gd name="connsiteX0" fmla="*/ 445812 w 445812"/>
                  <a:gd name="connsiteY0" fmla="*/ 0 h 2095500"/>
                  <a:gd name="connsiteX1" fmla="*/ 407712 w 445812"/>
                  <a:gd name="connsiteY1" fmla="*/ 66675 h 2095500"/>
                  <a:gd name="connsiteX2" fmla="*/ 353737 w 445812"/>
                  <a:gd name="connsiteY2" fmla="*/ 85725 h 2095500"/>
                  <a:gd name="connsiteX3" fmla="*/ 283887 w 445812"/>
                  <a:gd name="connsiteY3" fmla="*/ 98425 h 2095500"/>
                  <a:gd name="connsiteX4" fmla="*/ 223562 w 445812"/>
                  <a:gd name="connsiteY4" fmla="*/ 133350 h 2095500"/>
                  <a:gd name="connsiteX5" fmla="*/ 121962 w 445812"/>
                  <a:gd name="connsiteY5" fmla="*/ 196850 h 2095500"/>
                  <a:gd name="connsiteX6" fmla="*/ 131487 w 445812"/>
                  <a:gd name="connsiteY6" fmla="*/ 247650 h 2095500"/>
                  <a:gd name="connsiteX7" fmla="*/ 172762 w 445812"/>
                  <a:gd name="connsiteY7" fmla="*/ 276225 h 2095500"/>
                  <a:gd name="connsiteX8" fmla="*/ 185462 w 445812"/>
                  <a:gd name="connsiteY8" fmla="*/ 327025 h 2095500"/>
                  <a:gd name="connsiteX9" fmla="*/ 239437 w 445812"/>
                  <a:gd name="connsiteY9" fmla="*/ 368300 h 2095500"/>
                  <a:gd name="connsiteX10" fmla="*/ 239437 w 445812"/>
                  <a:gd name="connsiteY10" fmla="*/ 412750 h 2095500"/>
                  <a:gd name="connsiteX11" fmla="*/ 207687 w 445812"/>
                  <a:gd name="connsiteY11" fmla="*/ 454025 h 2095500"/>
                  <a:gd name="connsiteX12" fmla="*/ 287062 w 445812"/>
                  <a:gd name="connsiteY12" fmla="*/ 479425 h 2095500"/>
                  <a:gd name="connsiteX13" fmla="*/ 302937 w 445812"/>
                  <a:gd name="connsiteY13" fmla="*/ 511175 h 2095500"/>
                  <a:gd name="connsiteX14" fmla="*/ 210862 w 445812"/>
                  <a:gd name="connsiteY14" fmla="*/ 581025 h 2095500"/>
                  <a:gd name="connsiteX15" fmla="*/ 160062 w 445812"/>
                  <a:gd name="connsiteY15" fmla="*/ 638175 h 2095500"/>
                  <a:gd name="connsiteX16" fmla="*/ 160062 w 445812"/>
                  <a:gd name="connsiteY16" fmla="*/ 695325 h 2095500"/>
                  <a:gd name="connsiteX17" fmla="*/ 185462 w 445812"/>
                  <a:gd name="connsiteY17" fmla="*/ 784225 h 2095500"/>
                  <a:gd name="connsiteX18" fmla="*/ 194987 w 445812"/>
                  <a:gd name="connsiteY18" fmla="*/ 835025 h 2095500"/>
                  <a:gd name="connsiteX19" fmla="*/ 204512 w 445812"/>
                  <a:gd name="connsiteY19" fmla="*/ 885825 h 2095500"/>
                  <a:gd name="connsiteX20" fmla="*/ 220387 w 445812"/>
                  <a:gd name="connsiteY20" fmla="*/ 923925 h 2095500"/>
                  <a:gd name="connsiteX21" fmla="*/ 163237 w 445812"/>
                  <a:gd name="connsiteY21" fmla="*/ 1022350 h 2095500"/>
                  <a:gd name="connsiteX22" fmla="*/ 96562 w 445812"/>
                  <a:gd name="connsiteY22" fmla="*/ 1057275 h 2095500"/>
                  <a:gd name="connsiteX23" fmla="*/ 52112 w 445812"/>
                  <a:gd name="connsiteY23" fmla="*/ 1143000 h 2095500"/>
                  <a:gd name="connsiteX24" fmla="*/ 20362 w 445812"/>
                  <a:gd name="connsiteY24" fmla="*/ 1244600 h 2095500"/>
                  <a:gd name="connsiteX25" fmla="*/ 1312 w 445812"/>
                  <a:gd name="connsiteY25" fmla="*/ 1346200 h 2095500"/>
                  <a:gd name="connsiteX26" fmla="*/ 10837 w 445812"/>
                  <a:gd name="connsiteY26" fmla="*/ 1438275 h 2095500"/>
                  <a:gd name="connsiteX27" fmla="*/ 83862 w 445812"/>
                  <a:gd name="connsiteY27" fmla="*/ 1511300 h 2095500"/>
                  <a:gd name="connsiteX28" fmla="*/ 112437 w 445812"/>
                  <a:gd name="connsiteY28" fmla="*/ 1558925 h 2095500"/>
                  <a:gd name="connsiteX29" fmla="*/ 150537 w 445812"/>
                  <a:gd name="connsiteY29" fmla="*/ 1590675 h 2095500"/>
                  <a:gd name="connsiteX30" fmla="*/ 169587 w 445812"/>
                  <a:gd name="connsiteY30" fmla="*/ 1644650 h 2095500"/>
                  <a:gd name="connsiteX31" fmla="*/ 226737 w 445812"/>
                  <a:gd name="connsiteY31" fmla="*/ 1685925 h 2095500"/>
                  <a:gd name="connsiteX32" fmla="*/ 264837 w 445812"/>
                  <a:gd name="connsiteY32" fmla="*/ 1730375 h 2095500"/>
                  <a:gd name="connsiteX33" fmla="*/ 277537 w 445812"/>
                  <a:gd name="connsiteY33" fmla="*/ 1758950 h 2095500"/>
                  <a:gd name="connsiteX34" fmla="*/ 277537 w 445812"/>
                  <a:gd name="connsiteY34" fmla="*/ 1828800 h 2095500"/>
                  <a:gd name="connsiteX35" fmla="*/ 325162 w 445812"/>
                  <a:gd name="connsiteY35" fmla="*/ 1905000 h 2095500"/>
                  <a:gd name="connsiteX36" fmla="*/ 363262 w 445812"/>
                  <a:gd name="connsiteY36" fmla="*/ 1962150 h 2095500"/>
                  <a:gd name="connsiteX37" fmla="*/ 369612 w 445812"/>
                  <a:gd name="connsiteY37" fmla="*/ 2028825 h 2095500"/>
                  <a:gd name="connsiteX38" fmla="*/ 417237 w 445812"/>
                  <a:gd name="connsiteY38" fmla="*/ 2095500 h 2095500"/>
                  <a:gd name="connsiteX0" fmla="*/ 445812 w 445812"/>
                  <a:gd name="connsiteY0" fmla="*/ 0 h 2495550"/>
                  <a:gd name="connsiteX1" fmla="*/ 407712 w 445812"/>
                  <a:gd name="connsiteY1" fmla="*/ 66675 h 2495550"/>
                  <a:gd name="connsiteX2" fmla="*/ 353737 w 445812"/>
                  <a:gd name="connsiteY2" fmla="*/ 85725 h 2495550"/>
                  <a:gd name="connsiteX3" fmla="*/ 283887 w 445812"/>
                  <a:gd name="connsiteY3" fmla="*/ 98425 h 2495550"/>
                  <a:gd name="connsiteX4" fmla="*/ 223562 w 445812"/>
                  <a:gd name="connsiteY4" fmla="*/ 133350 h 2495550"/>
                  <a:gd name="connsiteX5" fmla="*/ 121962 w 445812"/>
                  <a:gd name="connsiteY5" fmla="*/ 196850 h 2495550"/>
                  <a:gd name="connsiteX6" fmla="*/ 131487 w 445812"/>
                  <a:gd name="connsiteY6" fmla="*/ 247650 h 2495550"/>
                  <a:gd name="connsiteX7" fmla="*/ 172762 w 445812"/>
                  <a:gd name="connsiteY7" fmla="*/ 276225 h 2495550"/>
                  <a:gd name="connsiteX8" fmla="*/ 185462 w 445812"/>
                  <a:gd name="connsiteY8" fmla="*/ 327025 h 2495550"/>
                  <a:gd name="connsiteX9" fmla="*/ 239437 w 445812"/>
                  <a:gd name="connsiteY9" fmla="*/ 368300 h 2495550"/>
                  <a:gd name="connsiteX10" fmla="*/ 239437 w 445812"/>
                  <a:gd name="connsiteY10" fmla="*/ 412750 h 2495550"/>
                  <a:gd name="connsiteX11" fmla="*/ 207687 w 445812"/>
                  <a:gd name="connsiteY11" fmla="*/ 454025 h 2495550"/>
                  <a:gd name="connsiteX12" fmla="*/ 287062 w 445812"/>
                  <a:gd name="connsiteY12" fmla="*/ 479425 h 2495550"/>
                  <a:gd name="connsiteX13" fmla="*/ 302937 w 445812"/>
                  <a:gd name="connsiteY13" fmla="*/ 511175 h 2495550"/>
                  <a:gd name="connsiteX14" fmla="*/ 210862 w 445812"/>
                  <a:gd name="connsiteY14" fmla="*/ 581025 h 2495550"/>
                  <a:gd name="connsiteX15" fmla="*/ 160062 w 445812"/>
                  <a:gd name="connsiteY15" fmla="*/ 638175 h 2495550"/>
                  <a:gd name="connsiteX16" fmla="*/ 160062 w 445812"/>
                  <a:gd name="connsiteY16" fmla="*/ 695325 h 2495550"/>
                  <a:gd name="connsiteX17" fmla="*/ 185462 w 445812"/>
                  <a:gd name="connsiteY17" fmla="*/ 784225 h 2495550"/>
                  <a:gd name="connsiteX18" fmla="*/ 194987 w 445812"/>
                  <a:gd name="connsiteY18" fmla="*/ 835025 h 2495550"/>
                  <a:gd name="connsiteX19" fmla="*/ 204512 w 445812"/>
                  <a:gd name="connsiteY19" fmla="*/ 885825 h 2495550"/>
                  <a:gd name="connsiteX20" fmla="*/ 220387 w 445812"/>
                  <a:gd name="connsiteY20" fmla="*/ 923925 h 2495550"/>
                  <a:gd name="connsiteX21" fmla="*/ 163237 w 445812"/>
                  <a:gd name="connsiteY21" fmla="*/ 1022350 h 2495550"/>
                  <a:gd name="connsiteX22" fmla="*/ 96562 w 445812"/>
                  <a:gd name="connsiteY22" fmla="*/ 1057275 h 2495550"/>
                  <a:gd name="connsiteX23" fmla="*/ 52112 w 445812"/>
                  <a:gd name="connsiteY23" fmla="*/ 1143000 h 2495550"/>
                  <a:gd name="connsiteX24" fmla="*/ 20362 w 445812"/>
                  <a:gd name="connsiteY24" fmla="*/ 1244600 h 2495550"/>
                  <a:gd name="connsiteX25" fmla="*/ 1312 w 445812"/>
                  <a:gd name="connsiteY25" fmla="*/ 1346200 h 2495550"/>
                  <a:gd name="connsiteX26" fmla="*/ 10837 w 445812"/>
                  <a:gd name="connsiteY26" fmla="*/ 1438275 h 2495550"/>
                  <a:gd name="connsiteX27" fmla="*/ 83862 w 445812"/>
                  <a:gd name="connsiteY27" fmla="*/ 1511300 h 2495550"/>
                  <a:gd name="connsiteX28" fmla="*/ 112437 w 445812"/>
                  <a:gd name="connsiteY28" fmla="*/ 1558925 h 2495550"/>
                  <a:gd name="connsiteX29" fmla="*/ 150537 w 445812"/>
                  <a:gd name="connsiteY29" fmla="*/ 1590675 h 2495550"/>
                  <a:gd name="connsiteX30" fmla="*/ 169587 w 445812"/>
                  <a:gd name="connsiteY30" fmla="*/ 1644650 h 2495550"/>
                  <a:gd name="connsiteX31" fmla="*/ 226737 w 445812"/>
                  <a:gd name="connsiteY31" fmla="*/ 1685925 h 2495550"/>
                  <a:gd name="connsiteX32" fmla="*/ 264837 w 445812"/>
                  <a:gd name="connsiteY32" fmla="*/ 1730375 h 2495550"/>
                  <a:gd name="connsiteX33" fmla="*/ 277537 w 445812"/>
                  <a:gd name="connsiteY33" fmla="*/ 1758950 h 2495550"/>
                  <a:gd name="connsiteX34" fmla="*/ 277537 w 445812"/>
                  <a:gd name="connsiteY34" fmla="*/ 1828800 h 2495550"/>
                  <a:gd name="connsiteX35" fmla="*/ 325162 w 445812"/>
                  <a:gd name="connsiteY35" fmla="*/ 1905000 h 2495550"/>
                  <a:gd name="connsiteX36" fmla="*/ 363262 w 445812"/>
                  <a:gd name="connsiteY36" fmla="*/ 1962150 h 2495550"/>
                  <a:gd name="connsiteX37" fmla="*/ 369612 w 445812"/>
                  <a:gd name="connsiteY37" fmla="*/ 2028825 h 2495550"/>
                  <a:gd name="connsiteX38" fmla="*/ 226737 w 445812"/>
                  <a:gd name="connsiteY38" fmla="*/ 2495550 h 2495550"/>
                  <a:gd name="connsiteX0" fmla="*/ 445812 w 445812"/>
                  <a:gd name="connsiteY0" fmla="*/ 0 h 2495550"/>
                  <a:gd name="connsiteX1" fmla="*/ 407712 w 445812"/>
                  <a:gd name="connsiteY1" fmla="*/ 66675 h 2495550"/>
                  <a:gd name="connsiteX2" fmla="*/ 353737 w 445812"/>
                  <a:gd name="connsiteY2" fmla="*/ 85725 h 2495550"/>
                  <a:gd name="connsiteX3" fmla="*/ 283887 w 445812"/>
                  <a:gd name="connsiteY3" fmla="*/ 98425 h 2495550"/>
                  <a:gd name="connsiteX4" fmla="*/ 223562 w 445812"/>
                  <a:gd name="connsiteY4" fmla="*/ 133350 h 2495550"/>
                  <a:gd name="connsiteX5" fmla="*/ 121962 w 445812"/>
                  <a:gd name="connsiteY5" fmla="*/ 196850 h 2495550"/>
                  <a:gd name="connsiteX6" fmla="*/ 131487 w 445812"/>
                  <a:gd name="connsiteY6" fmla="*/ 247650 h 2495550"/>
                  <a:gd name="connsiteX7" fmla="*/ 172762 w 445812"/>
                  <a:gd name="connsiteY7" fmla="*/ 276225 h 2495550"/>
                  <a:gd name="connsiteX8" fmla="*/ 185462 w 445812"/>
                  <a:gd name="connsiteY8" fmla="*/ 327025 h 2495550"/>
                  <a:gd name="connsiteX9" fmla="*/ 239437 w 445812"/>
                  <a:gd name="connsiteY9" fmla="*/ 368300 h 2495550"/>
                  <a:gd name="connsiteX10" fmla="*/ 239437 w 445812"/>
                  <a:gd name="connsiteY10" fmla="*/ 412750 h 2495550"/>
                  <a:gd name="connsiteX11" fmla="*/ 207687 w 445812"/>
                  <a:gd name="connsiteY11" fmla="*/ 454025 h 2495550"/>
                  <a:gd name="connsiteX12" fmla="*/ 287062 w 445812"/>
                  <a:gd name="connsiteY12" fmla="*/ 479425 h 2495550"/>
                  <a:gd name="connsiteX13" fmla="*/ 302937 w 445812"/>
                  <a:gd name="connsiteY13" fmla="*/ 511175 h 2495550"/>
                  <a:gd name="connsiteX14" fmla="*/ 210862 w 445812"/>
                  <a:gd name="connsiteY14" fmla="*/ 581025 h 2495550"/>
                  <a:gd name="connsiteX15" fmla="*/ 160062 w 445812"/>
                  <a:gd name="connsiteY15" fmla="*/ 638175 h 2495550"/>
                  <a:gd name="connsiteX16" fmla="*/ 160062 w 445812"/>
                  <a:gd name="connsiteY16" fmla="*/ 695325 h 2495550"/>
                  <a:gd name="connsiteX17" fmla="*/ 185462 w 445812"/>
                  <a:gd name="connsiteY17" fmla="*/ 784225 h 2495550"/>
                  <a:gd name="connsiteX18" fmla="*/ 194987 w 445812"/>
                  <a:gd name="connsiteY18" fmla="*/ 835025 h 2495550"/>
                  <a:gd name="connsiteX19" fmla="*/ 204512 w 445812"/>
                  <a:gd name="connsiteY19" fmla="*/ 885825 h 2495550"/>
                  <a:gd name="connsiteX20" fmla="*/ 220387 w 445812"/>
                  <a:gd name="connsiteY20" fmla="*/ 923925 h 2495550"/>
                  <a:gd name="connsiteX21" fmla="*/ 163237 w 445812"/>
                  <a:gd name="connsiteY21" fmla="*/ 1022350 h 2495550"/>
                  <a:gd name="connsiteX22" fmla="*/ 96562 w 445812"/>
                  <a:gd name="connsiteY22" fmla="*/ 1057275 h 2495550"/>
                  <a:gd name="connsiteX23" fmla="*/ 52112 w 445812"/>
                  <a:gd name="connsiteY23" fmla="*/ 1143000 h 2495550"/>
                  <a:gd name="connsiteX24" fmla="*/ 20362 w 445812"/>
                  <a:gd name="connsiteY24" fmla="*/ 1244600 h 2495550"/>
                  <a:gd name="connsiteX25" fmla="*/ 1312 w 445812"/>
                  <a:gd name="connsiteY25" fmla="*/ 1346200 h 2495550"/>
                  <a:gd name="connsiteX26" fmla="*/ 10837 w 445812"/>
                  <a:gd name="connsiteY26" fmla="*/ 1438275 h 2495550"/>
                  <a:gd name="connsiteX27" fmla="*/ 83862 w 445812"/>
                  <a:gd name="connsiteY27" fmla="*/ 1511300 h 2495550"/>
                  <a:gd name="connsiteX28" fmla="*/ 112437 w 445812"/>
                  <a:gd name="connsiteY28" fmla="*/ 1558925 h 2495550"/>
                  <a:gd name="connsiteX29" fmla="*/ 150537 w 445812"/>
                  <a:gd name="connsiteY29" fmla="*/ 1590675 h 2495550"/>
                  <a:gd name="connsiteX30" fmla="*/ 169587 w 445812"/>
                  <a:gd name="connsiteY30" fmla="*/ 1644650 h 2495550"/>
                  <a:gd name="connsiteX31" fmla="*/ 226737 w 445812"/>
                  <a:gd name="connsiteY31" fmla="*/ 1685925 h 2495550"/>
                  <a:gd name="connsiteX32" fmla="*/ 264837 w 445812"/>
                  <a:gd name="connsiteY32" fmla="*/ 1730375 h 2495550"/>
                  <a:gd name="connsiteX33" fmla="*/ 277537 w 445812"/>
                  <a:gd name="connsiteY33" fmla="*/ 1758950 h 2495550"/>
                  <a:gd name="connsiteX34" fmla="*/ 277537 w 445812"/>
                  <a:gd name="connsiteY34" fmla="*/ 1828800 h 2495550"/>
                  <a:gd name="connsiteX35" fmla="*/ 325162 w 445812"/>
                  <a:gd name="connsiteY35" fmla="*/ 1905000 h 2495550"/>
                  <a:gd name="connsiteX36" fmla="*/ 363262 w 445812"/>
                  <a:gd name="connsiteY36" fmla="*/ 1962150 h 2495550"/>
                  <a:gd name="connsiteX37" fmla="*/ 369612 w 445812"/>
                  <a:gd name="connsiteY37" fmla="*/ 2028825 h 2495550"/>
                  <a:gd name="connsiteX38" fmla="*/ 414062 w 445812"/>
                  <a:gd name="connsiteY38" fmla="*/ 2209800 h 2495550"/>
                  <a:gd name="connsiteX39" fmla="*/ 226737 w 445812"/>
                  <a:gd name="connsiteY39" fmla="*/ 2495550 h 2495550"/>
                  <a:gd name="connsiteX0" fmla="*/ 445812 w 445812"/>
                  <a:gd name="connsiteY0" fmla="*/ 0 h 2495550"/>
                  <a:gd name="connsiteX1" fmla="*/ 407712 w 445812"/>
                  <a:gd name="connsiteY1" fmla="*/ 66675 h 2495550"/>
                  <a:gd name="connsiteX2" fmla="*/ 353737 w 445812"/>
                  <a:gd name="connsiteY2" fmla="*/ 85725 h 2495550"/>
                  <a:gd name="connsiteX3" fmla="*/ 283887 w 445812"/>
                  <a:gd name="connsiteY3" fmla="*/ 98425 h 2495550"/>
                  <a:gd name="connsiteX4" fmla="*/ 223562 w 445812"/>
                  <a:gd name="connsiteY4" fmla="*/ 133350 h 2495550"/>
                  <a:gd name="connsiteX5" fmla="*/ 121962 w 445812"/>
                  <a:gd name="connsiteY5" fmla="*/ 196850 h 2495550"/>
                  <a:gd name="connsiteX6" fmla="*/ 131487 w 445812"/>
                  <a:gd name="connsiteY6" fmla="*/ 247650 h 2495550"/>
                  <a:gd name="connsiteX7" fmla="*/ 172762 w 445812"/>
                  <a:gd name="connsiteY7" fmla="*/ 276225 h 2495550"/>
                  <a:gd name="connsiteX8" fmla="*/ 185462 w 445812"/>
                  <a:gd name="connsiteY8" fmla="*/ 327025 h 2495550"/>
                  <a:gd name="connsiteX9" fmla="*/ 239437 w 445812"/>
                  <a:gd name="connsiteY9" fmla="*/ 368300 h 2495550"/>
                  <a:gd name="connsiteX10" fmla="*/ 239437 w 445812"/>
                  <a:gd name="connsiteY10" fmla="*/ 412750 h 2495550"/>
                  <a:gd name="connsiteX11" fmla="*/ 207687 w 445812"/>
                  <a:gd name="connsiteY11" fmla="*/ 454025 h 2495550"/>
                  <a:gd name="connsiteX12" fmla="*/ 287062 w 445812"/>
                  <a:gd name="connsiteY12" fmla="*/ 479425 h 2495550"/>
                  <a:gd name="connsiteX13" fmla="*/ 302937 w 445812"/>
                  <a:gd name="connsiteY13" fmla="*/ 511175 h 2495550"/>
                  <a:gd name="connsiteX14" fmla="*/ 210862 w 445812"/>
                  <a:gd name="connsiteY14" fmla="*/ 581025 h 2495550"/>
                  <a:gd name="connsiteX15" fmla="*/ 160062 w 445812"/>
                  <a:gd name="connsiteY15" fmla="*/ 638175 h 2495550"/>
                  <a:gd name="connsiteX16" fmla="*/ 160062 w 445812"/>
                  <a:gd name="connsiteY16" fmla="*/ 695325 h 2495550"/>
                  <a:gd name="connsiteX17" fmla="*/ 185462 w 445812"/>
                  <a:gd name="connsiteY17" fmla="*/ 784225 h 2495550"/>
                  <a:gd name="connsiteX18" fmla="*/ 194987 w 445812"/>
                  <a:gd name="connsiteY18" fmla="*/ 835025 h 2495550"/>
                  <a:gd name="connsiteX19" fmla="*/ 204512 w 445812"/>
                  <a:gd name="connsiteY19" fmla="*/ 885825 h 2495550"/>
                  <a:gd name="connsiteX20" fmla="*/ 220387 w 445812"/>
                  <a:gd name="connsiteY20" fmla="*/ 923925 h 2495550"/>
                  <a:gd name="connsiteX21" fmla="*/ 163237 w 445812"/>
                  <a:gd name="connsiteY21" fmla="*/ 1022350 h 2495550"/>
                  <a:gd name="connsiteX22" fmla="*/ 96562 w 445812"/>
                  <a:gd name="connsiteY22" fmla="*/ 1057275 h 2495550"/>
                  <a:gd name="connsiteX23" fmla="*/ 52112 w 445812"/>
                  <a:gd name="connsiteY23" fmla="*/ 1143000 h 2495550"/>
                  <a:gd name="connsiteX24" fmla="*/ 20362 w 445812"/>
                  <a:gd name="connsiteY24" fmla="*/ 1244600 h 2495550"/>
                  <a:gd name="connsiteX25" fmla="*/ 1312 w 445812"/>
                  <a:gd name="connsiteY25" fmla="*/ 1346200 h 2495550"/>
                  <a:gd name="connsiteX26" fmla="*/ 10837 w 445812"/>
                  <a:gd name="connsiteY26" fmla="*/ 1438275 h 2495550"/>
                  <a:gd name="connsiteX27" fmla="*/ 83862 w 445812"/>
                  <a:gd name="connsiteY27" fmla="*/ 1511300 h 2495550"/>
                  <a:gd name="connsiteX28" fmla="*/ 112437 w 445812"/>
                  <a:gd name="connsiteY28" fmla="*/ 1558925 h 2495550"/>
                  <a:gd name="connsiteX29" fmla="*/ 150537 w 445812"/>
                  <a:gd name="connsiteY29" fmla="*/ 1590675 h 2495550"/>
                  <a:gd name="connsiteX30" fmla="*/ 169587 w 445812"/>
                  <a:gd name="connsiteY30" fmla="*/ 1644650 h 2495550"/>
                  <a:gd name="connsiteX31" fmla="*/ 226737 w 445812"/>
                  <a:gd name="connsiteY31" fmla="*/ 1685925 h 2495550"/>
                  <a:gd name="connsiteX32" fmla="*/ 264837 w 445812"/>
                  <a:gd name="connsiteY32" fmla="*/ 1730375 h 2495550"/>
                  <a:gd name="connsiteX33" fmla="*/ 277537 w 445812"/>
                  <a:gd name="connsiteY33" fmla="*/ 1758950 h 2495550"/>
                  <a:gd name="connsiteX34" fmla="*/ 277537 w 445812"/>
                  <a:gd name="connsiteY34" fmla="*/ 1828800 h 2495550"/>
                  <a:gd name="connsiteX35" fmla="*/ 325162 w 445812"/>
                  <a:gd name="connsiteY35" fmla="*/ 1905000 h 2495550"/>
                  <a:gd name="connsiteX36" fmla="*/ 363262 w 445812"/>
                  <a:gd name="connsiteY36" fmla="*/ 1962150 h 2495550"/>
                  <a:gd name="connsiteX37" fmla="*/ 369612 w 445812"/>
                  <a:gd name="connsiteY37" fmla="*/ 2028825 h 2495550"/>
                  <a:gd name="connsiteX38" fmla="*/ 407712 w 445812"/>
                  <a:gd name="connsiteY38" fmla="*/ 2085975 h 2495550"/>
                  <a:gd name="connsiteX39" fmla="*/ 414062 w 445812"/>
                  <a:gd name="connsiteY39" fmla="*/ 2209800 h 2495550"/>
                  <a:gd name="connsiteX40" fmla="*/ 226737 w 445812"/>
                  <a:gd name="connsiteY40" fmla="*/ 2495550 h 2495550"/>
                  <a:gd name="connsiteX0" fmla="*/ 445812 w 445812"/>
                  <a:gd name="connsiteY0" fmla="*/ 0 h 2495550"/>
                  <a:gd name="connsiteX1" fmla="*/ 407712 w 445812"/>
                  <a:gd name="connsiteY1" fmla="*/ 66675 h 2495550"/>
                  <a:gd name="connsiteX2" fmla="*/ 353737 w 445812"/>
                  <a:gd name="connsiteY2" fmla="*/ 85725 h 2495550"/>
                  <a:gd name="connsiteX3" fmla="*/ 283887 w 445812"/>
                  <a:gd name="connsiteY3" fmla="*/ 98425 h 2495550"/>
                  <a:gd name="connsiteX4" fmla="*/ 223562 w 445812"/>
                  <a:gd name="connsiteY4" fmla="*/ 133350 h 2495550"/>
                  <a:gd name="connsiteX5" fmla="*/ 121962 w 445812"/>
                  <a:gd name="connsiteY5" fmla="*/ 196850 h 2495550"/>
                  <a:gd name="connsiteX6" fmla="*/ 131487 w 445812"/>
                  <a:gd name="connsiteY6" fmla="*/ 247650 h 2495550"/>
                  <a:gd name="connsiteX7" fmla="*/ 172762 w 445812"/>
                  <a:gd name="connsiteY7" fmla="*/ 276225 h 2495550"/>
                  <a:gd name="connsiteX8" fmla="*/ 185462 w 445812"/>
                  <a:gd name="connsiteY8" fmla="*/ 327025 h 2495550"/>
                  <a:gd name="connsiteX9" fmla="*/ 239437 w 445812"/>
                  <a:gd name="connsiteY9" fmla="*/ 368300 h 2495550"/>
                  <a:gd name="connsiteX10" fmla="*/ 239437 w 445812"/>
                  <a:gd name="connsiteY10" fmla="*/ 412750 h 2495550"/>
                  <a:gd name="connsiteX11" fmla="*/ 207687 w 445812"/>
                  <a:gd name="connsiteY11" fmla="*/ 454025 h 2495550"/>
                  <a:gd name="connsiteX12" fmla="*/ 287062 w 445812"/>
                  <a:gd name="connsiteY12" fmla="*/ 479425 h 2495550"/>
                  <a:gd name="connsiteX13" fmla="*/ 302937 w 445812"/>
                  <a:gd name="connsiteY13" fmla="*/ 511175 h 2495550"/>
                  <a:gd name="connsiteX14" fmla="*/ 210862 w 445812"/>
                  <a:gd name="connsiteY14" fmla="*/ 581025 h 2495550"/>
                  <a:gd name="connsiteX15" fmla="*/ 160062 w 445812"/>
                  <a:gd name="connsiteY15" fmla="*/ 638175 h 2495550"/>
                  <a:gd name="connsiteX16" fmla="*/ 160062 w 445812"/>
                  <a:gd name="connsiteY16" fmla="*/ 695325 h 2495550"/>
                  <a:gd name="connsiteX17" fmla="*/ 185462 w 445812"/>
                  <a:gd name="connsiteY17" fmla="*/ 784225 h 2495550"/>
                  <a:gd name="connsiteX18" fmla="*/ 194987 w 445812"/>
                  <a:gd name="connsiteY18" fmla="*/ 835025 h 2495550"/>
                  <a:gd name="connsiteX19" fmla="*/ 204512 w 445812"/>
                  <a:gd name="connsiteY19" fmla="*/ 885825 h 2495550"/>
                  <a:gd name="connsiteX20" fmla="*/ 220387 w 445812"/>
                  <a:gd name="connsiteY20" fmla="*/ 923925 h 2495550"/>
                  <a:gd name="connsiteX21" fmla="*/ 163237 w 445812"/>
                  <a:gd name="connsiteY21" fmla="*/ 1022350 h 2495550"/>
                  <a:gd name="connsiteX22" fmla="*/ 96562 w 445812"/>
                  <a:gd name="connsiteY22" fmla="*/ 1057275 h 2495550"/>
                  <a:gd name="connsiteX23" fmla="*/ 52112 w 445812"/>
                  <a:gd name="connsiteY23" fmla="*/ 1143000 h 2495550"/>
                  <a:gd name="connsiteX24" fmla="*/ 20362 w 445812"/>
                  <a:gd name="connsiteY24" fmla="*/ 1244600 h 2495550"/>
                  <a:gd name="connsiteX25" fmla="*/ 1312 w 445812"/>
                  <a:gd name="connsiteY25" fmla="*/ 1346200 h 2495550"/>
                  <a:gd name="connsiteX26" fmla="*/ 10837 w 445812"/>
                  <a:gd name="connsiteY26" fmla="*/ 1438275 h 2495550"/>
                  <a:gd name="connsiteX27" fmla="*/ 83862 w 445812"/>
                  <a:gd name="connsiteY27" fmla="*/ 1511300 h 2495550"/>
                  <a:gd name="connsiteX28" fmla="*/ 112437 w 445812"/>
                  <a:gd name="connsiteY28" fmla="*/ 1558925 h 2495550"/>
                  <a:gd name="connsiteX29" fmla="*/ 150537 w 445812"/>
                  <a:gd name="connsiteY29" fmla="*/ 1590675 h 2495550"/>
                  <a:gd name="connsiteX30" fmla="*/ 169587 w 445812"/>
                  <a:gd name="connsiteY30" fmla="*/ 1644650 h 2495550"/>
                  <a:gd name="connsiteX31" fmla="*/ 226737 w 445812"/>
                  <a:gd name="connsiteY31" fmla="*/ 1685925 h 2495550"/>
                  <a:gd name="connsiteX32" fmla="*/ 264837 w 445812"/>
                  <a:gd name="connsiteY32" fmla="*/ 1730375 h 2495550"/>
                  <a:gd name="connsiteX33" fmla="*/ 277537 w 445812"/>
                  <a:gd name="connsiteY33" fmla="*/ 1758950 h 2495550"/>
                  <a:gd name="connsiteX34" fmla="*/ 277537 w 445812"/>
                  <a:gd name="connsiteY34" fmla="*/ 1828800 h 2495550"/>
                  <a:gd name="connsiteX35" fmla="*/ 325162 w 445812"/>
                  <a:gd name="connsiteY35" fmla="*/ 1905000 h 2495550"/>
                  <a:gd name="connsiteX36" fmla="*/ 363262 w 445812"/>
                  <a:gd name="connsiteY36" fmla="*/ 1962150 h 2495550"/>
                  <a:gd name="connsiteX37" fmla="*/ 369612 w 445812"/>
                  <a:gd name="connsiteY37" fmla="*/ 2028825 h 2495550"/>
                  <a:gd name="connsiteX38" fmla="*/ 407712 w 445812"/>
                  <a:gd name="connsiteY38" fmla="*/ 2085975 h 2495550"/>
                  <a:gd name="connsiteX39" fmla="*/ 414062 w 445812"/>
                  <a:gd name="connsiteY39" fmla="*/ 2209800 h 2495550"/>
                  <a:gd name="connsiteX40" fmla="*/ 252137 w 445812"/>
                  <a:gd name="connsiteY40" fmla="*/ 2251075 h 2495550"/>
                  <a:gd name="connsiteX41" fmla="*/ 226737 w 445812"/>
                  <a:gd name="connsiteY41" fmla="*/ 2495550 h 2495550"/>
                  <a:gd name="connsiteX0" fmla="*/ 445812 w 445812"/>
                  <a:gd name="connsiteY0" fmla="*/ 0 h 2495550"/>
                  <a:gd name="connsiteX1" fmla="*/ 407712 w 445812"/>
                  <a:gd name="connsiteY1" fmla="*/ 66675 h 2495550"/>
                  <a:gd name="connsiteX2" fmla="*/ 353737 w 445812"/>
                  <a:gd name="connsiteY2" fmla="*/ 85725 h 2495550"/>
                  <a:gd name="connsiteX3" fmla="*/ 283887 w 445812"/>
                  <a:gd name="connsiteY3" fmla="*/ 98425 h 2495550"/>
                  <a:gd name="connsiteX4" fmla="*/ 223562 w 445812"/>
                  <a:gd name="connsiteY4" fmla="*/ 133350 h 2495550"/>
                  <a:gd name="connsiteX5" fmla="*/ 121962 w 445812"/>
                  <a:gd name="connsiteY5" fmla="*/ 196850 h 2495550"/>
                  <a:gd name="connsiteX6" fmla="*/ 131487 w 445812"/>
                  <a:gd name="connsiteY6" fmla="*/ 247650 h 2495550"/>
                  <a:gd name="connsiteX7" fmla="*/ 172762 w 445812"/>
                  <a:gd name="connsiteY7" fmla="*/ 276225 h 2495550"/>
                  <a:gd name="connsiteX8" fmla="*/ 185462 w 445812"/>
                  <a:gd name="connsiteY8" fmla="*/ 327025 h 2495550"/>
                  <a:gd name="connsiteX9" fmla="*/ 239437 w 445812"/>
                  <a:gd name="connsiteY9" fmla="*/ 368300 h 2495550"/>
                  <a:gd name="connsiteX10" fmla="*/ 239437 w 445812"/>
                  <a:gd name="connsiteY10" fmla="*/ 412750 h 2495550"/>
                  <a:gd name="connsiteX11" fmla="*/ 207687 w 445812"/>
                  <a:gd name="connsiteY11" fmla="*/ 454025 h 2495550"/>
                  <a:gd name="connsiteX12" fmla="*/ 287062 w 445812"/>
                  <a:gd name="connsiteY12" fmla="*/ 479425 h 2495550"/>
                  <a:gd name="connsiteX13" fmla="*/ 302937 w 445812"/>
                  <a:gd name="connsiteY13" fmla="*/ 511175 h 2495550"/>
                  <a:gd name="connsiteX14" fmla="*/ 210862 w 445812"/>
                  <a:gd name="connsiteY14" fmla="*/ 581025 h 2495550"/>
                  <a:gd name="connsiteX15" fmla="*/ 160062 w 445812"/>
                  <a:gd name="connsiteY15" fmla="*/ 638175 h 2495550"/>
                  <a:gd name="connsiteX16" fmla="*/ 160062 w 445812"/>
                  <a:gd name="connsiteY16" fmla="*/ 695325 h 2495550"/>
                  <a:gd name="connsiteX17" fmla="*/ 185462 w 445812"/>
                  <a:gd name="connsiteY17" fmla="*/ 784225 h 2495550"/>
                  <a:gd name="connsiteX18" fmla="*/ 194987 w 445812"/>
                  <a:gd name="connsiteY18" fmla="*/ 835025 h 2495550"/>
                  <a:gd name="connsiteX19" fmla="*/ 204512 w 445812"/>
                  <a:gd name="connsiteY19" fmla="*/ 885825 h 2495550"/>
                  <a:gd name="connsiteX20" fmla="*/ 220387 w 445812"/>
                  <a:gd name="connsiteY20" fmla="*/ 923925 h 2495550"/>
                  <a:gd name="connsiteX21" fmla="*/ 163237 w 445812"/>
                  <a:gd name="connsiteY21" fmla="*/ 1022350 h 2495550"/>
                  <a:gd name="connsiteX22" fmla="*/ 96562 w 445812"/>
                  <a:gd name="connsiteY22" fmla="*/ 1057275 h 2495550"/>
                  <a:gd name="connsiteX23" fmla="*/ 52112 w 445812"/>
                  <a:gd name="connsiteY23" fmla="*/ 1143000 h 2495550"/>
                  <a:gd name="connsiteX24" fmla="*/ 20362 w 445812"/>
                  <a:gd name="connsiteY24" fmla="*/ 1244600 h 2495550"/>
                  <a:gd name="connsiteX25" fmla="*/ 1312 w 445812"/>
                  <a:gd name="connsiteY25" fmla="*/ 1346200 h 2495550"/>
                  <a:gd name="connsiteX26" fmla="*/ 10837 w 445812"/>
                  <a:gd name="connsiteY26" fmla="*/ 1438275 h 2495550"/>
                  <a:gd name="connsiteX27" fmla="*/ 83862 w 445812"/>
                  <a:gd name="connsiteY27" fmla="*/ 1511300 h 2495550"/>
                  <a:gd name="connsiteX28" fmla="*/ 112437 w 445812"/>
                  <a:gd name="connsiteY28" fmla="*/ 1558925 h 2495550"/>
                  <a:gd name="connsiteX29" fmla="*/ 150537 w 445812"/>
                  <a:gd name="connsiteY29" fmla="*/ 1590675 h 2495550"/>
                  <a:gd name="connsiteX30" fmla="*/ 169587 w 445812"/>
                  <a:gd name="connsiteY30" fmla="*/ 1644650 h 2495550"/>
                  <a:gd name="connsiteX31" fmla="*/ 226737 w 445812"/>
                  <a:gd name="connsiteY31" fmla="*/ 1685925 h 2495550"/>
                  <a:gd name="connsiteX32" fmla="*/ 264837 w 445812"/>
                  <a:gd name="connsiteY32" fmla="*/ 1730375 h 2495550"/>
                  <a:gd name="connsiteX33" fmla="*/ 277537 w 445812"/>
                  <a:gd name="connsiteY33" fmla="*/ 1758950 h 2495550"/>
                  <a:gd name="connsiteX34" fmla="*/ 277537 w 445812"/>
                  <a:gd name="connsiteY34" fmla="*/ 1828800 h 2495550"/>
                  <a:gd name="connsiteX35" fmla="*/ 325162 w 445812"/>
                  <a:gd name="connsiteY35" fmla="*/ 1905000 h 2495550"/>
                  <a:gd name="connsiteX36" fmla="*/ 363262 w 445812"/>
                  <a:gd name="connsiteY36" fmla="*/ 1962150 h 2495550"/>
                  <a:gd name="connsiteX37" fmla="*/ 369612 w 445812"/>
                  <a:gd name="connsiteY37" fmla="*/ 2028825 h 2495550"/>
                  <a:gd name="connsiteX38" fmla="*/ 407712 w 445812"/>
                  <a:gd name="connsiteY38" fmla="*/ 2085975 h 2495550"/>
                  <a:gd name="connsiteX39" fmla="*/ 414062 w 445812"/>
                  <a:gd name="connsiteY39" fmla="*/ 2209800 h 2495550"/>
                  <a:gd name="connsiteX40" fmla="*/ 252137 w 445812"/>
                  <a:gd name="connsiteY40" fmla="*/ 2251075 h 2495550"/>
                  <a:gd name="connsiteX41" fmla="*/ 226737 w 445812"/>
                  <a:gd name="connsiteY41" fmla="*/ 2495550 h 2495550"/>
                  <a:gd name="connsiteX0" fmla="*/ 445812 w 445812"/>
                  <a:gd name="connsiteY0" fmla="*/ 0 h 2968625"/>
                  <a:gd name="connsiteX1" fmla="*/ 407712 w 445812"/>
                  <a:gd name="connsiteY1" fmla="*/ 66675 h 2968625"/>
                  <a:gd name="connsiteX2" fmla="*/ 353737 w 445812"/>
                  <a:gd name="connsiteY2" fmla="*/ 85725 h 2968625"/>
                  <a:gd name="connsiteX3" fmla="*/ 283887 w 445812"/>
                  <a:gd name="connsiteY3" fmla="*/ 98425 h 2968625"/>
                  <a:gd name="connsiteX4" fmla="*/ 223562 w 445812"/>
                  <a:gd name="connsiteY4" fmla="*/ 133350 h 2968625"/>
                  <a:gd name="connsiteX5" fmla="*/ 121962 w 445812"/>
                  <a:gd name="connsiteY5" fmla="*/ 196850 h 2968625"/>
                  <a:gd name="connsiteX6" fmla="*/ 131487 w 445812"/>
                  <a:gd name="connsiteY6" fmla="*/ 247650 h 2968625"/>
                  <a:gd name="connsiteX7" fmla="*/ 172762 w 445812"/>
                  <a:gd name="connsiteY7" fmla="*/ 276225 h 2968625"/>
                  <a:gd name="connsiteX8" fmla="*/ 185462 w 445812"/>
                  <a:gd name="connsiteY8" fmla="*/ 327025 h 2968625"/>
                  <a:gd name="connsiteX9" fmla="*/ 239437 w 445812"/>
                  <a:gd name="connsiteY9" fmla="*/ 368300 h 2968625"/>
                  <a:gd name="connsiteX10" fmla="*/ 239437 w 445812"/>
                  <a:gd name="connsiteY10" fmla="*/ 412750 h 2968625"/>
                  <a:gd name="connsiteX11" fmla="*/ 207687 w 445812"/>
                  <a:gd name="connsiteY11" fmla="*/ 454025 h 2968625"/>
                  <a:gd name="connsiteX12" fmla="*/ 287062 w 445812"/>
                  <a:gd name="connsiteY12" fmla="*/ 479425 h 2968625"/>
                  <a:gd name="connsiteX13" fmla="*/ 302937 w 445812"/>
                  <a:gd name="connsiteY13" fmla="*/ 511175 h 2968625"/>
                  <a:gd name="connsiteX14" fmla="*/ 210862 w 445812"/>
                  <a:gd name="connsiteY14" fmla="*/ 581025 h 2968625"/>
                  <a:gd name="connsiteX15" fmla="*/ 160062 w 445812"/>
                  <a:gd name="connsiteY15" fmla="*/ 638175 h 2968625"/>
                  <a:gd name="connsiteX16" fmla="*/ 160062 w 445812"/>
                  <a:gd name="connsiteY16" fmla="*/ 695325 h 2968625"/>
                  <a:gd name="connsiteX17" fmla="*/ 185462 w 445812"/>
                  <a:gd name="connsiteY17" fmla="*/ 784225 h 2968625"/>
                  <a:gd name="connsiteX18" fmla="*/ 194987 w 445812"/>
                  <a:gd name="connsiteY18" fmla="*/ 835025 h 2968625"/>
                  <a:gd name="connsiteX19" fmla="*/ 204512 w 445812"/>
                  <a:gd name="connsiteY19" fmla="*/ 885825 h 2968625"/>
                  <a:gd name="connsiteX20" fmla="*/ 220387 w 445812"/>
                  <a:gd name="connsiteY20" fmla="*/ 923925 h 2968625"/>
                  <a:gd name="connsiteX21" fmla="*/ 163237 w 445812"/>
                  <a:gd name="connsiteY21" fmla="*/ 1022350 h 2968625"/>
                  <a:gd name="connsiteX22" fmla="*/ 96562 w 445812"/>
                  <a:gd name="connsiteY22" fmla="*/ 1057275 h 2968625"/>
                  <a:gd name="connsiteX23" fmla="*/ 52112 w 445812"/>
                  <a:gd name="connsiteY23" fmla="*/ 1143000 h 2968625"/>
                  <a:gd name="connsiteX24" fmla="*/ 20362 w 445812"/>
                  <a:gd name="connsiteY24" fmla="*/ 1244600 h 2968625"/>
                  <a:gd name="connsiteX25" fmla="*/ 1312 w 445812"/>
                  <a:gd name="connsiteY25" fmla="*/ 1346200 h 2968625"/>
                  <a:gd name="connsiteX26" fmla="*/ 10837 w 445812"/>
                  <a:gd name="connsiteY26" fmla="*/ 1438275 h 2968625"/>
                  <a:gd name="connsiteX27" fmla="*/ 83862 w 445812"/>
                  <a:gd name="connsiteY27" fmla="*/ 1511300 h 2968625"/>
                  <a:gd name="connsiteX28" fmla="*/ 112437 w 445812"/>
                  <a:gd name="connsiteY28" fmla="*/ 1558925 h 2968625"/>
                  <a:gd name="connsiteX29" fmla="*/ 150537 w 445812"/>
                  <a:gd name="connsiteY29" fmla="*/ 1590675 h 2968625"/>
                  <a:gd name="connsiteX30" fmla="*/ 169587 w 445812"/>
                  <a:gd name="connsiteY30" fmla="*/ 1644650 h 2968625"/>
                  <a:gd name="connsiteX31" fmla="*/ 226737 w 445812"/>
                  <a:gd name="connsiteY31" fmla="*/ 1685925 h 2968625"/>
                  <a:gd name="connsiteX32" fmla="*/ 264837 w 445812"/>
                  <a:gd name="connsiteY32" fmla="*/ 1730375 h 2968625"/>
                  <a:gd name="connsiteX33" fmla="*/ 277537 w 445812"/>
                  <a:gd name="connsiteY33" fmla="*/ 1758950 h 2968625"/>
                  <a:gd name="connsiteX34" fmla="*/ 277537 w 445812"/>
                  <a:gd name="connsiteY34" fmla="*/ 1828800 h 2968625"/>
                  <a:gd name="connsiteX35" fmla="*/ 325162 w 445812"/>
                  <a:gd name="connsiteY35" fmla="*/ 1905000 h 2968625"/>
                  <a:gd name="connsiteX36" fmla="*/ 363262 w 445812"/>
                  <a:gd name="connsiteY36" fmla="*/ 1962150 h 2968625"/>
                  <a:gd name="connsiteX37" fmla="*/ 369612 w 445812"/>
                  <a:gd name="connsiteY37" fmla="*/ 2028825 h 2968625"/>
                  <a:gd name="connsiteX38" fmla="*/ 407712 w 445812"/>
                  <a:gd name="connsiteY38" fmla="*/ 2085975 h 2968625"/>
                  <a:gd name="connsiteX39" fmla="*/ 414062 w 445812"/>
                  <a:gd name="connsiteY39" fmla="*/ 2209800 h 2968625"/>
                  <a:gd name="connsiteX40" fmla="*/ 252137 w 445812"/>
                  <a:gd name="connsiteY40" fmla="*/ 2251075 h 2968625"/>
                  <a:gd name="connsiteX41" fmla="*/ 134662 w 445812"/>
                  <a:gd name="connsiteY41" fmla="*/ 2968625 h 2968625"/>
                  <a:gd name="connsiteX0" fmla="*/ 445812 w 445812"/>
                  <a:gd name="connsiteY0" fmla="*/ 0 h 2968625"/>
                  <a:gd name="connsiteX1" fmla="*/ 407712 w 445812"/>
                  <a:gd name="connsiteY1" fmla="*/ 66675 h 2968625"/>
                  <a:gd name="connsiteX2" fmla="*/ 353737 w 445812"/>
                  <a:gd name="connsiteY2" fmla="*/ 85725 h 2968625"/>
                  <a:gd name="connsiteX3" fmla="*/ 283887 w 445812"/>
                  <a:gd name="connsiteY3" fmla="*/ 98425 h 2968625"/>
                  <a:gd name="connsiteX4" fmla="*/ 223562 w 445812"/>
                  <a:gd name="connsiteY4" fmla="*/ 133350 h 2968625"/>
                  <a:gd name="connsiteX5" fmla="*/ 121962 w 445812"/>
                  <a:gd name="connsiteY5" fmla="*/ 196850 h 2968625"/>
                  <a:gd name="connsiteX6" fmla="*/ 131487 w 445812"/>
                  <a:gd name="connsiteY6" fmla="*/ 247650 h 2968625"/>
                  <a:gd name="connsiteX7" fmla="*/ 172762 w 445812"/>
                  <a:gd name="connsiteY7" fmla="*/ 276225 h 2968625"/>
                  <a:gd name="connsiteX8" fmla="*/ 185462 w 445812"/>
                  <a:gd name="connsiteY8" fmla="*/ 327025 h 2968625"/>
                  <a:gd name="connsiteX9" fmla="*/ 239437 w 445812"/>
                  <a:gd name="connsiteY9" fmla="*/ 368300 h 2968625"/>
                  <a:gd name="connsiteX10" fmla="*/ 239437 w 445812"/>
                  <a:gd name="connsiteY10" fmla="*/ 412750 h 2968625"/>
                  <a:gd name="connsiteX11" fmla="*/ 207687 w 445812"/>
                  <a:gd name="connsiteY11" fmla="*/ 454025 h 2968625"/>
                  <a:gd name="connsiteX12" fmla="*/ 287062 w 445812"/>
                  <a:gd name="connsiteY12" fmla="*/ 479425 h 2968625"/>
                  <a:gd name="connsiteX13" fmla="*/ 302937 w 445812"/>
                  <a:gd name="connsiteY13" fmla="*/ 511175 h 2968625"/>
                  <a:gd name="connsiteX14" fmla="*/ 210862 w 445812"/>
                  <a:gd name="connsiteY14" fmla="*/ 581025 h 2968625"/>
                  <a:gd name="connsiteX15" fmla="*/ 160062 w 445812"/>
                  <a:gd name="connsiteY15" fmla="*/ 638175 h 2968625"/>
                  <a:gd name="connsiteX16" fmla="*/ 160062 w 445812"/>
                  <a:gd name="connsiteY16" fmla="*/ 695325 h 2968625"/>
                  <a:gd name="connsiteX17" fmla="*/ 185462 w 445812"/>
                  <a:gd name="connsiteY17" fmla="*/ 784225 h 2968625"/>
                  <a:gd name="connsiteX18" fmla="*/ 194987 w 445812"/>
                  <a:gd name="connsiteY18" fmla="*/ 835025 h 2968625"/>
                  <a:gd name="connsiteX19" fmla="*/ 204512 w 445812"/>
                  <a:gd name="connsiteY19" fmla="*/ 885825 h 2968625"/>
                  <a:gd name="connsiteX20" fmla="*/ 220387 w 445812"/>
                  <a:gd name="connsiteY20" fmla="*/ 923925 h 2968625"/>
                  <a:gd name="connsiteX21" fmla="*/ 163237 w 445812"/>
                  <a:gd name="connsiteY21" fmla="*/ 1022350 h 2968625"/>
                  <a:gd name="connsiteX22" fmla="*/ 96562 w 445812"/>
                  <a:gd name="connsiteY22" fmla="*/ 1057275 h 2968625"/>
                  <a:gd name="connsiteX23" fmla="*/ 52112 w 445812"/>
                  <a:gd name="connsiteY23" fmla="*/ 1143000 h 2968625"/>
                  <a:gd name="connsiteX24" fmla="*/ 20362 w 445812"/>
                  <a:gd name="connsiteY24" fmla="*/ 1244600 h 2968625"/>
                  <a:gd name="connsiteX25" fmla="*/ 1312 w 445812"/>
                  <a:gd name="connsiteY25" fmla="*/ 1346200 h 2968625"/>
                  <a:gd name="connsiteX26" fmla="*/ 10837 w 445812"/>
                  <a:gd name="connsiteY26" fmla="*/ 1438275 h 2968625"/>
                  <a:gd name="connsiteX27" fmla="*/ 83862 w 445812"/>
                  <a:gd name="connsiteY27" fmla="*/ 1511300 h 2968625"/>
                  <a:gd name="connsiteX28" fmla="*/ 112437 w 445812"/>
                  <a:gd name="connsiteY28" fmla="*/ 1558925 h 2968625"/>
                  <a:gd name="connsiteX29" fmla="*/ 150537 w 445812"/>
                  <a:gd name="connsiteY29" fmla="*/ 1590675 h 2968625"/>
                  <a:gd name="connsiteX30" fmla="*/ 169587 w 445812"/>
                  <a:gd name="connsiteY30" fmla="*/ 1644650 h 2968625"/>
                  <a:gd name="connsiteX31" fmla="*/ 226737 w 445812"/>
                  <a:gd name="connsiteY31" fmla="*/ 1685925 h 2968625"/>
                  <a:gd name="connsiteX32" fmla="*/ 264837 w 445812"/>
                  <a:gd name="connsiteY32" fmla="*/ 1730375 h 2968625"/>
                  <a:gd name="connsiteX33" fmla="*/ 277537 w 445812"/>
                  <a:gd name="connsiteY33" fmla="*/ 1758950 h 2968625"/>
                  <a:gd name="connsiteX34" fmla="*/ 277537 w 445812"/>
                  <a:gd name="connsiteY34" fmla="*/ 1828800 h 2968625"/>
                  <a:gd name="connsiteX35" fmla="*/ 325162 w 445812"/>
                  <a:gd name="connsiteY35" fmla="*/ 1905000 h 2968625"/>
                  <a:gd name="connsiteX36" fmla="*/ 363262 w 445812"/>
                  <a:gd name="connsiteY36" fmla="*/ 1962150 h 2968625"/>
                  <a:gd name="connsiteX37" fmla="*/ 369612 w 445812"/>
                  <a:gd name="connsiteY37" fmla="*/ 2028825 h 2968625"/>
                  <a:gd name="connsiteX38" fmla="*/ 407712 w 445812"/>
                  <a:gd name="connsiteY38" fmla="*/ 2085975 h 2968625"/>
                  <a:gd name="connsiteX39" fmla="*/ 414062 w 445812"/>
                  <a:gd name="connsiteY39" fmla="*/ 2209800 h 2968625"/>
                  <a:gd name="connsiteX40" fmla="*/ 252137 w 445812"/>
                  <a:gd name="connsiteY40" fmla="*/ 2251075 h 2968625"/>
                  <a:gd name="connsiteX41" fmla="*/ 201337 w 445812"/>
                  <a:gd name="connsiteY41" fmla="*/ 2390775 h 2968625"/>
                  <a:gd name="connsiteX42" fmla="*/ 134662 w 445812"/>
                  <a:gd name="connsiteY42" fmla="*/ 2968625 h 2968625"/>
                  <a:gd name="connsiteX0" fmla="*/ 445812 w 445812"/>
                  <a:gd name="connsiteY0" fmla="*/ 0 h 2968625"/>
                  <a:gd name="connsiteX1" fmla="*/ 407712 w 445812"/>
                  <a:gd name="connsiteY1" fmla="*/ 66675 h 2968625"/>
                  <a:gd name="connsiteX2" fmla="*/ 353737 w 445812"/>
                  <a:gd name="connsiteY2" fmla="*/ 85725 h 2968625"/>
                  <a:gd name="connsiteX3" fmla="*/ 283887 w 445812"/>
                  <a:gd name="connsiteY3" fmla="*/ 98425 h 2968625"/>
                  <a:gd name="connsiteX4" fmla="*/ 223562 w 445812"/>
                  <a:gd name="connsiteY4" fmla="*/ 133350 h 2968625"/>
                  <a:gd name="connsiteX5" fmla="*/ 121962 w 445812"/>
                  <a:gd name="connsiteY5" fmla="*/ 196850 h 2968625"/>
                  <a:gd name="connsiteX6" fmla="*/ 131487 w 445812"/>
                  <a:gd name="connsiteY6" fmla="*/ 247650 h 2968625"/>
                  <a:gd name="connsiteX7" fmla="*/ 172762 w 445812"/>
                  <a:gd name="connsiteY7" fmla="*/ 276225 h 2968625"/>
                  <a:gd name="connsiteX8" fmla="*/ 185462 w 445812"/>
                  <a:gd name="connsiteY8" fmla="*/ 327025 h 2968625"/>
                  <a:gd name="connsiteX9" fmla="*/ 239437 w 445812"/>
                  <a:gd name="connsiteY9" fmla="*/ 368300 h 2968625"/>
                  <a:gd name="connsiteX10" fmla="*/ 239437 w 445812"/>
                  <a:gd name="connsiteY10" fmla="*/ 412750 h 2968625"/>
                  <a:gd name="connsiteX11" fmla="*/ 207687 w 445812"/>
                  <a:gd name="connsiteY11" fmla="*/ 454025 h 2968625"/>
                  <a:gd name="connsiteX12" fmla="*/ 287062 w 445812"/>
                  <a:gd name="connsiteY12" fmla="*/ 479425 h 2968625"/>
                  <a:gd name="connsiteX13" fmla="*/ 302937 w 445812"/>
                  <a:gd name="connsiteY13" fmla="*/ 511175 h 2968625"/>
                  <a:gd name="connsiteX14" fmla="*/ 210862 w 445812"/>
                  <a:gd name="connsiteY14" fmla="*/ 581025 h 2968625"/>
                  <a:gd name="connsiteX15" fmla="*/ 160062 w 445812"/>
                  <a:gd name="connsiteY15" fmla="*/ 638175 h 2968625"/>
                  <a:gd name="connsiteX16" fmla="*/ 160062 w 445812"/>
                  <a:gd name="connsiteY16" fmla="*/ 695325 h 2968625"/>
                  <a:gd name="connsiteX17" fmla="*/ 185462 w 445812"/>
                  <a:gd name="connsiteY17" fmla="*/ 784225 h 2968625"/>
                  <a:gd name="connsiteX18" fmla="*/ 194987 w 445812"/>
                  <a:gd name="connsiteY18" fmla="*/ 835025 h 2968625"/>
                  <a:gd name="connsiteX19" fmla="*/ 204512 w 445812"/>
                  <a:gd name="connsiteY19" fmla="*/ 885825 h 2968625"/>
                  <a:gd name="connsiteX20" fmla="*/ 220387 w 445812"/>
                  <a:gd name="connsiteY20" fmla="*/ 923925 h 2968625"/>
                  <a:gd name="connsiteX21" fmla="*/ 163237 w 445812"/>
                  <a:gd name="connsiteY21" fmla="*/ 1022350 h 2968625"/>
                  <a:gd name="connsiteX22" fmla="*/ 96562 w 445812"/>
                  <a:gd name="connsiteY22" fmla="*/ 1057275 h 2968625"/>
                  <a:gd name="connsiteX23" fmla="*/ 52112 w 445812"/>
                  <a:gd name="connsiteY23" fmla="*/ 1143000 h 2968625"/>
                  <a:gd name="connsiteX24" fmla="*/ 20362 w 445812"/>
                  <a:gd name="connsiteY24" fmla="*/ 1244600 h 2968625"/>
                  <a:gd name="connsiteX25" fmla="*/ 1312 w 445812"/>
                  <a:gd name="connsiteY25" fmla="*/ 1346200 h 2968625"/>
                  <a:gd name="connsiteX26" fmla="*/ 10837 w 445812"/>
                  <a:gd name="connsiteY26" fmla="*/ 1438275 h 2968625"/>
                  <a:gd name="connsiteX27" fmla="*/ 83862 w 445812"/>
                  <a:gd name="connsiteY27" fmla="*/ 1511300 h 2968625"/>
                  <a:gd name="connsiteX28" fmla="*/ 112437 w 445812"/>
                  <a:gd name="connsiteY28" fmla="*/ 1558925 h 2968625"/>
                  <a:gd name="connsiteX29" fmla="*/ 150537 w 445812"/>
                  <a:gd name="connsiteY29" fmla="*/ 1590675 h 2968625"/>
                  <a:gd name="connsiteX30" fmla="*/ 169587 w 445812"/>
                  <a:gd name="connsiteY30" fmla="*/ 1644650 h 2968625"/>
                  <a:gd name="connsiteX31" fmla="*/ 226737 w 445812"/>
                  <a:gd name="connsiteY31" fmla="*/ 1685925 h 2968625"/>
                  <a:gd name="connsiteX32" fmla="*/ 264837 w 445812"/>
                  <a:gd name="connsiteY32" fmla="*/ 1730375 h 2968625"/>
                  <a:gd name="connsiteX33" fmla="*/ 277537 w 445812"/>
                  <a:gd name="connsiteY33" fmla="*/ 1758950 h 2968625"/>
                  <a:gd name="connsiteX34" fmla="*/ 277537 w 445812"/>
                  <a:gd name="connsiteY34" fmla="*/ 1828800 h 2968625"/>
                  <a:gd name="connsiteX35" fmla="*/ 325162 w 445812"/>
                  <a:gd name="connsiteY35" fmla="*/ 1905000 h 2968625"/>
                  <a:gd name="connsiteX36" fmla="*/ 363262 w 445812"/>
                  <a:gd name="connsiteY36" fmla="*/ 1962150 h 2968625"/>
                  <a:gd name="connsiteX37" fmla="*/ 369612 w 445812"/>
                  <a:gd name="connsiteY37" fmla="*/ 2028825 h 2968625"/>
                  <a:gd name="connsiteX38" fmla="*/ 407712 w 445812"/>
                  <a:gd name="connsiteY38" fmla="*/ 2085975 h 2968625"/>
                  <a:gd name="connsiteX39" fmla="*/ 414062 w 445812"/>
                  <a:gd name="connsiteY39" fmla="*/ 2209800 h 2968625"/>
                  <a:gd name="connsiteX40" fmla="*/ 252137 w 445812"/>
                  <a:gd name="connsiteY40" fmla="*/ 2251075 h 2968625"/>
                  <a:gd name="connsiteX41" fmla="*/ 201337 w 445812"/>
                  <a:gd name="connsiteY41" fmla="*/ 2390775 h 2968625"/>
                  <a:gd name="connsiteX42" fmla="*/ 134662 w 445812"/>
                  <a:gd name="connsiteY42" fmla="*/ 2968625 h 2968625"/>
                  <a:gd name="connsiteX0" fmla="*/ 445812 w 445812"/>
                  <a:gd name="connsiteY0" fmla="*/ 0 h 2968625"/>
                  <a:gd name="connsiteX1" fmla="*/ 407712 w 445812"/>
                  <a:gd name="connsiteY1" fmla="*/ 66675 h 2968625"/>
                  <a:gd name="connsiteX2" fmla="*/ 353737 w 445812"/>
                  <a:gd name="connsiteY2" fmla="*/ 85725 h 2968625"/>
                  <a:gd name="connsiteX3" fmla="*/ 283887 w 445812"/>
                  <a:gd name="connsiteY3" fmla="*/ 98425 h 2968625"/>
                  <a:gd name="connsiteX4" fmla="*/ 223562 w 445812"/>
                  <a:gd name="connsiteY4" fmla="*/ 133350 h 2968625"/>
                  <a:gd name="connsiteX5" fmla="*/ 121962 w 445812"/>
                  <a:gd name="connsiteY5" fmla="*/ 196850 h 2968625"/>
                  <a:gd name="connsiteX6" fmla="*/ 131487 w 445812"/>
                  <a:gd name="connsiteY6" fmla="*/ 247650 h 2968625"/>
                  <a:gd name="connsiteX7" fmla="*/ 172762 w 445812"/>
                  <a:gd name="connsiteY7" fmla="*/ 276225 h 2968625"/>
                  <a:gd name="connsiteX8" fmla="*/ 185462 w 445812"/>
                  <a:gd name="connsiteY8" fmla="*/ 327025 h 2968625"/>
                  <a:gd name="connsiteX9" fmla="*/ 239437 w 445812"/>
                  <a:gd name="connsiteY9" fmla="*/ 368300 h 2968625"/>
                  <a:gd name="connsiteX10" fmla="*/ 239437 w 445812"/>
                  <a:gd name="connsiteY10" fmla="*/ 412750 h 2968625"/>
                  <a:gd name="connsiteX11" fmla="*/ 207687 w 445812"/>
                  <a:gd name="connsiteY11" fmla="*/ 454025 h 2968625"/>
                  <a:gd name="connsiteX12" fmla="*/ 287062 w 445812"/>
                  <a:gd name="connsiteY12" fmla="*/ 479425 h 2968625"/>
                  <a:gd name="connsiteX13" fmla="*/ 302937 w 445812"/>
                  <a:gd name="connsiteY13" fmla="*/ 511175 h 2968625"/>
                  <a:gd name="connsiteX14" fmla="*/ 210862 w 445812"/>
                  <a:gd name="connsiteY14" fmla="*/ 581025 h 2968625"/>
                  <a:gd name="connsiteX15" fmla="*/ 160062 w 445812"/>
                  <a:gd name="connsiteY15" fmla="*/ 638175 h 2968625"/>
                  <a:gd name="connsiteX16" fmla="*/ 160062 w 445812"/>
                  <a:gd name="connsiteY16" fmla="*/ 695325 h 2968625"/>
                  <a:gd name="connsiteX17" fmla="*/ 185462 w 445812"/>
                  <a:gd name="connsiteY17" fmla="*/ 784225 h 2968625"/>
                  <a:gd name="connsiteX18" fmla="*/ 194987 w 445812"/>
                  <a:gd name="connsiteY18" fmla="*/ 835025 h 2968625"/>
                  <a:gd name="connsiteX19" fmla="*/ 204512 w 445812"/>
                  <a:gd name="connsiteY19" fmla="*/ 885825 h 2968625"/>
                  <a:gd name="connsiteX20" fmla="*/ 220387 w 445812"/>
                  <a:gd name="connsiteY20" fmla="*/ 923925 h 2968625"/>
                  <a:gd name="connsiteX21" fmla="*/ 163237 w 445812"/>
                  <a:gd name="connsiteY21" fmla="*/ 1022350 h 2968625"/>
                  <a:gd name="connsiteX22" fmla="*/ 96562 w 445812"/>
                  <a:gd name="connsiteY22" fmla="*/ 1057275 h 2968625"/>
                  <a:gd name="connsiteX23" fmla="*/ 52112 w 445812"/>
                  <a:gd name="connsiteY23" fmla="*/ 1143000 h 2968625"/>
                  <a:gd name="connsiteX24" fmla="*/ 20362 w 445812"/>
                  <a:gd name="connsiteY24" fmla="*/ 1244600 h 2968625"/>
                  <a:gd name="connsiteX25" fmla="*/ 1312 w 445812"/>
                  <a:gd name="connsiteY25" fmla="*/ 1346200 h 2968625"/>
                  <a:gd name="connsiteX26" fmla="*/ 10837 w 445812"/>
                  <a:gd name="connsiteY26" fmla="*/ 1438275 h 2968625"/>
                  <a:gd name="connsiteX27" fmla="*/ 83862 w 445812"/>
                  <a:gd name="connsiteY27" fmla="*/ 1511300 h 2968625"/>
                  <a:gd name="connsiteX28" fmla="*/ 112437 w 445812"/>
                  <a:gd name="connsiteY28" fmla="*/ 1558925 h 2968625"/>
                  <a:gd name="connsiteX29" fmla="*/ 150537 w 445812"/>
                  <a:gd name="connsiteY29" fmla="*/ 1590675 h 2968625"/>
                  <a:gd name="connsiteX30" fmla="*/ 169587 w 445812"/>
                  <a:gd name="connsiteY30" fmla="*/ 1644650 h 2968625"/>
                  <a:gd name="connsiteX31" fmla="*/ 226737 w 445812"/>
                  <a:gd name="connsiteY31" fmla="*/ 1685925 h 2968625"/>
                  <a:gd name="connsiteX32" fmla="*/ 264837 w 445812"/>
                  <a:gd name="connsiteY32" fmla="*/ 1730375 h 2968625"/>
                  <a:gd name="connsiteX33" fmla="*/ 277537 w 445812"/>
                  <a:gd name="connsiteY33" fmla="*/ 1758950 h 2968625"/>
                  <a:gd name="connsiteX34" fmla="*/ 277537 w 445812"/>
                  <a:gd name="connsiteY34" fmla="*/ 1828800 h 2968625"/>
                  <a:gd name="connsiteX35" fmla="*/ 325162 w 445812"/>
                  <a:gd name="connsiteY35" fmla="*/ 1905000 h 2968625"/>
                  <a:gd name="connsiteX36" fmla="*/ 363262 w 445812"/>
                  <a:gd name="connsiteY36" fmla="*/ 1962150 h 2968625"/>
                  <a:gd name="connsiteX37" fmla="*/ 369612 w 445812"/>
                  <a:gd name="connsiteY37" fmla="*/ 2028825 h 2968625"/>
                  <a:gd name="connsiteX38" fmla="*/ 407712 w 445812"/>
                  <a:gd name="connsiteY38" fmla="*/ 2085975 h 2968625"/>
                  <a:gd name="connsiteX39" fmla="*/ 414062 w 445812"/>
                  <a:gd name="connsiteY39" fmla="*/ 2209800 h 2968625"/>
                  <a:gd name="connsiteX40" fmla="*/ 252137 w 445812"/>
                  <a:gd name="connsiteY40" fmla="*/ 2251075 h 2968625"/>
                  <a:gd name="connsiteX41" fmla="*/ 201337 w 445812"/>
                  <a:gd name="connsiteY41" fmla="*/ 2390775 h 2968625"/>
                  <a:gd name="connsiteX42" fmla="*/ 236262 w 445812"/>
                  <a:gd name="connsiteY42" fmla="*/ 2517775 h 2968625"/>
                  <a:gd name="connsiteX43" fmla="*/ 134662 w 445812"/>
                  <a:gd name="connsiteY43" fmla="*/ 2968625 h 2968625"/>
                  <a:gd name="connsiteX0" fmla="*/ 445812 w 445812"/>
                  <a:gd name="connsiteY0" fmla="*/ 0 h 2968625"/>
                  <a:gd name="connsiteX1" fmla="*/ 407712 w 445812"/>
                  <a:gd name="connsiteY1" fmla="*/ 66675 h 2968625"/>
                  <a:gd name="connsiteX2" fmla="*/ 353737 w 445812"/>
                  <a:gd name="connsiteY2" fmla="*/ 85725 h 2968625"/>
                  <a:gd name="connsiteX3" fmla="*/ 283887 w 445812"/>
                  <a:gd name="connsiteY3" fmla="*/ 98425 h 2968625"/>
                  <a:gd name="connsiteX4" fmla="*/ 223562 w 445812"/>
                  <a:gd name="connsiteY4" fmla="*/ 133350 h 2968625"/>
                  <a:gd name="connsiteX5" fmla="*/ 121962 w 445812"/>
                  <a:gd name="connsiteY5" fmla="*/ 196850 h 2968625"/>
                  <a:gd name="connsiteX6" fmla="*/ 131487 w 445812"/>
                  <a:gd name="connsiteY6" fmla="*/ 247650 h 2968625"/>
                  <a:gd name="connsiteX7" fmla="*/ 172762 w 445812"/>
                  <a:gd name="connsiteY7" fmla="*/ 276225 h 2968625"/>
                  <a:gd name="connsiteX8" fmla="*/ 185462 w 445812"/>
                  <a:gd name="connsiteY8" fmla="*/ 327025 h 2968625"/>
                  <a:gd name="connsiteX9" fmla="*/ 239437 w 445812"/>
                  <a:gd name="connsiteY9" fmla="*/ 368300 h 2968625"/>
                  <a:gd name="connsiteX10" fmla="*/ 239437 w 445812"/>
                  <a:gd name="connsiteY10" fmla="*/ 412750 h 2968625"/>
                  <a:gd name="connsiteX11" fmla="*/ 207687 w 445812"/>
                  <a:gd name="connsiteY11" fmla="*/ 454025 h 2968625"/>
                  <a:gd name="connsiteX12" fmla="*/ 287062 w 445812"/>
                  <a:gd name="connsiteY12" fmla="*/ 479425 h 2968625"/>
                  <a:gd name="connsiteX13" fmla="*/ 302937 w 445812"/>
                  <a:gd name="connsiteY13" fmla="*/ 511175 h 2968625"/>
                  <a:gd name="connsiteX14" fmla="*/ 210862 w 445812"/>
                  <a:gd name="connsiteY14" fmla="*/ 581025 h 2968625"/>
                  <a:gd name="connsiteX15" fmla="*/ 160062 w 445812"/>
                  <a:gd name="connsiteY15" fmla="*/ 638175 h 2968625"/>
                  <a:gd name="connsiteX16" fmla="*/ 160062 w 445812"/>
                  <a:gd name="connsiteY16" fmla="*/ 695325 h 2968625"/>
                  <a:gd name="connsiteX17" fmla="*/ 185462 w 445812"/>
                  <a:gd name="connsiteY17" fmla="*/ 784225 h 2968625"/>
                  <a:gd name="connsiteX18" fmla="*/ 194987 w 445812"/>
                  <a:gd name="connsiteY18" fmla="*/ 835025 h 2968625"/>
                  <a:gd name="connsiteX19" fmla="*/ 204512 w 445812"/>
                  <a:gd name="connsiteY19" fmla="*/ 885825 h 2968625"/>
                  <a:gd name="connsiteX20" fmla="*/ 220387 w 445812"/>
                  <a:gd name="connsiteY20" fmla="*/ 923925 h 2968625"/>
                  <a:gd name="connsiteX21" fmla="*/ 163237 w 445812"/>
                  <a:gd name="connsiteY21" fmla="*/ 1022350 h 2968625"/>
                  <a:gd name="connsiteX22" fmla="*/ 96562 w 445812"/>
                  <a:gd name="connsiteY22" fmla="*/ 1057275 h 2968625"/>
                  <a:gd name="connsiteX23" fmla="*/ 52112 w 445812"/>
                  <a:gd name="connsiteY23" fmla="*/ 1143000 h 2968625"/>
                  <a:gd name="connsiteX24" fmla="*/ 20362 w 445812"/>
                  <a:gd name="connsiteY24" fmla="*/ 1244600 h 2968625"/>
                  <a:gd name="connsiteX25" fmla="*/ 1312 w 445812"/>
                  <a:gd name="connsiteY25" fmla="*/ 1346200 h 2968625"/>
                  <a:gd name="connsiteX26" fmla="*/ 10837 w 445812"/>
                  <a:gd name="connsiteY26" fmla="*/ 1438275 h 2968625"/>
                  <a:gd name="connsiteX27" fmla="*/ 83862 w 445812"/>
                  <a:gd name="connsiteY27" fmla="*/ 1511300 h 2968625"/>
                  <a:gd name="connsiteX28" fmla="*/ 112437 w 445812"/>
                  <a:gd name="connsiteY28" fmla="*/ 1558925 h 2968625"/>
                  <a:gd name="connsiteX29" fmla="*/ 150537 w 445812"/>
                  <a:gd name="connsiteY29" fmla="*/ 1590675 h 2968625"/>
                  <a:gd name="connsiteX30" fmla="*/ 169587 w 445812"/>
                  <a:gd name="connsiteY30" fmla="*/ 1644650 h 2968625"/>
                  <a:gd name="connsiteX31" fmla="*/ 226737 w 445812"/>
                  <a:gd name="connsiteY31" fmla="*/ 1685925 h 2968625"/>
                  <a:gd name="connsiteX32" fmla="*/ 264837 w 445812"/>
                  <a:gd name="connsiteY32" fmla="*/ 1730375 h 2968625"/>
                  <a:gd name="connsiteX33" fmla="*/ 277537 w 445812"/>
                  <a:gd name="connsiteY33" fmla="*/ 1758950 h 2968625"/>
                  <a:gd name="connsiteX34" fmla="*/ 277537 w 445812"/>
                  <a:gd name="connsiteY34" fmla="*/ 1828800 h 2968625"/>
                  <a:gd name="connsiteX35" fmla="*/ 325162 w 445812"/>
                  <a:gd name="connsiteY35" fmla="*/ 1905000 h 2968625"/>
                  <a:gd name="connsiteX36" fmla="*/ 363262 w 445812"/>
                  <a:gd name="connsiteY36" fmla="*/ 1962150 h 2968625"/>
                  <a:gd name="connsiteX37" fmla="*/ 369612 w 445812"/>
                  <a:gd name="connsiteY37" fmla="*/ 2028825 h 2968625"/>
                  <a:gd name="connsiteX38" fmla="*/ 407712 w 445812"/>
                  <a:gd name="connsiteY38" fmla="*/ 2085975 h 2968625"/>
                  <a:gd name="connsiteX39" fmla="*/ 414062 w 445812"/>
                  <a:gd name="connsiteY39" fmla="*/ 2209800 h 2968625"/>
                  <a:gd name="connsiteX40" fmla="*/ 252137 w 445812"/>
                  <a:gd name="connsiteY40" fmla="*/ 2251075 h 2968625"/>
                  <a:gd name="connsiteX41" fmla="*/ 201337 w 445812"/>
                  <a:gd name="connsiteY41" fmla="*/ 2390775 h 2968625"/>
                  <a:gd name="connsiteX42" fmla="*/ 210862 w 445812"/>
                  <a:gd name="connsiteY42" fmla="*/ 2454275 h 2968625"/>
                  <a:gd name="connsiteX43" fmla="*/ 236262 w 445812"/>
                  <a:gd name="connsiteY43" fmla="*/ 2517775 h 2968625"/>
                  <a:gd name="connsiteX44" fmla="*/ 134662 w 445812"/>
                  <a:gd name="connsiteY44" fmla="*/ 2968625 h 2968625"/>
                  <a:gd name="connsiteX0" fmla="*/ 445812 w 445812"/>
                  <a:gd name="connsiteY0" fmla="*/ 0 h 2968625"/>
                  <a:gd name="connsiteX1" fmla="*/ 407712 w 445812"/>
                  <a:gd name="connsiteY1" fmla="*/ 66675 h 2968625"/>
                  <a:gd name="connsiteX2" fmla="*/ 353737 w 445812"/>
                  <a:gd name="connsiteY2" fmla="*/ 85725 h 2968625"/>
                  <a:gd name="connsiteX3" fmla="*/ 283887 w 445812"/>
                  <a:gd name="connsiteY3" fmla="*/ 98425 h 2968625"/>
                  <a:gd name="connsiteX4" fmla="*/ 223562 w 445812"/>
                  <a:gd name="connsiteY4" fmla="*/ 133350 h 2968625"/>
                  <a:gd name="connsiteX5" fmla="*/ 121962 w 445812"/>
                  <a:gd name="connsiteY5" fmla="*/ 196850 h 2968625"/>
                  <a:gd name="connsiteX6" fmla="*/ 131487 w 445812"/>
                  <a:gd name="connsiteY6" fmla="*/ 247650 h 2968625"/>
                  <a:gd name="connsiteX7" fmla="*/ 172762 w 445812"/>
                  <a:gd name="connsiteY7" fmla="*/ 276225 h 2968625"/>
                  <a:gd name="connsiteX8" fmla="*/ 185462 w 445812"/>
                  <a:gd name="connsiteY8" fmla="*/ 327025 h 2968625"/>
                  <a:gd name="connsiteX9" fmla="*/ 239437 w 445812"/>
                  <a:gd name="connsiteY9" fmla="*/ 368300 h 2968625"/>
                  <a:gd name="connsiteX10" fmla="*/ 239437 w 445812"/>
                  <a:gd name="connsiteY10" fmla="*/ 412750 h 2968625"/>
                  <a:gd name="connsiteX11" fmla="*/ 207687 w 445812"/>
                  <a:gd name="connsiteY11" fmla="*/ 454025 h 2968625"/>
                  <a:gd name="connsiteX12" fmla="*/ 287062 w 445812"/>
                  <a:gd name="connsiteY12" fmla="*/ 479425 h 2968625"/>
                  <a:gd name="connsiteX13" fmla="*/ 302937 w 445812"/>
                  <a:gd name="connsiteY13" fmla="*/ 511175 h 2968625"/>
                  <a:gd name="connsiteX14" fmla="*/ 210862 w 445812"/>
                  <a:gd name="connsiteY14" fmla="*/ 581025 h 2968625"/>
                  <a:gd name="connsiteX15" fmla="*/ 160062 w 445812"/>
                  <a:gd name="connsiteY15" fmla="*/ 638175 h 2968625"/>
                  <a:gd name="connsiteX16" fmla="*/ 160062 w 445812"/>
                  <a:gd name="connsiteY16" fmla="*/ 695325 h 2968625"/>
                  <a:gd name="connsiteX17" fmla="*/ 185462 w 445812"/>
                  <a:gd name="connsiteY17" fmla="*/ 784225 h 2968625"/>
                  <a:gd name="connsiteX18" fmla="*/ 194987 w 445812"/>
                  <a:gd name="connsiteY18" fmla="*/ 835025 h 2968625"/>
                  <a:gd name="connsiteX19" fmla="*/ 204512 w 445812"/>
                  <a:gd name="connsiteY19" fmla="*/ 885825 h 2968625"/>
                  <a:gd name="connsiteX20" fmla="*/ 220387 w 445812"/>
                  <a:gd name="connsiteY20" fmla="*/ 923925 h 2968625"/>
                  <a:gd name="connsiteX21" fmla="*/ 163237 w 445812"/>
                  <a:gd name="connsiteY21" fmla="*/ 1022350 h 2968625"/>
                  <a:gd name="connsiteX22" fmla="*/ 96562 w 445812"/>
                  <a:gd name="connsiteY22" fmla="*/ 1057275 h 2968625"/>
                  <a:gd name="connsiteX23" fmla="*/ 52112 w 445812"/>
                  <a:gd name="connsiteY23" fmla="*/ 1143000 h 2968625"/>
                  <a:gd name="connsiteX24" fmla="*/ 20362 w 445812"/>
                  <a:gd name="connsiteY24" fmla="*/ 1244600 h 2968625"/>
                  <a:gd name="connsiteX25" fmla="*/ 1312 w 445812"/>
                  <a:gd name="connsiteY25" fmla="*/ 1346200 h 2968625"/>
                  <a:gd name="connsiteX26" fmla="*/ 10837 w 445812"/>
                  <a:gd name="connsiteY26" fmla="*/ 1438275 h 2968625"/>
                  <a:gd name="connsiteX27" fmla="*/ 83862 w 445812"/>
                  <a:gd name="connsiteY27" fmla="*/ 1511300 h 2968625"/>
                  <a:gd name="connsiteX28" fmla="*/ 112437 w 445812"/>
                  <a:gd name="connsiteY28" fmla="*/ 1558925 h 2968625"/>
                  <a:gd name="connsiteX29" fmla="*/ 150537 w 445812"/>
                  <a:gd name="connsiteY29" fmla="*/ 1590675 h 2968625"/>
                  <a:gd name="connsiteX30" fmla="*/ 169587 w 445812"/>
                  <a:gd name="connsiteY30" fmla="*/ 1644650 h 2968625"/>
                  <a:gd name="connsiteX31" fmla="*/ 226737 w 445812"/>
                  <a:gd name="connsiteY31" fmla="*/ 1685925 h 2968625"/>
                  <a:gd name="connsiteX32" fmla="*/ 264837 w 445812"/>
                  <a:gd name="connsiteY32" fmla="*/ 1730375 h 2968625"/>
                  <a:gd name="connsiteX33" fmla="*/ 277537 w 445812"/>
                  <a:gd name="connsiteY33" fmla="*/ 1758950 h 2968625"/>
                  <a:gd name="connsiteX34" fmla="*/ 277537 w 445812"/>
                  <a:gd name="connsiteY34" fmla="*/ 1828800 h 2968625"/>
                  <a:gd name="connsiteX35" fmla="*/ 325162 w 445812"/>
                  <a:gd name="connsiteY35" fmla="*/ 1905000 h 2968625"/>
                  <a:gd name="connsiteX36" fmla="*/ 363262 w 445812"/>
                  <a:gd name="connsiteY36" fmla="*/ 1962150 h 2968625"/>
                  <a:gd name="connsiteX37" fmla="*/ 369612 w 445812"/>
                  <a:gd name="connsiteY37" fmla="*/ 2028825 h 2968625"/>
                  <a:gd name="connsiteX38" fmla="*/ 407712 w 445812"/>
                  <a:gd name="connsiteY38" fmla="*/ 2085975 h 2968625"/>
                  <a:gd name="connsiteX39" fmla="*/ 414062 w 445812"/>
                  <a:gd name="connsiteY39" fmla="*/ 2209800 h 2968625"/>
                  <a:gd name="connsiteX40" fmla="*/ 252137 w 445812"/>
                  <a:gd name="connsiteY40" fmla="*/ 2251075 h 2968625"/>
                  <a:gd name="connsiteX41" fmla="*/ 201337 w 445812"/>
                  <a:gd name="connsiteY41" fmla="*/ 2390775 h 2968625"/>
                  <a:gd name="connsiteX42" fmla="*/ 210862 w 445812"/>
                  <a:gd name="connsiteY42" fmla="*/ 2454275 h 2968625"/>
                  <a:gd name="connsiteX43" fmla="*/ 236262 w 445812"/>
                  <a:gd name="connsiteY43" fmla="*/ 2517775 h 2968625"/>
                  <a:gd name="connsiteX44" fmla="*/ 248962 w 445812"/>
                  <a:gd name="connsiteY44" fmla="*/ 2559050 h 2968625"/>
                  <a:gd name="connsiteX45" fmla="*/ 134662 w 445812"/>
                  <a:gd name="connsiteY45" fmla="*/ 2968625 h 2968625"/>
                  <a:gd name="connsiteX0" fmla="*/ 445812 w 445812"/>
                  <a:gd name="connsiteY0" fmla="*/ 0 h 2968625"/>
                  <a:gd name="connsiteX1" fmla="*/ 407712 w 445812"/>
                  <a:gd name="connsiteY1" fmla="*/ 66675 h 2968625"/>
                  <a:gd name="connsiteX2" fmla="*/ 353737 w 445812"/>
                  <a:gd name="connsiteY2" fmla="*/ 85725 h 2968625"/>
                  <a:gd name="connsiteX3" fmla="*/ 283887 w 445812"/>
                  <a:gd name="connsiteY3" fmla="*/ 98425 h 2968625"/>
                  <a:gd name="connsiteX4" fmla="*/ 223562 w 445812"/>
                  <a:gd name="connsiteY4" fmla="*/ 133350 h 2968625"/>
                  <a:gd name="connsiteX5" fmla="*/ 121962 w 445812"/>
                  <a:gd name="connsiteY5" fmla="*/ 196850 h 2968625"/>
                  <a:gd name="connsiteX6" fmla="*/ 131487 w 445812"/>
                  <a:gd name="connsiteY6" fmla="*/ 247650 h 2968625"/>
                  <a:gd name="connsiteX7" fmla="*/ 172762 w 445812"/>
                  <a:gd name="connsiteY7" fmla="*/ 276225 h 2968625"/>
                  <a:gd name="connsiteX8" fmla="*/ 185462 w 445812"/>
                  <a:gd name="connsiteY8" fmla="*/ 327025 h 2968625"/>
                  <a:gd name="connsiteX9" fmla="*/ 239437 w 445812"/>
                  <a:gd name="connsiteY9" fmla="*/ 368300 h 2968625"/>
                  <a:gd name="connsiteX10" fmla="*/ 239437 w 445812"/>
                  <a:gd name="connsiteY10" fmla="*/ 412750 h 2968625"/>
                  <a:gd name="connsiteX11" fmla="*/ 207687 w 445812"/>
                  <a:gd name="connsiteY11" fmla="*/ 454025 h 2968625"/>
                  <a:gd name="connsiteX12" fmla="*/ 287062 w 445812"/>
                  <a:gd name="connsiteY12" fmla="*/ 479425 h 2968625"/>
                  <a:gd name="connsiteX13" fmla="*/ 302937 w 445812"/>
                  <a:gd name="connsiteY13" fmla="*/ 511175 h 2968625"/>
                  <a:gd name="connsiteX14" fmla="*/ 210862 w 445812"/>
                  <a:gd name="connsiteY14" fmla="*/ 581025 h 2968625"/>
                  <a:gd name="connsiteX15" fmla="*/ 160062 w 445812"/>
                  <a:gd name="connsiteY15" fmla="*/ 638175 h 2968625"/>
                  <a:gd name="connsiteX16" fmla="*/ 160062 w 445812"/>
                  <a:gd name="connsiteY16" fmla="*/ 695325 h 2968625"/>
                  <a:gd name="connsiteX17" fmla="*/ 185462 w 445812"/>
                  <a:gd name="connsiteY17" fmla="*/ 784225 h 2968625"/>
                  <a:gd name="connsiteX18" fmla="*/ 194987 w 445812"/>
                  <a:gd name="connsiteY18" fmla="*/ 835025 h 2968625"/>
                  <a:gd name="connsiteX19" fmla="*/ 204512 w 445812"/>
                  <a:gd name="connsiteY19" fmla="*/ 885825 h 2968625"/>
                  <a:gd name="connsiteX20" fmla="*/ 220387 w 445812"/>
                  <a:gd name="connsiteY20" fmla="*/ 923925 h 2968625"/>
                  <a:gd name="connsiteX21" fmla="*/ 163237 w 445812"/>
                  <a:gd name="connsiteY21" fmla="*/ 1022350 h 2968625"/>
                  <a:gd name="connsiteX22" fmla="*/ 96562 w 445812"/>
                  <a:gd name="connsiteY22" fmla="*/ 1057275 h 2968625"/>
                  <a:gd name="connsiteX23" fmla="*/ 52112 w 445812"/>
                  <a:gd name="connsiteY23" fmla="*/ 1143000 h 2968625"/>
                  <a:gd name="connsiteX24" fmla="*/ 20362 w 445812"/>
                  <a:gd name="connsiteY24" fmla="*/ 1244600 h 2968625"/>
                  <a:gd name="connsiteX25" fmla="*/ 1312 w 445812"/>
                  <a:gd name="connsiteY25" fmla="*/ 1346200 h 2968625"/>
                  <a:gd name="connsiteX26" fmla="*/ 10837 w 445812"/>
                  <a:gd name="connsiteY26" fmla="*/ 1438275 h 2968625"/>
                  <a:gd name="connsiteX27" fmla="*/ 83862 w 445812"/>
                  <a:gd name="connsiteY27" fmla="*/ 1511300 h 2968625"/>
                  <a:gd name="connsiteX28" fmla="*/ 112437 w 445812"/>
                  <a:gd name="connsiteY28" fmla="*/ 1558925 h 2968625"/>
                  <a:gd name="connsiteX29" fmla="*/ 150537 w 445812"/>
                  <a:gd name="connsiteY29" fmla="*/ 1590675 h 2968625"/>
                  <a:gd name="connsiteX30" fmla="*/ 169587 w 445812"/>
                  <a:gd name="connsiteY30" fmla="*/ 1644650 h 2968625"/>
                  <a:gd name="connsiteX31" fmla="*/ 226737 w 445812"/>
                  <a:gd name="connsiteY31" fmla="*/ 1685925 h 2968625"/>
                  <a:gd name="connsiteX32" fmla="*/ 264837 w 445812"/>
                  <a:gd name="connsiteY32" fmla="*/ 1730375 h 2968625"/>
                  <a:gd name="connsiteX33" fmla="*/ 277537 w 445812"/>
                  <a:gd name="connsiteY33" fmla="*/ 1758950 h 2968625"/>
                  <a:gd name="connsiteX34" fmla="*/ 277537 w 445812"/>
                  <a:gd name="connsiteY34" fmla="*/ 1828800 h 2968625"/>
                  <a:gd name="connsiteX35" fmla="*/ 325162 w 445812"/>
                  <a:gd name="connsiteY35" fmla="*/ 1905000 h 2968625"/>
                  <a:gd name="connsiteX36" fmla="*/ 363262 w 445812"/>
                  <a:gd name="connsiteY36" fmla="*/ 1962150 h 2968625"/>
                  <a:gd name="connsiteX37" fmla="*/ 369612 w 445812"/>
                  <a:gd name="connsiteY37" fmla="*/ 2028825 h 2968625"/>
                  <a:gd name="connsiteX38" fmla="*/ 407712 w 445812"/>
                  <a:gd name="connsiteY38" fmla="*/ 2085975 h 2968625"/>
                  <a:gd name="connsiteX39" fmla="*/ 414062 w 445812"/>
                  <a:gd name="connsiteY39" fmla="*/ 2209800 h 2968625"/>
                  <a:gd name="connsiteX40" fmla="*/ 252137 w 445812"/>
                  <a:gd name="connsiteY40" fmla="*/ 2251075 h 2968625"/>
                  <a:gd name="connsiteX41" fmla="*/ 201337 w 445812"/>
                  <a:gd name="connsiteY41" fmla="*/ 2390775 h 2968625"/>
                  <a:gd name="connsiteX42" fmla="*/ 210862 w 445812"/>
                  <a:gd name="connsiteY42" fmla="*/ 2454275 h 2968625"/>
                  <a:gd name="connsiteX43" fmla="*/ 242612 w 445812"/>
                  <a:gd name="connsiteY43" fmla="*/ 2470150 h 2968625"/>
                  <a:gd name="connsiteX44" fmla="*/ 236262 w 445812"/>
                  <a:gd name="connsiteY44" fmla="*/ 2517775 h 2968625"/>
                  <a:gd name="connsiteX45" fmla="*/ 248962 w 445812"/>
                  <a:gd name="connsiteY45" fmla="*/ 2559050 h 2968625"/>
                  <a:gd name="connsiteX46" fmla="*/ 134662 w 445812"/>
                  <a:gd name="connsiteY46" fmla="*/ 2968625 h 2968625"/>
                  <a:gd name="connsiteX0" fmla="*/ 445812 w 445812"/>
                  <a:gd name="connsiteY0" fmla="*/ 0 h 2968625"/>
                  <a:gd name="connsiteX1" fmla="*/ 407712 w 445812"/>
                  <a:gd name="connsiteY1" fmla="*/ 66675 h 2968625"/>
                  <a:gd name="connsiteX2" fmla="*/ 353737 w 445812"/>
                  <a:gd name="connsiteY2" fmla="*/ 85725 h 2968625"/>
                  <a:gd name="connsiteX3" fmla="*/ 283887 w 445812"/>
                  <a:gd name="connsiteY3" fmla="*/ 98425 h 2968625"/>
                  <a:gd name="connsiteX4" fmla="*/ 223562 w 445812"/>
                  <a:gd name="connsiteY4" fmla="*/ 133350 h 2968625"/>
                  <a:gd name="connsiteX5" fmla="*/ 121962 w 445812"/>
                  <a:gd name="connsiteY5" fmla="*/ 196850 h 2968625"/>
                  <a:gd name="connsiteX6" fmla="*/ 131487 w 445812"/>
                  <a:gd name="connsiteY6" fmla="*/ 247650 h 2968625"/>
                  <a:gd name="connsiteX7" fmla="*/ 172762 w 445812"/>
                  <a:gd name="connsiteY7" fmla="*/ 276225 h 2968625"/>
                  <a:gd name="connsiteX8" fmla="*/ 185462 w 445812"/>
                  <a:gd name="connsiteY8" fmla="*/ 327025 h 2968625"/>
                  <a:gd name="connsiteX9" fmla="*/ 239437 w 445812"/>
                  <a:gd name="connsiteY9" fmla="*/ 368300 h 2968625"/>
                  <a:gd name="connsiteX10" fmla="*/ 239437 w 445812"/>
                  <a:gd name="connsiteY10" fmla="*/ 412750 h 2968625"/>
                  <a:gd name="connsiteX11" fmla="*/ 207687 w 445812"/>
                  <a:gd name="connsiteY11" fmla="*/ 454025 h 2968625"/>
                  <a:gd name="connsiteX12" fmla="*/ 287062 w 445812"/>
                  <a:gd name="connsiteY12" fmla="*/ 479425 h 2968625"/>
                  <a:gd name="connsiteX13" fmla="*/ 302937 w 445812"/>
                  <a:gd name="connsiteY13" fmla="*/ 511175 h 2968625"/>
                  <a:gd name="connsiteX14" fmla="*/ 210862 w 445812"/>
                  <a:gd name="connsiteY14" fmla="*/ 581025 h 2968625"/>
                  <a:gd name="connsiteX15" fmla="*/ 160062 w 445812"/>
                  <a:gd name="connsiteY15" fmla="*/ 638175 h 2968625"/>
                  <a:gd name="connsiteX16" fmla="*/ 160062 w 445812"/>
                  <a:gd name="connsiteY16" fmla="*/ 695325 h 2968625"/>
                  <a:gd name="connsiteX17" fmla="*/ 185462 w 445812"/>
                  <a:gd name="connsiteY17" fmla="*/ 784225 h 2968625"/>
                  <a:gd name="connsiteX18" fmla="*/ 194987 w 445812"/>
                  <a:gd name="connsiteY18" fmla="*/ 835025 h 2968625"/>
                  <a:gd name="connsiteX19" fmla="*/ 204512 w 445812"/>
                  <a:gd name="connsiteY19" fmla="*/ 885825 h 2968625"/>
                  <a:gd name="connsiteX20" fmla="*/ 220387 w 445812"/>
                  <a:gd name="connsiteY20" fmla="*/ 923925 h 2968625"/>
                  <a:gd name="connsiteX21" fmla="*/ 163237 w 445812"/>
                  <a:gd name="connsiteY21" fmla="*/ 1022350 h 2968625"/>
                  <a:gd name="connsiteX22" fmla="*/ 96562 w 445812"/>
                  <a:gd name="connsiteY22" fmla="*/ 1057275 h 2968625"/>
                  <a:gd name="connsiteX23" fmla="*/ 52112 w 445812"/>
                  <a:gd name="connsiteY23" fmla="*/ 1143000 h 2968625"/>
                  <a:gd name="connsiteX24" fmla="*/ 20362 w 445812"/>
                  <a:gd name="connsiteY24" fmla="*/ 1244600 h 2968625"/>
                  <a:gd name="connsiteX25" fmla="*/ 1312 w 445812"/>
                  <a:gd name="connsiteY25" fmla="*/ 1346200 h 2968625"/>
                  <a:gd name="connsiteX26" fmla="*/ 10837 w 445812"/>
                  <a:gd name="connsiteY26" fmla="*/ 1438275 h 2968625"/>
                  <a:gd name="connsiteX27" fmla="*/ 83862 w 445812"/>
                  <a:gd name="connsiteY27" fmla="*/ 1511300 h 2968625"/>
                  <a:gd name="connsiteX28" fmla="*/ 112437 w 445812"/>
                  <a:gd name="connsiteY28" fmla="*/ 1558925 h 2968625"/>
                  <a:gd name="connsiteX29" fmla="*/ 150537 w 445812"/>
                  <a:gd name="connsiteY29" fmla="*/ 1590675 h 2968625"/>
                  <a:gd name="connsiteX30" fmla="*/ 169587 w 445812"/>
                  <a:gd name="connsiteY30" fmla="*/ 1644650 h 2968625"/>
                  <a:gd name="connsiteX31" fmla="*/ 226737 w 445812"/>
                  <a:gd name="connsiteY31" fmla="*/ 1685925 h 2968625"/>
                  <a:gd name="connsiteX32" fmla="*/ 264837 w 445812"/>
                  <a:gd name="connsiteY32" fmla="*/ 1730375 h 2968625"/>
                  <a:gd name="connsiteX33" fmla="*/ 277537 w 445812"/>
                  <a:gd name="connsiteY33" fmla="*/ 1758950 h 2968625"/>
                  <a:gd name="connsiteX34" fmla="*/ 277537 w 445812"/>
                  <a:gd name="connsiteY34" fmla="*/ 1828800 h 2968625"/>
                  <a:gd name="connsiteX35" fmla="*/ 325162 w 445812"/>
                  <a:gd name="connsiteY35" fmla="*/ 1905000 h 2968625"/>
                  <a:gd name="connsiteX36" fmla="*/ 363262 w 445812"/>
                  <a:gd name="connsiteY36" fmla="*/ 1962150 h 2968625"/>
                  <a:gd name="connsiteX37" fmla="*/ 369612 w 445812"/>
                  <a:gd name="connsiteY37" fmla="*/ 2028825 h 2968625"/>
                  <a:gd name="connsiteX38" fmla="*/ 407712 w 445812"/>
                  <a:gd name="connsiteY38" fmla="*/ 2085975 h 2968625"/>
                  <a:gd name="connsiteX39" fmla="*/ 414062 w 445812"/>
                  <a:gd name="connsiteY39" fmla="*/ 2209800 h 2968625"/>
                  <a:gd name="connsiteX40" fmla="*/ 252137 w 445812"/>
                  <a:gd name="connsiteY40" fmla="*/ 2251075 h 2968625"/>
                  <a:gd name="connsiteX41" fmla="*/ 201337 w 445812"/>
                  <a:gd name="connsiteY41" fmla="*/ 2390775 h 2968625"/>
                  <a:gd name="connsiteX42" fmla="*/ 210862 w 445812"/>
                  <a:gd name="connsiteY42" fmla="*/ 2454275 h 2968625"/>
                  <a:gd name="connsiteX43" fmla="*/ 242612 w 445812"/>
                  <a:gd name="connsiteY43" fmla="*/ 2470150 h 2968625"/>
                  <a:gd name="connsiteX44" fmla="*/ 226737 w 445812"/>
                  <a:gd name="connsiteY44" fmla="*/ 2527300 h 2968625"/>
                  <a:gd name="connsiteX45" fmla="*/ 248962 w 445812"/>
                  <a:gd name="connsiteY45" fmla="*/ 2559050 h 2968625"/>
                  <a:gd name="connsiteX46" fmla="*/ 134662 w 445812"/>
                  <a:gd name="connsiteY46" fmla="*/ 2968625 h 2968625"/>
                  <a:gd name="connsiteX0" fmla="*/ 445812 w 445812"/>
                  <a:gd name="connsiteY0" fmla="*/ 0 h 2968625"/>
                  <a:gd name="connsiteX1" fmla="*/ 407712 w 445812"/>
                  <a:gd name="connsiteY1" fmla="*/ 66675 h 2968625"/>
                  <a:gd name="connsiteX2" fmla="*/ 353737 w 445812"/>
                  <a:gd name="connsiteY2" fmla="*/ 85725 h 2968625"/>
                  <a:gd name="connsiteX3" fmla="*/ 283887 w 445812"/>
                  <a:gd name="connsiteY3" fmla="*/ 98425 h 2968625"/>
                  <a:gd name="connsiteX4" fmla="*/ 223562 w 445812"/>
                  <a:gd name="connsiteY4" fmla="*/ 133350 h 2968625"/>
                  <a:gd name="connsiteX5" fmla="*/ 121962 w 445812"/>
                  <a:gd name="connsiteY5" fmla="*/ 196850 h 2968625"/>
                  <a:gd name="connsiteX6" fmla="*/ 131487 w 445812"/>
                  <a:gd name="connsiteY6" fmla="*/ 247650 h 2968625"/>
                  <a:gd name="connsiteX7" fmla="*/ 172762 w 445812"/>
                  <a:gd name="connsiteY7" fmla="*/ 276225 h 2968625"/>
                  <a:gd name="connsiteX8" fmla="*/ 185462 w 445812"/>
                  <a:gd name="connsiteY8" fmla="*/ 327025 h 2968625"/>
                  <a:gd name="connsiteX9" fmla="*/ 239437 w 445812"/>
                  <a:gd name="connsiteY9" fmla="*/ 368300 h 2968625"/>
                  <a:gd name="connsiteX10" fmla="*/ 239437 w 445812"/>
                  <a:gd name="connsiteY10" fmla="*/ 412750 h 2968625"/>
                  <a:gd name="connsiteX11" fmla="*/ 207687 w 445812"/>
                  <a:gd name="connsiteY11" fmla="*/ 454025 h 2968625"/>
                  <a:gd name="connsiteX12" fmla="*/ 287062 w 445812"/>
                  <a:gd name="connsiteY12" fmla="*/ 479425 h 2968625"/>
                  <a:gd name="connsiteX13" fmla="*/ 302937 w 445812"/>
                  <a:gd name="connsiteY13" fmla="*/ 511175 h 2968625"/>
                  <a:gd name="connsiteX14" fmla="*/ 210862 w 445812"/>
                  <a:gd name="connsiteY14" fmla="*/ 581025 h 2968625"/>
                  <a:gd name="connsiteX15" fmla="*/ 160062 w 445812"/>
                  <a:gd name="connsiteY15" fmla="*/ 638175 h 2968625"/>
                  <a:gd name="connsiteX16" fmla="*/ 160062 w 445812"/>
                  <a:gd name="connsiteY16" fmla="*/ 695325 h 2968625"/>
                  <a:gd name="connsiteX17" fmla="*/ 185462 w 445812"/>
                  <a:gd name="connsiteY17" fmla="*/ 784225 h 2968625"/>
                  <a:gd name="connsiteX18" fmla="*/ 194987 w 445812"/>
                  <a:gd name="connsiteY18" fmla="*/ 835025 h 2968625"/>
                  <a:gd name="connsiteX19" fmla="*/ 204512 w 445812"/>
                  <a:gd name="connsiteY19" fmla="*/ 885825 h 2968625"/>
                  <a:gd name="connsiteX20" fmla="*/ 220387 w 445812"/>
                  <a:gd name="connsiteY20" fmla="*/ 923925 h 2968625"/>
                  <a:gd name="connsiteX21" fmla="*/ 163237 w 445812"/>
                  <a:gd name="connsiteY21" fmla="*/ 1022350 h 2968625"/>
                  <a:gd name="connsiteX22" fmla="*/ 96562 w 445812"/>
                  <a:gd name="connsiteY22" fmla="*/ 1057275 h 2968625"/>
                  <a:gd name="connsiteX23" fmla="*/ 52112 w 445812"/>
                  <a:gd name="connsiteY23" fmla="*/ 1143000 h 2968625"/>
                  <a:gd name="connsiteX24" fmla="*/ 20362 w 445812"/>
                  <a:gd name="connsiteY24" fmla="*/ 1244600 h 2968625"/>
                  <a:gd name="connsiteX25" fmla="*/ 1312 w 445812"/>
                  <a:gd name="connsiteY25" fmla="*/ 1346200 h 2968625"/>
                  <a:gd name="connsiteX26" fmla="*/ 10837 w 445812"/>
                  <a:gd name="connsiteY26" fmla="*/ 1438275 h 2968625"/>
                  <a:gd name="connsiteX27" fmla="*/ 83862 w 445812"/>
                  <a:gd name="connsiteY27" fmla="*/ 1511300 h 2968625"/>
                  <a:gd name="connsiteX28" fmla="*/ 112437 w 445812"/>
                  <a:gd name="connsiteY28" fmla="*/ 1558925 h 2968625"/>
                  <a:gd name="connsiteX29" fmla="*/ 150537 w 445812"/>
                  <a:gd name="connsiteY29" fmla="*/ 1590675 h 2968625"/>
                  <a:gd name="connsiteX30" fmla="*/ 169587 w 445812"/>
                  <a:gd name="connsiteY30" fmla="*/ 1644650 h 2968625"/>
                  <a:gd name="connsiteX31" fmla="*/ 226737 w 445812"/>
                  <a:gd name="connsiteY31" fmla="*/ 1685925 h 2968625"/>
                  <a:gd name="connsiteX32" fmla="*/ 264837 w 445812"/>
                  <a:gd name="connsiteY32" fmla="*/ 1730375 h 2968625"/>
                  <a:gd name="connsiteX33" fmla="*/ 277537 w 445812"/>
                  <a:gd name="connsiteY33" fmla="*/ 1758950 h 2968625"/>
                  <a:gd name="connsiteX34" fmla="*/ 277537 w 445812"/>
                  <a:gd name="connsiteY34" fmla="*/ 1828800 h 2968625"/>
                  <a:gd name="connsiteX35" fmla="*/ 325162 w 445812"/>
                  <a:gd name="connsiteY35" fmla="*/ 1905000 h 2968625"/>
                  <a:gd name="connsiteX36" fmla="*/ 363262 w 445812"/>
                  <a:gd name="connsiteY36" fmla="*/ 1962150 h 2968625"/>
                  <a:gd name="connsiteX37" fmla="*/ 369612 w 445812"/>
                  <a:gd name="connsiteY37" fmla="*/ 2028825 h 2968625"/>
                  <a:gd name="connsiteX38" fmla="*/ 407712 w 445812"/>
                  <a:gd name="connsiteY38" fmla="*/ 2085975 h 2968625"/>
                  <a:gd name="connsiteX39" fmla="*/ 414062 w 445812"/>
                  <a:gd name="connsiteY39" fmla="*/ 2209800 h 2968625"/>
                  <a:gd name="connsiteX40" fmla="*/ 252137 w 445812"/>
                  <a:gd name="connsiteY40" fmla="*/ 2251075 h 2968625"/>
                  <a:gd name="connsiteX41" fmla="*/ 201337 w 445812"/>
                  <a:gd name="connsiteY41" fmla="*/ 2390775 h 2968625"/>
                  <a:gd name="connsiteX42" fmla="*/ 210862 w 445812"/>
                  <a:gd name="connsiteY42" fmla="*/ 2454275 h 2968625"/>
                  <a:gd name="connsiteX43" fmla="*/ 226737 w 445812"/>
                  <a:gd name="connsiteY43" fmla="*/ 2482850 h 2968625"/>
                  <a:gd name="connsiteX44" fmla="*/ 226737 w 445812"/>
                  <a:gd name="connsiteY44" fmla="*/ 2527300 h 2968625"/>
                  <a:gd name="connsiteX45" fmla="*/ 248962 w 445812"/>
                  <a:gd name="connsiteY45" fmla="*/ 2559050 h 2968625"/>
                  <a:gd name="connsiteX46" fmla="*/ 134662 w 445812"/>
                  <a:gd name="connsiteY46" fmla="*/ 2968625 h 2968625"/>
                  <a:gd name="connsiteX0" fmla="*/ 445812 w 445812"/>
                  <a:gd name="connsiteY0" fmla="*/ 0 h 2968625"/>
                  <a:gd name="connsiteX1" fmla="*/ 407712 w 445812"/>
                  <a:gd name="connsiteY1" fmla="*/ 66675 h 2968625"/>
                  <a:gd name="connsiteX2" fmla="*/ 353737 w 445812"/>
                  <a:gd name="connsiteY2" fmla="*/ 85725 h 2968625"/>
                  <a:gd name="connsiteX3" fmla="*/ 283887 w 445812"/>
                  <a:gd name="connsiteY3" fmla="*/ 98425 h 2968625"/>
                  <a:gd name="connsiteX4" fmla="*/ 223562 w 445812"/>
                  <a:gd name="connsiteY4" fmla="*/ 133350 h 2968625"/>
                  <a:gd name="connsiteX5" fmla="*/ 121962 w 445812"/>
                  <a:gd name="connsiteY5" fmla="*/ 196850 h 2968625"/>
                  <a:gd name="connsiteX6" fmla="*/ 131487 w 445812"/>
                  <a:gd name="connsiteY6" fmla="*/ 247650 h 2968625"/>
                  <a:gd name="connsiteX7" fmla="*/ 172762 w 445812"/>
                  <a:gd name="connsiteY7" fmla="*/ 276225 h 2968625"/>
                  <a:gd name="connsiteX8" fmla="*/ 185462 w 445812"/>
                  <a:gd name="connsiteY8" fmla="*/ 327025 h 2968625"/>
                  <a:gd name="connsiteX9" fmla="*/ 239437 w 445812"/>
                  <a:gd name="connsiteY9" fmla="*/ 368300 h 2968625"/>
                  <a:gd name="connsiteX10" fmla="*/ 239437 w 445812"/>
                  <a:gd name="connsiteY10" fmla="*/ 412750 h 2968625"/>
                  <a:gd name="connsiteX11" fmla="*/ 207687 w 445812"/>
                  <a:gd name="connsiteY11" fmla="*/ 454025 h 2968625"/>
                  <a:gd name="connsiteX12" fmla="*/ 287062 w 445812"/>
                  <a:gd name="connsiteY12" fmla="*/ 479425 h 2968625"/>
                  <a:gd name="connsiteX13" fmla="*/ 302937 w 445812"/>
                  <a:gd name="connsiteY13" fmla="*/ 511175 h 2968625"/>
                  <a:gd name="connsiteX14" fmla="*/ 210862 w 445812"/>
                  <a:gd name="connsiteY14" fmla="*/ 581025 h 2968625"/>
                  <a:gd name="connsiteX15" fmla="*/ 160062 w 445812"/>
                  <a:gd name="connsiteY15" fmla="*/ 638175 h 2968625"/>
                  <a:gd name="connsiteX16" fmla="*/ 160062 w 445812"/>
                  <a:gd name="connsiteY16" fmla="*/ 695325 h 2968625"/>
                  <a:gd name="connsiteX17" fmla="*/ 185462 w 445812"/>
                  <a:gd name="connsiteY17" fmla="*/ 784225 h 2968625"/>
                  <a:gd name="connsiteX18" fmla="*/ 194987 w 445812"/>
                  <a:gd name="connsiteY18" fmla="*/ 835025 h 2968625"/>
                  <a:gd name="connsiteX19" fmla="*/ 204512 w 445812"/>
                  <a:gd name="connsiteY19" fmla="*/ 885825 h 2968625"/>
                  <a:gd name="connsiteX20" fmla="*/ 220387 w 445812"/>
                  <a:gd name="connsiteY20" fmla="*/ 923925 h 2968625"/>
                  <a:gd name="connsiteX21" fmla="*/ 163237 w 445812"/>
                  <a:gd name="connsiteY21" fmla="*/ 1022350 h 2968625"/>
                  <a:gd name="connsiteX22" fmla="*/ 96562 w 445812"/>
                  <a:gd name="connsiteY22" fmla="*/ 1057275 h 2968625"/>
                  <a:gd name="connsiteX23" fmla="*/ 52112 w 445812"/>
                  <a:gd name="connsiteY23" fmla="*/ 1143000 h 2968625"/>
                  <a:gd name="connsiteX24" fmla="*/ 20362 w 445812"/>
                  <a:gd name="connsiteY24" fmla="*/ 1244600 h 2968625"/>
                  <a:gd name="connsiteX25" fmla="*/ 1312 w 445812"/>
                  <a:gd name="connsiteY25" fmla="*/ 1346200 h 2968625"/>
                  <a:gd name="connsiteX26" fmla="*/ 10837 w 445812"/>
                  <a:gd name="connsiteY26" fmla="*/ 1438275 h 2968625"/>
                  <a:gd name="connsiteX27" fmla="*/ 83862 w 445812"/>
                  <a:gd name="connsiteY27" fmla="*/ 1511300 h 2968625"/>
                  <a:gd name="connsiteX28" fmla="*/ 112437 w 445812"/>
                  <a:gd name="connsiteY28" fmla="*/ 1558925 h 2968625"/>
                  <a:gd name="connsiteX29" fmla="*/ 150537 w 445812"/>
                  <a:gd name="connsiteY29" fmla="*/ 1590675 h 2968625"/>
                  <a:gd name="connsiteX30" fmla="*/ 169587 w 445812"/>
                  <a:gd name="connsiteY30" fmla="*/ 1644650 h 2968625"/>
                  <a:gd name="connsiteX31" fmla="*/ 226737 w 445812"/>
                  <a:gd name="connsiteY31" fmla="*/ 1685925 h 2968625"/>
                  <a:gd name="connsiteX32" fmla="*/ 264837 w 445812"/>
                  <a:gd name="connsiteY32" fmla="*/ 1730375 h 2968625"/>
                  <a:gd name="connsiteX33" fmla="*/ 277537 w 445812"/>
                  <a:gd name="connsiteY33" fmla="*/ 1758950 h 2968625"/>
                  <a:gd name="connsiteX34" fmla="*/ 277537 w 445812"/>
                  <a:gd name="connsiteY34" fmla="*/ 1828800 h 2968625"/>
                  <a:gd name="connsiteX35" fmla="*/ 325162 w 445812"/>
                  <a:gd name="connsiteY35" fmla="*/ 1905000 h 2968625"/>
                  <a:gd name="connsiteX36" fmla="*/ 363262 w 445812"/>
                  <a:gd name="connsiteY36" fmla="*/ 1962150 h 2968625"/>
                  <a:gd name="connsiteX37" fmla="*/ 369612 w 445812"/>
                  <a:gd name="connsiteY37" fmla="*/ 2028825 h 2968625"/>
                  <a:gd name="connsiteX38" fmla="*/ 407712 w 445812"/>
                  <a:gd name="connsiteY38" fmla="*/ 2085975 h 2968625"/>
                  <a:gd name="connsiteX39" fmla="*/ 414062 w 445812"/>
                  <a:gd name="connsiteY39" fmla="*/ 2209800 h 2968625"/>
                  <a:gd name="connsiteX40" fmla="*/ 252137 w 445812"/>
                  <a:gd name="connsiteY40" fmla="*/ 2251075 h 2968625"/>
                  <a:gd name="connsiteX41" fmla="*/ 201337 w 445812"/>
                  <a:gd name="connsiteY41" fmla="*/ 2390775 h 2968625"/>
                  <a:gd name="connsiteX42" fmla="*/ 210862 w 445812"/>
                  <a:gd name="connsiteY42" fmla="*/ 2454275 h 2968625"/>
                  <a:gd name="connsiteX43" fmla="*/ 226737 w 445812"/>
                  <a:gd name="connsiteY43" fmla="*/ 2482850 h 2968625"/>
                  <a:gd name="connsiteX44" fmla="*/ 226737 w 445812"/>
                  <a:gd name="connsiteY44" fmla="*/ 2527300 h 2968625"/>
                  <a:gd name="connsiteX45" fmla="*/ 236262 w 445812"/>
                  <a:gd name="connsiteY45" fmla="*/ 2603500 h 2968625"/>
                  <a:gd name="connsiteX46" fmla="*/ 134662 w 445812"/>
                  <a:gd name="connsiteY46" fmla="*/ 2968625 h 2968625"/>
                  <a:gd name="connsiteX0" fmla="*/ 445812 w 445812"/>
                  <a:gd name="connsiteY0" fmla="*/ 0 h 2968625"/>
                  <a:gd name="connsiteX1" fmla="*/ 407712 w 445812"/>
                  <a:gd name="connsiteY1" fmla="*/ 66675 h 2968625"/>
                  <a:gd name="connsiteX2" fmla="*/ 353737 w 445812"/>
                  <a:gd name="connsiteY2" fmla="*/ 85725 h 2968625"/>
                  <a:gd name="connsiteX3" fmla="*/ 283887 w 445812"/>
                  <a:gd name="connsiteY3" fmla="*/ 98425 h 2968625"/>
                  <a:gd name="connsiteX4" fmla="*/ 223562 w 445812"/>
                  <a:gd name="connsiteY4" fmla="*/ 133350 h 2968625"/>
                  <a:gd name="connsiteX5" fmla="*/ 121962 w 445812"/>
                  <a:gd name="connsiteY5" fmla="*/ 196850 h 2968625"/>
                  <a:gd name="connsiteX6" fmla="*/ 131487 w 445812"/>
                  <a:gd name="connsiteY6" fmla="*/ 247650 h 2968625"/>
                  <a:gd name="connsiteX7" fmla="*/ 172762 w 445812"/>
                  <a:gd name="connsiteY7" fmla="*/ 276225 h 2968625"/>
                  <a:gd name="connsiteX8" fmla="*/ 185462 w 445812"/>
                  <a:gd name="connsiteY8" fmla="*/ 327025 h 2968625"/>
                  <a:gd name="connsiteX9" fmla="*/ 239437 w 445812"/>
                  <a:gd name="connsiteY9" fmla="*/ 368300 h 2968625"/>
                  <a:gd name="connsiteX10" fmla="*/ 239437 w 445812"/>
                  <a:gd name="connsiteY10" fmla="*/ 412750 h 2968625"/>
                  <a:gd name="connsiteX11" fmla="*/ 207687 w 445812"/>
                  <a:gd name="connsiteY11" fmla="*/ 454025 h 2968625"/>
                  <a:gd name="connsiteX12" fmla="*/ 287062 w 445812"/>
                  <a:gd name="connsiteY12" fmla="*/ 479425 h 2968625"/>
                  <a:gd name="connsiteX13" fmla="*/ 302937 w 445812"/>
                  <a:gd name="connsiteY13" fmla="*/ 511175 h 2968625"/>
                  <a:gd name="connsiteX14" fmla="*/ 210862 w 445812"/>
                  <a:gd name="connsiteY14" fmla="*/ 581025 h 2968625"/>
                  <a:gd name="connsiteX15" fmla="*/ 160062 w 445812"/>
                  <a:gd name="connsiteY15" fmla="*/ 638175 h 2968625"/>
                  <a:gd name="connsiteX16" fmla="*/ 160062 w 445812"/>
                  <a:gd name="connsiteY16" fmla="*/ 695325 h 2968625"/>
                  <a:gd name="connsiteX17" fmla="*/ 185462 w 445812"/>
                  <a:gd name="connsiteY17" fmla="*/ 784225 h 2968625"/>
                  <a:gd name="connsiteX18" fmla="*/ 194987 w 445812"/>
                  <a:gd name="connsiteY18" fmla="*/ 835025 h 2968625"/>
                  <a:gd name="connsiteX19" fmla="*/ 204512 w 445812"/>
                  <a:gd name="connsiteY19" fmla="*/ 885825 h 2968625"/>
                  <a:gd name="connsiteX20" fmla="*/ 220387 w 445812"/>
                  <a:gd name="connsiteY20" fmla="*/ 923925 h 2968625"/>
                  <a:gd name="connsiteX21" fmla="*/ 163237 w 445812"/>
                  <a:gd name="connsiteY21" fmla="*/ 1022350 h 2968625"/>
                  <a:gd name="connsiteX22" fmla="*/ 96562 w 445812"/>
                  <a:gd name="connsiteY22" fmla="*/ 1057275 h 2968625"/>
                  <a:gd name="connsiteX23" fmla="*/ 52112 w 445812"/>
                  <a:gd name="connsiteY23" fmla="*/ 1143000 h 2968625"/>
                  <a:gd name="connsiteX24" fmla="*/ 20362 w 445812"/>
                  <a:gd name="connsiteY24" fmla="*/ 1244600 h 2968625"/>
                  <a:gd name="connsiteX25" fmla="*/ 1312 w 445812"/>
                  <a:gd name="connsiteY25" fmla="*/ 1346200 h 2968625"/>
                  <a:gd name="connsiteX26" fmla="*/ 10837 w 445812"/>
                  <a:gd name="connsiteY26" fmla="*/ 1438275 h 2968625"/>
                  <a:gd name="connsiteX27" fmla="*/ 83862 w 445812"/>
                  <a:gd name="connsiteY27" fmla="*/ 1511300 h 2968625"/>
                  <a:gd name="connsiteX28" fmla="*/ 112437 w 445812"/>
                  <a:gd name="connsiteY28" fmla="*/ 1558925 h 2968625"/>
                  <a:gd name="connsiteX29" fmla="*/ 150537 w 445812"/>
                  <a:gd name="connsiteY29" fmla="*/ 1590675 h 2968625"/>
                  <a:gd name="connsiteX30" fmla="*/ 169587 w 445812"/>
                  <a:gd name="connsiteY30" fmla="*/ 1644650 h 2968625"/>
                  <a:gd name="connsiteX31" fmla="*/ 226737 w 445812"/>
                  <a:gd name="connsiteY31" fmla="*/ 1685925 h 2968625"/>
                  <a:gd name="connsiteX32" fmla="*/ 264837 w 445812"/>
                  <a:gd name="connsiteY32" fmla="*/ 1730375 h 2968625"/>
                  <a:gd name="connsiteX33" fmla="*/ 277537 w 445812"/>
                  <a:gd name="connsiteY33" fmla="*/ 1758950 h 2968625"/>
                  <a:gd name="connsiteX34" fmla="*/ 277537 w 445812"/>
                  <a:gd name="connsiteY34" fmla="*/ 1828800 h 2968625"/>
                  <a:gd name="connsiteX35" fmla="*/ 325162 w 445812"/>
                  <a:gd name="connsiteY35" fmla="*/ 1905000 h 2968625"/>
                  <a:gd name="connsiteX36" fmla="*/ 363262 w 445812"/>
                  <a:gd name="connsiteY36" fmla="*/ 1962150 h 2968625"/>
                  <a:gd name="connsiteX37" fmla="*/ 369612 w 445812"/>
                  <a:gd name="connsiteY37" fmla="*/ 2028825 h 2968625"/>
                  <a:gd name="connsiteX38" fmla="*/ 407712 w 445812"/>
                  <a:gd name="connsiteY38" fmla="*/ 2085975 h 2968625"/>
                  <a:gd name="connsiteX39" fmla="*/ 414062 w 445812"/>
                  <a:gd name="connsiteY39" fmla="*/ 2209800 h 2968625"/>
                  <a:gd name="connsiteX40" fmla="*/ 252137 w 445812"/>
                  <a:gd name="connsiteY40" fmla="*/ 2251075 h 2968625"/>
                  <a:gd name="connsiteX41" fmla="*/ 201337 w 445812"/>
                  <a:gd name="connsiteY41" fmla="*/ 2390775 h 2968625"/>
                  <a:gd name="connsiteX42" fmla="*/ 210862 w 445812"/>
                  <a:gd name="connsiteY42" fmla="*/ 2454275 h 2968625"/>
                  <a:gd name="connsiteX43" fmla="*/ 226737 w 445812"/>
                  <a:gd name="connsiteY43" fmla="*/ 2482850 h 2968625"/>
                  <a:gd name="connsiteX44" fmla="*/ 226737 w 445812"/>
                  <a:gd name="connsiteY44" fmla="*/ 2527300 h 2968625"/>
                  <a:gd name="connsiteX45" fmla="*/ 236262 w 445812"/>
                  <a:gd name="connsiteY45" fmla="*/ 2603500 h 2968625"/>
                  <a:gd name="connsiteX46" fmla="*/ 134662 w 445812"/>
                  <a:gd name="connsiteY46" fmla="*/ 2968625 h 2968625"/>
                  <a:gd name="connsiteX0" fmla="*/ 445812 w 445812"/>
                  <a:gd name="connsiteY0" fmla="*/ 0 h 3657600"/>
                  <a:gd name="connsiteX1" fmla="*/ 407712 w 445812"/>
                  <a:gd name="connsiteY1" fmla="*/ 66675 h 3657600"/>
                  <a:gd name="connsiteX2" fmla="*/ 353737 w 445812"/>
                  <a:gd name="connsiteY2" fmla="*/ 85725 h 3657600"/>
                  <a:gd name="connsiteX3" fmla="*/ 283887 w 445812"/>
                  <a:gd name="connsiteY3" fmla="*/ 98425 h 3657600"/>
                  <a:gd name="connsiteX4" fmla="*/ 223562 w 445812"/>
                  <a:gd name="connsiteY4" fmla="*/ 133350 h 3657600"/>
                  <a:gd name="connsiteX5" fmla="*/ 121962 w 445812"/>
                  <a:gd name="connsiteY5" fmla="*/ 196850 h 3657600"/>
                  <a:gd name="connsiteX6" fmla="*/ 131487 w 445812"/>
                  <a:gd name="connsiteY6" fmla="*/ 247650 h 3657600"/>
                  <a:gd name="connsiteX7" fmla="*/ 172762 w 445812"/>
                  <a:gd name="connsiteY7" fmla="*/ 276225 h 3657600"/>
                  <a:gd name="connsiteX8" fmla="*/ 185462 w 445812"/>
                  <a:gd name="connsiteY8" fmla="*/ 327025 h 3657600"/>
                  <a:gd name="connsiteX9" fmla="*/ 239437 w 445812"/>
                  <a:gd name="connsiteY9" fmla="*/ 368300 h 3657600"/>
                  <a:gd name="connsiteX10" fmla="*/ 239437 w 445812"/>
                  <a:gd name="connsiteY10" fmla="*/ 412750 h 3657600"/>
                  <a:gd name="connsiteX11" fmla="*/ 207687 w 445812"/>
                  <a:gd name="connsiteY11" fmla="*/ 454025 h 3657600"/>
                  <a:gd name="connsiteX12" fmla="*/ 287062 w 445812"/>
                  <a:gd name="connsiteY12" fmla="*/ 479425 h 3657600"/>
                  <a:gd name="connsiteX13" fmla="*/ 302937 w 445812"/>
                  <a:gd name="connsiteY13" fmla="*/ 511175 h 3657600"/>
                  <a:gd name="connsiteX14" fmla="*/ 210862 w 445812"/>
                  <a:gd name="connsiteY14" fmla="*/ 581025 h 3657600"/>
                  <a:gd name="connsiteX15" fmla="*/ 160062 w 445812"/>
                  <a:gd name="connsiteY15" fmla="*/ 638175 h 3657600"/>
                  <a:gd name="connsiteX16" fmla="*/ 160062 w 445812"/>
                  <a:gd name="connsiteY16" fmla="*/ 695325 h 3657600"/>
                  <a:gd name="connsiteX17" fmla="*/ 185462 w 445812"/>
                  <a:gd name="connsiteY17" fmla="*/ 784225 h 3657600"/>
                  <a:gd name="connsiteX18" fmla="*/ 194987 w 445812"/>
                  <a:gd name="connsiteY18" fmla="*/ 835025 h 3657600"/>
                  <a:gd name="connsiteX19" fmla="*/ 204512 w 445812"/>
                  <a:gd name="connsiteY19" fmla="*/ 885825 h 3657600"/>
                  <a:gd name="connsiteX20" fmla="*/ 220387 w 445812"/>
                  <a:gd name="connsiteY20" fmla="*/ 923925 h 3657600"/>
                  <a:gd name="connsiteX21" fmla="*/ 163237 w 445812"/>
                  <a:gd name="connsiteY21" fmla="*/ 1022350 h 3657600"/>
                  <a:gd name="connsiteX22" fmla="*/ 96562 w 445812"/>
                  <a:gd name="connsiteY22" fmla="*/ 1057275 h 3657600"/>
                  <a:gd name="connsiteX23" fmla="*/ 52112 w 445812"/>
                  <a:gd name="connsiteY23" fmla="*/ 1143000 h 3657600"/>
                  <a:gd name="connsiteX24" fmla="*/ 20362 w 445812"/>
                  <a:gd name="connsiteY24" fmla="*/ 1244600 h 3657600"/>
                  <a:gd name="connsiteX25" fmla="*/ 1312 w 445812"/>
                  <a:gd name="connsiteY25" fmla="*/ 1346200 h 3657600"/>
                  <a:gd name="connsiteX26" fmla="*/ 10837 w 445812"/>
                  <a:gd name="connsiteY26" fmla="*/ 1438275 h 3657600"/>
                  <a:gd name="connsiteX27" fmla="*/ 83862 w 445812"/>
                  <a:gd name="connsiteY27" fmla="*/ 1511300 h 3657600"/>
                  <a:gd name="connsiteX28" fmla="*/ 112437 w 445812"/>
                  <a:gd name="connsiteY28" fmla="*/ 1558925 h 3657600"/>
                  <a:gd name="connsiteX29" fmla="*/ 150537 w 445812"/>
                  <a:gd name="connsiteY29" fmla="*/ 1590675 h 3657600"/>
                  <a:gd name="connsiteX30" fmla="*/ 169587 w 445812"/>
                  <a:gd name="connsiteY30" fmla="*/ 1644650 h 3657600"/>
                  <a:gd name="connsiteX31" fmla="*/ 226737 w 445812"/>
                  <a:gd name="connsiteY31" fmla="*/ 1685925 h 3657600"/>
                  <a:gd name="connsiteX32" fmla="*/ 264837 w 445812"/>
                  <a:gd name="connsiteY32" fmla="*/ 1730375 h 3657600"/>
                  <a:gd name="connsiteX33" fmla="*/ 277537 w 445812"/>
                  <a:gd name="connsiteY33" fmla="*/ 1758950 h 3657600"/>
                  <a:gd name="connsiteX34" fmla="*/ 277537 w 445812"/>
                  <a:gd name="connsiteY34" fmla="*/ 1828800 h 3657600"/>
                  <a:gd name="connsiteX35" fmla="*/ 325162 w 445812"/>
                  <a:gd name="connsiteY35" fmla="*/ 1905000 h 3657600"/>
                  <a:gd name="connsiteX36" fmla="*/ 363262 w 445812"/>
                  <a:gd name="connsiteY36" fmla="*/ 1962150 h 3657600"/>
                  <a:gd name="connsiteX37" fmla="*/ 369612 w 445812"/>
                  <a:gd name="connsiteY37" fmla="*/ 2028825 h 3657600"/>
                  <a:gd name="connsiteX38" fmla="*/ 407712 w 445812"/>
                  <a:gd name="connsiteY38" fmla="*/ 2085975 h 3657600"/>
                  <a:gd name="connsiteX39" fmla="*/ 414062 w 445812"/>
                  <a:gd name="connsiteY39" fmla="*/ 2209800 h 3657600"/>
                  <a:gd name="connsiteX40" fmla="*/ 252137 w 445812"/>
                  <a:gd name="connsiteY40" fmla="*/ 2251075 h 3657600"/>
                  <a:gd name="connsiteX41" fmla="*/ 201337 w 445812"/>
                  <a:gd name="connsiteY41" fmla="*/ 2390775 h 3657600"/>
                  <a:gd name="connsiteX42" fmla="*/ 210862 w 445812"/>
                  <a:gd name="connsiteY42" fmla="*/ 2454275 h 3657600"/>
                  <a:gd name="connsiteX43" fmla="*/ 226737 w 445812"/>
                  <a:gd name="connsiteY43" fmla="*/ 2482850 h 3657600"/>
                  <a:gd name="connsiteX44" fmla="*/ 226737 w 445812"/>
                  <a:gd name="connsiteY44" fmla="*/ 2527300 h 3657600"/>
                  <a:gd name="connsiteX45" fmla="*/ 236262 w 445812"/>
                  <a:gd name="connsiteY45" fmla="*/ 2603500 h 3657600"/>
                  <a:gd name="connsiteX46" fmla="*/ 58462 w 445812"/>
                  <a:gd name="connsiteY46" fmla="*/ 3657600 h 3657600"/>
                  <a:gd name="connsiteX0" fmla="*/ 445812 w 445812"/>
                  <a:gd name="connsiteY0" fmla="*/ 0 h 3657600"/>
                  <a:gd name="connsiteX1" fmla="*/ 407712 w 445812"/>
                  <a:gd name="connsiteY1" fmla="*/ 66675 h 3657600"/>
                  <a:gd name="connsiteX2" fmla="*/ 353737 w 445812"/>
                  <a:gd name="connsiteY2" fmla="*/ 85725 h 3657600"/>
                  <a:gd name="connsiteX3" fmla="*/ 283887 w 445812"/>
                  <a:gd name="connsiteY3" fmla="*/ 98425 h 3657600"/>
                  <a:gd name="connsiteX4" fmla="*/ 223562 w 445812"/>
                  <a:gd name="connsiteY4" fmla="*/ 133350 h 3657600"/>
                  <a:gd name="connsiteX5" fmla="*/ 121962 w 445812"/>
                  <a:gd name="connsiteY5" fmla="*/ 196850 h 3657600"/>
                  <a:gd name="connsiteX6" fmla="*/ 131487 w 445812"/>
                  <a:gd name="connsiteY6" fmla="*/ 247650 h 3657600"/>
                  <a:gd name="connsiteX7" fmla="*/ 172762 w 445812"/>
                  <a:gd name="connsiteY7" fmla="*/ 276225 h 3657600"/>
                  <a:gd name="connsiteX8" fmla="*/ 185462 w 445812"/>
                  <a:gd name="connsiteY8" fmla="*/ 327025 h 3657600"/>
                  <a:gd name="connsiteX9" fmla="*/ 239437 w 445812"/>
                  <a:gd name="connsiteY9" fmla="*/ 368300 h 3657600"/>
                  <a:gd name="connsiteX10" fmla="*/ 239437 w 445812"/>
                  <a:gd name="connsiteY10" fmla="*/ 412750 h 3657600"/>
                  <a:gd name="connsiteX11" fmla="*/ 207687 w 445812"/>
                  <a:gd name="connsiteY11" fmla="*/ 454025 h 3657600"/>
                  <a:gd name="connsiteX12" fmla="*/ 287062 w 445812"/>
                  <a:gd name="connsiteY12" fmla="*/ 479425 h 3657600"/>
                  <a:gd name="connsiteX13" fmla="*/ 302937 w 445812"/>
                  <a:gd name="connsiteY13" fmla="*/ 511175 h 3657600"/>
                  <a:gd name="connsiteX14" fmla="*/ 210862 w 445812"/>
                  <a:gd name="connsiteY14" fmla="*/ 581025 h 3657600"/>
                  <a:gd name="connsiteX15" fmla="*/ 160062 w 445812"/>
                  <a:gd name="connsiteY15" fmla="*/ 638175 h 3657600"/>
                  <a:gd name="connsiteX16" fmla="*/ 160062 w 445812"/>
                  <a:gd name="connsiteY16" fmla="*/ 695325 h 3657600"/>
                  <a:gd name="connsiteX17" fmla="*/ 185462 w 445812"/>
                  <a:gd name="connsiteY17" fmla="*/ 784225 h 3657600"/>
                  <a:gd name="connsiteX18" fmla="*/ 194987 w 445812"/>
                  <a:gd name="connsiteY18" fmla="*/ 835025 h 3657600"/>
                  <a:gd name="connsiteX19" fmla="*/ 204512 w 445812"/>
                  <a:gd name="connsiteY19" fmla="*/ 885825 h 3657600"/>
                  <a:gd name="connsiteX20" fmla="*/ 220387 w 445812"/>
                  <a:gd name="connsiteY20" fmla="*/ 923925 h 3657600"/>
                  <a:gd name="connsiteX21" fmla="*/ 163237 w 445812"/>
                  <a:gd name="connsiteY21" fmla="*/ 1022350 h 3657600"/>
                  <a:gd name="connsiteX22" fmla="*/ 96562 w 445812"/>
                  <a:gd name="connsiteY22" fmla="*/ 1057275 h 3657600"/>
                  <a:gd name="connsiteX23" fmla="*/ 52112 w 445812"/>
                  <a:gd name="connsiteY23" fmla="*/ 1143000 h 3657600"/>
                  <a:gd name="connsiteX24" fmla="*/ 20362 w 445812"/>
                  <a:gd name="connsiteY24" fmla="*/ 1244600 h 3657600"/>
                  <a:gd name="connsiteX25" fmla="*/ 1312 w 445812"/>
                  <a:gd name="connsiteY25" fmla="*/ 1346200 h 3657600"/>
                  <a:gd name="connsiteX26" fmla="*/ 10837 w 445812"/>
                  <a:gd name="connsiteY26" fmla="*/ 1438275 h 3657600"/>
                  <a:gd name="connsiteX27" fmla="*/ 83862 w 445812"/>
                  <a:gd name="connsiteY27" fmla="*/ 1511300 h 3657600"/>
                  <a:gd name="connsiteX28" fmla="*/ 112437 w 445812"/>
                  <a:gd name="connsiteY28" fmla="*/ 1558925 h 3657600"/>
                  <a:gd name="connsiteX29" fmla="*/ 150537 w 445812"/>
                  <a:gd name="connsiteY29" fmla="*/ 1590675 h 3657600"/>
                  <a:gd name="connsiteX30" fmla="*/ 169587 w 445812"/>
                  <a:gd name="connsiteY30" fmla="*/ 1644650 h 3657600"/>
                  <a:gd name="connsiteX31" fmla="*/ 226737 w 445812"/>
                  <a:gd name="connsiteY31" fmla="*/ 1685925 h 3657600"/>
                  <a:gd name="connsiteX32" fmla="*/ 264837 w 445812"/>
                  <a:gd name="connsiteY32" fmla="*/ 1730375 h 3657600"/>
                  <a:gd name="connsiteX33" fmla="*/ 277537 w 445812"/>
                  <a:gd name="connsiteY33" fmla="*/ 1758950 h 3657600"/>
                  <a:gd name="connsiteX34" fmla="*/ 277537 w 445812"/>
                  <a:gd name="connsiteY34" fmla="*/ 1828800 h 3657600"/>
                  <a:gd name="connsiteX35" fmla="*/ 325162 w 445812"/>
                  <a:gd name="connsiteY35" fmla="*/ 1905000 h 3657600"/>
                  <a:gd name="connsiteX36" fmla="*/ 363262 w 445812"/>
                  <a:gd name="connsiteY36" fmla="*/ 1962150 h 3657600"/>
                  <a:gd name="connsiteX37" fmla="*/ 369612 w 445812"/>
                  <a:gd name="connsiteY37" fmla="*/ 2028825 h 3657600"/>
                  <a:gd name="connsiteX38" fmla="*/ 407712 w 445812"/>
                  <a:gd name="connsiteY38" fmla="*/ 2085975 h 3657600"/>
                  <a:gd name="connsiteX39" fmla="*/ 414062 w 445812"/>
                  <a:gd name="connsiteY39" fmla="*/ 2209800 h 3657600"/>
                  <a:gd name="connsiteX40" fmla="*/ 252137 w 445812"/>
                  <a:gd name="connsiteY40" fmla="*/ 2251075 h 3657600"/>
                  <a:gd name="connsiteX41" fmla="*/ 201337 w 445812"/>
                  <a:gd name="connsiteY41" fmla="*/ 2390775 h 3657600"/>
                  <a:gd name="connsiteX42" fmla="*/ 210862 w 445812"/>
                  <a:gd name="connsiteY42" fmla="*/ 2454275 h 3657600"/>
                  <a:gd name="connsiteX43" fmla="*/ 226737 w 445812"/>
                  <a:gd name="connsiteY43" fmla="*/ 2482850 h 3657600"/>
                  <a:gd name="connsiteX44" fmla="*/ 226737 w 445812"/>
                  <a:gd name="connsiteY44" fmla="*/ 2527300 h 3657600"/>
                  <a:gd name="connsiteX45" fmla="*/ 236262 w 445812"/>
                  <a:gd name="connsiteY45" fmla="*/ 2603500 h 3657600"/>
                  <a:gd name="connsiteX46" fmla="*/ 96562 w 445812"/>
                  <a:gd name="connsiteY46" fmla="*/ 3028949 h 3657600"/>
                  <a:gd name="connsiteX47" fmla="*/ 58462 w 445812"/>
                  <a:gd name="connsiteY47" fmla="*/ 3657600 h 3657600"/>
                  <a:gd name="connsiteX0" fmla="*/ 445812 w 445812"/>
                  <a:gd name="connsiteY0" fmla="*/ 0 h 3657600"/>
                  <a:gd name="connsiteX1" fmla="*/ 407712 w 445812"/>
                  <a:gd name="connsiteY1" fmla="*/ 66675 h 3657600"/>
                  <a:gd name="connsiteX2" fmla="*/ 353737 w 445812"/>
                  <a:gd name="connsiteY2" fmla="*/ 85725 h 3657600"/>
                  <a:gd name="connsiteX3" fmla="*/ 283887 w 445812"/>
                  <a:gd name="connsiteY3" fmla="*/ 98425 h 3657600"/>
                  <a:gd name="connsiteX4" fmla="*/ 223562 w 445812"/>
                  <a:gd name="connsiteY4" fmla="*/ 133350 h 3657600"/>
                  <a:gd name="connsiteX5" fmla="*/ 121962 w 445812"/>
                  <a:gd name="connsiteY5" fmla="*/ 196850 h 3657600"/>
                  <a:gd name="connsiteX6" fmla="*/ 131487 w 445812"/>
                  <a:gd name="connsiteY6" fmla="*/ 247650 h 3657600"/>
                  <a:gd name="connsiteX7" fmla="*/ 172762 w 445812"/>
                  <a:gd name="connsiteY7" fmla="*/ 276225 h 3657600"/>
                  <a:gd name="connsiteX8" fmla="*/ 185462 w 445812"/>
                  <a:gd name="connsiteY8" fmla="*/ 327025 h 3657600"/>
                  <a:gd name="connsiteX9" fmla="*/ 239437 w 445812"/>
                  <a:gd name="connsiteY9" fmla="*/ 368300 h 3657600"/>
                  <a:gd name="connsiteX10" fmla="*/ 239437 w 445812"/>
                  <a:gd name="connsiteY10" fmla="*/ 412750 h 3657600"/>
                  <a:gd name="connsiteX11" fmla="*/ 207687 w 445812"/>
                  <a:gd name="connsiteY11" fmla="*/ 454025 h 3657600"/>
                  <a:gd name="connsiteX12" fmla="*/ 287062 w 445812"/>
                  <a:gd name="connsiteY12" fmla="*/ 479425 h 3657600"/>
                  <a:gd name="connsiteX13" fmla="*/ 302937 w 445812"/>
                  <a:gd name="connsiteY13" fmla="*/ 511175 h 3657600"/>
                  <a:gd name="connsiteX14" fmla="*/ 210862 w 445812"/>
                  <a:gd name="connsiteY14" fmla="*/ 581025 h 3657600"/>
                  <a:gd name="connsiteX15" fmla="*/ 160062 w 445812"/>
                  <a:gd name="connsiteY15" fmla="*/ 638175 h 3657600"/>
                  <a:gd name="connsiteX16" fmla="*/ 160062 w 445812"/>
                  <a:gd name="connsiteY16" fmla="*/ 695325 h 3657600"/>
                  <a:gd name="connsiteX17" fmla="*/ 185462 w 445812"/>
                  <a:gd name="connsiteY17" fmla="*/ 784225 h 3657600"/>
                  <a:gd name="connsiteX18" fmla="*/ 194987 w 445812"/>
                  <a:gd name="connsiteY18" fmla="*/ 835025 h 3657600"/>
                  <a:gd name="connsiteX19" fmla="*/ 204512 w 445812"/>
                  <a:gd name="connsiteY19" fmla="*/ 885825 h 3657600"/>
                  <a:gd name="connsiteX20" fmla="*/ 220387 w 445812"/>
                  <a:gd name="connsiteY20" fmla="*/ 923925 h 3657600"/>
                  <a:gd name="connsiteX21" fmla="*/ 163237 w 445812"/>
                  <a:gd name="connsiteY21" fmla="*/ 1022350 h 3657600"/>
                  <a:gd name="connsiteX22" fmla="*/ 96562 w 445812"/>
                  <a:gd name="connsiteY22" fmla="*/ 1057275 h 3657600"/>
                  <a:gd name="connsiteX23" fmla="*/ 52112 w 445812"/>
                  <a:gd name="connsiteY23" fmla="*/ 1143000 h 3657600"/>
                  <a:gd name="connsiteX24" fmla="*/ 20362 w 445812"/>
                  <a:gd name="connsiteY24" fmla="*/ 1244600 h 3657600"/>
                  <a:gd name="connsiteX25" fmla="*/ 1312 w 445812"/>
                  <a:gd name="connsiteY25" fmla="*/ 1346200 h 3657600"/>
                  <a:gd name="connsiteX26" fmla="*/ 10837 w 445812"/>
                  <a:gd name="connsiteY26" fmla="*/ 1438275 h 3657600"/>
                  <a:gd name="connsiteX27" fmla="*/ 83862 w 445812"/>
                  <a:gd name="connsiteY27" fmla="*/ 1511300 h 3657600"/>
                  <a:gd name="connsiteX28" fmla="*/ 112437 w 445812"/>
                  <a:gd name="connsiteY28" fmla="*/ 1558925 h 3657600"/>
                  <a:gd name="connsiteX29" fmla="*/ 150537 w 445812"/>
                  <a:gd name="connsiteY29" fmla="*/ 1590675 h 3657600"/>
                  <a:gd name="connsiteX30" fmla="*/ 169587 w 445812"/>
                  <a:gd name="connsiteY30" fmla="*/ 1644650 h 3657600"/>
                  <a:gd name="connsiteX31" fmla="*/ 226737 w 445812"/>
                  <a:gd name="connsiteY31" fmla="*/ 1685925 h 3657600"/>
                  <a:gd name="connsiteX32" fmla="*/ 264837 w 445812"/>
                  <a:gd name="connsiteY32" fmla="*/ 1730375 h 3657600"/>
                  <a:gd name="connsiteX33" fmla="*/ 277537 w 445812"/>
                  <a:gd name="connsiteY33" fmla="*/ 1758950 h 3657600"/>
                  <a:gd name="connsiteX34" fmla="*/ 277537 w 445812"/>
                  <a:gd name="connsiteY34" fmla="*/ 1828800 h 3657600"/>
                  <a:gd name="connsiteX35" fmla="*/ 325162 w 445812"/>
                  <a:gd name="connsiteY35" fmla="*/ 1905000 h 3657600"/>
                  <a:gd name="connsiteX36" fmla="*/ 363262 w 445812"/>
                  <a:gd name="connsiteY36" fmla="*/ 1962150 h 3657600"/>
                  <a:gd name="connsiteX37" fmla="*/ 369612 w 445812"/>
                  <a:gd name="connsiteY37" fmla="*/ 2028825 h 3657600"/>
                  <a:gd name="connsiteX38" fmla="*/ 407712 w 445812"/>
                  <a:gd name="connsiteY38" fmla="*/ 2085975 h 3657600"/>
                  <a:gd name="connsiteX39" fmla="*/ 414062 w 445812"/>
                  <a:gd name="connsiteY39" fmla="*/ 2209800 h 3657600"/>
                  <a:gd name="connsiteX40" fmla="*/ 252137 w 445812"/>
                  <a:gd name="connsiteY40" fmla="*/ 2251075 h 3657600"/>
                  <a:gd name="connsiteX41" fmla="*/ 201337 w 445812"/>
                  <a:gd name="connsiteY41" fmla="*/ 2390775 h 3657600"/>
                  <a:gd name="connsiteX42" fmla="*/ 210862 w 445812"/>
                  <a:gd name="connsiteY42" fmla="*/ 2454275 h 3657600"/>
                  <a:gd name="connsiteX43" fmla="*/ 226737 w 445812"/>
                  <a:gd name="connsiteY43" fmla="*/ 2482850 h 3657600"/>
                  <a:gd name="connsiteX44" fmla="*/ 226737 w 445812"/>
                  <a:gd name="connsiteY44" fmla="*/ 2527300 h 3657600"/>
                  <a:gd name="connsiteX45" fmla="*/ 236262 w 445812"/>
                  <a:gd name="connsiteY45" fmla="*/ 2603500 h 3657600"/>
                  <a:gd name="connsiteX46" fmla="*/ 96562 w 445812"/>
                  <a:gd name="connsiteY46" fmla="*/ 3028949 h 3657600"/>
                  <a:gd name="connsiteX47" fmla="*/ 58462 w 445812"/>
                  <a:gd name="connsiteY47" fmla="*/ 3657600 h 3657600"/>
                  <a:gd name="connsiteX0" fmla="*/ 445812 w 445812"/>
                  <a:gd name="connsiteY0" fmla="*/ 0 h 3657600"/>
                  <a:gd name="connsiteX1" fmla="*/ 407712 w 445812"/>
                  <a:gd name="connsiteY1" fmla="*/ 66675 h 3657600"/>
                  <a:gd name="connsiteX2" fmla="*/ 353737 w 445812"/>
                  <a:gd name="connsiteY2" fmla="*/ 85725 h 3657600"/>
                  <a:gd name="connsiteX3" fmla="*/ 283887 w 445812"/>
                  <a:gd name="connsiteY3" fmla="*/ 98425 h 3657600"/>
                  <a:gd name="connsiteX4" fmla="*/ 223562 w 445812"/>
                  <a:gd name="connsiteY4" fmla="*/ 133350 h 3657600"/>
                  <a:gd name="connsiteX5" fmla="*/ 121962 w 445812"/>
                  <a:gd name="connsiteY5" fmla="*/ 196850 h 3657600"/>
                  <a:gd name="connsiteX6" fmla="*/ 131487 w 445812"/>
                  <a:gd name="connsiteY6" fmla="*/ 247650 h 3657600"/>
                  <a:gd name="connsiteX7" fmla="*/ 172762 w 445812"/>
                  <a:gd name="connsiteY7" fmla="*/ 276225 h 3657600"/>
                  <a:gd name="connsiteX8" fmla="*/ 185462 w 445812"/>
                  <a:gd name="connsiteY8" fmla="*/ 327025 h 3657600"/>
                  <a:gd name="connsiteX9" fmla="*/ 239437 w 445812"/>
                  <a:gd name="connsiteY9" fmla="*/ 368300 h 3657600"/>
                  <a:gd name="connsiteX10" fmla="*/ 239437 w 445812"/>
                  <a:gd name="connsiteY10" fmla="*/ 412750 h 3657600"/>
                  <a:gd name="connsiteX11" fmla="*/ 207687 w 445812"/>
                  <a:gd name="connsiteY11" fmla="*/ 454025 h 3657600"/>
                  <a:gd name="connsiteX12" fmla="*/ 287062 w 445812"/>
                  <a:gd name="connsiteY12" fmla="*/ 479425 h 3657600"/>
                  <a:gd name="connsiteX13" fmla="*/ 302937 w 445812"/>
                  <a:gd name="connsiteY13" fmla="*/ 511175 h 3657600"/>
                  <a:gd name="connsiteX14" fmla="*/ 210862 w 445812"/>
                  <a:gd name="connsiteY14" fmla="*/ 581025 h 3657600"/>
                  <a:gd name="connsiteX15" fmla="*/ 160062 w 445812"/>
                  <a:gd name="connsiteY15" fmla="*/ 638175 h 3657600"/>
                  <a:gd name="connsiteX16" fmla="*/ 160062 w 445812"/>
                  <a:gd name="connsiteY16" fmla="*/ 695325 h 3657600"/>
                  <a:gd name="connsiteX17" fmla="*/ 185462 w 445812"/>
                  <a:gd name="connsiteY17" fmla="*/ 784225 h 3657600"/>
                  <a:gd name="connsiteX18" fmla="*/ 194987 w 445812"/>
                  <a:gd name="connsiteY18" fmla="*/ 835025 h 3657600"/>
                  <a:gd name="connsiteX19" fmla="*/ 204512 w 445812"/>
                  <a:gd name="connsiteY19" fmla="*/ 885825 h 3657600"/>
                  <a:gd name="connsiteX20" fmla="*/ 220387 w 445812"/>
                  <a:gd name="connsiteY20" fmla="*/ 923925 h 3657600"/>
                  <a:gd name="connsiteX21" fmla="*/ 163237 w 445812"/>
                  <a:gd name="connsiteY21" fmla="*/ 1022350 h 3657600"/>
                  <a:gd name="connsiteX22" fmla="*/ 96562 w 445812"/>
                  <a:gd name="connsiteY22" fmla="*/ 1057275 h 3657600"/>
                  <a:gd name="connsiteX23" fmla="*/ 52112 w 445812"/>
                  <a:gd name="connsiteY23" fmla="*/ 1143000 h 3657600"/>
                  <a:gd name="connsiteX24" fmla="*/ 20362 w 445812"/>
                  <a:gd name="connsiteY24" fmla="*/ 1244600 h 3657600"/>
                  <a:gd name="connsiteX25" fmla="*/ 1312 w 445812"/>
                  <a:gd name="connsiteY25" fmla="*/ 1346200 h 3657600"/>
                  <a:gd name="connsiteX26" fmla="*/ 10837 w 445812"/>
                  <a:gd name="connsiteY26" fmla="*/ 1438275 h 3657600"/>
                  <a:gd name="connsiteX27" fmla="*/ 83862 w 445812"/>
                  <a:gd name="connsiteY27" fmla="*/ 1511300 h 3657600"/>
                  <a:gd name="connsiteX28" fmla="*/ 112437 w 445812"/>
                  <a:gd name="connsiteY28" fmla="*/ 1558925 h 3657600"/>
                  <a:gd name="connsiteX29" fmla="*/ 150537 w 445812"/>
                  <a:gd name="connsiteY29" fmla="*/ 1590675 h 3657600"/>
                  <a:gd name="connsiteX30" fmla="*/ 169587 w 445812"/>
                  <a:gd name="connsiteY30" fmla="*/ 1644650 h 3657600"/>
                  <a:gd name="connsiteX31" fmla="*/ 226737 w 445812"/>
                  <a:gd name="connsiteY31" fmla="*/ 1685925 h 3657600"/>
                  <a:gd name="connsiteX32" fmla="*/ 264837 w 445812"/>
                  <a:gd name="connsiteY32" fmla="*/ 1730375 h 3657600"/>
                  <a:gd name="connsiteX33" fmla="*/ 277537 w 445812"/>
                  <a:gd name="connsiteY33" fmla="*/ 1758950 h 3657600"/>
                  <a:gd name="connsiteX34" fmla="*/ 277537 w 445812"/>
                  <a:gd name="connsiteY34" fmla="*/ 1828800 h 3657600"/>
                  <a:gd name="connsiteX35" fmla="*/ 325162 w 445812"/>
                  <a:gd name="connsiteY35" fmla="*/ 1905000 h 3657600"/>
                  <a:gd name="connsiteX36" fmla="*/ 363262 w 445812"/>
                  <a:gd name="connsiteY36" fmla="*/ 1962150 h 3657600"/>
                  <a:gd name="connsiteX37" fmla="*/ 369612 w 445812"/>
                  <a:gd name="connsiteY37" fmla="*/ 2028825 h 3657600"/>
                  <a:gd name="connsiteX38" fmla="*/ 407712 w 445812"/>
                  <a:gd name="connsiteY38" fmla="*/ 2085975 h 3657600"/>
                  <a:gd name="connsiteX39" fmla="*/ 414062 w 445812"/>
                  <a:gd name="connsiteY39" fmla="*/ 2209800 h 3657600"/>
                  <a:gd name="connsiteX40" fmla="*/ 252137 w 445812"/>
                  <a:gd name="connsiteY40" fmla="*/ 2251075 h 3657600"/>
                  <a:gd name="connsiteX41" fmla="*/ 201337 w 445812"/>
                  <a:gd name="connsiteY41" fmla="*/ 2390775 h 3657600"/>
                  <a:gd name="connsiteX42" fmla="*/ 210862 w 445812"/>
                  <a:gd name="connsiteY42" fmla="*/ 2454275 h 3657600"/>
                  <a:gd name="connsiteX43" fmla="*/ 226737 w 445812"/>
                  <a:gd name="connsiteY43" fmla="*/ 2482850 h 3657600"/>
                  <a:gd name="connsiteX44" fmla="*/ 226737 w 445812"/>
                  <a:gd name="connsiteY44" fmla="*/ 2527300 h 3657600"/>
                  <a:gd name="connsiteX45" fmla="*/ 236262 w 445812"/>
                  <a:gd name="connsiteY45" fmla="*/ 2603500 h 3657600"/>
                  <a:gd name="connsiteX46" fmla="*/ 83862 w 445812"/>
                  <a:gd name="connsiteY46" fmla="*/ 3028949 h 3657600"/>
                  <a:gd name="connsiteX47" fmla="*/ 58462 w 445812"/>
                  <a:gd name="connsiteY47" fmla="*/ 3657600 h 3657600"/>
                  <a:gd name="connsiteX0" fmla="*/ 445812 w 445812"/>
                  <a:gd name="connsiteY0" fmla="*/ 0 h 3657600"/>
                  <a:gd name="connsiteX1" fmla="*/ 407712 w 445812"/>
                  <a:gd name="connsiteY1" fmla="*/ 66675 h 3657600"/>
                  <a:gd name="connsiteX2" fmla="*/ 353737 w 445812"/>
                  <a:gd name="connsiteY2" fmla="*/ 85725 h 3657600"/>
                  <a:gd name="connsiteX3" fmla="*/ 283887 w 445812"/>
                  <a:gd name="connsiteY3" fmla="*/ 98425 h 3657600"/>
                  <a:gd name="connsiteX4" fmla="*/ 223562 w 445812"/>
                  <a:gd name="connsiteY4" fmla="*/ 133350 h 3657600"/>
                  <a:gd name="connsiteX5" fmla="*/ 121962 w 445812"/>
                  <a:gd name="connsiteY5" fmla="*/ 196850 h 3657600"/>
                  <a:gd name="connsiteX6" fmla="*/ 131487 w 445812"/>
                  <a:gd name="connsiteY6" fmla="*/ 247650 h 3657600"/>
                  <a:gd name="connsiteX7" fmla="*/ 172762 w 445812"/>
                  <a:gd name="connsiteY7" fmla="*/ 276225 h 3657600"/>
                  <a:gd name="connsiteX8" fmla="*/ 185462 w 445812"/>
                  <a:gd name="connsiteY8" fmla="*/ 327025 h 3657600"/>
                  <a:gd name="connsiteX9" fmla="*/ 239437 w 445812"/>
                  <a:gd name="connsiteY9" fmla="*/ 368300 h 3657600"/>
                  <a:gd name="connsiteX10" fmla="*/ 239437 w 445812"/>
                  <a:gd name="connsiteY10" fmla="*/ 412750 h 3657600"/>
                  <a:gd name="connsiteX11" fmla="*/ 207687 w 445812"/>
                  <a:gd name="connsiteY11" fmla="*/ 454025 h 3657600"/>
                  <a:gd name="connsiteX12" fmla="*/ 287062 w 445812"/>
                  <a:gd name="connsiteY12" fmla="*/ 479425 h 3657600"/>
                  <a:gd name="connsiteX13" fmla="*/ 302937 w 445812"/>
                  <a:gd name="connsiteY13" fmla="*/ 511175 h 3657600"/>
                  <a:gd name="connsiteX14" fmla="*/ 210862 w 445812"/>
                  <a:gd name="connsiteY14" fmla="*/ 581025 h 3657600"/>
                  <a:gd name="connsiteX15" fmla="*/ 160062 w 445812"/>
                  <a:gd name="connsiteY15" fmla="*/ 638175 h 3657600"/>
                  <a:gd name="connsiteX16" fmla="*/ 160062 w 445812"/>
                  <a:gd name="connsiteY16" fmla="*/ 695325 h 3657600"/>
                  <a:gd name="connsiteX17" fmla="*/ 185462 w 445812"/>
                  <a:gd name="connsiteY17" fmla="*/ 784225 h 3657600"/>
                  <a:gd name="connsiteX18" fmla="*/ 194987 w 445812"/>
                  <a:gd name="connsiteY18" fmla="*/ 835025 h 3657600"/>
                  <a:gd name="connsiteX19" fmla="*/ 204512 w 445812"/>
                  <a:gd name="connsiteY19" fmla="*/ 885825 h 3657600"/>
                  <a:gd name="connsiteX20" fmla="*/ 220387 w 445812"/>
                  <a:gd name="connsiteY20" fmla="*/ 923925 h 3657600"/>
                  <a:gd name="connsiteX21" fmla="*/ 163237 w 445812"/>
                  <a:gd name="connsiteY21" fmla="*/ 1022350 h 3657600"/>
                  <a:gd name="connsiteX22" fmla="*/ 96562 w 445812"/>
                  <a:gd name="connsiteY22" fmla="*/ 1057275 h 3657600"/>
                  <a:gd name="connsiteX23" fmla="*/ 52112 w 445812"/>
                  <a:gd name="connsiteY23" fmla="*/ 1143000 h 3657600"/>
                  <a:gd name="connsiteX24" fmla="*/ 20362 w 445812"/>
                  <a:gd name="connsiteY24" fmla="*/ 1244600 h 3657600"/>
                  <a:gd name="connsiteX25" fmla="*/ 1312 w 445812"/>
                  <a:gd name="connsiteY25" fmla="*/ 1346200 h 3657600"/>
                  <a:gd name="connsiteX26" fmla="*/ 10837 w 445812"/>
                  <a:gd name="connsiteY26" fmla="*/ 1438275 h 3657600"/>
                  <a:gd name="connsiteX27" fmla="*/ 83862 w 445812"/>
                  <a:gd name="connsiteY27" fmla="*/ 1511300 h 3657600"/>
                  <a:gd name="connsiteX28" fmla="*/ 112437 w 445812"/>
                  <a:gd name="connsiteY28" fmla="*/ 1558925 h 3657600"/>
                  <a:gd name="connsiteX29" fmla="*/ 150537 w 445812"/>
                  <a:gd name="connsiteY29" fmla="*/ 1590675 h 3657600"/>
                  <a:gd name="connsiteX30" fmla="*/ 169587 w 445812"/>
                  <a:gd name="connsiteY30" fmla="*/ 1644650 h 3657600"/>
                  <a:gd name="connsiteX31" fmla="*/ 226737 w 445812"/>
                  <a:gd name="connsiteY31" fmla="*/ 1685925 h 3657600"/>
                  <a:gd name="connsiteX32" fmla="*/ 264837 w 445812"/>
                  <a:gd name="connsiteY32" fmla="*/ 1730375 h 3657600"/>
                  <a:gd name="connsiteX33" fmla="*/ 277537 w 445812"/>
                  <a:gd name="connsiteY33" fmla="*/ 1758950 h 3657600"/>
                  <a:gd name="connsiteX34" fmla="*/ 277537 w 445812"/>
                  <a:gd name="connsiteY34" fmla="*/ 1828800 h 3657600"/>
                  <a:gd name="connsiteX35" fmla="*/ 325162 w 445812"/>
                  <a:gd name="connsiteY35" fmla="*/ 1905000 h 3657600"/>
                  <a:gd name="connsiteX36" fmla="*/ 363262 w 445812"/>
                  <a:gd name="connsiteY36" fmla="*/ 1962150 h 3657600"/>
                  <a:gd name="connsiteX37" fmla="*/ 369612 w 445812"/>
                  <a:gd name="connsiteY37" fmla="*/ 2028825 h 3657600"/>
                  <a:gd name="connsiteX38" fmla="*/ 407712 w 445812"/>
                  <a:gd name="connsiteY38" fmla="*/ 2085975 h 3657600"/>
                  <a:gd name="connsiteX39" fmla="*/ 414062 w 445812"/>
                  <a:gd name="connsiteY39" fmla="*/ 2209800 h 3657600"/>
                  <a:gd name="connsiteX40" fmla="*/ 252137 w 445812"/>
                  <a:gd name="connsiteY40" fmla="*/ 2251075 h 3657600"/>
                  <a:gd name="connsiteX41" fmla="*/ 201337 w 445812"/>
                  <a:gd name="connsiteY41" fmla="*/ 2390775 h 3657600"/>
                  <a:gd name="connsiteX42" fmla="*/ 210862 w 445812"/>
                  <a:gd name="connsiteY42" fmla="*/ 2454275 h 3657600"/>
                  <a:gd name="connsiteX43" fmla="*/ 226737 w 445812"/>
                  <a:gd name="connsiteY43" fmla="*/ 2482850 h 3657600"/>
                  <a:gd name="connsiteX44" fmla="*/ 226737 w 445812"/>
                  <a:gd name="connsiteY44" fmla="*/ 2527300 h 3657600"/>
                  <a:gd name="connsiteX45" fmla="*/ 236262 w 445812"/>
                  <a:gd name="connsiteY45" fmla="*/ 2603500 h 3657600"/>
                  <a:gd name="connsiteX46" fmla="*/ 83862 w 445812"/>
                  <a:gd name="connsiteY46" fmla="*/ 3028949 h 3657600"/>
                  <a:gd name="connsiteX47" fmla="*/ 17187 w 445812"/>
                  <a:gd name="connsiteY47" fmla="*/ 3365499 h 3657600"/>
                  <a:gd name="connsiteX48" fmla="*/ 58462 w 445812"/>
                  <a:gd name="connsiteY48" fmla="*/ 3657600 h 3657600"/>
                  <a:gd name="connsiteX0" fmla="*/ 445812 w 445812"/>
                  <a:gd name="connsiteY0" fmla="*/ 0 h 3657600"/>
                  <a:gd name="connsiteX1" fmla="*/ 407712 w 445812"/>
                  <a:gd name="connsiteY1" fmla="*/ 66675 h 3657600"/>
                  <a:gd name="connsiteX2" fmla="*/ 353737 w 445812"/>
                  <a:gd name="connsiteY2" fmla="*/ 85725 h 3657600"/>
                  <a:gd name="connsiteX3" fmla="*/ 283887 w 445812"/>
                  <a:gd name="connsiteY3" fmla="*/ 98425 h 3657600"/>
                  <a:gd name="connsiteX4" fmla="*/ 223562 w 445812"/>
                  <a:gd name="connsiteY4" fmla="*/ 133350 h 3657600"/>
                  <a:gd name="connsiteX5" fmla="*/ 121962 w 445812"/>
                  <a:gd name="connsiteY5" fmla="*/ 196850 h 3657600"/>
                  <a:gd name="connsiteX6" fmla="*/ 131487 w 445812"/>
                  <a:gd name="connsiteY6" fmla="*/ 247650 h 3657600"/>
                  <a:gd name="connsiteX7" fmla="*/ 172762 w 445812"/>
                  <a:gd name="connsiteY7" fmla="*/ 276225 h 3657600"/>
                  <a:gd name="connsiteX8" fmla="*/ 185462 w 445812"/>
                  <a:gd name="connsiteY8" fmla="*/ 327025 h 3657600"/>
                  <a:gd name="connsiteX9" fmla="*/ 239437 w 445812"/>
                  <a:gd name="connsiteY9" fmla="*/ 368300 h 3657600"/>
                  <a:gd name="connsiteX10" fmla="*/ 239437 w 445812"/>
                  <a:gd name="connsiteY10" fmla="*/ 412750 h 3657600"/>
                  <a:gd name="connsiteX11" fmla="*/ 207687 w 445812"/>
                  <a:gd name="connsiteY11" fmla="*/ 454025 h 3657600"/>
                  <a:gd name="connsiteX12" fmla="*/ 287062 w 445812"/>
                  <a:gd name="connsiteY12" fmla="*/ 479425 h 3657600"/>
                  <a:gd name="connsiteX13" fmla="*/ 302937 w 445812"/>
                  <a:gd name="connsiteY13" fmla="*/ 511175 h 3657600"/>
                  <a:gd name="connsiteX14" fmla="*/ 210862 w 445812"/>
                  <a:gd name="connsiteY14" fmla="*/ 581025 h 3657600"/>
                  <a:gd name="connsiteX15" fmla="*/ 160062 w 445812"/>
                  <a:gd name="connsiteY15" fmla="*/ 638175 h 3657600"/>
                  <a:gd name="connsiteX16" fmla="*/ 160062 w 445812"/>
                  <a:gd name="connsiteY16" fmla="*/ 695325 h 3657600"/>
                  <a:gd name="connsiteX17" fmla="*/ 185462 w 445812"/>
                  <a:gd name="connsiteY17" fmla="*/ 784225 h 3657600"/>
                  <a:gd name="connsiteX18" fmla="*/ 194987 w 445812"/>
                  <a:gd name="connsiteY18" fmla="*/ 835025 h 3657600"/>
                  <a:gd name="connsiteX19" fmla="*/ 204512 w 445812"/>
                  <a:gd name="connsiteY19" fmla="*/ 885825 h 3657600"/>
                  <a:gd name="connsiteX20" fmla="*/ 220387 w 445812"/>
                  <a:gd name="connsiteY20" fmla="*/ 923925 h 3657600"/>
                  <a:gd name="connsiteX21" fmla="*/ 163237 w 445812"/>
                  <a:gd name="connsiteY21" fmla="*/ 1022350 h 3657600"/>
                  <a:gd name="connsiteX22" fmla="*/ 96562 w 445812"/>
                  <a:gd name="connsiteY22" fmla="*/ 1057275 h 3657600"/>
                  <a:gd name="connsiteX23" fmla="*/ 52112 w 445812"/>
                  <a:gd name="connsiteY23" fmla="*/ 1143000 h 3657600"/>
                  <a:gd name="connsiteX24" fmla="*/ 20362 w 445812"/>
                  <a:gd name="connsiteY24" fmla="*/ 1244600 h 3657600"/>
                  <a:gd name="connsiteX25" fmla="*/ 1312 w 445812"/>
                  <a:gd name="connsiteY25" fmla="*/ 1346200 h 3657600"/>
                  <a:gd name="connsiteX26" fmla="*/ 10837 w 445812"/>
                  <a:gd name="connsiteY26" fmla="*/ 1438275 h 3657600"/>
                  <a:gd name="connsiteX27" fmla="*/ 83862 w 445812"/>
                  <a:gd name="connsiteY27" fmla="*/ 1511300 h 3657600"/>
                  <a:gd name="connsiteX28" fmla="*/ 112437 w 445812"/>
                  <a:gd name="connsiteY28" fmla="*/ 1558925 h 3657600"/>
                  <a:gd name="connsiteX29" fmla="*/ 150537 w 445812"/>
                  <a:gd name="connsiteY29" fmla="*/ 1590675 h 3657600"/>
                  <a:gd name="connsiteX30" fmla="*/ 169587 w 445812"/>
                  <a:gd name="connsiteY30" fmla="*/ 1644650 h 3657600"/>
                  <a:gd name="connsiteX31" fmla="*/ 226737 w 445812"/>
                  <a:gd name="connsiteY31" fmla="*/ 1685925 h 3657600"/>
                  <a:gd name="connsiteX32" fmla="*/ 264837 w 445812"/>
                  <a:gd name="connsiteY32" fmla="*/ 1730375 h 3657600"/>
                  <a:gd name="connsiteX33" fmla="*/ 277537 w 445812"/>
                  <a:gd name="connsiteY33" fmla="*/ 1758950 h 3657600"/>
                  <a:gd name="connsiteX34" fmla="*/ 277537 w 445812"/>
                  <a:gd name="connsiteY34" fmla="*/ 1828800 h 3657600"/>
                  <a:gd name="connsiteX35" fmla="*/ 325162 w 445812"/>
                  <a:gd name="connsiteY35" fmla="*/ 1905000 h 3657600"/>
                  <a:gd name="connsiteX36" fmla="*/ 363262 w 445812"/>
                  <a:gd name="connsiteY36" fmla="*/ 1962150 h 3657600"/>
                  <a:gd name="connsiteX37" fmla="*/ 369612 w 445812"/>
                  <a:gd name="connsiteY37" fmla="*/ 2028825 h 3657600"/>
                  <a:gd name="connsiteX38" fmla="*/ 407712 w 445812"/>
                  <a:gd name="connsiteY38" fmla="*/ 2085975 h 3657600"/>
                  <a:gd name="connsiteX39" fmla="*/ 414062 w 445812"/>
                  <a:gd name="connsiteY39" fmla="*/ 2209800 h 3657600"/>
                  <a:gd name="connsiteX40" fmla="*/ 252137 w 445812"/>
                  <a:gd name="connsiteY40" fmla="*/ 2251075 h 3657600"/>
                  <a:gd name="connsiteX41" fmla="*/ 201337 w 445812"/>
                  <a:gd name="connsiteY41" fmla="*/ 2390775 h 3657600"/>
                  <a:gd name="connsiteX42" fmla="*/ 210862 w 445812"/>
                  <a:gd name="connsiteY42" fmla="*/ 2454275 h 3657600"/>
                  <a:gd name="connsiteX43" fmla="*/ 226737 w 445812"/>
                  <a:gd name="connsiteY43" fmla="*/ 2482850 h 3657600"/>
                  <a:gd name="connsiteX44" fmla="*/ 226737 w 445812"/>
                  <a:gd name="connsiteY44" fmla="*/ 2527300 h 3657600"/>
                  <a:gd name="connsiteX45" fmla="*/ 236262 w 445812"/>
                  <a:gd name="connsiteY45" fmla="*/ 2603500 h 3657600"/>
                  <a:gd name="connsiteX46" fmla="*/ 83862 w 445812"/>
                  <a:gd name="connsiteY46" fmla="*/ 3028949 h 3657600"/>
                  <a:gd name="connsiteX47" fmla="*/ 17187 w 445812"/>
                  <a:gd name="connsiteY47" fmla="*/ 3365499 h 3657600"/>
                  <a:gd name="connsiteX48" fmla="*/ 45762 w 445812"/>
                  <a:gd name="connsiteY48" fmla="*/ 3492499 h 3657600"/>
                  <a:gd name="connsiteX49" fmla="*/ 58462 w 445812"/>
                  <a:gd name="connsiteY49" fmla="*/ 3657600 h 3657600"/>
                  <a:gd name="connsiteX0" fmla="*/ 445812 w 445812"/>
                  <a:gd name="connsiteY0" fmla="*/ 0 h 3657600"/>
                  <a:gd name="connsiteX1" fmla="*/ 407712 w 445812"/>
                  <a:gd name="connsiteY1" fmla="*/ 66675 h 3657600"/>
                  <a:gd name="connsiteX2" fmla="*/ 353737 w 445812"/>
                  <a:gd name="connsiteY2" fmla="*/ 85725 h 3657600"/>
                  <a:gd name="connsiteX3" fmla="*/ 283887 w 445812"/>
                  <a:gd name="connsiteY3" fmla="*/ 98425 h 3657600"/>
                  <a:gd name="connsiteX4" fmla="*/ 223562 w 445812"/>
                  <a:gd name="connsiteY4" fmla="*/ 133350 h 3657600"/>
                  <a:gd name="connsiteX5" fmla="*/ 121962 w 445812"/>
                  <a:gd name="connsiteY5" fmla="*/ 196850 h 3657600"/>
                  <a:gd name="connsiteX6" fmla="*/ 131487 w 445812"/>
                  <a:gd name="connsiteY6" fmla="*/ 247650 h 3657600"/>
                  <a:gd name="connsiteX7" fmla="*/ 172762 w 445812"/>
                  <a:gd name="connsiteY7" fmla="*/ 276225 h 3657600"/>
                  <a:gd name="connsiteX8" fmla="*/ 185462 w 445812"/>
                  <a:gd name="connsiteY8" fmla="*/ 327025 h 3657600"/>
                  <a:gd name="connsiteX9" fmla="*/ 239437 w 445812"/>
                  <a:gd name="connsiteY9" fmla="*/ 368300 h 3657600"/>
                  <a:gd name="connsiteX10" fmla="*/ 239437 w 445812"/>
                  <a:gd name="connsiteY10" fmla="*/ 412750 h 3657600"/>
                  <a:gd name="connsiteX11" fmla="*/ 207687 w 445812"/>
                  <a:gd name="connsiteY11" fmla="*/ 454025 h 3657600"/>
                  <a:gd name="connsiteX12" fmla="*/ 287062 w 445812"/>
                  <a:gd name="connsiteY12" fmla="*/ 479425 h 3657600"/>
                  <a:gd name="connsiteX13" fmla="*/ 302937 w 445812"/>
                  <a:gd name="connsiteY13" fmla="*/ 511175 h 3657600"/>
                  <a:gd name="connsiteX14" fmla="*/ 210862 w 445812"/>
                  <a:gd name="connsiteY14" fmla="*/ 581025 h 3657600"/>
                  <a:gd name="connsiteX15" fmla="*/ 160062 w 445812"/>
                  <a:gd name="connsiteY15" fmla="*/ 638175 h 3657600"/>
                  <a:gd name="connsiteX16" fmla="*/ 160062 w 445812"/>
                  <a:gd name="connsiteY16" fmla="*/ 695325 h 3657600"/>
                  <a:gd name="connsiteX17" fmla="*/ 185462 w 445812"/>
                  <a:gd name="connsiteY17" fmla="*/ 784225 h 3657600"/>
                  <a:gd name="connsiteX18" fmla="*/ 194987 w 445812"/>
                  <a:gd name="connsiteY18" fmla="*/ 835025 h 3657600"/>
                  <a:gd name="connsiteX19" fmla="*/ 204512 w 445812"/>
                  <a:gd name="connsiteY19" fmla="*/ 885825 h 3657600"/>
                  <a:gd name="connsiteX20" fmla="*/ 220387 w 445812"/>
                  <a:gd name="connsiteY20" fmla="*/ 923925 h 3657600"/>
                  <a:gd name="connsiteX21" fmla="*/ 163237 w 445812"/>
                  <a:gd name="connsiteY21" fmla="*/ 1022350 h 3657600"/>
                  <a:gd name="connsiteX22" fmla="*/ 96562 w 445812"/>
                  <a:gd name="connsiteY22" fmla="*/ 1057275 h 3657600"/>
                  <a:gd name="connsiteX23" fmla="*/ 52112 w 445812"/>
                  <a:gd name="connsiteY23" fmla="*/ 1143000 h 3657600"/>
                  <a:gd name="connsiteX24" fmla="*/ 20362 w 445812"/>
                  <a:gd name="connsiteY24" fmla="*/ 1244600 h 3657600"/>
                  <a:gd name="connsiteX25" fmla="*/ 1312 w 445812"/>
                  <a:gd name="connsiteY25" fmla="*/ 1346200 h 3657600"/>
                  <a:gd name="connsiteX26" fmla="*/ 10837 w 445812"/>
                  <a:gd name="connsiteY26" fmla="*/ 1438275 h 3657600"/>
                  <a:gd name="connsiteX27" fmla="*/ 83862 w 445812"/>
                  <a:gd name="connsiteY27" fmla="*/ 1511300 h 3657600"/>
                  <a:gd name="connsiteX28" fmla="*/ 112437 w 445812"/>
                  <a:gd name="connsiteY28" fmla="*/ 1558925 h 3657600"/>
                  <a:gd name="connsiteX29" fmla="*/ 150537 w 445812"/>
                  <a:gd name="connsiteY29" fmla="*/ 1590675 h 3657600"/>
                  <a:gd name="connsiteX30" fmla="*/ 169587 w 445812"/>
                  <a:gd name="connsiteY30" fmla="*/ 1644650 h 3657600"/>
                  <a:gd name="connsiteX31" fmla="*/ 226737 w 445812"/>
                  <a:gd name="connsiteY31" fmla="*/ 1685925 h 3657600"/>
                  <a:gd name="connsiteX32" fmla="*/ 264837 w 445812"/>
                  <a:gd name="connsiteY32" fmla="*/ 1730375 h 3657600"/>
                  <a:gd name="connsiteX33" fmla="*/ 277537 w 445812"/>
                  <a:gd name="connsiteY33" fmla="*/ 1758950 h 3657600"/>
                  <a:gd name="connsiteX34" fmla="*/ 277537 w 445812"/>
                  <a:gd name="connsiteY34" fmla="*/ 1828800 h 3657600"/>
                  <a:gd name="connsiteX35" fmla="*/ 325162 w 445812"/>
                  <a:gd name="connsiteY35" fmla="*/ 1905000 h 3657600"/>
                  <a:gd name="connsiteX36" fmla="*/ 363262 w 445812"/>
                  <a:gd name="connsiteY36" fmla="*/ 1962150 h 3657600"/>
                  <a:gd name="connsiteX37" fmla="*/ 369612 w 445812"/>
                  <a:gd name="connsiteY37" fmla="*/ 2028825 h 3657600"/>
                  <a:gd name="connsiteX38" fmla="*/ 407712 w 445812"/>
                  <a:gd name="connsiteY38" fmla="*/ 2085975 h 3657600"/>
                  <a:gd name="connsiteX39" fmla="*/ 414062 w 445812"/>
                  <a:gd name="connsiteY39" fmla="*/ 2209800 h 3657600"/>
                  <a:gd name="connsiteX40" fmla="*/ 252137 w 445812"/>
                  <a:gd name="connsiteY40" fmla="*/ 2251075 h 3657600"/>
                  <a:gd name="connsiteX41" fmla="*/ 201337 w 445812"/>
                  <a:gd name="connsiteY41" fmla="*/ 2390775 h 3657600"/>
                  <a:gd name="connsiteX42" fmla="*/ 210862 w 445812"/>
                  <a:gd name="connsiteY42" fmla="*/ 2454275 h 3657600"/>
                  <a:gd name="connsiteX43" fmla="*/ 226737 w 445812"/>
                  <a:gd name="connsiteY43" fmla="*/ 2482850 h 3657600"/>
                  <a:gd name="connsiteX44" fmla="*/ 226737 w 445812"/>
                  <a:gd name="connsiteY44" fmla="*/ 2527300 h 3657600"/>
                  <a:gd name="connsiteX45" fmla="*/ 236262 w 445812"/>
                  <a:gd name="connsiteY45" fmla="*/ 2603500 h 3657600"/>
                  <a:gd name="connsiteX46" fmla="*/ 83862 w 445812"/>
                  <a:gd name="connsiteY46" fmla="*/ 3028949 h 3657600"/>
                  <a:gd name="connsiteX47" fmla="*/ 87037 w 445812"/>
                  <a:gd name="connsiteY47" fmla="*/ 3070224 h 3657600"/>
                  <a:gd name="connsiteX48" fmla="*/ 17187 w 445812"/>
                  <a:gd name="connsiteY48" fmla="*/ 3365499 h 3657600"/>
                  <a:gd name="connsiteX49" fmla="*/ 45762 w 445812"/>
                  <a:gd name="connsiteY49" fmla="*/ 3492499 h 3657600"/>
                  <a:gd name="connsiteX50" fmla="*/ 58462 w 445812"/>
                  <a:gd name="connsiteY50" fmla="*/ 3657600 h 3657600"/>
                  <a:gd name="connsiteX0" fmla="*/ 445812 w 445812"/>
                  <a:gd name="connsiteY0" fmla="*/ 0 h 3657600"/>
                  <a:gd name="connsiteX1" fmla="*/ 407712 w 445812"/>
                  <a:gd name="connsiteY1" fmla="*/ 66675 h 3657600"/>
                  <a:gd name="connsiteX2" fmla="*/ 353737 w 445812"/>
                  <a:gd name="connsiteY2" fmla="*/ 85725 h 3657600"/>
                  <a:gd name="connsiteX3" fmla="*/ 283887 w 445812"/>
                  <a:gd name="connsiteY3" fmla="*/ 98425 h 3657600"/>
                  <a:gd name="connsiteX4" fmla="*/ 223562 w 445812"/>
                  <a:gd name="connsiteY4" fmla="*/ 133350 h 3657600"/>
                  <a:gd name="connsiteX5" fmla="*/ 121962 w 445812"/>
                  <a:gd name="connsiteY5" fmla="*/ 196850 h 3657600"/>
                  <a:gd name="connsiteX6" fmla="*/ 131487 w 445812"/>
                  <a:gd name="connsiteY6" fmla="*/ 247650 h 3657600"/>
                  <a:gd name="connsiteX7" fmla="*/ 172762 w 445812"/>
                  <a:gd name="connsiteY7" fmla="*/ 276225 h 3657600"/>
                  <a:gd name="connsiteX8" fmla="*/ 185462 w 445812"/>
                  <a:gd name="connsiteY8" fmla="*/ 327025 h 3657600"/>
                  <a:gd name="connsiteX9" fmla="*/ 239437 w 445812"/>
                  <a:gd name="connsiteY9" fmla="*/ 368300 h 3657600"/>
                  <a:gd name="connsiteX10" fmla="*/ 239437 w 445812"/>
                  <a:gd name="connsiteY10" fmla="*/ 412750 h 3657600"/>
                  <a:gd name="connsiteX11" fmla="*/ 207687 w 445812"/>
                  <a:gd name="connsiteY11" fmla="*/ 454025 h 3657600"/>
                  <a:gd name="connsiteX12" fmla="*/ 287062 w 445812"/>
                  <a:gd name="connsiteY12" fmla="*/ 479425 h 3657600"/>
                  <a:gd name="connsiteX13" fmla="*/ 302937 w 445812"/>
                  <a:gd name="connsiteY13" fmla="*/ 511175 h 3657600"/>
                  <a:gd name="connsiteX14" fmla="*/ 210862 w 445812"/>
                  <a:gd name="connsiteY14" fmla="*/ 581025 h 3657600"/>
                  <a:gd name="connsiteX15" fmla="*/ 160062 w 445812"/>
                  <a:gd name="connsiteY15" fmla="*/ 638175 h 3657600"/>
                  <a:gd name="connsiteX16" fmla="*/ 160062 w 445812"/>
                  <a:gd name="connsiteY16" fmla="*/ 695325 h 3657600"/>
                  <a:gd name="connsiteX17" fmla="*/ 185462 w 445812"/>
                  <a:gd name="connsiteY17" fmla="*/ 784225 h 3657600"/>
                  <a:gd name="connsiteX18" fmla="*/ 194987 w 445812"/>
                  <a:gd name="connsiteY18" fmla="*/ 835025 h 3657600"/>
                  <a:gd name="connsiteX19" fmla="*/ 204512 w 445812"/>
                  <a:gd name="connsiteY19" fmla="*/ 885825 h 3657600"/>
                  <a:gd name="connsiteX20" fmla="*/ 220387 w 445812"/>
                  <a:gd name="connsiteY20" fmla="*/ 923925 h 3657600"/>
                  <a:gd name="connsiteX21" fmla="*/ 163237 w 445812"/>
                  <a:gd name="connsiteY21" fmla="*/ 1022350 h 3657600"/>
                  <a:gd name="connsiteX22" fmla="*/ 96562 w 445812"/>
                  <a:gd name="connsiteY22" fmla="*/ 1057275 h 3657600"/>
                  <a:gd name="connsiteX23" fmla="*/ 52112 w 445812"/>
                  <a:gd name="connsiteY23" fmla="*/ 1143000 h 3657600"/>
                  <a:gd name="connsiteX24" fmla="*/ 20362 w 445812"/>
                  <a:gd name="connsiteY24" fmla="*/ 1244600 h 3657600"/>
                  <a:gd name="connsiteX25" fmla="*/ 1312 w 445812"/>
                  <a:gd name="connsiteY25" fmla="*/ 1346200 h 3657600"/>
                  <a:gd name="connsiteX26" fmla="*/ 10837 w 445812"/>
                  <a:gd name="connsiteY26" fmla="*/ 1438275 h 3657600"/>
                  <a:gd name="connsiteX27" fmla="*/ 83862 w 445812"/>
                  <a:gd name="connsiteY27" fmla="*/ 1511300 h 3657600"/>
                  <a:gd name="connsiteX28" fmla="*/ 112437 w 445812"/>
                  <a:gd name="connsiteY28" fmla="*/ 1558925 h 3657600"/>
                  <a:gd name="connsiteX29" fmla="*/ 150537 w 445812"/>
                  <a:gd name="connsiteY29" fmla="*/ 1590675 h 3657600"/>
                  <a:gd name="connsiteX30" fmla="*/ 169587 w 445812"/>
                  <a:gd name="connsiteY30" fmla="*/ 1644650 h 3657600"/>
                  <a:gd name="connsiteX31" fmla="*/ 226737 w 445812"/>
                  <a:gd name="connsiteY31" fmla="*/ 1685925 h 3657600"/>
                  <a:gd name="connsiteX32" fmla="*/ 264837 w 445812"/>
                  <a:gd name="connsiteY32" fmla="*/ 1730375 h 3657600"/>
                  <a:gd name="connsiteX33" fmla="*/ 277537 w 445812"/>
                  <a:gd name="connsiteY33" fmla="*/ 1758950 h 3657600"/>
                  <a:gd name="connsiteX34" fmla="*/ 277537 w 445812"/>
                  <a:gd name="connsiteY34" fmla="*/ 1828800 h 3657600"/>
                  <a:gd name="connsiteX35" fmla="*/ 325162 w 445812"/>
                  <a:gd name="connsiteY35" fmla="*/ 1905000 h 3657600"/>
                  <a:gd name="connsiteX36" fmla="*/ 363262 w 445812"/>
                  <a:gd name="connsiteY36" fmla="*/ 1962150 h 3657600"/>
                  <a:gd name="connsiteX37" fmla="*/ 369612 w 445812"/>
                  <a:gd name="connsiteY37" fmla="*/ 2028825 h 3657600"/>
                  <a:gd name="connsiteX38" fmla="*/ 407712 w 445812"/>
                  <a:gd name="connsiteY38" fmla="*/ 2085975 h 3657600"/>
                  <a:gd name="connsiteX39" fmla="*/ 414062 w 445812"/>
                  <a:gd name="connsiteY39" fmla="*/ 2209800 h 3657600"/>
                  <a:gd name="connsiteX40" fmla="*/ 252137 w 445812"/>
                  <a:gd name="connsiteY40" fmla="*/ 2251075 h 3657600"/>
                  <a:gd name="connsiteX41" fmla="*/ 201337 w 445812"/>
                  <a:gd name="connsiteY41" fmla="*/ 2390775 h 3657600"/>
                  <a:gd name="connsiteX42" fmla="*/ 210862 w 445812"/>
                  <a:gd name="connsiteY42" fmla="*/ 2454275 h 3657600"/>
                  <a:gd name="connsiteX43" fmla="*/ 226737 w 445812"/>
                  <a:gd name="connsiteY43" fmla="*/ 2482850 h 3657600"/>
                  <a:gd name="connsiteX44" fmla="*/ 226737 w 445812"/>
                  <a:gd name="connsiteY44" fmla="*/ 2527300 h 3657600"/>
                  <a:gd name="connsiteX45" fmla="*/ 236262 w 445812"/>
                  <a:gd name="connsiteY45" fmla="*/ 2603500 h 3657600"/>
                  <a:gd name="connsiteX46" fmla="*/ 83862 w 445812"/>
                  <a:gd name="connsiteY46" fmla="*/ 3028949 h 3657600"/>
                  <a:gd name="connsiteX47" fmla="*/ 87037 w 445812"/>
                  <a:gd name="connsiteY47" fmla="*/ 3070224 h 3657600"/>
                  <a:gd name="connsiteX48" fmla="*/ 42587 w 445812"/>
                  <a:gd name="connsiteY48" fmla="*/ 3159124 h 3657600"/>
                  <a:gd name="connsiteX49" fmla="*/ 17187 w 445812"/>
                  <a:gd name="connsiteY49" fmla="*/ 3365499 h 3657600"/>
                  <a:gd name="connsiteX50" fmla="*/ 45762 w 445812"/>
                  <a:gd name="connsiteY50" fmla="*/ 3492499 h 3657600"/>
                  <a:gd name="connsiteX51" fmla="*/ 58462 w 445812"/>
                  <a:gd name="connsiteY51" fmla="*/ 3657600 h 3657600"/>
                  <a:gd name="connsiteX0" fmla="*/ 445812 w 445812"/>
                  <a:gd name="connsiteY0" fmla="*/ 0 h 3657600"/>
                  <a:gd name="connsiteX1" fmla="*/ 407712 w 445812"/>
                  <a:gd name="connsiteY1" fmla="*/ 66675 h 3657600"/>
                  <a:gd name="connsiteX2" fmla="*/ 353737 w 445812"/>
                  <a:gd name="connsiteY2" fmla="*/ 85725 h 3657600"/>
                  <a:gd name="connsiteX3" fmla="*/ 283887 w 445812"/>
                  <a:gd name="connsiteY3" fmla="*/ 98425 h 3657600"/>
                  <a:gd name="connsiteX4" fmla="*/ 223562 w 445812"/>
                  <a:gd name="connsiteY4" fmla="*/ 133350 h 3657600"/>
                  <a:gd name="connsiteX5" fmla="*/ 121962 w 445812"/>
                  <a:gd name="connsiteY5" fmla="*/ 196850 h 3657600"/>
                  <a:gd name="connsiteX6" fmla="*/ 131487 w 445812"/>
                  <a:gd name="connsiteY6" fmla="*/ 247650 h 3657600"/>
                  <a:gd name="connsiteX7" fmla="*/ 172762 w 445812"/>
                  <a:gd name="connsiteY7" fmla="*/ 276225 h 3657600"/>
                  <a:gd name="connsiteX8" fmla="*/ 185462 w 445812"/>
                  <a:gd name="connsiteY8" fmla="*/ 327025 h 3657600"/>
                  <a:gd name="connsiteX9" fmla="*/ 239437 w 445812"/>
                  <a:gd name="connsiteY9" fmla="*/ 368300 h 3657600"/>
                  <a:gd name="connsiteX10" fmla="*/ 239437 w 445812"/>
                  <a:gd name="connsiteY10" fmla="*/ 412750 h 3657600"/>
                  <a:gd name="connsiteX11" fmla="*/ 207687 w 445812"/>
                  <a:gd name="connsiteY11" fmla="*/ 454025 h 3657600"/>
                  <a:gd name="connsiteX12" fmla="*/ 287062 w 445812"/>
                  <a:gd name="connsiteY12" fmla="*/ 479425 h 3657600"/>
                  <a:gd name="connsiteX13" fmla="*/ 302937 w 445812"/>
                  <a:gd name="connsiteY13" fmla="*/ 511175 h 3657600"/>
                  <a:gd name="connsiteX14" fmla="*/ 210862 w 445812"/>
                  <a:gd name="connsiteY14" fmla="*/ 581025 h 3657600"/>
                  <a:gd name="connsiteX15" fmla="*/ 160062 w 445812"/>
                  <a:gd name="connsiteY15" fmla="*/ 638175 h 3657600"/>
                  <a:gd name="connsiteX16" fmla="*/ 160062 w 445812"/>
                  <a:gd name="connsiteY16" fmla="*/ 695325 h 3657600"/>
                  <a:gd name="connsiteX17" fmla="*/ 185462 w 445812"/>
                  <a:gd name="connsiteY17" fmla="*/ 784225 h 3657600"/>
                  <a:gd name="connsiteX18" fmla="*/ 194987 w 445812"/>
                  <a:gd name="connsiteY18" fmla="*/ 835025 h 3657600"/>
                  <a:gd name="connsiteX19" fmla="*/ 204512 w 445812"/>
                  <a:gd name="connsiteY19" fmla="*/ 885825 h 3657600"/>
                  <a:gd name="connsiteX20" fmla="*/ 220387 w 445812"/>
                  <a:gd name="connsiteY20" fmla="*/ 923925 h 3657600"/>
                  <a:gd name="connsiteX21" fmla="*/ 163237 w 445812"/>
                  <a:gd name="connsiteY21" fmla="*/ 1022350 h 3657600"/>
                  <a:gd name="connsiteX22" fmla="*/ 96562 w 445812"/>
                  <a:gd name="connsiteY22" fmla="*/ 1057275 h 3657600"/>
                  <a:gd name="connsiteX23" fmla="*/ 52112 w 445812"/>
                  <a:gd name="connsiteY23" fmla="*/ 1143000 h 3657600"/>
                  <a:gd name="connsiteX24" fmla="*/ 20362 w 445812"/>
                  <a:gd name="connsiteY24" fmla="*/ 1244600 h 3657600"/>
                  <a:gd name="connsiteX25" fmla="*/ 1312 w 445812"/>
                  <a:gd name="connsiteY25" fmla="*/ 1346200 h 3657600"/>
                  <a:gd name="connsiteX26" fmla="*/ 10837 w 445812"/>
                  <a:gd name="connsiteY26" fmla="*/ 1438275 h 3657600"/>
                  <a:gd name="connsiteX27" fmla="*/ 83862 w 445812"/>
                  <a:gd name="connsiteY27" fmla="*/ 1511300 h 3657600"/>
                  <a:gd name="connsiteX28" fmla="*/ 112437 w 445812"/>
                  <a:gd name="connsiteY28" fmla="*/ 1558925 h 3657600"/>
                  <a:gd name="connsiteX29" fmla="*/ 150537 w 445812"/>
                  <a:gd name="connsiteY29" fmla="*/ 1590675 h 3657600"/>
                  <a:gd name="connsiteX30" fmla="*/ 169587 w 445812"/>
                  <a:gd name="connsiteY30" fmla="*/ 1644650 h 3657600"/>
                  <a:gd name="connsiteX31" fmla="*/ 226737 w 445812"/>
                  <a:gd name="connsiteY31" fmla="*/ 1685925 h 3657600"/>
                  <a:gd name="connsiteX32" fmla="*/ 264837 w 445812"/>
                  <a:gd name="connsiteY32" fmla="*/ 1730375 h 3657600"/>
                  <a:gd name="connsiteX33" fmla="*/ 277537 w 445812"/>
                  <a:gd name="connsiteY33" fmla="*/ 1758950 h 3657600"/>
                  <a:gd name="connsiteX34" fmla="*/ 277537 w 445812"/>
                  <a:gd name="connsiteY34" fmla="*/ 1828800 h 3657600"/>
                  <a:gd name="connsiteX35" fmla="*/ 325162 w 445812"/>
                  <a:gd name="connsiteY35" fmla="*/ 1905000 h 3657600"/>
                  <a:gd name="connsiteX36" fmla="*/ 363262 w 445812"/>
                  <a:gd name="connsiteY36" fmla="*/ 1962150 h 3657600"/>
                  <a:gd name="connsiteX37" fmla="*/ 369612 w 445812"/>
                  <a:gd name="connsiteY37" fmla="*/ 2028825 h 3657600"/>
                  <a:gd name="connsiteX38" fmla="*/ 407712 w 445812"/>
                  <a:gd name="connsiteY38" fmla="*/ 2085975 h 3657600"/>
                  <a:gd name="connsiteX39" fmla="*/ 414062 w 445812"/>
                  <a:gd name="connsiteY39" fmla="*/ 2209800 h 3657600"/>
                  <a:gd name="connsiteX40" fmla="*/ 252137 w 445812"/>
                  <a:gd name="connsiteY40" fmla="*/ 2251075 h 3657600"/>
                  <a:gd name="connsiteX41" fmla="*/ 201337 w 445812"/>
                  <a:gd name="connsiteY41" fmla="*/ 2390775 h 3657600"/>
                  <a:gd name="connsiteX42" fmla="*/ 210862 w 445812"/>
                  <a:gd name="connsiteY42" fmla="*/ 2454275 h 3657600"/>
                  <a:gd name="connsiteX43" fmla="*/ 226737 w 445812"/>
                  <a:gd name="connsiteY43" fmla="*/ 2482850 h 3657600"/>
                  <a:gd name="connsiteX44" fmla="*/ 226737 w 445812"/>
                  <a:gd name="connsiteY44" fmla="*/ 2527300 h 3657600"/>
                  <a:gd name="connsiteX45" fmla="*/ 236262 w 445812"/>
                  <a:gd name="connsiteY45" fmla="*/ 2603500 h 3657600"/>
                  <a:gd name="connsiteX46" fmla="*/ 115612 w 445812"/>
                  <a:gd name="connsiteY46" fmla="*/ 2997199 h 3657600"/>
                  <a:gd name="connsiteX47" fmla="*/ 87037 w 445812"/>
                  <a:gd name="connsiteY47" fmla="*/ 3070224 h 3657600"/>
                  <a:gd name="connsiteX48" fmla="*/ 42587 w 445812"/>
                  <a:gd name="connsiteY48" fmla="*/ 3159124 h 3657600"/>
                  <a:gd name="connsiteX49" fmla="*/ 17187 w 445812"/>
                  <a:gd name="connsiteY49" fmla="*/ 3365499 h 3657600"/>
                  <a:gd name="connsiteX50" fmla="*/ 45762 w 445812"/>
                  <a:gd name="connsiteY50" fmla="*/ 3492499 h 3657600"/>
                  <a:gd name="connsiteX51" fmla="*/ 58462 w 445812"/>
                  <a:gd name="connsiteY51" fmla="*/ 3657600 h 3657600"/>
                  <a:gd name="connsiteX0" fmla="*/ 445812 w 445812"/>
                  <a:gd name="connsiteY0" fmla="*/ 0 h 3657600"/>
                  <a:gd name="connsiteX1" fmla="*/ 407712 w 445812"/>
                  <a:gd name="connsiteY1" fmla="*/ 66675 h 3657600"/>
                  <a:gd name="connsiteX2" fmla="*/ 353737 w 445812"/>
                  <a:gd name="connsiteY2" fmla="*/ 85725 h 3657600"/>
                  <a:gd name="connsiteX3" fmla="*/ 283887 w 445812"/>
                  <a:gd name="connsiteY3" fmla="*/ 98425 h 3657600"/>
                  <a:gd name="connsiteX4" fmla="*/ 223562 w 445812"/>
                  <a:gd name="connsiteY4" fmla="*/ 133350 h 3657600"/>
                  <a:gd name="connsiteX5" fmla="*/ 121962 w 445812"/>
                  <a:gd name="connsiteY5" fmla="*/ 196850 h 3657600"/>
                  <a:gd name="connsiteX6" fmla="*/ 131487 w 445812"/>
                  <a:gd name="connsiteY6" fmla="*/ 247650 h 3657600"/>
                  <a:gd name="connsiteX7" fmla="*/ 172762 w 445812"/>
                  <a:gd name="connsiteY7" fmla="*/ 276225 h 3657600"/>
                  <a:gd name="connsiteX8" fmla="*/ 185462 w 445812"/>
                  <a:gd name="connsiteY8" fmla="*/ 327025 h 3657600"/>
                  <a:gd name="connsiteX9" fmla="*/ 239437 w 445812"/>
                  <a:gd name="connsiteY9" fmla="*/ 368300 h 3657600"/>
                  <a:gd name="connsiteX10" fmla="*/ 239437 w 445812"/>
                  <a:gd name="connsiteY10" fmla="*/ 412750 h 3657600"/>
                  <a:gd name="connsiteX11" fmla="*/ 207687 w 445812"/>
                  <a:gd name="connsiteY11" fmla="*/ 454025 h 3657600"/>
                  <a:gd name="connsiteX12" fmla="*/ 287062 w 445812"/>
                  <a:gd name="connsiteY12" fmla="*/ 479425 h 3657600"/>
                  <a:gd name="connsiteX13" fmla="*/ 302937 w 445812"/>
                  <a:gd name="connsiteY13" fmla="*/ 511175 h 3657600"/>
                  <a:gd name="connsiteX14" fmla="*/ 210862 w 445812"/>
                  <a:gd name="connsiteY14" fmla="*/ 581025 h 3657600"/>
                  <a:gd name="connsiteX15" fmla="*/ 160062 w 445812"/>
                  <a:gd name="connsiteY15" fmla="*/ 638175 h 3657600"/>
                  <a:gd name="connsiteX16" fmla="*/ 160062 w 445812"/>
                  <a:gd name="connsiteY16" fmla="*/ 695325 h 3657600"/>
                  <a:gd name="connsiteX17" fmla="*/ 185462 w 445812"/>
                  <a:gd name="connsiteY17" fmla="*/ 784225 h 3657600"/>
                  <a:gd name="connsiteX18" fmla="*/ 194987 w 445812"/>
                  <a:gd name="connsiteY18" fmla="*/ 835025 h 3657600"/>
                  <a:gd name="connsiteX19" fmla="*/ 204512 w 445812"/>
                  <a:gd name="connsiteY19" fmla="*/ 885825 h 3657600"/>
                  <a:gd name="connsiteX20" fmla="*/ 220387 w 445812"/>
                  <a:gd name="connsiteY20" fmla="*/ 923925 h 3657600"/>
                  <a:gd name="connsiteX21" fmla="*/ 163237 w 445812"/>
                  <a:gd name="connsiteY21" fmla="*/ 1022350 h 3657600"/>
                  <a:gd name="connsiteX22" fmla="*/ 96562 w 445812"/>
                  <a:gd name="connsiteY22" fmla="*/ 1057275 h 3657600"/>
                  <a:gd name="connsiteX23" fmla="*/ 52112 w 445812"/>
                  <a:gd name="connsiteY23" fmla="*/ 1143000 h 3657600"/>
                  <a:gd name="connsiteX24" fmla="*/ 20362 w 445812"/>
                  <a:gd name="connsiteY24" fmla="*/ 1244600 h 3657600"/>
                  <a:gd name="connsiteX25" fmla="*/ 1312 w 445812"/>
                  <a:gd name="connsiteY25" fmla="*/ 1346200 h 3657600"/>
                  <a:gd name="connsiteX26" fmla="*/ 10837 w 445812"/>
                  <a:gd name="connsiteY26" fmla="*/ 1438275 h 3657600"/>
                  <a:gd name="connsiteX27" fmla="*/ 83862 w 445812"/>
                  <a:gd name="connsiteY27" fmla="*/ 1511300 h 3657600"/>
                  <a:gd name="connsiteX28" fmla="*/ 112437 w 445812"/>
                  <a:gd name="connsiteY28" fmla="*/ 1558925 h 3657600"/>
                  <a:gd name="connsiteX29" fmla="*/ 150537 w 445812"/>
                  <a:gd name="connsiteY29" fmla="*/ 1590675 h 3657600"/>
                  <a:gd name="connsiteX30" fmla="*/ 169587 w 445812"/>
                  <a:gd name="connsiteY30" fmla="*/ 1644650 h 3657600"/>
                  <a:gd name="connsiteX31" fmla="*/ 226737 w 445812"/>
                  <a:gd name="connsiteY31" fmla="*/ 1685925 h 3657600"/>
                  <a:gd name="connsiteX32" fmla="*/ 264837 w 445812"/>
                  <a:gd name="connsiteY32" fmla="*/ 1730375 h 3657600"/>
                  <a:gd name="connsiteX33" fmla="*/ 277537 w 445812"/>
                  <a:gd name="connsiteY33" fmla="*/ 1758950 h 3657600"/>
                  <a:gd name="connsiteX34" fmla="*/ 277537 w 445812"/>
                  <a:gd name="connsiteY34" fmla="*/ 1828800 h 3657600"/>
                  <a:gd name="connsiteX35" fmla="*/ 325162 w 445812"/>
                  <a:gd name="connsiteY35" fmla="*/ 1905000 h 3657600"/>
                  <a:gd name="connsiteX36" fmla="*/ 363262 w 445812"/>
                  <a:gd name="connsiteY36" fmla="*/ 1962150 h 3657600"/>
                  <a:gd name="connsiteX37" fmla="*/ 369612 w 445812"/>
                  <a:gd name="connsiteY37" fmla="*/ 2028825 h 3657600"/>
                  <a:gd name="connsiteX38" fmla="*/ 407712 w 445812"/>
                  <a:gd name="connsiteY38" fmla="*/ 2085975 h 3657600"/>
                  <a:gd name="connsiteX39" fmla="*/ 414062 w 445812"/>
                  <a:gd name="connsiteY39" fmla="*/ 2209800 h 3657600"/>
                  <a:gd name="connsiteX40" fmla="*/ 252137 w 445812"/>
                  <a:gd name="connsiteY40" fmla="*/ 2251075 h 3657600"/>
                  <a:gd name="connsiteX41" fmla="*/ 201337 w 445812"/>
                  <a:gd name="connsiteY41" fmla="*/ 2390775 h 3657600"/>
                  <a:gd name="connsiteX42" fmla="*/ 210862 w 445812"/>
                  <a:gd name="connsiteY42" fmla="*/ 2454275 h 3657600"/>
                  <a:gd name="connsiteX43" fmla="*/ 226737 w 445812"/>
                  <a:gd name="connsiteY43" fmla="*/ 2482850 h 3657600"/>
                  <a:gd name="connsiteX44" fmla="*/ 226737 w 445812"/>
                  <a:gd name="connsiteY44" fmla="*/ 2527300 h 3657600"/>
                  <a:gd name="connsiteX45" fmla="*/ 236262 w 445812"/>
                  <a:gd name="connsiteY45" fmla="*/ 2603500 h 3657600"/>
                  <a:gd name="connsiteX46" fmla="*/ 153712 w 445812"/>
                  <a:gd name="connsiteY46" fmla="*/ 2917824 h 3657600"/>
                  <a:gd name="connsiteX47" fmla="*/ 87037 w 445812"/>
                  <a:gd name="connsiteY47" fmla="*/ 3070224 h 3657600"/>
                  <a:gd name="connsiteX48" fmla="*/ 42587 w 445812"/>
                  <a:gd name="connsiteY48" fmla="*/ 3159124 h 3657600"/>
                  <a:gd name="connsiteX49" fmla="*/ 17187 w 445812"/>
                  <a:gd name="connsiteY49" fmla="*/ 3365499 h 3657600"/>
                  <a:gd name="connsiteX50" fmla="*/ 45762 w 445812"/>
                  <a:gd name="connsiteY50" fmla="*/ 3492499 h 3657600"/>
                  <a:gd name="connsiteX51" fmla="*/ 58462 w 445812"/>
                  <a:gd name="connsiteY51" fmla="*/ 3657600 h 3657600"/>
                  <a:gd name="connsiteX0" fmla="*/ 445812 w 445812"/>
                  <a:gd name="connsiteY0" fmla="*/ 0 h 3657600"/>
                  <a:gd name="connsiteX1" fmla="*/ 407712 w 445812"/>
                  <a:gd name="connsiteY1" fmla="*/ 66675 h 3657600"/>
                  <a:gd name="connsiteX2" fmla="*/ 353737 w 445812"/>
                  <a:gd name="connsiteY2" fmla="*/ 85725 h 3657600"/>
                  <a:gd name="connsiteX3" fmla="*/ 283887 w 445812"/>
                  <a:gd name="connsiteY3" fmla="*/ 98425 h 3657600"/>
                  <a:gd name="connsiteX4" fmla="*/ 223562 w 445812"/>
                  <a:gd name="connsiteY4" fmla="*/ 133350 h 3657600"/>
                  <a:gd name="connsiteX5" fmla="*/ 121962 w 445812"/>
                  <a:gd name="connsiteY5" fmla="*/ 196850 h 3657600"/>
                  <a:gd name="connsiteX6" fmla="*/ 131487 w 445812"/>
                  <a:gd name="connsiteY6" fmla="*/ 247650 h 3657600"/>
                  <a:gd name="connsiteX7" fmla="*/ 172762 w 445812"/>
                  <a:gd name="connsiteY7" fmla="*/ 276225 h 3657600"/>
                  <a:gd name="connsiteX8" fmla="*/ 185462 w 445812"/>
                  <a:gd name="connsiteY8" fmla="*/ 327025 h 3657600"/>
                  <a:gd name="connsiteX9" fmla="*/ 239437 w 445812"/>
                  <a:gd name="connsiteY9" fmla="*/ 368300 h 3657600"/>
                  <a:gd name="connsiteX10" fmla="*/ 239437 w 445812"/>
                  <a:gd name="connsiteY10" fmla="*/ 412750 h 3657600"/>
                  <a:gd name="connsiteX11" fmla="*/ 207687 w 445812"/>
                  <a:gd name="connsiteY11" fmla="*/ 454025 h 3657600"/>
                  <a:gd name="connsiteX12" fmla="*/ 287062 w 445812"/>
                  <a:gd name="connsiteY12" fmla="*/ 479425 h 3657600"/>
                  <a:gd name="connsiteX13" fmla="*/ 302937 w 445812"/>
                  <a:gd name="connsiteY13" fmla="*/ 511175 h 3657600"/>
                  <a:gd name="connsiteX14" fmla="*/ 210862 w 445812"/>
                  <a:gd name="connsiteY14" fmla="*/ 581025 h 3657600"/>
                  <a:gd name="connsiteX15" fmla="*/ 160062 w 445812"/>
                  <a:gd name="connsiteY15" fmla="*/ 638175 h 3657600"/>
                  <a:gd name="connsiteX16" fmla="*/ 160062 w 445812"/>
                  <a:gd name="connsiteY16" fmla="*/ 695325 h 3657600"/>
                  <a:gd name="connsiteX17" fmla="*/ 185462 w 445812"/>
                  <a:gd name="connsiteY17" fmla="*/ 784225 h 3657600"/>
                  <a:gd name="connsiteX18" fmla="*/ 194987 w 445812"/>
                  <a:gd name="connsiteY18" fmla="*/ 835025 h 3657600"/>
                  <a:gd name="connsiteX19" fmla="*/ 204512 w 445812"/>
                  <a:gd name="connsiteY19" fmla="*/ 885825 h 3657600"/>
                  <a:gd name="connsiteX20" fmla="*/ 220387 w 445812"/>
                  <a:gd name="connsiteY20" fmla="*/ 923925 h 3657600"/>
                  <a:gd name="connsiteX21" fmla="*/ 163237 w 445812"/>
                  <a:gd name="connsiteY21" fmla="*/ 1022350 h 3657600"/>
                  <a:gd name="connsiteX22" fmla="*/ 96562 w 445812"/>
                  <a:gd name="connsiteY22" fmla="*/ 1057275 h 3657600"/>
                  <a:gd name="connsiteX23" fmla="*/ 52112 w 445812"/>
                  <a:gd name="connsiteY23" fmla="*/ 1143000 h 3657600"/>
                  <a:gd name="connsiteX24" fmla="*/ 20362 w 445812"/>
                  <a:gd name="connsiteY24" fmla="*/ 1244600 h 3657600"/>
                  <a:gd name="connsiteX25" fmla="*/ 1312 w 445812"/>
                  <a:gd name="connsiteY25" fmla="*/ 1346200 h 3657600"/>
                  <a:gd name="connsiteX26" fmla="*/ 10837 w 445812"/>
                  <a:gd name="connsiteY26" fmla="*/ 1438275 h 3657600"/>
                  <a:gd name="connsiteX27" fmla="*/ 83862 w 445812"/>
                  <a:gd name="connsiteY27" fmla="*/ 1511300 h 3657600"/>
                  <a:gd name="connsiteX28" fmla="*/ 112437 w 445812"/>
                  <a:gd name="connsiteY28" fmla="*/ 1558925 h 3657600"/>
                  <a:gd name="connsiteX29" fmla="*/ 150537 w 445812"/>
                  <a:gd name="connsiteY29" fmla="*/ 1590675 h 3657600"/>
                  <a:gd name="connsiteX30" fmla="*/ 169587 w 445812"/>
                  <a:gd name="connsiteY30" fmla="*/ 1644650 h 3657600"/>
                  <a:gd name="connsiteX31" fmla="*/ 226737 w 445812"/>
                  <a:gd name="connsiteY31" fmla="*/ 1685925 h 3657600"/>
                  <a:gd name="connsiteX32" fmla="*/ 264837 w 445812"/>
                  <a:gd name="connsiteY32" fmla="*/ 1730375 h 3657600"/>
                  <a:gd name="connsiteX33" fmla="*/ 277537 w 445812"/>
                  <a:gd name="connsiteY33" fmla="*/ 1758950 h 3657600"/>
                  <a:gd name="connsiteX34" fmla="*/ 277537 w 445812"/>
                  <a:gd name="connsiteY34" fmla="*/ 1828800 h 3657600"/>
                  <a:gd name="connsiteX35" fmla="*/ 325162 w 445812"/>
                  <a:gd name="connsiteY35" fmla="*/ 1905000 h 3657600"/>
                  <a:gd name="connsiteX36" fmla="*/ 363262 w 445812"/>
                  <a:gd name="connsiteY36" fmla="*/ 1962150 h 3657600"/>
                  <a:gd name="connsiteX37" fmla="*/ 369612 w 445812"/>
                  <a:gd name="connsiteY37" fmla="*/ 2028825 h 3657600"/>
                  <a:gd name="connsiteX38" fmla="*/ 407712 w 445812"/>
                  <a:gd name="connsiteY38" fmla="*/ 2085975 h 3657600"/>
                  <a:gd name="connsiteX39" fmla="*/ 414062 w 445812"/>
                  <a:gd name="connsiteY39" fmla="*/ 2209800 h 3657600"/>
                  <a:gd name="connsiteX40" fmla="*/ 252137 w 445812"/>
                  <a:gd name="connsiteY40" fmla="*/ 2251075 h 3657600"/>
                  <a:gd name="connsiteX41" fmla="*/ 201337 w 445812"/>
                  <a:gd name="connsiteY41" fmla="*/ 2390775 h 3657600"/>
                  <a:gd name="connsiteX42" fmla="*/ 210862 w 445812"/>
                  <a:gd name="connsiteY42" fmla="*/ 2454275 h 3657600"/>
                  <a:gd name="connsiteX43" fmla="*/ 226737 w 445812"/>
                  <a:gd name="connsiteY43" fmla="*/ 2482850 h 3657600"/>
                  <a:gd name="connsiteX44" fmla="*/ 226737 w 445812"/>
                  <a:gd name="connsiteY44" fmla="*/ 2527300 h 3657600"/>
                  <a:gd name="connsiteX45" fmla="*/ 236262 w 445812"/>
                  <a:gd name="connsiteY45" fmla="*/ 2603500 h 3657600"/>
                  <a:gd name="connsiteX46" fmla="*/ 153712 w 445812"/>
                  <a:gd name="connsiteY46" fmla="*/ 2917824 h 3657600"/>
                  <a:gd name="connsiteX47" fmla="*/ 87037 w 445812"/>
                  <a:gd name="connsiteY47" fmla="*/ 3070224 h 3657600"/>
                  <a:gd name="connsiteX48" fmla="*/ 42587 w 445812"/>
                  <a:gd name="connsiteY48" fmla="*/ 3159124 h 3657600"/>
                  <a:gd name="connsiteX49" fmla="*/ 17187 w 445812"/>
                  <a:gd name="connsiteY49" fmla="*/ 3365499 h 3657600"/>
                  <a:gd name="connsiteX50" fmla="*/ 45762 w 445812"/>
                  <a:gd name="connsiteY50" fmla="*/ 3492499 h 3657600"/>
                  <a:gd name="connsiteX51" fmla="*/ 58462 w 445812"/>
                  <a:gd name="connsiteY51" fmla="*/ 3657600 h 3657600"/>
                  <a:gd name="connsiteX0" fmla="*/ 445812 w 445812"/>
                  <a:gd name="connsiteY0" fmla="*/ 0 h 3657600"/>
                  <a:gd name="connsiteX1" fmla="*/ 407712 w 445812"/>
                  <a:gd name="connsiteY1" fmla="*/ 66675 h 3657600"/>
                  <a:gd name="connsiteX2" fmla="*/ 353737 w 445812"/>
                  <a:gd name="connsiteY2" fmla="*/ 85725 h 3657600"/>
                  <a:gd name="connsiteX3" fmla="*/ 283887 w 445812"/>
                  <a:gd name="connsiteY3" fmla="*/ 98425 h 3657600"/>
                  <a:gd name="connsiteX4" fmla="*/ 223562 w 445812"/>
                  <a:gd name="connsiteY4" fmla="*/ 133350 h 3657600"/>
                  <a:gd name="connsiteX5" fmla="*/ 121962 w 445812"/>
                  <a:gd name="connsiteY5" fmla="*/ 196850 h 3657600"/>
                  <a:gd name="connsiteX6" fmla="*/ 131487 w 445812"/>
                  <a:gd name="connsiteY6" fmla="*/ 247650 h 3657600"/>
                  <a:gd name="connsiteX7" fmla="*/ 172762 w 445812"/>
                  <a:gd name="connsiteY7" fmla="*/ 276225 h 3657600"/>
                  <a:gd name="connsiteX8" fmla="*/ 185462 w 445812"/>
                  <a:gd name="connsiteY8" fmla="*/ 327025 h 3657600"/>
                  <a:gd name="connsiteX9" fmla="*/ 239437 w 445812"/>
                  <a:gd name="connsiteY9" fmla="*/ 368300 h 3657600"/>
                  <a:gd name="connsiteX10" fmla="*/ 239437 w 445812"/>
                  <a:gd name="connsiteY10" fmla="*/ 412750 h 3657600"/>
                  <a:gd name="connsiteX11" fmla="*/ 207687 w 445812"/>
                  <a:gd name="connsiteY11" fmla="*/ 454025 h 3657600"/>
                  <a:gd name="connsiteX12" fmla="*/ 287062 w 445812"/>
                  <a:gd name="connsiteY12" fmla="*/ 479425 h 3657600"/>
                  <a:gd name="connsiteX13" fmla="*/ 302937 w 445812"/>
                  <a:gd name="connsiteY13" fmla="*/ 511175 h 3657600"/>
                  <a:gd name="connsiteX14" fmla="*/ 210862 w 445812"/>
                  <a:gd name="connsiteY14" fmla="*/ 581025 h 3657600"/>
                  <a:gd name="connsiteX15" fmla="*/ 160062 w 445812"/>
                  <a:gd name="connsiteY15" fmla="*/ 638175 h 3657600"/>
                  <a:gd name="connsiteX16" fmla="*/ 160062 w 445812"/>
                  <a:gd name="connsiteY16" fmla="*/ 695325 h 3657600"/>
                  <a:gd name="connsiteX17" fmla="*/ 185462 w 445812"/>
                  <a:gd name="connsiteY17" fmla="*/ 784225 h 3657600"/>
                  <a:gd name="connsiteX18" fmla="*/ 194987 w 445812"/>
                  <a:gd name="connsiteY18" fmla="*/ 835025 h 3657600"/>
                  <a:gd name="connsiteX19" fmla="*/ 204512 w 445812"/>
                  <a:gd name="connsiteY19" fmla="*/ 885825 h 3657600"/>
                  <a:gd name="connsiteX20" fmla="*/ 220387 w 445812"/>
                  <a:gd name="connsiteY20" fmla="*/ 923925 h 3657600"/>
                  <a:gd name="connsiteX21" fmla="*/ 163237 w 445812"/>
                  <a:gd name="connsiteY21" fmla="*/ 1022350 h 3657600"/>
                  <a:gd name="connsiteX22" fmla="*/ 96562 w 445812"/>
                  <a:gd name="connsiteY22" fmla="*/ 1057275 h 3657600"/>
                  <a:gd name="connsiteX23" fmla="*/ 52112 w 445812"/>
                  <a:gd name="connsiteY23" fmla="*/ 1143000 h 3657600"/>
                  <a:gd name="connsiteX24" fmla="*/ 20362 w 445812"/>
                  <a:gd name="connsiteY24" fmla="*/ 1244600 h 3657600"/>
                  <a:gd name="connsiteX25" fmla="*/ 1312 w 445812"/>
                  <a:gd name="connsiteY25" fmla="*/ 1346200 h 3657600"/>
                  <a:gd name="connsiteX26" fmla="*/ 10837 w 445812"/>
                  <a:gd name="connsiteY26" fmla="*/ 1438275 h 3657600"/>
                  <a:gd name="connsiteX27" fmla="*/ 83862 w 445812"/>
                  <a:gd name="connsiteY27" fmla="*/ 1511300 h 3657600"/>
                  <a:gd name="connsiteX28" fmla="*/ 112437 w 445812"/>
                  <a:gd name="connsiteY28" fmla="*/ 1558925 h 3657600"/>
                  <a:gd name="connsiteX29" fmla="*/ 150537 w 445812"/>
                  <a:gd name="connsiteY29" fmla="*/ 1590675 h 3657600"/>
                  <a:gd name="connsiteX30" fmla="*/ 169587 w 445812"/>
                  <a:gd name="connsiteY30" fmla="*/ 1644650 h 3657600"/>
                  <a:gd name="connsiteX31" fmla="*/ 226737 w 445812"/>
                  <a:gd name="connsiteY31" fmla="*/ 1685925 h 3657600"/>
                  <a:gd name="connsiteX32" fmla="*/ 264837 w 445812"/>
                  <a:gd name="connsiteY32" fmla="*/ 1730375 h 3657600"/>
                  <a:gd name="connsiteX33" fmla="*/ 277537 w 445812"/>
                  <a:gd name="connsiteY33" fmla="*/ 1758950 h 3657600"/>
                  <a:gd name="connsiteX34" fmla="*/ 277537 w 445812"/>
                  <a:gd name="connsiteY34" fmla="*/ 1828800 h 3657600"/>
                  <a:gd name="connsiteX35" fmla="*/ 325162 w 445812"/>
                  <a:gd name="connsiteY35" fmla="*/ 1905000 h 3657600"/>
                  <a:gd name="connsiteX36" fmla="*/ 363262 w 445812"/>
                  <a:gd name="connsiteY36" fmla="*/ 1962150 h 3657600"/>
                  <a:gd name="connsiteX37" fmla="*/ 369612 w 445812"/>
                  <a:gd name="connsiteY37" fmla="*/ 2028825 h 3657600"/>
                  <a:gd name="connsiteX38" fmla="*/ 407712 w 445812"/>
                  <a:gd name="connsiteY38" fmla="*/ 2085975 h 3657600"/>
                  <a:gd name="connsiteX39" fmla="*/ 414062 w 445812"/>
                  <a:gd name="connsiteY39" fmla="*/ 2209800 h 3657600"/>
                  <a:gd name="connsiteX40" fmla="*/ 252137 w 445812"/>
                  <a:gd name="connsiteY40" fmla="*/ 2251075 h 3657600"/>
                  <a:gd name="connsiteX41" fmla="*/ 201337 w 445812"/>
                  <a:gd name="connsiteY41" fmla="*/ 2390775 h 3657600"/>
                  <a:gd name="connsiteX42" fmla="*/ 210862 w 445812"/>
                  <a:gd name="connsiteY42" fmla="*/ 2454275 h 3657600"/>
                  <a:gd name="connsiteX43" fmla="*/ 226737 w 445812"/>
                  <a:gd name="connsiteY43" fmla="*/ 2482850 h 3657600"/>
                  <a:gd name="connsiteX44" fmla="*/ 226737 w 445812"/>
                  <a:gd name="connsiteY44" fmla="*/ 2527300 h 3657600"/>
                  <a:gd name="connsiteX45" fmla="*/ 236262 w 445812"/>
                  <a:gd name="connsiteY45" fmla="*/ 2603500 h 3657600"/>
                  <a:gd name="connsiteX46" fmla="*/ 153712 w 445812"/>
                  <a:gd name="connsiteY46" fmla="*/ 2917824 h 3657600"/>
                  <a:gd name="connsiteX47" fmla="*/ 87037 w 445812"/>
                  <a:gd name="connsiteY47" fmla="*/ 3070224 h 3657600"/>
                  <a:gd name="connsiteX48" fmla="*/ 42587 w 445812"/>
                  <a:gd name="connsiteY48" fmla="*/ 3159124 h 3657600"/>
                  <a:gd name="connsiteX49" fmla="*/ 17187 w 445812"/>
                  <a:gd name="connsiteY49" fmla="*/ 3365499 h 3657600"/>
                  <a:gd name="connsiteX50" fmla="*/ 45762 w 445812"/>
                  <a:gd name="connsiteY50" fmla="*/ 3492499 h 3657600"/>
                  <a:gd name="connsiteX51" fmla="*/ 58462 w 445812"/>
                  <a:gd name="connsiteY51" fmla="*/ 3657600 h 3657600"/>
                  <a:gd name="connsiteX0" fmla="*/ 445812 w 445812"/>
                  <a:gd name="connsiteY0" fmla="*/ 0 h 3657600"/>
                  <a:gd name="connsiteX1" fmla="*/ 407712 w 445812"/>
                  <a:gd name="connsiteY1" fmla="*/ 66675 h 3657600"/>
                  <a:gd name="connsiteX2" fmla="*/ 353737 w 445812"/>
                  <a:gd name="connsiteY2" fmla="*/ 85725 h 3657600"/>
                  <a:gd name="connsiteX3" fmla="*/ 283887 w 445812"/>
                  <a:gd name="connsiteY3" fmla="*/ 98425 h 3657600"/>
                  <a:gd name="connsiteX4" fmla="*/ 223562 w 445812"/>
                  <a:gd name="connsiteY4" fmla="*/ 133350 h 3657600"/>
                  <a:gd name="connsiteX5" fmla="*/ 121962 w 445812"/>
                  <a:gd name="connsiteY5" fmla="*/ 196850 h 3657600"/>
                  <a:gd name="connsiteX6" fmla="*/ 131487 w 445812"/>
                  <a:gd name="connsiteY6" fmla="*/ 247650 h 3657600"/>
                  <a:gd name="connsiteX7" fmla="*/ 172762 w 445812"/>
                  <a:gd name="connsiteY7" fmla="*/ 276225 h 3657600"/>
                  <a:gd name="connsiteX8" fmla="*/ 185462 w 445812"/>
                  <a:gd name="connsiteY8" fmla="*/ 327025 h 3657600"/>
                  <a:gd name="connsiteX9" fmla="*/ 239437 w 445812"/>
                  <a:gd name="connsiteY9" fmla="*/ 368300 h 3657600"/>
                  <a:gd name="connsiteX10" fmla="*/ 239437 w 445812"/>
                  <a:gd name="connsiteY10" fmla="*/ 412750 h 3657600"/>
                  <a:gd name="connsiteX11" fmla="*/ 207687 w 445812"/>
                  <a:gd name="connsiteY11" fmla="*/ 454025 h 3657600"/>
                  <a:gd name="connsiteX12" fmla="*/ 287062 w 445812"/>
                  <a:gd name="connsiteY12" fmla="*/ 479425 h 3657600"/>
                  <a:gd name="connsiteX13" fmla="*/ 302937 w 445812"/>
                  <a:gd name="connsiteY13" fmla="*/ 511175 h 3657600"/>
                  <a:gd name="connsiteX14" fmla="*/ 210862 w 445812"/>
                  <a:gd name="connsiteY14" fmla="*/ 581025 h 3657600"/>
                  <a:gd name="connsiteX15" fmla="*/ 160062 w 445812"/>
                  <a:gd name="connsiteY15" fmla="*/ 638175 h 3657600"/>
                  <a:gd name="connsiteX16" fmla="*/ 160062 w 445812"/>
                  <a:gd name="connsiteY16" fmla="*/ 695325 h 3657600"/>
                  <a:gd name="connsiteX17" fmla="*/ 185462 w 445812"/>
                  <a:gd name="connsiteY17" fmla="*/ 784225 h 3657600"/>
                  <a:gd name="connsiteX18" fmla="*/ 194987 w 445812"/>
                  <a:gd name="connsiteY18" fmla="*/ 835025 h 3657600"/>
                  <a:gd name="connsiteX19" fmla="*/ 204512 w 445812"/>
                  <a:gd name="connsiteY19" fmla="*/ 885825 h 3657600"/>
                  <a:gd name="connsiteX20" fmla="*/ 220387 w 445812"/>
                  <a:gd name="connsiteY20" fmla="*/ 923925 h 3657600"/>
                  <a:gd name="connsiteX21" fmla="*/ 163237 w 445812"/>
                  <a:gd name="connsiteY21" fmla="*/ 1022350 h 3657600"/>
                  <a:gd name="connsiteX22" fmla="*/ 96562 w 445812"/>
                  <a:gd name="connsiteY22" fmla="*/ 1057275 h 3657600"/>
                  <a:gd name="connsiteX23" fmla="*/ 52112 w 445812"/>
                  <a:gd name="connsiteY23" fmla="*/ 1143000 h 3657600"/>
                  <a:gd name="connsiteX24" fmla="*/ 20362 w 445812"/>
                  <a:gd name="connsiteY24" fmla="*/ 1244600 h 3657600"/>
                  <a:gd name="connsiteX25" fmla="*/ 1312 w 445812"/>
                  <a:gd name="connsiteY25" fmla="*/ 1346200 h 3657600"/>
                  <a:gd name="connsiteX26" fmla="*/ 10837 w 445812"/>
                  <a:gd name="connsiteY26" fmla="*/ 1438275 h 3657600"/>
                  <a:gd name="connsiteX27" fmla="*/ 83862 w 445812"/>
                  <a:gd name="connsiteY27" fmla="*/ 1511300 h 3657600"/>
                  <a:gd name="connsiteX28" fmla="*/ 112437 w 445812"/>
                  <a:gd name="connsiteY28" fmla="*/ 1558925 h 3657600"/>
                  <a:gd name="connsiteX29" fmla="*/ 150537 w 445812"/>
                  <a:gd name="connsiteY29" fmla="*/ 1590675 h 3657600"/>
                  <a:gd name="connsiteX30" fmla="*/ 169587 w 445812"/>
                  <a:gd name="connsiteY30" fmla="*/ 1644650 h 3657600"/>
                  <a:gd name="connsiteX31" fmla="*/ 226737 w 445812"/>
                  <a:gd name="connsiteY31" fmla="*/ 1685925 h 3657600"/>
                  <a:gd name="connsiteX32" fmla="*/ 264837 w 445812"/>
                  <a:gd name="connsiteY32" fmla="*/ 1730375 h 3657600"/>
                  <a:gd name="connsiteX33" fmla="*/ 277537 w 445812"/>
                  <a:gd name="connsiteY33" fmla="*/ 1758950 h 3657600"/>
                  <a:gd name="connsiteX34" fmla="*/ 277537 w 445812"/>
                  <a:gd name="connsiteY34" fmla="*/ 1828800 h 3657600"/>
                  <a:gd name="connsiteX35" fmla="*/ 325162 w 445812"/>
                  <a:gd name="connsiteY35" fmla="*/ 1905000 h 3657600"/>
                  <a:gd name="connsiteX36" fmla="*/ 363262 w 445812"/>
                  <a:gd name="connsiteY36" fmla="*/ 1962150 h 3657600"/>
                  <a:gd name="connsiteX37" fmla="*/ 369612 w 445812"/>
                  <a:gd name="connsiteY37" fmla="*/ 2028825 h 3657600"/>
                  <a:gd name="connsiteX38" fmla="*/ 407712 w 445812"/>
                  <a:gd name="connsiteY38" fmla="*/ 2085975 h 3657600"/>
                  <a:gd name="connsiteX39" fmla="*/ 414062 w 445812"/>
                  <a:gd name="connsiteY39" fmla="*/ 2209800 h 3657600"/>
                  <a:gd name="connsiteX40" fmla="*/ 252137 w 445812"/>
                  <a:gd name="connsiteY40" fmla="*/ 2251075 h 3657600"/>
                  <a:gd name="connsiteX41" fmla="*/ 201337 w 445812"/>
                  <a:gd name="connsiteY41" fmla="*/ 2390775 h 3657600"/>
                  <a:gd name="connsiteX42" fmla="*/ 210862 w 445812"/>
                  <a:gd name="connsiteY42" fmla="*/ 2454275 h 3657600"/>
                  <a:gd name="connsiteX43" fmla="*/ 226737 w 445812"/>
                  <a:gd name="connsiteY43" fmla="*/ 2482850 h 3657600"/>
                  <a:gd name="connsiteX44" fmla="*/ 226737 w 445812"/>
                  <a:gd name="connsiteY44" fmla="*/ 2527300 h 3657600"/>
                  <a:gd name="connsiteX45" fmla="*/ 236262 w 445812"/>
                  <a:gd name="connsiteY45" fmla="*/ 2603500 h 3657600"/>
                  <a:gd name="connsiteX46" fmla="*/ 153712 w 445812"/>
                  <a:gd name="connsiteY46" fmla="*/ 2917824 h 3657600"/>
                  <a:gd name="connsiteX47" fmla="*/ 87037 w 445812"/>
                  <a:gd name="connsiteY47" fmla="*/ 3070224 h 3657600"/>
                  <a:gd name="connsiteX48" fmla="*/ 42587 w 445812"/>
                  <a:gd name="connsiteY48" fmla="*/ 3159124 h 3657600"/>
                  <a:gd name="connsiteX49" fmla="*/ 17187 w 445812"/>
                  <a:gd name="connsiteY49" fmla="*/ 3365499 h 3657600"/>
                  <a:gd name="connsiteX50" fmla="*/ 45762 w 445812"/>
                  <a:gd name="connsiteY50" fmla="*/ 3492499 h 3657600"/>
                  <a:gd name="connsiteX51" fmla="*/ 58462 w 445812"/>
                  <a:gd name="connsiteY51" fmla="*/ 3657600 h 3657600"/>
                  <a:gd name="connsiteX0" fmla="*/ 445812 w 445812"/>
                  <a:gd name="connsiteY0" fmla="*/ 0 h 3657600"/>
                  <a:gd name="connsiteX1" fmla="*/ 407712 w 445812"/>
                  <a:gd name="connsiteY1" fmla="*/ 66675 h 3657600"/>
                  <a:gd name="connsiteX2" fmla="*/ 353737 w 445812"/>
                  <a:gd name="connsiteY2" fmla="*/ 85725 h 3657600"/>
                  <a:gd name="connsiteX3" fmla="*/ 283887 w 445812"/>
                  <a:gd name="connsiteY3" fmla="*/ 98425 h 3657600"/>
                  <a:gd name="connsiteX4" fmla="*/ 223562 w 445812"/>
                  <a:gd name="connsiteY4" fmla="*/ 133350 h 3657600"/>
                  <a:gd name="connsiteX5" fmla="*/ 121962 w 445812"/>
                  <a:gd name="connsiteY5" fmla="*/ 196850 h 3657600"/>
                  <a:gd name="connsiteX6" fmla="*/ 131487 w 445812"/>
                  <a:gd name="connsiteY6" fmla="*/ 247650 h 3657600"/>
                  <a:gd name="connsiteX7" fmla="*/ 172762 w 445812"/>
                  <a:gd name="connsiteY7" fmla="*/ 276225 h 3657600"/>
                  <a:gd name="connsiteX8" fmla="*/ 185462 w 445812"/>
                  <a:gd name="connsiteY8" fmla="*/ 327025 h 3657600"/>
                  <a:gd name="connsiteX9" fmla="*/ 239437 w 445812"/>
                  <a:gd name="connsiteY9" fmla="*/ 368300 h 3657600"/>
                  <a:gd name="connsiteX10" fmla="*/ 239437 w 445812"/>
                  <a:gd name="connsiteY10" fmla="*/ 412750 h 3657600"/>
                  <a:gd name="connsiteX11" fmla="*/ 207687 w 445812"/>
                  <a:gd name="connsiteY11" fmla="*/ 454025 h 3657600"/>
                  <a:gd name="connsiteX12" fmla="*/ 287062 w 445812"/>
                  <a:gd name="connsiteY12" fmla="*/ 479425 h 3657600"/>
                  <a:gd name="connsiteX13" fmla="*/ 302937 w 445812"/>
                  <a:gd name="connsiteY13" fmla="*/ 511175 h 3657600"/>
                  <a:gd name="connsiteX14" fmla="*/ 210862 w 445812"/>
                  <a:gd name="connsiteY14" fmla="*/ 581025 h 3657600"/>
                  <a:gd name="connsiteX15" fmla="*/ 160062 w 445812"/>
                  <a:gd name="connsiteY15" fmla="*/ 638175 h 3657600"/>
                  <a:gd name="connsiteX16" fmla="*/ 160062 w 445812"/>
                  <a:gd name="connsiteY16" fmla="*/ 695325 h 3657600"/>
                  <a:gd name="connsiteX17" fmla="*/ 185462 w 445812"/>
                  <a:gd name="connsiteY17" fmla="*/ 784225 h 3657600"/>
                  <a:gd name="connsiteX18" fmla="*/ 194987 w 445812"/>
                  <a:gd name="connsiteY18" fmla="*/ 835025 h 3657600"/>
                  <a:gd name="connsiteX19" fmla="*/ 204512 w 445812"/>
                  <a:gd name="connsiteY19" fmla="*/ 885825 h 3657600"/>
                  <a:gd name="connsiteX20" fmla="*/ 220387 w 445812"/>
                  <a:gd name="connsiteY20" fmla="*/ 923925 h 3657600"/>
                  <a:gd name="connsiteX21" fmla="*/ 163237 w 445812"/>
                  <a:gd name="connsiteY21" fmla="*/ 1022350 h 3657600"/>
                  <a:gd name="connsiteX22" fmla="*/ 96562 w 445812"/>
                  <a:gd name="connsiteY22" fmla="*/ 1057275 h 3657600"/>
                  <a:gd name="connsiteX23" fmla="*/ 52112 w 445812"/>
                  <a:gd name="connsiteY23" fmla="*/ 1143000 h 3657600"/>
                  <a:gd name="connsiteX24" fmla="*/ 20362 w 445812"/>
                  <a:gd name="connsiteY24" fmla="*/ 1244600 h 3657600"/>
                  <a:gd name="connsiteX25" fmla="*/ 1312 w 445812"/>
                  <a:gd name="connsiteY25" fmla="*/ 1346200 h 3657600"/>
                  <a:gd name="connsiteX26" fmla="*/ 10837 w 445812"/>
                  <a:gd name="connsiteY26" fmla="*/ 1438275 h 3657600"/>
                  <a:gd name="connsiteX27" fmla="*/ 83862 w 445812"/>
                  <a:gd name="connsiteY27" fmla="*/ 1511300 h 3657600"/>
                  <a:gd name="connsiteX28" fmla="*/ 112437 w 445812"/>
                  <a:gd name="connsiteY28" fmla="*/ 1558925 h 3657600"/>
                  <a:gd name="connsiteX29" fmla="*/ 150537 w 445812"/>
                  <a:gd name="connsiteY29" fmla="*/ 1590675 h 3657600"/>
                  <a:gd name="connsiteX30" fmla="*/ 169587 w 445812"/>
                  <a:gd name="connsiteY30" fmla="*/ 1644650 h 3657600"/>
                  <a:gd name="connsiteX31" fmla="*/ 226737 w 445812"/>
                  <a:gd name="connsiteY31" fmla="*/ 1685925 h 3657600"/>
                  <a:gd name="connsiteX32" fmla="*/ 264837 w 445812"/>
                  <a:gd name="connsiteY32" fmla="*/ 1730375 h 3657600"/>
                  <a:gd name="connsiteX33" fmla="*/ 277537 w 445812"/>
                  <a:gd name="connsiteY33" fmla="*/ 1758950 h 3657600"/>
                  <a:gd name="connsiteX34" fmla="*/ 277537 w 445812"/>
                  <a:gd name="connsiteY34" fmla="*/ 1828800 h 3657600"/>
                  <a:gd name="connsiteX35" fmla="*/ 325162 w 445812"/>
                  <a:gd name="connsiteY35" fmla="*/ 1905000 h 3657600"/>
                  <a:gd name="connsiteX36" fmla="*/ 363262 w 445812"/>
                  <a:gd name="connsiteY36" fmla="*/ 1962150 h 3657600"/>
                  <a:gd name="connsiteX37" fmla="*/ 369612 w 445812"/>
                  <a:gd name="connsiteY37" fmla="*/ 2028825 h 3657600"/>
                  <a:gd name="connsiteX38" fmla="*/ 407712 w 445812"/>
                  <a:gd name="connsiteY38" fmla="*/ 2085975 h 3657600"/>
                  <a:gd name="connsiteX39" fmla="*/ 414062 w 445812"/>
                  <a:gd name="connsiteY39" fmla="*/ 2209800 h 3657600"/>
                  <a:gd name="connsiteX40" fmla="*/ 252137 w 445812"/>
                  <a:gd name="connsiteY40" fmla="*/ 2251075 h 3657600"/>
                  <a:gd name="connsiteX41" fmla="*/ 201337 w 445812"/>
                  <a:gd name="connsiteY41" fmla="*/ 2390775 h 3657600"/>
                  <a:gd name="connsiteX42" fmla="*/ 210862 w 445812"/>
                  <a:gd name="connsiteY42" fmla="*/ 2454275 h 3657600"/>
                  <a:gd name="connsiteX43" fmla="*/ 226737 w 445812"/>
                  <a:gd name="connsiteY43" fmla="*/ 2482850 h 3657600"/>
                  <a:gd name="connsiteX44" fmla="*/ 226737 w 445812"/>
                  <a:gd name="connsiteY44" fmla="*/ 2527300 h 3657600"/>
                  <a:gd name="connsiteX45" fmla="*/ 236262 w 445812"/>
                  <a:gd name="connsiteY45" fmla="*/ 2603500 h 3657600"/>
                  <a:gd name="connsiteX46" fmla="*/ 153712 w 445812"/>
                  <a:gd name="connsiteY46" fmla="*/ 2917824 h 3657600"/>
                  <a:gd name="connsiteX47" fmla="*/ 77512 w 445812"/>
                  <a:gd name="connsiteY47" fmla="*/ 3070224 h 3657600"/>
                  <a:gd name="connsiteX48" fmla="*/ 42587 w 445812"/>
                  <a:gd name="connsiteY48" fmla="*/ 3159124 h 3657600"/>
                  <a:gd name="connsiteX49" fmla="*/ 17187 w 445812"/>
                  <a:gd name="connsiteY49" fmla="*/ 3365499 h 3657600"/>
                  <a:gd name="connsiteX50" fmla="*/ 45762 w 445812"/>
                  <a:gd name="connsiteY50" fmla="*/ 3492499 h 3657600"/>
                  <a:gd name="connsiteX51" fmla="*/ 58462 w 445812"/>
                  <a:gd name="connsiteY51" fmla="*/ 3657600 h 3657600"/>
                  <a:gd name="connsiteX0" fmla="*/ 445812 w 445812"/>
                  <a:gd name="connsiteY0" fmla="*/ 0 h 3657600"/>
                  <a:gd name="connsiteX1" fmla="*/ 407712 w 445812"/>
                  <a:gd name="connsiteY1" fmla="*/ 66675 h 3657600"/>
                  <a:gd name="connsiteX2" fmla="*/ 353737 w 445812"/>
                  <a:gd name="connsiteY2" fmla="*/ 85725 h 3657600"/>
                  <a:gd name="connsiteX3" fmla="*/ 283887 w 445812"/>
                  <a:gd name="connsiteY3" fmla="*/ 98425 h 3657600"/>
                  <a:gd name="connsiteX4" fmla="*/ 223562 w 445812"/>
                  <a:gd name="connsiteY4" fmla="*/ 133350 h 3657600"/>
                  <a:gd name="connsiteX5" fmla="*/ 121962 w 445812"/>
                  <a:gd name="connsiteY5" fmla="*/ 196850 h 3657600"/>
                  <a:gd name="connsiteX6" fmla="*/ 131487 w 445812"/>
                  <a:gd name="connsiteY6" fmla="*/ 247650 h 3657600"/>
                  <a:gd name="connsiteX7" fmla="*/ 172762 w 445812"/>
                  <a:gd name="connsiteY7" fmla="*/ 276225 h 3657600"/>
                  <a:gd name="connsiteX8" fmla="*/ 185462 w 445812"/>
                  <a:gd name="connsiteY8" fmla="*/ 327025 h 3657600"/>
                  <a:gd name="connsiteX9" fmla="*/ 239437 w 445812"/>
                  <a:gd name="connsiteY9" fmla="*/ 368300 h 3657600"/>
                  <a:gd name="connsiteX10" fmla="*/ 239437 w 445812"/>
                  <a:gd name="connsiteY10" fmla="*/ 412750 h 3657600"/>
                  <a:gd name="connsiteX11" fmla="*/ 207687 w 445812"/>
                  <a:gd name="connsiteY11" fmla="*/ 454025 h 3657600"/>
                  <a:gd name="connsiteX12" fmla="*/ 287062 w 445812"/>
                  <a:gd name="connsiteY12" fmla="*/ 479425 h 3657600"/>
                  <a:gd name="connsiteX13" fmla="*/ 302937 w 445812"/>
                  <a:gd name="connsiteY13" fmla="*/ 511175 h 3657600"/>
                  <a:gd name="connsiteX14" fmla="*/ 210862 w 445812"/>
                  <a:gd name="connsiteY14" fmla="*/ 581025 h 3657600"/>
                  <a:gd name="connsiteX15" fmla="*/ 160062 w 445812"/>
                  <a:gd name="connsiteY15" fmla="*/ 638175 h 3657600"/>
                  <a:gd name="connsiteX16" fmla="*/ 160062 w 445812"/>
                  <a:gd name="connsiteY16" fmla="*/ 695325 h 3657600"/>
                  <a:gd name="connsiteX17" fmla="*/ 185462 w 445812"/>
                  <a:gd name="connsiteY17" fmla="*/ 784225 h 3657600"/>
                  <a:gd name="connsiteX18" fmla="*/ 194987 w 445812"/>
                  <a:gd name="connsiteY18" fmla="*/ 835025 h 3657600"/>
                  <a:gd name="connsiteX19" fmla="*/ 204512 w 445812"/>
                  <a:gd name="connsiteY19" fmla="*/ 885825 h 3657600"/>
                  <a:gd name="connsiteX20" fmla="*/ 220387 w 445812"/>
                  <a:gd name="connsiteY20" fmla="*/ 923925 h 3657600"/>
                  <a:gd name="connsiteX21" fmla="*/ 163237 w 445812"/>
                  <a:gd name="connsiteY21" fmla="*/ 1022350 h 3657600"/>
                  <a:gd name="connsiteX22" fmla="*/ 96562 w 445812"/>
                  <a:gd name="connsiteY22" fmla="*/ 1057275 h 3657600"/>
                  <a:gd name="connsiteX23" fmla="*/ 52112 w 445812"/>
                  <a:gd name="connsiteY23" fmla="*/ 1143000 h 3657600"/>
                  <a:gd name="connsiteX24" fmla="*/ 20362 w 445812"/>
                  <a:gd name="connsiteY24" fmla="*/ 1244600 h 3657600"/>
                  <a:gd name="connsiteX25" fmla="*/ 1312 w 445812"/>
                  <a:gd name="connsiteY25" fmla="*/ 1346200 h 3657600"/>
                  <a:gd name="connsiteX26" fmla="*/ 10837 w 445812"/>
                  <a:gd name="connsiteY26" fmla="*/ 1438275 h 3657600"/>
                  <a:gd name="connsiteX27" fmla="*/ 83862 w 445812"/>
                  <a:gd name="connsiteY27" fmla="*/ 1511300 h 3657600"/>
                  <a:gd name="connsiteX28" fmla="*/ 112437 w 445812"/>
                  <a:gd name="connsiteY28" fmla="*/ 1558925 h 3657600"/>
                  <a:gd name="connsiteX29" fmla="*/ 150537 w 445812"/>
                  <a:gd name="connsiteY29" fmla="*/ 1590675 h 3657600"/>
                  <a:gd name="connsiteX30" fmla="*/ 169587 w 445812"/>
                  <a:gd name="connsiteY30" fmla="*/ 1644650 h 3657600"/>
                  <a:gd name="connsiteX31" fmla="*/ 226737 w 445812"/>
                  <a:gd name="connsiteY31" fmla="*/ 1685925 h 3657600"/>
                  <a:gd name="connsiteX32" fmla="*/ 264837 w 445812"/>
                  <a:gd name="connsiteY32" fmla="*/ 1730375 h 3657600"/>
                  <a:gd name="connsiteX33" fmla="*/ 277537 w 445812"/>
                  <a:gd name="connsiteY33" fmla="*/ 1758950 h 3657600"/>
                  <a:gd name="connsiteX34" fmla="*/ 277537 w 445812"/>
                  <a:gd name="connsiteY34" fmla="*/ 1828800 h 3657600"/>
                  <a:gd name="connsiteX35" fmla="*/ 325162 w 445812"/>
                  <a:gd name="connsiteY35" fmla="*/ 1905000 h 3657600"/>
                  <a:gd name="connsiteX36" fmla="*/ 363262 w 445812"/>
                  <a:gd name="connsiteY36" fmla="*/ 1962150 h 3657600"/>
                  <a:gd name="connsiteX37" fmla="*/ 369612 w 445812"/>
                  <a:gd name="connsiteY37" fmla="*/ 2028825 h 3657600"/>
                  <a:gd name="connsiteX38" fmla="*/ 407712 w 445812"/>
                  <a:gd name="connsiteY38" fmla="*/ 2085975 h 3657600"/>
                  <a:gd name="connsiteX39" fmla="*/ 414062 w 445812"/>
                  <a:gd name="connsiteY39" fmla="*/ 2209800 h 3657600"/>
                  <a:gd name="connsiteX40" fmla="*/ 252137 w 445812"/>
                  <a:gd name="connsiteY40" fmla="*/ 2251075 h 3657600"/>
                  <a:gd name="connsiteX41" fmla="*/ 201337 w 445812"/>
                  <a:gd name="connsiteY41" fmla="*/ 2390775 h 3657600"/>
                  <a:gd name="connsiteX42" fmla="*/ 210862 w 445812"/>
                  <a:gd name="connsiteY42" fmla="*/ 2454275 h 3657600"/>
                  <a:gd name="connsiteX43" fmla="*/ 226737 w 445812"/>
                  <a:gd name="connsiteY43" fmla="*/ 2482850 h 3657600"/>
                  <a:gd name="connsiteX44" fmla="*/ 226737 w 445812"/>
                  <a:gd name="connsiteY44" fmla="*/ 2527300 h 3657600"/>
                  <a:gd name="connsiteX45" fmla="*/ 236262 w 445812"/>
                  <a:gd name="connsiteY45" fmla="*/ 2603500 h 3657600"/>
                  <a:gd name="connsiteX46" fmla="*/ 153712 w 445812"/>
                  <a:gd name="connsiteY46" fmla="*/ 2917824 h 3657600"/>
                  <a:gd name="connsiteX47" fmla="*/ 80687 w 445812"/>
                  <a:gd name="connsiteY47" fmla="*/ 3063874 h 3657600"/>
                  <a:gd name="connsiteX48" fmla="*/ 42587 w 445812"/>
                  <a:gd name="connsiteY48" fmla="*/ 3159124 h 3657600"/>
                  <a:gd name="connsiteX49" fmla="*/ 17187 w 445812"/>
                  <a:gd name="connsiteY49" fmla="*/ 3365499 h 3657600"/>
                  <a:gd name="connsiteX50" fmla="*/ 45762 w 445812"/>
                  <a:gd name="connsiteY50" fmla="*/ 3492499 h 3657600"/>
                  <a:gd name="connsiteX51" fmla="*/ 58462 w 445812"/>
                  <a:gd name="connsiteY51" fmla="*/ 3657600 h 3657600"/>
                  <a:gd name="connsiteX0" fmla="*/ 445812 w 445812"/>
                  <a:gd name="connsiteY0" fmla="*/ 0 h 3657600"/>
                  <a:gd name="connsiteX1" fmla="*/ 407712 w 445812"/>
                  <a:gd name="connsiteY1" fmla="*/ 66675 h 3657600"/>
                  <a:gd name="connsiteX2" fmla="*/ 353737 w 445812"/>
                  <a:gd name="connsiteY2" fmla="*/ 85725 h 3657600"/>
                  <a:gd name="connsiteX3" fmla="*/ 283887 w 445812"/>
                  <a:gd name="connsiteY3" fmla="*/ 98425 h 3657600"/>
                  <a:gd name="connsiteX4" fmla="*/ 223562 w 445812"/>
                  <a:gd name="connsiteY4" fmla="*/ 133350 h 3657600"/>
                  <a:gd name="connsiteX5" fmla="*/ 121962 w 445812"/>
                  <a:gd name="connsiteY5" fmla="*/ 196850 h 3657600"/>
                  <a:gd name="connsiteX6" fmla="*/ 131487 w 445812"/>
                  <a:gd name="connsiteY6" fmla="*/ 247650 h 3657600"/>
                  <a:gd name="connsiteX7" fmla="*/ 172762 w 445812"/>
                  <a:gd name="connsiteY7" fmla="*/ 276225 h 3657600"/>
                  <a:gd name="connsiteX8" fmla="*/ 185462 w 445812"/>
                  <a:gd name="connsiteY8" fmla="*/ 327025 h 3657600"/>
                  <a:gd name="connsiteX9" fmla="*/ 239437 w 445812"/>
                  <a:gd name="connsiteY9" fmla="*/ 368300 h 3657600"/>
                  <a:gd name="connsiteX10" fmla="*/ 239437 w 445812"/>
                  <a:gd name="connsiteY10" fmla="*/ 412750 h 3657600"/>
                  <a:gd name="connsiteX11" fmla="*/ 207687 w 445812"/>
                  <a:gd name="connsiteY11" fmla="*/ 454025 h 3657600"/>
                  <a:gd name="connsiteX12" fmla="*/ 287062 w 445812"/>
                  <a:gd name="connsiteY12" fmla="*/ 479425 h 3657600"/>
                  <a:gd name="connsiteX13" fmla="*/ 302937 w 445812"/>
                  <a:gd name="connsiteY13" fmla="*/ 511175 h 3657600"/>
                  <a:gd name="connsiteX14" fmla="*/ 210862 w 445812"/>
                  <a:gd name="connsiteY14" fmla="*/ 581025 h 3657600"/>
                  <a:gd name="connsiteX15" fmla="*/ 160062 w 445812"/>
                  <a:gd name="connsiteY15" fmla="*/ 638175 h 3657600"/>
                  <a:gd name="connsiteX16" fmla="*/ 160062 w 445812"/>
                  <a:gd name="connsiteY16" fmla="*/ 695325 h 3657600"/>
                  <a:gd name="connsiteX17" fmla="*/ 185462 w 445812"/>
                  <a:gd name="connsiteY17" fmla="*/ 784225 h 3657600"/>
                  <a:gd name="connsiteX18" fmla="*/ 194987 w 445812"/>
                  <a:gd name="connsiteY18" fmla="*/ 835025 h 3657600"/>
                  <a:gd name="connsiteX19" fmla="*/ 204512 w 445812"/>
                  <a:gd name="connsiteY19" fmla="*/ 885825 h 3657600"/>
                  <a:gd name="connsiteX20" fmla="*/ 220387 w 445812"/>
                  <a:gd name="connsiteY20" fmla="*/ 923925 h 3657600"/>
                  <a:gd name="connsiteX21" fmla="*/ 163237 w 445812"/>
                  <a:gd name="connsiteY21" fmla="*/ 1022350 h 3657600"/>
                  <a:gd name="connsiteX22" fmla="*/ 96562 w 445812"/>
                  <a:gd name="connsiteY22" fmla="*/ 1057275 h 3657600"/>
                  <a:gd name="connsiteX23" fmla="*/ 52112 w 445812"/>
                  <a:gd name="connsiteY23" fmla="*/ 1143000 h 3657600"/>
                  <a:gd name="connsiteX24" fmla="*/ 20362 w 445812"/>
                  <a:gd name="connsiteY24" fmla="*/ 1244600 h 3657600"/>
                  <a:gd name="connsiteX25" fmla="*/ 1312 w 445812"/>
                  <a:gd name="connsiteY25" fmla="*/ 1346200 h 3657600"/>
                  <a:gd name="connsiteX26" fmla="*/ 10837 w 445812"/>
                  <a:gd name="connsiteY26" fmla="*/ 1438275 h 3657600"/>
                  <a:gd name="connsiteX27" fmla="*/ 83862 w 445812"/>
                  <a:gd name="connsiteY27" fmla="*/ 1511300 h 3657600"/>
                  <a:gd name="connsiteX28" fmla="*/ 112437 w 445812"/>
                  <a:gd name="connsiteY28" fmla="*/ 1558925 h 3657600"/>
                  <a:gd name="connsiteX29" fmla="*/ 150537 w 445812"/>
                  <a:gd name="connsiteY29" fmla="*/ 1590675 h 3657600"/>
                  <a:gd name="connsiteX30" fmla="*/ 169587 w 445812"/>
                  <a:gd name="connsiteY30" fmla="*/ 1644650 h 3657600"/>
                  <a:gd name="connsiteX31" fmla="*/ 226737 w 445812"/>
                  <a:gd name="connsiteY31" fmla="*/ 1685925 h 3657600"/>
                  <a:gd name="connsiteX32" fmla="*/ 264837 w 445812"/>
                  <a:gd name="connsiteY32" fmla="*/ 1730375 h 3657600"/>
                  <a:gd name="connsiteX33" fmla="*/ 277537 w 445812"/>
                  <a:gd name="connsiteY33" fmla="*/ 1758950 h 3657600"/>
                  <a:gd name="connsiteX34" fmla="*/ 277537 w 445812"/>
                  <a:gd name="connsiteY34" fmla="*/ 1828800 h 3657600"/>
                  <a:gd name="connsiteX35" fmla="*/ 325162 w 445812"/>
                  <a:gd name="connsiteY35" fmla="*/ 1905000 h 3657600"/>
                  <a:gd name="connsiteX36" fmla="*/ 363262 w 445812"/>
                  <a:gd name="connsiteY36" fmla="*/ 1962150 h 3657600"/>
                  <a:gd name="connsiteX37" fmla="*/ 369612 w 445812"/>
                  <a:gd name="connsiteY37" fmla="*/ 2028825 h 3657600"/>
                  <a:gd name="connsiteX38" fmla="*/ 407712 w 445812"/>
                  <a:gd name="connsiteY38" fmla="*/ 2085975 h 3657600"/>
                  <a:gd name="connsiteX39" fmla="*/ 414062 w 445812"/>
                  <a:gd name="connsiteY39" fmla="*/ 2209800 h 3657600"/>
                  <a:gd name="connsiteX40" fmla="*/ 252137 w 445812"/>
                  <a:gd name="connsiteY40" fmla="*/ 2251075 h 3657600"/>
                  <a:gd name="connsiteX41" fmla="*/ 201337 w 445812"/>
                  <a:gd name="connsiteY41" fmla="*/ 2390775 h 3657600"/>
                  <a:gd name="connsiteX42" fmla="*/ 210862 w 445812"/>
                  <a:gd name="connsiteY42" fmla="*/ 2454275 h 3657600"/>
                  <a:gd name="connsiteX43" fmla="*/ 226737 w 445812"/>
                  <a:gd name="connsiteY43" fmla="*/ 2482850 h 3657600"/>
                  <a:gd name="connsiteX44" fmla="*/ 226737 w 445812"/>
                  <a:gd name="connsiteY44" fmla="*/ 2527300 h 3657600"/>
                  <a:gd name="connsiteX45" fmla="*/ 236262 w 445812"/>
                  <a:gd name="connsiteY45" fmla="*/ 2603500 h 3657600"/>
                  <a:gd name="connsiteX46" fmla="*/ 153712 w 445812"/>
                  <a:gd name="connsiteY46" fmla="*/ 2917824 h 3657600"/>
                  <a:gd name="connsiteX47" fmla="*/ 80687 w 445812"/>
                  <a:gd name="connsiteY47" fmla="*/ 3063874 h 3657600"/>
                  <a:gd name="connsiteX48" fmla="*/ 42587 w 445812"/>
                  <a:gd name="connsiteY48" fmla="*/ 3133724 h 3657600"/>
                  <a:gd name="connsiteX49" fmla="*/ 17187 w 445812"/>
                  <a:gd name="connsiteY49" fmla="*/ 3365499 h 3657600"/>
                  <a:gd name="connsiteX50" fmla="*/ 45762 w 445812"/>
                  <a:gd name="connsiteY50" fmla="*/ 3492499 h 3657600"/>
                  <a:gd name="connsiteX51" fmla="*/ 58462 w 445812"/>
                  <a:gd name="connsiteY51" fmla="*/ 3657600 h 3657600"/>
                  <a:gd name="connsiteX0" fmla="*/ 445812 w 445812"/>
                  <a:gd name="connsiteY0" fmla="*/ 0 h 3657600"/>
                  <a:gd name="connsiteX1" fmla="*/ 407712 w 445812"/>
                  <a:gd name="connsiteY1" fmla="*/ 66675 h 3657600"/>
                  <a:gd name="connsiteX2" fmla="*/ 353737 w 445812"/>
                  <a:gd name="connsiteY2" fmla="*/ 85725 h 3657600"/>
                  <a:gd name="connsiteX3" fmla="*/ 283887 w 445812"/>
                  <a:gd name="connsiteY3" fmla="*/ 98425 h 3657600"/>
                  <a:gd name="connsiteX4" fmla="*/ 223562 w 445812"/>
                  <a:gd name="connsiteY4" fmla="*/ 133350 h 3657600"/>
                  <a:gd name="connsiteX5" fmla="*/ 121962 w 445812"/>
                  <a:gd name="connsiteY5" fmla="*/ 196850 h 3657600"/>
                  <a:gd name="connsiteX6" fmla="*/ 131487 w 445812"/>
                  <a:gd name="connsiteY6" fmla="*/ 247650 h 3657600"/>
                  <a:gd name="connsiteX7" fmla="*/ 172762 w 445812"/>
                  <a:gd name="connsiteY7" fmla="*/ 276225 h 3657600"/>
                  <a:gd name="connsiteX8" fmla="*/ 185462 w 445812"/>
                  <a:gd name="connsiteY8" fmla="*/ 327025 h 3657600"/>
                  <a:gd name="connsiteX9" fmla="*/ 239437 w 445812"/>
                  <a:gd name="connsiteY9" fmla="*/ 368300 h 3657600"/>
                  <a:gd name="connsiteX10" fmla="*/ 239437 w 445812"/>
                  <a:gd name="connsiteY10" fmla="*/ 412750 h 3657600"/>
                  <a:gd name="connsiteX11" fmla="*/ 207687 w 445812"/>
                  <a:gd name="connsiteY11" fmla="*/ 454025 h 3657600"/>
                  <a:gd name="connsiteX12" fmla="*/ 287062 w 445812"/>
                  <a:gd name="connsiteY12" fmla="*/ 479425 h 3657600"/>
                  <a:gd name="connsiteX13" fmla="*/ 302937 w 445812"/>
                  <a:gd name="connsiteY13" fmla="*/ 511175 h 3657600"/>
                  <a:gd name="connsiteX14" fmla="*/ 210862 w 445812"/>
                  <a:gd name="connsiteY14" fmla="*/ 581025 h 3657600"/>
                  <a:gd name="connsiteX15" fmla="*/ 160062 w 445812"/>
                  <a:gd name="connsiteY15" fmla="*/ 638175 h 3657600"/>
                  <a:gd name="connsiteX16" fmla="*/ 160062 w 445812"/>
                  <a:gd name="connsiteY16" fmla="*/ 695325 h 3657600"/>
                  <a:gd name="connsiteX17" fmla="*/ 185462 w 445812"/>
                  <a:gd name="connsiteY17" fmla="*/ 784225 h 3657600"/>
                  <a:gd name="connsiteX18" fmla="*/ 194987 w 445812"/>
                  <a:gd name="connsiteY18" fmla="*/ 835025 h 3657600"/>
                  <a:gd name="connsiteX19" fmla="*/ 204512 w 445812"/>
                  <a:gd name="connsiteY19" fmla="*/ 885825 h 3657600"/>
                  <a:gd name="connsiteX20" fmla="*/ 220387 w 445812"/>
                  <a:gd name="connsiteY20" fmla="*/ 923925 h 3657600"/>
                  <a:gd name="connsiteX21" fmla="*/ 163237 w 445812"/>
                  <a:gd name="connsiteY21" fmla="*/ 1022350 h 3657600"/>
                  <a:gd name="connsiteX22" fmla="*/ 96562 w 445812"/>
                  <a:gd name="connsiteY22" fmla="*/ 1057275 h 3657600"/>
                  <a:gd name="connsiteX23" fmla="*/ 52112 w 445812"/>
                  <a:gd name="connsiteY23" fmla="*/ 1143000 h 3657600"/>
                  <a:gd name="connsiteX24" fmla="*/ 20362 w 445812"/>
                  <a:gd name="connsiteY24" fmla="*/ 1244600 h 3657600"/>
                  <a:gd name="connsiteX25" fmla="*/ 1312 w 445812"/>
                  <a:gd name="connsiteY25" fmla="*/ 1346200 h 3657600"/>
                  <a:gd name="connsiteX26" fmla="*/ 10837 w 445812"/>
                  <a:gd name="connsiteY26" fmla="*/ 1438275 h 3657600"/>
                  <a:gd name="connsiteX27" fmla="*/ 83862 w 445812"/>
                  <a:gd name="connsiteY27" fmla="*/ 1511300 h 3657600"/>
                  <a:gd name="connsiteX28" fmla="*/ 112437 w 445812"/>
                  <a:gd name="connsiteY28" fmla="*/ 1558925 h 3657600"/>
                  <a:gd name="connsiteX29" fmla="*/ 150537 w 445812"/>
                  <a:gd name="connsiteY29" fmla="*/ 1590675 h 3657600"/>
                  <a:gd name="connsiteX30" fmla="*/ 169587 w 445812"/>
                  <a:gd name="connsiteY30" fmla="*/ 1644650 h 3657600"/>
                  <a:gd name="connsiteX31" fmla="*/ 226737 w 445812"/>
                  <a:gd name="connsiteY31" fmla="*/ 1685925 h 3657600"/>
                  <a:gd name="connsiteX32" fmla="*/ 264837 w 445812"/>
                  <a:gd name="connsiteY32" fmla="*/ 1730375 h 3657600"/>
                  <a:gd name="connsiteX33" fmla="*/ 277537 w 445812"/>
                  <a:gd name="connsiteY33" fmla="*/ 1758950 h 3657600"/>
                  <a:gd name="connsiteX34" fmla="*/ 277537 w 445812"/>
                  <a:gd name="connsiteY34" fmla="*/ 1828800 h 3657600"/>
                  <a:gd name="connsiteX35" fmla="*/ 325162 w 445812"/>
                  <a:gd name="connsiteY35" fmla="*/ 1905000 h 3657600"/>
                  <a:gd name="connsiteX36" fmla="*/ 363262 w 445812"/>
                  <a:gd name="connsiteY36" fmla="*/ 1962150 h 3657600"/>
                  <a:gd name="connsiteX37" fmla="*/ 369612 w 445812"/>
                  <a:gd name="connsiteY37" fmla="*/ 2028825 h 3657600"/>
                  <a:gd name="connsiteX38" fmla="*/ 407712 w 445812"/>
                  <a:gd name="connsiteY38" fmla="*/ 2085975 h 3657600"/>
                  <a:gd name="connsiteX39" fmla="*/ 414062 w 445812"/>
                  <a:gd name="connsiteY39" fmla="*/ 2209800 h 3657600"/>
                  <a:gd name="connsiteX40" fmla="*/ 252137 w 445812"/>
                  <a:gd name="connsiteY40" fmla="*/ 2251075 h 3657600"/>
                  <a:gd name="connsiteX41" fmla="*/ 201337 w 445812"/>
                  <a:gd name="connsiteY41" fmla="*/ 2390775 h 3657600"/>
                  <a:gd name="connsiteX42" fmla="*/ 210862 w 445812"/>
                  <a:gd name="connsiteY42" fmla="*/ 2454275 h 3657600"/>
                  <a:gd name="connsiteX43" fmla="*/ 226737 w 445812"/>
                  <a:gd name="connsiteY43" fmla="*/ 2482850 h 3657600"/>
                  <a:gd name="connsiteX44" fmla="*/ 226737 w 445812"/>
                  <a:gd name="connsiteY44" fmla="*/ 2527300 h 3657600"/>
                  <a:gd name="connsiteX45" fmla="*/ 236262 w 445812"/>
                  <a:gd name="connsiteY45" fmla="*/ 2603500 h 3657600"/>
                  <a:gd name="connsiteX46" fmla="*/ 153712 w 445812"/>
                  <a:gd name="connsiteY46" fmla="*/ 2917824 h 3657600"/>
                  <a:gd name="connsiteX47" fmla="*/ 80687 w 445812"/>
                  <a:gd name="connsiteY47" fmla="*/ 3063874 h 3657600"/>
                  <a:gd name="connsiteX48" fmla="*/ 42587 w 445812"/>
                  <a:gd name="connsiteY48" fmla="*/ 3133724 h 3657600"/>
                  <a:gd name="connsiteX49" fmla="*/ 17187 w 445812"/>
                  <a:gd name="connsiteY49" fmla="*/ 3365499 h 3657600"/>
                  <a:gd name="connsiteX50" fmla="*/ 45762 w 445812"/>
                  <a:gd name="connsiteY50" fmla="*/ 3492499 h 3657600"/>
                  <a:gd name="connsiteX51" fmla="*/ 58462 w 445812"/>
                  <a:gd name="connsiteY51" fmla="*/ 3657600 h 3657600"/>
                  <a:gd name="connsiteX0" fmla="*/ 445812 w 445812"/>
                  <a:gd name="connsiteY0" fmla="*/ 0 h 3657600"/>
                  <a:gd name="connsiteX1" fmla="*/ 407712 w 445812"/>
                  <a:gd name="connsiteY1" fmla="*/ 66675 h 3657600"/>
                  <a:gd name="connsiteX2" fmla="*/ 353737 w 445812"/>
                  <a:gd name="connsiteY2" fmla="*/ 85725 h 3657600"/>
                  <a:gd name="connsiteX3" fmla="*/ 283887 w 445812"/>
                  <a:gd name="connsiteY3" fmla="*/ 98425 h 3657600"/>
                  <a:gd name="connsiteX4" fmla="*/ 223562 w 445812"/>
                  <a:gd name="connsiteY4" fmla="*/ 133350 h 3657600"/>
                  <a:gd name="connsiteX5" fmla="*/ 121962 w 445812"/>
                  <a:gd name="connsiteY5" fmla="*/ 196850 h 3657600"/>
                  <a:gd name="connsiteX6" fmla="*/ 131487 w 445812"/>
                  <a:gd name="connsiteY6" fmla="*/ 247650 h 3657600"/>
                  <a:gd name="connsiteX7" fmla="*/ 172762 w 445812"/>
                  <a:gd name="connsiteY7" fmla="*/ 276225 h 3657600"/>
                  <a:gd name="connsiteX8" fmla="*/ 185462 w 445812"/>
                  <a:gd name="connsiteY8" fmla="*/ 327025 h 3657600"/>
                  <a:gd name="connsiteX9" fmla="*/ 239437 w 445812"/>
                  <a:gd name="connsiteY9" fmla="*/ 368300 h 3657600"/>
                  <a:gd name="connsiteX10" fmla="*/ 239437 w 445812"/>
                  <a:gd name="connsiteY10" fmla="*/ 412750 h 3657600"/>
                  <a:gd name="connsiteX11" fmla="*/ 207687 w 445812"/>
                  <a:gd name="connsiteY11" fmla="*/ 454025 h 3657600"/>
                  <a:gd name="connsiteX12" fmla="*/ 287062 w 445812"/>
                  <a:gd name="connsiteY12" fmla="*/ 479425 h 3657600"/>
                  <a:gd name="connsiteX13" fmla="*/ 302937 w 445812"/>
                  <a:gd name="connsiteY13" fmla="*/ 511175 h 3657600"/>
                  <a:gd name="connsiteX14" fmla="*/ 210862 w 445812"/>
                  <a:gd name="connsiteY14" fmla="*/ 581025 h 3657600"/>
                  <a:gd name="connsiteX15" fmla="*/ 160062 w 445812"/>
                  <a:gd name="connsiteY15" fmla="*/ 638175 h 3657600"/>
                  <a:gd name="connsiteX16" fmla="*/ 160062 w 445812"/>
                  <a:gd name="connsiteY16" fmla="*/ 695325 h 3657600"/>
                  <a:gd name="connsiteX17" fmla="*/ 185462 w 445812"/>
                  <a:gd name="connsiteY17" fmla="*/ 784225 h 3657600"/>
                  <a:gd name="connsiteX18" fmla="*/ 194987 w 445812"/>
                  <a:gd name="connsiteY18" fmla="*/ 835025 h 3657600"/>
                  <a:gd name="connsiteX19" fmla="*/ 204512 w 445812"/>
                  <a:gd name="connsiteY19" fmla="*/ 885825 h 3657600"/>
                  <a:gd name="connsiteX20" fmla="*/ 220387 w 445812"/>
                  <a:gd name="connsiteY20" fmla="*/ 923925 h 3657600"/>
                  <a:gd name="connsiteX21" fmla="*/ 163237 w 445812"/>
                  <a:gd name="connsiteY21" fmla="*/ 1022350 h 3657600"/>
                  <a:gd name="connsiteX22" fmla="*/ 96562 w 445812"/>
                  <a:gd name="connsiteY22" fmla="*/ 1057275 h 3657600"/>
                  <a:gd name="connsiteX23" fmla="*/ 52112 w 445812"/>
                  <a:gd name="connsiteY23" fmla="*/ 1143000 h 3657600"/>
                  <a:gd name="connsiteX24" fmla="*/ 20362 w 445812"/>
                  <a:gd name="connsiteY24" fmla="*/ 1244600 h 3657600"/>
                  <a:gd name="connsiteX25" fmla="*/ 1312 w 445812"/>
                  <a:gd name="connsiteY25" fmla="*/ 1346200 h 3657600"/>
                  <a:gd name="connsiteX26" fmla="*/ 10837 w 445812"/>
                  <a:gd name="connsiteY26" fmla="*/ 1438275 h 3657600"/>
                  <a:gd name="connsiteX27" fmla="*/ 83862 w 445812"/>
                  <a:gd name="connsiteY27" fmla="*/ 1511300 h 3657600"/>
                  <a:gd name="connsiteX28" fmla="*/ 112437 w 445812"/>
                  <a:gd name="connsiteY28" fmla="*/ 1558925 h 3657600"/>
                  <a:gd name="connsiteX29" fmla="*/ 150537 w 445812"/>
                  <a:gd name="connsiteY29" fmla="*/ 1590675 h 3657600"/>
                  <a:gd name="connsiteX30" fmla="*/ 169587 w 445812"/>
                  <a:gd name="connsiteY30" fmla="*/ 1644650 h 3657600"/>
                  <a:gd name="connsiteX31" fmla="*/ 226737 w 445812"/>
                  <a:gd name="connsiteY31" fmla="*/ 1685925 h 3657600"/>
                  <a:gd name="connsiteX32" fmla="*/ 264837 w 445812"/>
                  <a:gd name="connsiteY32" fmla="*/ 1730375 h 3657600"/>
                  <a:gd name="connsiteX33" fmla="*/ 277537 w 445812"/>
                  <a:gd name="connsiteY33" fmla="*/ 1758950 h 3657600"/>
                  <a:gd name="connsiteX34" fmla="*/ 277537 w 445812"/>
                  <a:gd name="connsiteY34" fmla="*/ 1828800 h 3657600"/>
                  <a:gd name="connsiteX35" fmla="*/ 325162 w 445812"/>
                  <a:gd name="connsiteY35" fmla="*/ 1905000 h 3657600"/>
                  <a:gd name="connsiteX36" fmla="*/ 363262 w 445812"/>
                  <a:gd name="connsiteY36" fmla="*/ 1962150 h 3657600"/>
                  <a:gd name="connsiteX37" fmla="*/ 369612 w 445812"/>
                  <a:gd name="connsiteY37" fmla="*/ 2028825 h 3657600"/>
                  <a:gd name="connsiteX38" fmla="*/ 407712 w 445812"/>
                  <a:gd name="connsiteY38" fmla="*/ 2085975 h 3657600"/>
                  <a:gd name="connsiteX39" fmla="*/ 414062 w 445812"/>
                  <a:gd name="connsiteY39" fmla="*/ 2209800 h 3657600"/>
                  <a:gd name="connsiteX40" fmla="*/ 252137 w 445812"/>
                  <a:gd name="connsiteY40" fmla="*/ 2251075 h 3657600"/>
                  <a:gd name="connsiteX41" fmla="*/ 201337 w 445812"/>
                  <a:gd name="connsiteY41" fmla="*/ 2390775 h 3657600"/>
                  <a:gd name="connsiteX42" fmla="*/ 210862 w 445812"/>
                  <a:gd name="connsiteY42" fmla="*/ 2454275 h 3657600"/>
                  <a:gd name="connsiteX43" fmla="*/ 226737 w 445812"/>
                  <a:gd name="connsiteY43" fmla="*/ 2482850 h 3657600"/>
                  <a:gd name="connsiteX44" fmla="*/ 226737 w 445812"/>
                  <a:gd name="connsiteY44" fmla="*/ 2527300 h 3657600"/>
                  <a:gd name="connsiteX45" fmla="*/ 236262 w 445812"/>
                  <a:gd name="connsiteY45" fmla="*/ 2603500 h 3657600"/>
                  <a:gd name="connsiteX46" fmla="*/ 153712 w 445812"/>
                  <a:gd name="connsiteY46" fmla="*/ 2917824 h 3657600"/>
                  <a:gd name="connsiteX47" fmla="*/ 80687 w 445812"/>
                  <a:gd name="connsiteY47" fmla="*/ 3063874 h 3657600"/>
                  <a:gd name="connsiteX48" fmla="*/ 42587 w 445812"/>
                  <a:gd name="connsiteY48" fmla="*/ 3133724 h 3657600"/>
                  <a:gd name="connsiteX49" fmla="*/ 17187 w 445812"/>
                  <a:gd name="connsiteY49" fmla="*/ 3203574 h 3657600"/>
                  <a:gd name="connsiteX50" fmla="*/ 17187 w 445812"/>
                  <a:gd name="connsiteY50" fmla="*/ 3365499 h 3657600"/>
                  <a:gd name="connsiteX51" fmla="*/ 45762 w 445812"/>
                  <a:gd name="connsiteY51" fmla="*/ 3492499 h 3657600"/>
                  <a:gd name="connsiteX52" fmla="*/ 58462 w 445812"/>
                  <a:gd name="connsiteY52" fmla="*/ 3657600 h 3657600"/>
                  <a:gd name="connsiteX0" fmla="*/ 445812 w 445812"/>
                  <a:gd name="connsiteY0" fmla="*/ 0 h 3657600"/>
                  <a:gd name="connsiteX1" fmla="*/ 407712 w 445812"/>
                  <a:gd name="connsiteY1" fmla="*/ 66675 h 3657600"/>
                  <a:gd name="connsiteX2" fmla="*/ 353737 w 445812"/>
                  <a:gd name="connsiteY2" fmla="*/ 85725 h 3657600"/>
                  <a:gd name="connsiteX3" fmla="*/ 283887 w 445812"/>
                  <a:gd name="connsiteY3" fmla="*/ 98425 h 3657600"/>
                  <a:gd name="connsiteX4" fmla="*/ 223562 w 445812"/>
                  <a:gd name="connsiteY4" fmla="*/ 133350 h 3657600"/>
                  <a:gd name="connsiteX5" fmla="*/ 121962 w 445812"/>
                  <a:gd name="connsiteY5" fmla="*/ 196850 h 3657600"/>
                  <a:gd name="connsiteX6" fmla="*/ 131487 w 445812"/>
                  <a:gd name="connsiteY6" fmla="*/ 247650 h 3657600"/>
                  <a:gd name="connsiteX7" fmla="*/ 172762 w 445812"/>
                  <a:gd name="connsiteY7" fmla="*/ 276225 h 3657600"/>
                  <a:gd name="connsiteX8" fmla="*/ 185462 w 445812"/>
                  <a:gd name="connsiteY8" fmla="*/ 327025 h 3657600"/>
                  <a:gd name="connsiteX9" fmla="*/ 239437 w 445812"/>
                  <a:gd name="connsiteY9" fmla="*/ 368300 h 3657600"/>
                  <a:gd name="connsiteX10" fmla="*/ 239437 w 445812"/>
                  <a:gd name="connsiteY10" fmla="*/ 412750 h 3657600"/>
                  <a:gd name="connsiteX11" fmla="*/ 207687 w 445812"/>
                  <a:gd name="connsiteY11" fmla="*/ 454025 h 3657600"/>
                  <a:gd name="connsiteX12" fmla="*/ 287062 w 445812"/>
                  <a:gd name="connsiteY12" fmla="*/ 479425 h 3657600"/>
                  <a:gd name="connsiteX13" fmla="*/ 302937 w 445812"/>
                  <a:gd name="connsiteY13" fmla="*/ 511175 h 3657600"/>
                  <a:gd name="connsiteX14" fmla="*/ 210862 w 445812"/>
                  <a:gd name="connsiteY14" fmla="*/ 581025 h 3657600"/>
                  <a:gd name="connsiteX15" fmla="*/ 160062 w 445812"/>
                  <a:gd name="connsiteY15" fmla="*/ 638175 h 3657600"/>
                  <a:gd name="connsiteX16" fmla="*/ 160062 w 445812"/>
                  <a:gd name="connsiteY16" fmla="*/ 695325 h 3657600"/>
                  <a:gd name="connsiteX17" fmla="*/ 185462 w 445812"/>
                  <a:gd name="connsiteY17" fmla="*/ 784225 h 3657600"/>
                  <a:gd name="connsiteX18" fmla="*/ 194987 w 445812"/>
                  <a:gd name="connsiteY18" fmla="*/ 835025 h 3657600"/>
                  <a:gd name="connsiteX19" fmla="*/ 204512 w 445812"/>
                  <a:gd name="connsiteY19" fmla="*/ 885825 h 3657600"/>
                  <a:gd name="connsiteX20" fmla="*/ 220387 w 445812"/>
                  <a:gd name="connsiteY20" fmla="*/ 923925 h 3657600"/>
                  <a:gd name="connsiteX21" fmla="*/ 163237 w 445812"/>
                  <a:gd name="connsiteY21" fmla="*/ 1022350 h 3657600"/>
                  <a:gd name="connsiteX22" fmla="*/ 96562 w 445812"/>
                  <a:gd name="connsiteY22" fmla="*/ 1057275 h 3657600"/>
                  <a:gd name="connsiteX23" fmla="*/ 52112 w 445812"/>
                  <a:gd name="connsiteY23" fmla="*/ 1143000 h 3657600"/>
                  <a:gd name="connsiteX24" fmla="*/ 20362 w 445812"/>
                  <a:gd name="connsiteY24" fmla="*/ 1244600 h 3657600"/>
                  <a:gd name="connsiteX25" fmla="*/ 1312 w 445812"/>
                  <a:gd name="connsiteY25" fmla="*/ 1346200 h 3657600"/>
                  <a:gd name="connsiteX26" fmla="*/ 10837 w 445812"/>
                  <a:gd name="connsiteY26" fmla="*/ 1438275 h 3657600"/>
                  <a:gd name="connsiteX27" fmla="*/ 83862 w 445812"/>
                  <a:gd name="connsiteY27" fmla="*/ 1511300 h 3657600"/>
                  <a:gd name="connsiteX28" fmla="*/ 112437 w 445812"/>
                  <a:gd name="connsiteY28" fmla="*/ 1558925 h 3657600"/>
                  <a:gd name="connsiteX29" fmla="*/ 150537 w 445812"/>
                  <a:gd name="connsiteY29" fmla="*/ 1590675 h 3657600"/>
                  <a:gd name="connsiteX30" fmla="*/ 169587 w 445812"/>
                  <a:gd name="connsiteY30" fmla="*/ 1644650 h 3657600"/>
                  <a:gd name="connsiteX31" fmla="*/ 226737 w 445812"/>
                  <a:gd name="connsiteY31" fmla="*/ 1685925 h 3657600"/>
                  <a:gd name="connsiteX32" fmla="*/ 264837 w 445812"/>
                  <a:gd name="connsiteY32" fmla="*/ 1730375 h 3657600"/>
                  <a:gd name="connsiteX33" fmla="*/ 277537 w 445812"/>
                  <a:gd name="connsiteY33" fmla="*/ 1758950 h 3657600"/>
                  <a:gd name="connsiteX34" fmla="*/ 277537 w 445812"/>
                  <a:gd name="connsiteY34" fmla="*/ 1828800 h 3657600"/>
                  <a:gd name="connsiteX35" fmla="*/ 325162 w 445812"/>
                  <a:gd name="connsiteY35" fmla="*/ 1905000 h 3657600"/>
                  <a:gd name="connsiteX36" fmla="*/ 363262 w 445812"/>
                  <a:gd name="connsiteY36" fmla="*/ 1962150 h 3657600"/>
                  <a:gd name="connsiteX37" fmla="*/ 369612 w 445812"/>
                  <a:gd name="connsiteY37" fmla="*/ 2028825 h 3657600"/>
                  <a:gd name="connsiteX38" fmla="*/ 407712 w 445812"/>
                  <a:gd name="connsiteY38" fmla="*/ 2085975 h 3657600"/>
                  <a:gd name="connsiteX39" fmla="*/ 414062 w 445812"/>
                  <a:gd name="connsiteY39" fmla="*/ 2209800 h 3657600"/>
                  <a:gd name="connsiteX40" fmla="*/ 252137 w 445812"/>
                  <a:gd name="connsiteY40" fmla="*/ 2251075 h 3657600"/>
                  <a:gd name="connsiteX41" fmla="*/ 201337 w 445812"/>
                  <a:gd name="connsiteY41" fmla="*/ 2390775 h 3657600"/>
                  <a:gd name="connsiteX42" fmla="*/ 210862 w 445812"/>
                  <a:gd name="connsiteY42" fmla="*/ 2454275 h 3657600"/>
                  <a:gd name="connsiteX43" fmla="*/ 226737 w 445812"/>
                  <a:gd name="connsiteY43" fmla="*/ 2482850 h 3657600"/>
                  <a:gd name="connsiteX44" fmla="*/ 226737 w 445812"/>
                  <a:gd name="connsiteY44" fmla="*/ 2527300 h 3657600"/>
                  <a:gd name="connsiteX45" fmla="*/ 236262 w 445812"/>
                  <a:gd name="connsiteY45" fmla="*/ 2603500 h 3657600"/>
                  <a:gd name="connsiteX46" fmla="*/ 153712 w 445812"/>
                  <a:gd name="connsiteY46" fmla="*/ 2917824 h 3657600"/>
                  <a:gd name="connsiteX47" fmla="*/ 80687 w 445812"/>
                  <a:gd name="connsiteY47" fmla="*/ 3063874 h 3657600"/>
                  <a:gd name="connsiteX48" fmla="*/ 42587 w 445812"/>
                  <a:gd name="connsiteY48" fmla="*/ 3133724 h 3657600"/>
                  <a:gd name="connsiteX49" fmla="*/ 17187 w 445812"/>
                  <a:gd name="connsiteY49" fmla="*/ 3203574 h 3657600"/>
                  <a:gd name="connsiteX50" fmla="*/ 17187 w 445812"/>
                  <a:gd name="connsiteY50" fmla="*/ 3365499 h 3657600"/>
                  <a:gd name="connsiteX51" fmla="*/ 45762 w 445812"/>
                  <a:gd name="connsiteY51" fmla="*/ 3492499 h 3657600"/>
                  <a:gd name="connsiteX52" fmla="*/ 58462 w 445812"/>
                  <a:gd name="connsiteY52" fmla="*/ 3657600 h 3657600"/>
                  <a:gd name="connsiteX0" fmla="*/ 445812 w 445812"/>
                  <a:gd name="connsiteY0" fmla="*/ 0 h 3657600"/>
                  <a:gd name="connsiteX1" fmla="*/ 407712 w 445812"/>
                  <a:gd name="connsiteY1" fmla="*/ 66675 h 3657600"/>
                  <a:gd name="connsiteX2" fmla="*/ 353737 w 445812"/>
                  <a:gd name="connsiteY2" fmla="*/ 85725 h 3657600"/>
                  <a:gd name="connsiteX3" fmla="*/ 283887 w 445812"/>
                  <a:gd name="connsiteY3" fmla="*/ 98425 h 3657600"/>
                  <a:gd name="connsiteX4" fmla="*/ 223562 w 445812"/>
                  <a:gd name="connsiteY4" fmla="*/ 133350 h 3657600"/>
                  <a:gd name="connsiteX5" fmla="*/ 121962 w 445812"/>
                  <a:gd name="connsiteY5" fmla="*/ 196850 h 3657600"/>
                  <a:gd name="connsiteX6" fmla="*/ 131487 w 445812"/>
                  <a:gd name="connsiteY6" fmla="*/ 247650 h 3657600"/>
                  <a:gd name="connsiteX7" fmla="*/ 172762 w 445812"/>
                  <a:gd name="connsiteY7" fmla="*/ 276225 h 3657600"/>
                  <a:gd name="connsiteX8" fmla="*/ 185462 w 445812"/>
                  <a:gd name="connsiteY8" fmla="*/ 327025 h 3657600"/>
                  <a:gd name="connsiteX9" fmla="*/ 239437 w 445812"/>
                  <a:gd name="connsiteY9" fmla="*/ 368300 h 3657600"/>
                  <a:gd name="connsiteX10" fmla="*/ 239437 w 445812"/>
                  <a:gd name="connsiteY10" fmla="*/ 412750 h 3657600"/>
                  <a:gd name="connsiteX11" fmla="*/ 207687 w 445812"/>
                  <a:gd name="connsiteY11" fmla="*/ 454025 h 3657600"/>
                  <a:gd name="connsiteX12" fmla="*/ 287062 w 445812"/>
                  <a:gd name="connsiteY12" fmla="*/ 479425 h 3657600"/>
                  <a:gd name="connsiteX13" fmla="*/ 302937 w 445812"/>
                  <a:gd name="connsiteY13" fmla="*/ 511175 h 3657600"/>
                  <a:gd name="connsiteX14" fmla="*/ 210862 w 445812"/>
                  <a:gd name="connsiteY14" fmla="*/ 581025 h 3657600"/>
                  <a:gd name="connsiteX15" fmla="*/ 160062 w 445812"/>
                  <a:gd name="connsiteY15" fmla="*/ 638175 h 3657600"/>
                  <a:gd name="connsiteX16" fmla="*/ 160062 w 445812"/>
                  <a:gd name="connsiteY16" fmla="*/ 695325 h 3657600"/>
                  <a:gd name="connsiteX17" fmla="*/ 185462 w 445812"/>
                  <a:gd name="connsiteY17" fmla="*/ 784225 h 3657600"/>
                  <a:gd name="connsiteX18" fmla="*/ 194987 w 445812"/>
                  <a:gd name="connsiteY18" fmla="*/ 835025 h 3657600"/>
                  <a:gd name="connsiteX19" fmla="*/ 204512 w 445812"/>
                  <a:gd name="connsiteY19" fmla="*/ 885825 h 3657600"/>
                  <a:gd name="connsiteX20" fmla="*/ 220387 w 445812"/>
                  <a:gd name="connsiteY20" fmla="*/ 923925 h 3657600"/>
                  <a:gd name="connsiteX21" fmla="*/ 163237 w 445812"/>
                  <a:gd name="connsiteY21" fmla="*/ 1022350 h 3657600"/>
                  <a:gd name="connsiteX22" fmla="*/ 96562 w 445812"/>
                  <a:gd name="connsiteY22" fmla="*/ 1057275 h 3657600"/>
                  <a:gd name="connsiteX23" fmla="*/ 52112 w 445812"/>
                  <a:gd name="connsiteY23" fmla="*/ 1143000 h 3657600"/>
                  <a:gd name="connsiteX24" fmla="*/ 20362 w 445812"/>
                  <a:gd name="connsiteY24" fmla="*/ 1244600 h 3657600"/>
                  <a:gd name="connsiteX25" fmla="*/ 1312 w 445812"/>
                  <a:gd name="connsiteY25" fmla="*/ 1346200 h 3657600"/>
                  <a:gd name="connsiteX26" fmla="*/ 10837 w 445812"/>
                  <a:gd name="connsiteY26" fmla="*/ 1438275 h 3657600"/>
                  <a:gd name="connsiteX27" fmla="*/ 83862 w 445812"/>
                  <a:gd name="connsiteY27" fmla="*/ 1511300 h 3657600"/>
                  <a:gd name="connsiteX28" fmla="*/ 112437 w 445812"/>
                  <a:gd name="connsiteY28" fmla="*/ 1558925 h 3657600"/>
                  <a:gd name="connsiteX29" fmla="*/ 150537 w 445812"/>
                  <a:gd name="connsiteY29" fmla="*/ 1590675 h 3657600"/>
                  <a:gd name="connsiteX30" fmla="*/ 169587 w 445812"/>
                  <a:gd name="connsiteY30" fmla="*/ 1644650 h 3657600"/>
                  <a:gd name="connsiteX31" fmla="*/ 226737 w 445812"/>
                  <a:gd name="connsiteY31" fmla="*/ 1685925 h 3657600"/>
                  <a:gd name="connsiteX32" fmla="*/ 264837 w 445812"/>
                  <a:gd name="connsiteY32" fmla="*/ 1730375 h 3657600"/>
                  <a:gd name="connsiteX33" fmla="*/ 277537 w 445812"/>
                  <a:gd name="connsiteY33" fmla="*/ 1758950 h 3657600"/>
                  <a:gd name="connsiteX34" fmla="*/ 277537 w 445812"/>
                  <a:gd name="connsiteY34" fmla="*/ 1828800 h 3657600"/>
                  <a:gd name="connsiteX35" fmla="*/ 325162 w 445812"/>
                  <a:gd name="connsiteY35" fmla="*/ 1905000 h 3657600"/>
                  <a:gd name="connsiteX36" fmla="*/ 363262 w 445812"/>
                  <a:gd name="connsiteY36" fmla="*/ 1962150 h 3657600"/>
                  <a:gd name="connsiteX37" fmla="*/ 369612 w 445812"/>
                  <a:gd name="connsiteY37" fmla="*/ 2028825 h 3657600"/>
                  <a:gd name="connsiteX38" fmla="*/ 407712 w 445812"/>
                  <a:gd name="connsiteY38" fmla="*/ 2085975 h 3657600"/>
                  <a:gd name="connsiteX39" fmla="*/ 414062 w 445812"/>
                  <a:gd name="connsiteY39" fmla="*/ 2209800 h 3657600"/>
                  <a:gd name="connsiteX40" fmla="*/ 252137 w 445812"/>
                  <a:gd name="connsiteY40" fmla="*/ 2251075 h 3657600"/>
                  <a:gd name="connsiteX41" fmla="*/ 201337 w 445812"/>
                  <a:gd name="connsiteY41" fmla="*/ 2390775 h 3657600"/>
                  <a:gd name="connsiteX42" fmla="*/ 210862 w 445812"/>
                  <a:gd name="connsiteY42" fmla="*/ 2454275 h 3657600"/>
                  <a:gd name="connsiteX43" fmla="*/ 226737 w 445812"/>
                  <a:gd name="connsiteY43" fmla="*/ 2482850 h 3657600"/>
                  <a:gd name="connsiteX44" fmla="*/ 226737 w 445812"/>
                  <a:gd name="connsiteY44" fmla="*/ 2527300 h 3657600"/>
                  <a:gd name="connsiteX45" fmla="*/ 236262 w 445812"/>
                  <a:gd name="connsiteY45" fmla="*/ 2603500 h 3657600"/>
                  <a:gd name="connsiteX46" fmla="*/ 153712 w 445812"/>
                  <a:gd name="connsiteY46" fmla="*/ 2917824 h 3657600"/>
                  <a:gd name="connsiteX47" fmla="*/ 80687 w 445812"/>
                  <a:gd name="connsiteY47" fmla="*/ 3063874 h 3657600"/>
                  <a:gd name="connsiteX48" fmla="*/ 42587 w 445812"/>
                  <a:gd name="connsiteY48" fmla="*/ 3133724 h 3657600"/>
                  <a:gd name="connsiteX49" fmla="*/ 17187 w 445812"/>
                  <a:gd name="connsiteY49" fmla="*/ 3203574 h 3657600"/>
                  <a:gd name="connsiteX50" fmla="*/ 10837 w 445812"/>
                  <a:gd name="connsiteY50" fmla="*/ 3390899 h 3657600"/>
                  <a:gd name="connsiteX51" fmla="*/ 45762 w 445812"/>
                  <a:gd name="connsiteY51" fmla="*/ 3492499 h 3657600"/>
                  <a:gd name="connsiteX52" fmla="*/ 58462 w 445812"/>
                  <a:gd name="connsiteY52" fmla="*/ 3657600 h 3657600"/>
                  <a:gd name="connsiteX0" fmla="*/ 445812 w 445812"/>
                  <a:gd name="connsiteY0" fmla="*/ 0 h 3657600"/>
                  <a:gd name="connsiteX1" fmla="*/ 407712 w 445812"/>
                  <a:gd name="connsiteY1" fmla="*/ 66675 h 3657600"/>
                  <a:gd name="connsiteX2" fmla="*/ 353737 w 445812"/>
                  <a:gd name="connsiteY2" fmla="*/ 85725 h 3657600"/>
                  <a:gd name="connsiteX3" fmla="*/ 283887 w 445812"/>
                  <a:gd name="connsiteY3" fmla="*/ 98425 h 3657600"/>
                  <a:gd name="connsiteX4" fmla="*/ 223562 w 445812"/>
                  <a:gd name="connsiteY4" fmla="*/ 133350 h 3657600"/>
                  <a:gd name="connsiteX5" fmla="*/ 121962 w 445812"/>
                  <a:gd name="connsiteY5" fmla="*/ 196850 h 3657600"/>
                  <a:gd name="connsiteX6" fmla="*/ 131487 w 445812"/>
                  <a:gd name="connsiteY6" fmla="*/ 247650 h 3657600"/>
                  <a:gd name="connsiteX7" fmla="*/ 172762 w 445812"/>
                  <a:gd name="connsiteY7" fmla="*/ 276225 h 3657600"/>
                  <a:gd name="connsiteX8" fmla="*/ 185462 w 445812"/>
                  <a:gd name="connsiteY8" fmla="*/ 327025 h 3657600"/>
                  <a:gd name="connsiteX9" fmla="*/ 239437 w 445812"/>
                  <a:gd name="connsiteY9" fmla="*/ 368300 h 3657600"/>
                  <a:gd name="connsiteX10" fmla="*/ 239437 w 445812"/>
                  <a:gd name="connsiteY10" fmla="*/ 412750 h 3657600"/>
                  <a:gd name="connsiteX11" fmla="*/ 207687 w 445812"/>
                  <a:gd name="connsiteY11" fmla="*/ 454025 h 3657600"/>
                  <a:gd name="connsiteX12" fmla="*/ 287062 w 445812"/>
                  <a:gd name="connsiteY12" fmla="*/ 479425 h 3657600"/>
                  <a:gd name="connsiteX13" fmla="*/ 302937 w 445812"/>
                  <a:gd name="connsiteY13" fmla="*/ 511175 h 3657600"/>
                  <a:gd name="connsiteX14" fmla="*/ 210862 w 445812"/>
                  <a:gd name="connsiteY14" fmla="*/ 581025 h 3657600"/>
                  <a:gd name="connsiteX15" fmla="*/ 160062 w 445812"/>
                  <a:gd name="connsiteY15" fmla="*/ 638175 h 3657600"/>
                  <a:gd name="connsiteX16" fmla="*/ 160062 w 445812"/>
                  <a:gd name="connsiteY16" fmla="*/ 695325 h 3657600"/>
                  <a:gd name="connsiteX17" fmla="*/ 185462 w 445812"/>
                  <a:gd name="connsiteY17" fmla="*/ 784225 h 3657600"/>
                  <a:gd name="connsiteX18" fmla="*/ 194987 w 445812"/>
                  <a:gd name="connsiteY18" fmla="*/ 835025 h 3657600"/>
                  <a:gd name="connsiteX19" fmla="*/ 204512 w 445812"/>
                  <a:gd name="connsiteY19" fmla="*/ 885825 h 3657600"/>
                  <a:gd name="connsiteX20" fmla="*/ 220387 w 445812"/>
                  <a:gd name="connsiteY20" fmla="*/ 923925 h 3657600"/>
                  <a:gd name="connsiteX21" fmla="*/ 163237 w 445812"/>
                  <a:gd name="connsiteY21" fmla="*/ 1022350 h 3657600"/>
                  <a:gd name="connsiteX22" fmla="*/ 96562 w 445812"/>
                  <a:gd name="connsiteY22" fmla="*/ 1057275 h 3657600"/>
                  <a:gd name="connsiteX23" fmla="*/ 52112 w 445812"/>
                  <a:gd name="connsiteY23" fmla="*/ 1143000 h 3657600"/>
                  <a:gd name="connsiteX24" fmla="*/ 20362 w 445812"/>
                  <a:gd name="connsiteY24" fmla="*/ 1244600 h 3657600"/>
                  <a:gd name="connsiteX25" fmla="*/ 1312 w 445812"/>
                  <a:gd name="connsiteY25" fmla="*/ 1346200 h 3657600"/>
                  <a:gd name="connsiteX26" fmla="*/ 10837 w 445812"/>
                  <a:gd name="connsiteY26" fmla="*/ 1438275 h 3657600"/>
                  <a:gd name="connsiteX27" fmla="*/ 83862 w 445812"/>
                  <a:gd name="connsiteY27" fmla="*/ 1511300 h 3657600"/>
                  <a:gd name="connsiteX28" fmla="*/ 112437 w 445812"/>
                  <a:gd name="connsiteY28" fmla="*/ 1558925 h 3657600"/>
                  <a:gd name="connsiteX29" fmla="*/ 150537 w 445812"/>
                  <a:gd name="connsiteY29" fmla="*/ 1590675 h 3657600"/>
                  <a:gd name="connsiteX30" fmla="*/ 169587 w 445812"/>
                  <a:gd name="connsiteY30" fmla="*/ 1644650 h 3657600"/>
                  <a:gd name="connsiteX31" fmla="*/ 226737 w 445812"/>
                  <a:gd name="connsiteY31" fmla="*/ 1685925 h 3657600"/>
                  <a:gd name="connsiteX32" fmla="*/ 264837 w 445812"/>
                  <a:gd name="connsiteY32" fmla="*/ 1730375 h 3657600"/>
                  <a:gd name="connsiteX33" fmla="*/ 277537 w 445812"/>
                  <a:gd name="connsiteY33" fmla="*/ 1758950 h 3657600"/>
                  <a:gd name="connsiteX34" fmla="*/ 277537 w 445812"/>
                  <a:gd name="connsiteY34" fmla="*/ 1828800 h 3657600"/>
                  <a:gd name="connsiteX35" fmla="*/ 325162 w 445812"/>
                  <a:gd name="connsiteY35" fmla="*/ 1905000 h 3657600"/>
                  <a:gd name="connsiteX36" fmla="*/ 363262 w 445812"/>
                  <a:gd name="connsiteY36" fmla="*/ 1962150 h 3657600"/>
                  <a:gd name="connsiteX37" fmla="*/ 369612 w 445812"/>
                  <a:gd name="connsiteY37" fmla="*/ 2028825 h 3657600"/>
                  <a:gd name="connsiteX38" fmla="*/ 407712 w 445812"/>
                  <a:gd name="connsiteY38" fmla="*/ 2085975 h 3657600"/>
                  <a:gd name="connsiteX39" fmla="*/ 414062 w 445812"/>
                  <a:gd name="connsiteY39" fmla="*/ 2209800 h 3657600"/>
                  <a:gd name="connsiteX40" fmla="*/ 252137 w 445812"/>
                  <a:gd name="connsiteY40" fmla="*/ 2251075 h 3657600"/>
                  <a:gd name="connsiteX41" fmla="*/ 201337 w 445812"/>
                  <a:gd name="connsiteY41" fmla="*/ 2390775 h 3657600"/>
                  <a:gd name="connsiteX42" fmla="*/ 210862 w 445812"/>
                  <a:gd name="connsiteY42" fmla="*/ 2454275 h 3657600"/>
                  <a:gd name="connsiteX43" fmla="*/ 226737 w 445812"/>
                  <a:gd name="connsiteY43" fmla="*/ 2482850 h 3657600"/>
                  <a:gd name="connsiteX44" fmla="*/ 226737 w 445812"/>
                  <a:gd name="connsiteY44" fmla="*/ 2527300 h 3657600"/>
                  <a:gd name="connsiteX45" fmla="*/ 236262 w 445812"/>
                  <a:gd name="connsiteY45" fmla="*/ 2603500 h 3657600"/>
                  <a:gd name="connsiteX46" fmla="*/ 153712 w 445812"/>
                  <a:gd name="connsiteY46" fmla="*/ 2917824 h 3657600"/>
                  <a:gd name="connsiteX47" fmla="*/ 80687 w 445812"/>
                  <a:gd name="connsiteY47" fmla="*/ 3063874 h 3657600"/>
                  <a:gd name="connsiteX48" fmla="*/ 42587 w 445812"/>
                  <a:gd name="connsiteY48" fmla="*/ 3133724 h 3657600"/>
                  <a:gd name="connsiteX49" fmla="*/ 17187 w 445812"/>
                  <a:gd name="connsiteY49" fmla="*/ 3203574 h 3657600"/>
                  <a:gd name="connsiteX50" fmla="*/ 10837 w 445812"/>
                  <a:gd name="connsiteY50" fmla="*/ 3390899 h 3657600"/>
                  <a:gd name="connsiteX51" fmla="*/ 33062 w 445812"/>
                  <a:gd name="connsiteY51" fmla="*/ 3492499 h 3657600"/>
                  <a:gd name="connsiteX52" fmla="*/ 58462 w 445812"/>
                  <a:gd name="connsiteY52" fmla="*/ 3657600 h 3657600"/>
                  <a:gd name="connsiteX0" fmla="*/ 445812 w 896662"/>
                  <a:gd name="connsiteY0" fmla="*/ 0 h 4505325"/>
                  <a:gd name="connsiteX1" fmla="*/ 407712 w 896662"/>
                  <a:gd name="connsiteY1" fmla="*/ 66675 h 4505325"/>
                  <a:gd name="connsiteX2" fmla="*/ 353737 w 896662"/>
                  <a:gd name="connsiteY2" fmla="*/ 85725 h 4505325"/>
                  <a:gd name="connsiteX3" fmla="*/ 283887 w 896662"/>
                  <a:gd name="connsiteY3" fmla="*/ 98425 h 4505325"/>
                  <a:gd name="connsiteX4" fmla="*/ 223562 w 896662"/>
                  <a:gd name="connsiteY4" fmla="*/ 133350 h 4505325"/>
                  <a:gd name="connsiteX5" fmla="*/ 121962 w 896662"/>
                  <a:gd name="connsiteY5" fmla="*/ 196850 h 4505325"/>
                  <a:gd name="connsiteX6" fmla="*/ 131487 w 896662"/>
                  <a:gd name="connsiteY6" fmla="*/ 247650 h 4505325"/>
                  <a:gd name="connsiteX7" fmla="*/ 172762 w 896662"/>
                  <a:gd name="connsiteY7" fmla="*/ 276225 h 4505325"/>
                  <a:gd name="connsiteX8" fmla="*/ 185462 w 896662"/>
                  <a:gd name="connsiteY8" fmla="*/ 327025 h 4505325"/>
                  <a:gd name="connsiteX9" fmla="*/ 239437 w 896662"/>
                  <a:gd name="connsiteY9" fmla="*/ 368300 h 4505325"/>
                  <a:gd name="connsiteX10" fmla="*/ 239437 w 896662"/>
                  <a:gd name="connsiteY10" fmla="*/ 412750 h 4505325"/>
                  <a:gd name="connsiteX11" fmla="*/ 207687 w 896662"/>
                  <a:gd name="connsiteY11" fmla="*/ 454025 h 4505325"/>
                  <a:gd name="connsiteX12" fmla="*/ 287062 w 896662"/>
                  <a:gd name="connsiteY12" fmla="*/ 479425 h 4505325"/>
                  <a:gd name="connsiteX13" fmla="*/ 302937 w 896662"/>
                  <a:gd name="connsiteY13" fmla="*/ 511175 h 4505325"/>
                  <a:gd name="connsiteX14" fmla="*/ 210862 w 896662"/>
                  <a:gd name="connsiteY14" fmla="*/ 581025 h 4505325"/>
                  <a:gd name="connsiteX15" fmla="*/ 160062 w 896662"/>
                  <a:gd name="connsiteY15" fmla="*/ 638175 h 4505325"/>
                  <a:gd name="connsiteX16" fmla="*/ 160062 w 896662"/>
                  <a:gd name="connsiteY16" fmla="*/ 695325 h 4505325"/>
                  <a:gd name="connsiteX17" fmla="*/ 185462 w 896662"/>
                  <a:gd name="connsiteY17" fmla="*/ 784225 h 4505325"/>
                  <a:gd name="connsiteX18" fmla="*/ 194987 w 896662"/>
                  <a:gd name="connsiteY18" fmla="*/ 835025 h 4505325"/>
                  <a:gd name="connsiteX19" fmla="*/ 204512 w 896662"/>
                  <a:gd name="connsiteY19" fmla="*/ 885825 h 4505325"/>
                  <a:gd name="connsiteX20" fmla="*/ 220387 w 896662"/>
                  <a:gd name="connsiteY20" fmla="*/ 923925 h 4505325"/>
                  <a:gd name="connsiteX21" fmla="*/ 163237 w 896662"/>
                  <a:gd name="connsiteY21" fmla="*/ 1022350 h 4505325"/>
                  <a:gd name="connsiteX22" fmla="*/ 96562 w 896662"/>
                  <a:gd name="connsiteY22" fmla="*/ 1057275 h 4505325"/>
                  <a:gd name="connsiteX23" fmla="*/ 52112 w 896662"/>
                  <a:gd name="connsiteY23" fmla="*/ 1143000 h 4505325"/>
                  <a:gd name="connsiteX24" fmla="*/ 20362 w 896662"/>
                  <a:gd name="connsiteY24" fmla="*/ 1244600 h 4505325"/>
                  <a:gd name="connsiteX25" fmla="*/ 1312 w 896662"/>
                  <a:gd name="connsiteY25" fmla="*/ 1346200 h 4505325"/>
                  <a:gd name="connsiteX26" fmla="*/ 10837 w 896662"/>
                  <a:gd name="connsiteY26" fmla="*/ 1438275 h 4505325"/>
                  <a:gd name="connsiteX27" fmla="*/ 83862 w 896662"/>
                  <a:gd name="connsiteY27" fmla="*/ 1511300 h 4505325"/>
                  <a:gd name="connsiteX28" fmla="*/ 112437 w 896662"/>
                  <a:gd name="connsiteY28" fmla="*/ 1558925 h 4505325"/>
                  <a:gd name="connsiteX29" fmla="*/ 150537 w 896662"/>
                  <a:gd name="connsiteY29" fmla="*/ 1590675 h 4505325"/>
                  <a:gd name="connsiteX30" fmla="*/ 169587 w 896662"/>
                  <a:gd name="connsiteY30" fmla="*/ 1644650 h 4505325"/>
                  <a:gd name="connsiteX31" fmla="*/ 226737 w 896662"/>
                  <a:gd name="connsiteY31" fmla="*/ 1685925 h 4505325"/>
                  <a:gd name="connsiteX32" fmla="*/ 264837 w 896662"/>
                  <a:gd name="connsiteY32" fmla="*/ 1730375 h 4505325"/>
                  <a:gd name="connsiteX33" fmla="*/ 277537 w 896662"/>
                  <a:gd name="connsiteY33" fmla="*/ 1758950 h 4505325"/>
                  <a:gd name="connsiteX34" fmla="*/ 277537 w 896662"/>
                  <a:gd name="connsiteY34" fmla="*/ 1828800 h 4505325"/>
                  <a:gd name="connsiteX35" fmla="*/ 325162 w 896662"/>
                  <a:gd name="connsiteY35" fmla="*/ 1905000 h 4505325"/>
                  <a:gd name="connsiteX36" fmla="*/ 363262 w 896662"/>
                  <a:gd name="connsiteY36" fmla="*/ 1962150 h 4505325"/>
                  <a:gd name="connsiteX37" fmla="*/ 369612 w 896662"/>
                  <a:gd name="connsiteY37" fmla="*/ 2028825 h 4505325"/>
                  <a:gd name="connsiteX38" fmla="*/ 407712 w 896662"/>
                  <a:gd name="connsiteY38" fmla="*/ 2085975 h 4505325"/>
                  <a:gd name="connsiteX39" fmla="*/ 414062 w 896662"/>
                  <a:gd name="connsiteY39" fmla="*/ 2209800 h 4505325"/>
                  <a:gd name="connsiteX40" fmla="*/ 252137 w 896662"/>
                  <a:gd name="connsiteY40" fmla="*/ 2251075 h 4505325"/>
                  <a:gd name="connsiteX41" fmla="*/ 201337 w 896662"/>
                  <a:gd name="connsiteY41" fmla="*/ 2390775 h 4505325"/>
                  <a:gd name="connsiteX42" fmla="*/ 210862 w 896662"/>
                  <a:gd name="connsiteY42" fmla="*/ 2454275 h 4505325"/>
                  <a:gd name="connsiteX43" fmla="*/ 226737 w 896662"/>
                  <a:gd name="connsiteY43" fmla="*/ 2482850 h 4505325"/>
                  <a:gd name="connsiteX44" fmla="*/ 226737 w 896662"/>
                  <a:gd name="connsiteY44" fmla="*/ 2527300 h 4505325"/>
                  <a:gd name="connsiteX45" fmla="*/ 236262 w 896662"/>
                  <a:gd name="connsiteY45" fmla="*/ 2603500 h 4505325"/>
                  <a:gd name="connsiteX46" fmla="*/ 153712 w 896662"/>
                  <a:gd name="connsiteY46" fmla="*/ 2917824 h 4505325"/>
                  <a:gd name="connsiteX47" fmla="*/ 80687 w 896662"/>
                  <a:gd name="connsiteY47" fmla="*/ 3063874 h 4505325"/>
                  <a:gd name="connsiteX48" fmla="*/ 42587 w 896662"/>
                  <a:gd name="connsiteY48" fmla="*/ 3133724 h 4505325"/>
                  <a:gd name="connsiteX49" fmla="*/ 17187 w 896662"/>
                  <a:gd name="connsiteY49" fmla="*/ 3203574 h 4505325"/>
                  <a:gd name="connsiteX50" fmla="*/ 10837 w 896662"/>
                  <a:gd name="connsiteY50" fmla="*/ 3390899 h 4505325"/>
                  <a:gd name="connsiteX51" fmla="*/ 33062 w 896662"/>
                  <a:gd name="connsiteY51" fmla="*/ 3492499 h 4505325"/>
                  <a:gd name="connsiteX52" fmla="*/ 896662 w 896662"/>
                  <a:gd name="connsiteY52" fmla="*/ 4505325 h 4505325"/>
                  <a:gd name="connsiteX0" fmla="*/ 472114 w 922964"/>
                  <a:gd name="connsiteY0" fmla="*/ 0 h 4505325"/>
                  <a:gd name="connsiteX1" fmla="*/ 434014 w 922964"/>
                  <a:gd name="connsiteY1" fmla="*/ 66675 h 4505325"/>
                  <a:gd name="connsiteX2" fmla="*/ 380039 w 922964"/>
                  <a:gd name="connsiteY2" fmla="*/ 85725 h 4505325"/>
                  <a:gd name="connsiteX3" fmla="*/ 310189 w 922964"/>
                  <a:gd name="connsiteY3" fmla="*/ 98425 h 4505325"/>
                  <a:gd name="connsiteX4" fmla="*/ 249864 w 922964"/>
                  <a:gd name="connsiteY4" fmla="*/ 133350 h 4505325"/>
                  <a:gd name="connsiteX5" fmla="*/ 148264 w 922964"/>
                  <a:gd name="connsiteY5" fmla="*/ 196850 h 4505325"/>
                  <a:gd name="connsiteX6" fmla="*/ 157789 w 922964"/>
                  <a:gd name="connsiteY6" fmla="*/ 247650 h 4505325"/>
                  <a:gd name="connsiteX7" fmla="*/ 199064 w 922964"/>
                  <a:gd name="connsiteY7" fmla="*/ 276225 h 4505325"/>
                  <a:gd name="connsiteX8" fmla="*/ 211764 w 922964"/>
                  <a:gd name="connsiteY8" fmla="*/ 327025 h 4505325"/>
                  <a:gd name="connsiteX9" fmla="*/ 265739 w 922964"/>
                  <a:gd name="connsiteY9" fmla="*/ 368300 h 4505325"/>
                  <a:gd name="connsiteX10" fmla="*/ 265739 w 922964"/>
                  <a:gd name="connsiteY10" fmla="*/ 412750 h 4505325"/>
                  <a:gd name="connsiteX11" fmla="*/ 233989 w 922964"/>
                  <a:gd name="connsiteY11" fmla="*/ 454025 h 4505325"/>
                  <a:gd name="connsiteX12" fmla="*/ 313364 w 922964"/>
                  <a:gd name="connsiteY12" fmla="*/ 479425 h 4505325"/>
                  <a:gd name="connsiteX13" fmla="*/ 329239 w 922964"/>
                  <a:gd name="connsiteY13" fmla="*/ 511175 h 4505325"/>
                  <a:gd name="connsiteX14" fmla="*/ 237164 w 922964"/>
                  <a:gd name="connsiteY14" fmla="*/ 581025 h 4505325"/>
                  <a:gd name="connsiteX15" fmla="*/ 186364 w 922964"/>
                  <a:gd name="connsiteY15" fmla="*/ 638175 h 4505325"/>
                  <a:gd name="connsiteX16" fmla="*/ 186364 w 922964"/>
                  <a:gd name="connsiteY16" fmla="*/ 695325 h 4505325"/>
                  <a:gd name="connsiteX17" fmla="*/ 211764 w 922964"/>
                  <a:gd name="connsiteY17" fmla="*/ 784225 h 4505325"/>
                  <a:gd name="connsiteX18" fmla="*/ 221289 w 922964"/>
                  <a:gd name="connsiteY18" fmla="*/ 835025 h 4505325"/>
                  <a:gd name="connsiteX19" fmla="*/ 230814 w 922964"/>
                  <a:gd name="connsiteY19" fmla="*/ 885825 h 4505325"/>
                  <a:gd name="connsiteX20" fmla="*/ 246689 w 922964"/>
                  <a:gd name="connsiteY20" fmla="*/ 923925 h 4505325"/>
                  <a:gd name="connsiteX21" fmla="*/ 189539 w 922964"/>
                  <a:gd name="connsiteY21" fmla="*/ 1022350 h 4505325"/>
                  <a:gd name="connsiteX22" fmla="*/ 122864 w 922964"/>
                  <a:gd name="connsiteY22" fmla="*/ 1057275 h 4505325"/>
                  <a:gd name="connsiteX23" fmla="*/ 78414 w 922964"/>
                  <a:gd name="connsiteY23" fmla="*/ 1143000 h 4505325"/>
                  <a:gd name="connsiteX24" fmla="*/ 46664 w 922964"/>
                  <a:gd name="connsiteY24" fmla="*/ 1244600 h 4505325"/>
                  <a:gd name="connsiteX25" fmla="*/ 27614 w 922964"/>
                  <a:gd name="connsiteY25" fmla="*/ 1346200 h 4505325"/>
                  <a:gd name="connsiteX26" fmla="*/ 37139 w 922964"/>
                  <a:gd name="connsiteY26" fmla="*/ 1438275 h 4505325"/>
                  <a:gd name="connsiteX27" fmla="*/ 110164 w 922964"/>
                  <a:gd name="connsiteY27" fmla="*/ 1511300 h 4505325"/>
                  <a:gd name="connsiteX28" fmla="*/ 138739 w 922964"/>
                  <a:gd name="connsiteY28" fmla="*/ 1558925 h 4505325"/>
                  <a:gd name="connsiteX29" fmla="*/ 176839 w 922964"/>
                  <a:gd name="connsiteY29" fmla="*/ 1590675 h 4505325"/>
                  <a:gd name="connsiteX30" fmla="*/ 195889 w 922964"/>
                  <a:gd name="connsiteY30" fmla="*/ 1644650 h 4505325"/>
                  <a:gd name="connsiteX31" fmla="*/ 253039 w 922964"/>
                  <a:gd name="connsiteY31" fmla="*/ 1685925 h 4505325"/>
                  <a:gd name="connsiteX32" fmla="*/ 291139 w 922964"/>
                  <a:gd name="connsiteY32" fmla="*/ 1730375 h 4505325"/>
                  <a:gd name="connsiteX33" fmla="*/ 303839 w 922964"/>
                  <a:gd name="connsiteY33" fmla="*/ 1758950 h 4505325"/>
                  <a:gd name="connsiteX34" fmla="*/ 303839 w 922964"/>
                  <a:gd name="connsiteY34" fmla="*/ 1828800 h 4505325"/>
                  <a:gd name="connsiteX35" fmla="*/ 351464 w 922964"/>
                  <a:gd name="connsiteY35" fmla="*/ 1905000 h 4505325"/>
                  <a:gd name="connsiteX36" fmla="*/ 389564 w 922964"/>
                  <a:gd name="connsiteY36" fmla="*/ 1962150 h 4505325"/>
                  <a:gd name="connsiteX37" fmla="*/ 395914 w 922964"/>
                  <a:gd name="connsiteY37" fmla="*/ 2028825 h 4505325"/>
                  <a:gd name="connsiteX38" fmla="*/ 434014 w 922964"/>
                  <a:gd name="connsiteY38" fmla="*/ 2085975 h 4505325"/>
                  <a:gd name="connsiteX39" fmla="*/ 440364 w 922964"/>
                  <a:gd name="connsiteY39" fmla="*/ 2209800 h 4505325"/>
                  <a:gd name="connsiteX40" fmla="*/ 278439 w 922964"/>
                  <a:gd name="connsiteY40" fmla="*/ 2251075 h 4505325"/>
                  <a:gd name="connsiteX41" fmla="*/ 227639 w 922964"/>
                  <a:gd name="connsiteY41" fmla="*/ 2390775 h 4505325"/>
                  <a:gd name="connsiteX42" fmla="*/ 237164 w 922964"/>
                  <a:gd name="connsiteY42" fmla="*/ 2454275 h 4505325"/>
                  <a:gd name="connsiteX43" fmla="*/ 253039 w 922964"/>
                  <a:gd name="connsiteY43" fmla="*/ 2482850 h 4505325"/>
                  <a:gd name="connsiteX44" fmla="*/ 253039 w 922964"/>
                  <a:gd name="connsiteY44" fmla="*/ 2527300 h 4505325"/>
                  <a:gd name="connsiteX45" fmla="*/ 262564 w 922964"/>
                  <a:gd name="connsiteY45" fmla="*/ 2603500 h 4505325"/>
                  <a:gd name="connsiteX46" fmla="*/ 180014 w 922964"/>
                  <a:gd name="connsiteY46" fmla="*/ 2917824 h 4505325"/>
                  <a:gd name="connsiteX47" fmla="*/ 106989 w 922964"/>
                  <a:gd name="connsiteY47" fmla="*/ 3063874 h 4505325"/>
                  <a:gd name="connsiteX48" fmla="*/ 68889 w 922964"/>
                  <a:gd name="connsiteY48" fmla="*/ 3133724 h 4505325"/>
                  <a:gd name="connsiteX49" fmla="*/ 43489 w 922964"/>
                  <a:gd name="connsiteY49" fmla="*/ 3203574 h 4505325"/>
                  <a:gd name="connsiteX50" fmla="*/ 37139 w 922964"/>
                  <a:gd name="connsiteY50" fmla="*/ 3390899 h 4505325"/>
                  <a:gd name="connsiteX51" fmla="*/ 59364 w 922964"/>
                  <a:gd name="connsiteY51" fmla="*/ 3492499 h 4505325"/>
                  <a:gd name="connsiteX52" fmla="*/ 776914 w 922964"/>
                  <a:gd name="connsiteY52" fmla="*/ 4305299 h 4505325"/>
                  <a:gd name="connsiteX53" fmla="*/ 922964 w 922964"/>
                  <a:gd name="connsiteY53" fmla="*/ 4505325 h 4505325"/>
                  <a:gd name="connsiteX0" fmla="*/ 459436 w 910286"/>
                  <a:gd name="connsiteY0" fmla="*/ 0 h 4505325"/>
                  <a:gd name="connsiteX1" fmla="*/ 421336 w 910286"/>
                  <a:gd name="connsiteY1" fmla="*/ 66675 h 4505325"/>
                  <a:gd name="connsiteX2" fmla="*/ 367361 w 910286"/>
                  <a:gd name="connsiteY2" fmla="*/ 85725 h 4505325"/>
                  <a:gd name="connsiteX3" fmla="*/ 297511 w 910286"/>
                  <a:gd name="connsiteY3" fmla="*/ 98425 h 4505325"/>
                  <a:gd name="connsiteX4" fmla="*/ 237186 w 910286"/>
                  <a:gd name="connsiteY4" fmla="*/ 133350 h 4505325"/>
                  <a:gd name="connsiteX5" fmla="*/ 135586 w 910286"/>
                  <a:gd name="connsiteY5" fmla="*/ 196850 h 4505325"/>
                  <a:gd name="connsiteX6" fmla="*/ 145111 w 910286"/>
                  <a:gd name="connsiteY6" fmla="*/ 247650 h 4505325"/>
                  <a:gd name="connsiteX7" fmla="*/ 186386 w 910286"/>
                  <a:gd name="connsiteY7" fmla="*/ 276225 h 4505325"/>
                  <a:gd name="connsiteX8" fmla="*/ 199086 w 910286"/>
                  <a:gd name="connsiteY8" fmla="*/ 327025 h 4505325"/>
                  <a:gd name="connsiteX9" fmla="*/ 253061 w 910286"/>
                  <a:gd name="connsiteY9" fmla="*/ 368300 h 4505325"/>
                  <a:gd name="connsiteX10" fmla="*/ 253061 w 910286"/>
                  <a:gd name="connsiteY10" fmla="*/ 412750 h 4505325"/>
                  <a:gd name="connsiteX11" fmla="*/ 221311 w 910286"/>
                  <a:gd name="connsiteY11" fmla="*/ 454025 h 4505325"/>
                  <a:gd name="connsiteX12" fmla="*/ 300686 w 910286"/>
                  <a:gd name="connsiteY12" fmla="*/ 479425 h 4505325"/>
                  <a:gd name="connsiteX13" fmla="*/ 316561 w 910286"/>
                  <a:gd name="connsiteY13" fmla="*/ 511175 h 4505325"/>
                  <a:gd name="connsiteX14" fmla="*/ 224486 w 910286"/>
                  <a:gd name="connsiteY14" fmla="*/ 581025 h 4505325"/>
                  <a:gd name="connsiteX15" fmla="*/ 173686 w 910286"/>
                  <a:gd name="connsiteY15" fmla="*/ 638175 h 4505325"/>
                  <a:gd name="connsiteX16" fmla="*/ 173686 w 910286"/>
                  <a:gd name="connsiteY16" fmla="*/ 695325 h 4505325"/>
                  <a:gd name="connsiteX17" fmla="*/ 199086 w 910286"/>
                  <a:gd name="connsiteY17" fmla="*/ 784225 h 4505325"/>
                  <a:gd name="connsiteX18" fmla="*/ 208611 w 910286"/>
                  <a:gd name="connsiteY18" fmla="*/ 835025 h 4505325"/>
                  <a:gd name="connsiteX19" fmla="*/ 218136 w 910286"/>
                  <a:gd name="connsiteY19" fmla="*/ 885825 h 4505325"/>
                  <a:gd name="connsiteX20" fmla="*/ 234011 w 910286"/>
                  <a:gd name="connsiteY20" fmla="*/ 923925 h 4505325"/>
                  <a:gd name="connsiteX21" fmla="*/ 176861 w 910286"/>
                  <a:gd name="connsiteY21" fmla="*/ 1022350 h 4505325"/>
                  <a:gd name="connsiteX22" fmla="*/ 110186 w 910286"/>
                  <a:gd name="connsiteY22" fmla="*/ 1057275 h 4505325"/>
                  <a:gd name="connsiteX23" fmla="*/ 65736 w 910286"/>
                  <a:gd name="connsiteY23" fmla="*/ 1143000 h 4505325"/>
                  <a:gd name="connsiteX24" fmla="*/ 33986 w 910286"/>
                  <a:gd name="connsiteY24" fmla="*/ 1244600 h 4505325"/>
                  <a:gd name="connsiteX25" fmla="*/ 14936 w 910286"/>
                  <a:gd name="connsiteY25" fmla="*/ 1346200 h 4505325"/>
                  <a:gd name="connsiteX26" fmla="*/ 24461 w 910286"/>
                  <a:gd name="connsiteY26" fmla="*/ 1438275 h 4505325"/>
                  <a:gd name="connsiteX27" fmla="*/ 97486 w 910286"/>
                  <a:gd name="connsiteY27" fmla="*/ 1511300 h 4505325"/>
                  <a:gd name="connsiteX28" fmla="*/ 126061 w 910286"/>
                  <a:gd name="connsiteY28" fmla="*/ 1558925 h 4505325"/>
                  <a:gd name="connsiteX29" fmla="*/ 164161 w 910286"/>
                  <a:gd name="connsiteY29" fmla="*/ 1590675 h 4505325"/>
                  <a:gd name="connsiteX30" fmla="*/ 183211 w 910286"/>
                  <a:gd name="connsiteY30" fmla="*/ 1644650 h 4505325"/>
                  <a:gd name="connsiteX31" fmla="*/ 240361 w 910286"/>
                  <a:gd name="connsiteY31" fmla="*/ 1685925 h 4505325"/>
                  <a:gd name="connsiteX32" fmla="*/ 278461 w 910286"/>
                  <a:gd name="connsiteY32" fmla="*/ 1730375 h 4505325"/>
                  <a:gd name="connsiteX33" fmla="*/ 291161 w 910286"/>
                  <a:gd name="connsiteY33" fmla="*/ 1758950 h 4505325"/>
                  <a:gd name="connsiteX34" fmla="*/ 291161 w 910286"/>
                  <a:gd name="connsiteY34" fmla="*/ 1828800 h 4505325"/>
                  <a:gd name="connsiteX35" fmla="*/ 338786 w 910286"/>
                  <a:gd name="connsiteY35" fmla="*/ 1905000 h 4505325"/>
                  <a:gd name="connsiteX36" fmla="*/ 376886 w 910286"/>
                  <a:gd name="connsiteY36" fmla="*/ 1962150 h 4505325"/>
                  <a:gd name="connsiteX37" fmla="*/ 383236 w 910286"/>
                  <a:gd name="connsiteY37" fmla="*/ 2028825 h 4505325"/>
                  <a:gd name="connsiteX38" fmla="*/ 421336 w 910286"/>
                  <a:gd name="connsiteY38" fmla="*/ 2085975 h 4505325"/>
                  <a:gd name="connsiteX39" fmla="*/ 427686 w 910286"/>
                  <a:gd name="connsiteY39" fmla="*/ 2209800 h 4505325"/>
                  <a:gd name="connsiteX40" fmla="*/ 265761 w 910286"/>
                  <a:gd name="connsiteY40" fmla="*/ 2251075 h 4505325"/>
                  <a:gd name="connsiteX41" fmla="*/ 214961 w 910286"/>
                  <a:gd name="connsiteY41" fmla="*/ 2390775 h 4505325"/>
                  <a:gd name="connsiteX42" fmla="*/ 224486 w 910286"/>
                  <a:gd name="connsiteY42" fmla="*/ 2454275 h 4505325"/>
                  <a:gd name="connsiteX43" fmla="*/ 240361 w 910286"/>
                  <a:gd name="connsiteY43" fmla="*/ 2482850 h 4505325"/>
                  <a:gd name="connsiteX44" fmla="*/ 240361 w 910286"/>
                  <a:gd name="connsiteY44" fmla="*/ 2527300 h 4505325"/>
                  <a:gd name="connsiteX45" fmla="*/ 249886 w 910286"/>
                  <a:gd name="connsiteY45" fmla="*/ 2603500 h 4505325"/>
                  <a:gd name="connsiteX46" fmla="*/ 167336 w 910286"/>
                  <a:gd name="connsiteY46" fmla="*/ 2917824 h 4505325"/>
                  <a:gd name="connsiteX47" fmla="*/ 94311 w 910286"/>
                  <a:gd name="connsiteY47" fmla="*/ 3063874 h 4505325"/>
                  <a:gd name="connsiteX48" fmla="*/ 56211 w 910286"/>
                  <a:gd name="connsiteY48" fmla="*/ 3133724 h 4505325"/>
                  <a:gd name="connsiteX49" fmla="*/ 30811 w 910286"/>
                  <a:gd name="connsiteY49" fmla="*/ 3203574 h 4505325"/>
                  <a:gd name="connsiteX50" fmla="*/ 24461 w 910286"/>
                  <a:gd name="connsiteY50" fmla="*/ 3390899 h 4505325"/>
                  <a:gd name="connsiteX51" fmla="*/ 46686 w 910286"/>
                  <a:gd name="connsiteY51" fmla="*/ 3492499 h 4505325"/>
                  <a:gd name="connsiteX52" fmla="*/ 395936 w 910286"/>
                  <a:gd name="connsiteY52" fmla="*/ 4203699 h 4505325"/>
                  <a:gd name="connsiteX53" fmla="*/ 764236 w 910286"/>
                  <a:gd name="connsiteY53" fmla="*/ 4305299 h 4505325"/>
                  <a:gd name="connsiteX54" fmla="*/ 910286 w 910286"/>
                  <a:gd name="connsiteY54" fmla="*/ 4505325 h 4505325"/>
                  <a:gd name="connsiteX0" fmla="*/ 459436 w 910286"/>
                  <a:gd name="connsiteY0" fmla="*/ 0 h 4505325"/>
                  <a:gd name="connsiteX1" fmla="*/ 421336 w 910286"/>
                  <a:gd name="connsiteY1" fmla="*/ 66675 h 4505325"/>
                  <a:gd name="connsiteX2" fmla="*/ 367361 w 910286"/>
                  <a:gd name="connsiteY2" fmla="*/ 85725 h 4505325"/>
                  <a:gd name="connsiteX3" fmla="*/ 297511 w 910286"/>
                  <a:gd name="connsiteY3" fmla="*/ 98425 h 4505325"/>
                  <a:gd name="connsiteX4" fmla="*/ 237186 w 910286"/>
                  <a:gd name="connsiteY4" fmla="*/ 133350 h 4505325"/>
                  <a:gd name="connsiteX5" fmla="*/ 135586 w 910286"/>
                  <a:gd name="connsiteY5" fmla="*/ 196850 h 4505325"/>
                  <a:gd name="connsiteX6" fmla="*/ 145111 w 910286"/>
                  <a:gd name="connsiteY6" fmla="*/ 247650 h 4505325"/>
                  <a:gd name="connsiteX7" fmla="*/ 186386 w 910286"/>
                  <a:gd name="connsiteY7" fmla="*/ 276225 h 4505325"/>
                  <a:gd name="connsiteX8" fmla="*/ 199086 w 910286"/>
                  <a:gd name="connsiteY8" fmla="*/ 327025 h 4505325"/>
                  <a:gd name="connsiteX9" fmla="*/ 253061 w 910286"/>
                  <a:gd name="connsiteY9" fmla="*/ 368300 h 4505325"/>
                  <a:gd name="connsiteX10" fmla="*/ 253061 w 910286"/>
                  <a:gd name="connsiteY10" fmla="*/ 412750 h 4505325"/>
                  <a:gd name="connsiteX11" fmla="*/ 221311 w 910286"/>
                  <a:gd name="connsiteY11" fmla="*/ 454025 h 4505325"/>
                  <a:gd name="connsiteX12" fmla="*/ 300686 w 910286"/>
                  <a:gd name="connsiteY12" fmla="*/ 479425 h 4505325"/>
                  <a:gd name="connsiteX13" fmla="*/ 316561 w 910286"/>
                  <a:gd name="connsiteY13" fmla="*/ 511175 h 4505325"/>
                  <a:gd name="connsiteX14" fmla="*/ 224486 w 910286"/>
                  <a:gd name="connsiteY14" fmla="*/ 581025 h 4505325"/>
                  <a:gd name="connsiteX15" fmla="*/ 173686 w 910286"/>
                  <a:gd name="connsiteY15" fmla="*/ 638175 h 4505325"/>
                  <a:gd name="connsiteX16" fmla="*/ 173686 w 910286"/>
                  <a:gd name="connsiteY16" fmla="*/ 695325 h 4505325"/>
                  <a:gd name="connsiteX17" fmla="*/ 199086 w 910286"/>
                  <a:gd name="connsiteY17" fmla="*/ 784225 h 4505325"/>
                  <a:gd name="connsiteX18" fmla="*/ 208611 w 910286"/>
                  <a:gd name="connsiteY18" fmla="*/ 835025 h 4505325"/>
                  <a:gd name="connsiteX19" fmla="*/ 218136 w 910286"/>
                  <a:gd name="connsiteY19" fmla="*/ 885825 h 4505325"/>
                  <a:gd name="connsiteX20" fmla="*/ 234011 w 910286"/>
                  <a:gd name="connsiteY20" fmla="*/ 923925 h 4505325"/>
                  <a:gd name="connsiteX21" fmla="*/ 176861 w 910286"/>
                  <a:gd name="connsiteY21" fmla="*/ 1022350 h 4505325"/>
                  <a:gd name="connsiteX22" fmla="*/ 110186 w 910286"/>
                  <a:gd name="connsiteY22" fmla="*/ 1057275 h 4505325"/>
                  <a:gd name="connsiteX23" fmla="*/ 65736 w 910286"/>
                  <a:gd name="connsiteY23" fmla="*/ 1143000 h 4505325"/>
                  <a:gd name="connsiteX24" fmla="*/ 33986 w 910286"/>
                  <a:gd name="connsiteY24" fmla="*/ 1244600 h 4505325"/>
                  <a:gd name="connsiteX25" fmla="*/ 14936 w 910286"/>
                  <a:gd name="connsiteY25" fmla="*/ 1346200 h 4505325"/>
                  <a:gd name="connsiteX26" fmla="*/ 24461 w 910286"/>
                  <a:gd name="connsiteY26" fmla="*/ 1438275 h 4505325"/>
                  <a:gd name="connsiteX27" fmla="*/ 97486 w 910286"/>
                  <a:gd name="connsiteY27" fmla="*/ 1511300 h 4505325"/>
                  <a:gd name="connsiteX28" fmla="*/ 126061 w 910286"/>
                  <a:gd name="connsiteY28" fmla="*/ 1558925 h 4505325"/>
                  <a:gd name="connsiteX29" fmla="*/ 164161 w 910286"/>
                  <a:gd name="connsiteY29" fmla="*/ 1590675 h 4505325"/>
                  <a:gd name="connsiteX30" fmla="*/ 183211 w 910286"/>
                  <a:gd name="connsiteY30" fmla="*/ 1644650 h 4505325"/>
                  <a:gd name="connsiteX31" fmla="*/ 240361 w 910286"/>
                  <a:gd name="connsiteY31" fmla="*/ 1685925 h 4505325"/>
                  <a:gd name="connsiteX32" fmla="*/ 278461 w 910286"/>
                  <a:gd name="connsiteY32" fmla="*/ 1730375 h 4505325"/>
                  <a:gd name="connsiteX33" fmla="*/ 291161 w 910286"/>
                  <a:gd name="connsiteY33" fmla="*/ 1758950 h 4505325"/>
                  <a:gd name="connsiteX34" fmla="*/ 291161 w 910286"/>
                  <a:gd name="connsiteY34" fmla="*/ 1828800 h 4505325"/>
                  <a:gd name="connsiteX35" fmla="*/ 338786 w 910286"/>
                  <a:gd name="connsiteY35" fmla="*/ 1905000 h 4505325"/>
                  <a:gd name="connsiteX36" fmla="*/ 376886 w 910286"/>
                  <a:gd name="connsiteY36" fmla="*/ 1962150 h 4505325"/>
                  <a:gd name="connsiteX37" fmla="*/ 383236 w 910286"/>
                  <a:gd name="connsiteY37" fmla="*/ 2028825 h 4505325"/>
                  <a:gd name="connsiteX38" fmla="*/ 421336 w 910286"/>
                  <a:gd name="connsiteY38" fmla="*/ 2085975 h 4505325"/>
                  <a:gd name="connsiteX39" fmla="*/ 427686 w 910286"/>
                  <a:gd name="connsiteY39" fmla="*/ 2209800 h 4505325"/>
                  <a:gd name="connsiteX40" fmla="*/ 265761 w 910286"/>
                  <a:gd name="connsiteY40" fmla="*/ 2251075 h 4505325"/>
                  <a:gd name="connsiteX41" fmla="*/ 214961 w 910286"/>
                  <a:gd name="connsiteY41" fmla="*/ 2390775 h 4505325"/>
                  <a:gd name="connsiteX42" fmla="*/ 224486 w 910286"/>
                  <a:gd name="connsiteY42" fmla="*/ 2454275 h 4505325"/>
                  <a:gd name="connsiteX43" fmla="*/ 240361 w 910286"/>
                  <a:gd name="connsiteY43" fmla="*/ 2482850 h 4505325"/>
                  <a:gd name="connsiteX44" fmla="*/ 240361 w 910286"/>
                  <a:gd name="connsiteY44" fmla="*/ 2527300 h 4505325"/>
                  <a:gd name="connsiteX45" fmla="*/ 249886 w 910286"/>
                  <a:gd name="connsiteY45" fmla="*/ 2603500 h 4505325"/>
                  <a:gd name="connsiteX46" fmla="*/ 167336 w 910286"/>
                  <a:gd name="connsiteY46" fmla="*/ 2917824 h 4505325"/>
                  <a:gd name="connsiteX47" fmla="*/ 94311 w 910286"/>
                  <a:gd name="connsiteY47" fmla="*/ 3063874 h 4505325"/>
                  <a:gd name="connsiteX48" fmla="*/ 56211 w 910286"/>
                  <a:gd name="connsiteY48" fmla="*/ 3133724 h 4505325"/>
                  <a:gd name="connsiteX49" fmla="*/ 30811 w 910286"/>
                  <a:gd name="connsiteY49" fmla="*/ 3203574 h 4505325"/>
                  <a:gd name="connsiteX50" fmla="*/ 24461 w 910286"/>
                  <a:gd name="connsiteY50" fmla="*/ 3390899 h 4505325"/>
                  <a:gd name="connsiteX51" fmla="*/ 46686 w 910286"/>
                  <a:gd name="connsiteY51" fmla="*/ 3492499 h 4505325"/>
                  <a:gd name="connsiteX52" fmla="*/ 395936 w 910286"/>
                  <a:gd name="connsiteY52" fmla="*/ 4203699 h 4505325"/>
                  <a:gd name="connsiteX53" fmla="*/ 653111 w 910286"/>
                  <a:gd name="connsiteY53" fmla="*/ 4302124 h 4505325"/>
                  <a:gd name="connsiteX54" fmla="*/ 764236 w 910286"/>
                  <a:gd name="connsiteY54" fmla="*/ 4305299 h 4505325"/>
                  <a:gd name="connsiteX55" fmla="*/ 910286 w 910286"/>
                  <a:gd name="connsiteY55" fmla="*/ 4505325 h 4505325"/>
                  <a:gd name="connsiteX0" fmla="*/ 459436 w 910286"/>
                  <a:gd name="connsiteY0" fmla="*/ 0 h 4505325"/>
                  <a:gd name="connsiteX1" fmla="*/ 421336 w 910286"/>
                  <a:gd name="connsiteY1" fmla="*/ 66675 h 4505325"/>
                  <a:gd name="connsiteX2" fmla="*/ 367361 w 910286"/>
                  <a:gd name="connsiteY2" fmla="*/ 85725 h 4505325"/>
                  <a:gd name="connsiteX3" fmla="*/ 297511 w 910286"/>
                  <a:gd name="connsiteY3" fmla="*/ 98425 h 4505325"/>
                  <a:gd name="connsiteX4" fmla="*/ 237186 w 910286"/>
                  <a:gd name="connsiteY4" fmla="*/ 133350 h 4505325"/>
                  <a:gd name="connsiteX5" fmla="*/ 135586 w 910286"/>
                  <a:gd name="connsiteY5" fmla="*/ 196850 h 4505325"/>
                  <a:gd name="connsiteX6" fmla="*/ 145111 w 910286"/>
                  <a:gd name="connsiteY6" fmla="*/ 247650 h 4505325"/>
                  <a:gd name="connsiteX7" fmla="*/ 186386 w 910286"/>
                  <a:gd name="connsiteY7" fmla="*/ 276225 h 4505325"/>
                  <a:gd name="connsiteX8" fmla="*/ 199086 w 910286"/>
                  <a:gd name="connsiteY8" fmla="*/ 327025 h 4505325"/>
                  <a:gd name="connsiteX9" fmla="*/ 253061 w 910286"/>
                  <a:gd name="connsiteY9" fmla="*/ 368300 h 4505325"/>
                  <a:gd name="connsiteX10" fmla="*/ 253061 w 910286"/>
                  <a:gd name="connsiteY10" fmla="*/ 412750 h 4505325"/>
                  <a:gd name="connsiteX11" fmla="*/ 221311 w 910286"/>
                  <a:gd name="connsiteY11" fmla="*/ 454025 h 4505325"/>
                  <a:gd name="connsiteX12" fmla="*/ 300686 w 910286"/>
                  <a:gd name="connsiteY12" fmla="*/ 479425 h 4505325"/>
                  <a:gd name="connsiteX13" fmla="*/ 316561 w 910286"/>
                  <a:gd name="connsiteY13" fmla="*/ 511175 h 4505325"/>
                  <a:gd name="connsiteX14" fmla="*/ 224486 w 910286"/>
                  <a:gd name="connsiteY14" fmla="*/ 581025 h 4505325"/>
                  <a:gd name="connsiteX15" fmla="*/ 173686 w 910286"/>
                  <a:gd name="connsiteY15" fmla="*/ 638175 h 4505325"/>
                  <a:gd name="connsiteX16" fmla="*/ 173686 w 910286"/>
                  <a:gd name="connsiteY16" fmla="*/ 695325 h 4505325"/>
                  <a:gd name="connsiteX17" fmla="*/ 199086 w 910286"/>
                  <a:gd name="connsiteY17" fmla="*/ 784225 h 4505325"/>
                  <a:gd name="connsiteX18" fmla="*/ 208611 w 910286"/>
                  <a:gd name="connsiteY18" fmla="*/ 835025 h 4505325"/>
                  <a:gd name="connsiteX19" fmla="*/ 218136 w 910286"/>
                  <a:gd name="connsiteY19" fmla="*/ 885825 h 4505325"/>
                  <a:gd name="connsiteX20" fmla="*/ 234011 w 910286"/>
                  <a:gd name="connsiteY20" fmla="*/ 923925 h 4505325"/>
                  <a:gd name="connsiteX21" fmla="*/ 176861 w 910286"/>
                  <a:gd name="connsiteY21" fmla="*/ 1022350 h 4505325"/>
                  <a:gd name="connsiteX22" fmla="*/ 110186 w 910286"/>
                  <a:gd name="connsiteY22" fmla="*/ 1057275 h 4505325"/>
                  <a:gd name="connsiteX23" fmla="*/ 65736 w 910286"/>
                  <a:gd name="connsiteY23" fmla="*/ 1143000 h 4505325"/>
                  <a:gd name="connsiteX24" fmla="*/ 33986 w 910286"/>
                  <a:gd name="connsiteY24" fmla="*/ 1244600 h 4505325"/>
                  <a:gd name="connsiteX25" fmla="*/ 14936 w 910286"/>
                  <a:gd name="connsiteY25" fmla="*/ 1346200 h 4505325"/>
                  <a:gd name="connsiteX26" fmla="*/ 24461 w 910286"/>
                  <a:gd name="connsiteY26" fmla="*/ 1438275 h 4505325"/>
                  <a:gd name="connsiteX27" fmla="*/ 97486 w 910286"/>
                  <a:gd name="connsiteY27" fmla="*/ 1511300 h 4505325"/>
                  <a:gd name="connsiteX28" fmla="*/ 126061 w 910286"/>
                  <a:gd name="connsiteY28" fmla="*/ 1558925 h 4505325"/>
                  <a:gd name="connsiteX29" fmla="*/ 164161 w 910286"/>
                  <a:gd name="connsiteY29" fmla="*/ 1590675 h 4505325"/>
                  <a:gd name="connsiteX30" fmla="*/ 183211 w 910286"/>
                  <a:gd name="connsiteY30" fmla="*/ 1644650 h 4505325"/>
                  <a:gd name="connsiteX31" fmla="*/ 240361 w 910286"/>
                  <a:gd name="connsiteY31" fmla="*/ 1685925 h 4505325"/>
                  <a:gd name="connsiteX32" fmla="*/ 278461 w 910286"/>
                  <a:gd name="connsiteY32" fmla="*/ 1730375 h 4505325"/>
                  <a:gd name="connsiteX33" fmla="*/ 291161 w 910286"/>
                  <a:gd name="connsiteY33" fmla="*/ 1758950 h 4505325"/>
                  <a:gd name="connsiteX34" fmla="*/ 291161 w 910286"/>
                  <a:gd name="connsiteY34" fmla="*/ 1828800 h 4505325"/>
                  <a:gd name="connsiteX35" fmla="*/ 338786 w 910286"/>
                  <a:gd name="connsiteY35" fmla="*/ 1905000 h 4505325"/>
                  <a:gd name="connsiteX36" fmla="*/ 376886 w 910286"/>
                  <a:gd name="connsiteY36" fmla="*/ 1962150 h 4505325"/>
                  <a:gd name="connsiteX37" fmla="*/ 383236 w 910286"/>
                  <a:gd name="connsiteY37" fmla="*/ 2028825 h 4505325"/>
                  <a:gd name="connsiteX38" fmla="*/ 421336 w 910286"/>
                  <a:gd name="connsiteY38" fmla="*/ 2085975 h 4505325"/>
                  <a:gd name="connsiteX39" fmla="*/ 427686 w 910286"/>
                  <a:gd name="connsiteY39" fmla="*/ 2209800 h 4505325"/>
                  <a:gd name="connsiteX40" fmla="*/ 265761 w 910286"/>
                  <a:gd name="connsiteY40" fmla="*/ 2251075 h 4505325"/>
                  <a:gd name="connsiteX41" fmla="*/ 214961 w 910286"/>
                  <a:gd name="connsiteY41" fmla="*/ 2390775 h 4505325"/>
                  <a:gd name="connsiteX42" fmla="*/ 224486 w 910286"/>
                  <a:gd name="connsiteY42" fmla="*/ 2454275 h 4505325"/>
                  <a:gd name="connsiteX43" fmla="*/ 240361 w 910286"/>
                  <a:gd name="connsiteY43" fmla="*/ 2482850 h 4505325"/>
                  <a:gd name="connsiteX44" fmla="*/ 240361 w 910286"/>
                  <a:gd name="connsiteY44" fmla="*/ 2527300 h 4505325"/>
                  <a:gd name="connsiteX45" fmla="*/ 249886 w 910286"/>
                  <a:gd name="connsiteY45" fmla="*/ 2603500 h 4505325"/>
                  <a:gd name="connsiteX46" fmla="*/ 167336 w 910286"/>
                  <a:gd name="connsiteY46" fmla="*/ 2917824 h 4505325"/>
                  <a:gd name="connsiteX47" fmla="*/ 94311 w 910286"/>
                  <a:gd name="connsiteY47" fmla="*/ 3063874 h 4505325"/>
                  <a:gd name="connsiteX48" fmla="*/ 56211 w 910286"/>
                  <a:gd name="connsiteY48" fmla="*/ 3133724 h 4505325"/>
                  <a:gd name="connsiteX49" fmla="*/ 30811 w 910286"/>
                  <a:gd name="connsiteY49" fmla="*/ 3203574 h 4505325"/>
                  <a:gd name="connsiteX50" fmla="*/ 24461 w 910286"/>
                  <a:gd name="connsiteY50" fmla="*/ 3390899 h 4505325"/>
                  <a:gd name="connsiteX51" fmla="*/ 46686 w 910286"/>
                  <a:gd name="connsiteY51" fmla="*/ 3492499 h 4505325"/>
                  <a:gd name="connsiteX52" fmla="*/ 395936 w 910286"/>
                  <a:gd name="connsiteY52" fmla="*/ 4203699 h 4505325"/>
                  <a:gd name="connsiteX53" fmla="*/ 653111 w 910286"/>
                  <a:gd name="connsiteY53" fmla="*/ 4302124 h 4505325"/>
                  <a:gd name="connsiteX54" fmla="*/ 773761 w 910286"/>
                  <a:gd name="connsiteY54" fmla="*/ 4292599 h 4505325"/>
                  <a:gd name="connsiteX55" fmla="*/ 910286 w 910286"/>
                  <a:gd name="connsiteY55" fmla="*/ 4505325 h 4505325"/>
                  <a:gd name="connsiteX0" fmla="*/ 459436 w 910286"/>
                  <a:gd name="connsiteY0" fmla="*/ 0 h 4505325"/>
                  <a:gd name="connsiteX1" fmla="*/ 421336 w 910286"/>
                  <a:gd name="connsiteY1" fmla="*/ 66675 h 4505325"/>
                  <a:gd name="connsiteX2" fmla="*/ 367361 w 910286"/>
                  <a:gd name="connsiteY2" fmla="*/ 85725 h 4505325"/>
                  <a:gd name="connsiteX3" fmla="*/ 297511 w 910286"/>
                  <a:gd name="connsiteY3" fmla="*/ 98425 h 4505325"/>
                  <a:gd name="connsiteX4" fmla="*/ 237186 w 910286"/>
                  <a:gd name="connsiteY4" fmla="*/ 133350 h 4505325"/>
                  <a:gd name="connsiteX5" fmla="*/ 135586 w 910286"/>
                  <a:gd name="connsiteY5" fmla="*/ 196850 h 4505325"/>
                  <a:gd name="connsiteX6" fmla="*/ 145111 w 910286"/>
                  <a:gd name="connsiteY6" fmla="*/ 247650 h 4505325"/>
                  <a:gd name="connsiteX7" fmla="*/ 186386 w 910286"/>
                  <a:gd name="connsiteY7" fmla="*/ 276225 h 4505325"/>
                  <a:gd name="connsiteX8" fmla="*/ 199086 w 910286"/>
                  <a:gd name="connsiteY8" fmla="*/ 327025 h 4505325"/>
                  <a:gd name="connsiteX9" fmla="*/ 253061 w 910286"/>
                  <a:gd name="connsiteY9" fmla="*/ 368300 h 4505325"/>
                  <a:gd name="connsiteX10" fmla="*/ 253061 w 910286"/>
                  <a:gd name="connsiteY10" fmla="*/ 412750 h 4505325"/>
                  <a:gd name="connsiteX11" fmla="*/ 221311 w 910286"/>
                  <a:gd name="connsiteY11" fmla="*/ 454025 h 4505325"/>
                  <a:gd name="connsiteX12" fmla="*/ 300686 w 910286"/>
                  <a:gd name="connsiteY12" fmla="*/ 479425 h 4505325"/>
                  <a:gd name="connsiteX13" fmla="*/ 316561 w 910286"/>
                  <a:gd name="connsiteY13" fmla="*/ 511175 h 4505325"/>
                  <a:gd name="connsiteX14" fmla="*/ 224486 w 910286"/>
                  <a:gd name="connsiteY14" fmla="*/ 581025 h 4505325"/>
                  <a:gd name="connsiteX15" fmla="*/ 173686 w 910286"/>
                  <a:gd name="connsiteY15" fmla="*/ 638175 h 4505325"/>
                  <a:gd name="connsiteX16" fmla="*/ 173686 w 910286"/>
                  <a:gd name="connsiteY16" fmla="*/ 695325 h 4505325"/>
                  <a:gd name="connsiteX17" fmla="*/ 199086 w 910286"/>
                  <a:gd name="connsiteY17" fmla="*/ 784225 h 4505325"/>
                  <a:gd name="connsiteX18" fmla="*/ 208611 w 910286"/>
                  <a:gd name="connsiteY18" fmla="*/ 835025 h 4505325"/>
                  <a:gd name="connsiteX19" fmla="*/ 218136 w 910286"/>
                  <a:gd name="connsiteY19" fmla="*/ 885825 h 4505325"/>
                  <a:gd name="connsiteX20" fmla="*/ 234011 w 910286"/>
                  <a:gd name="connsiteY20" fmla="*/ 923925 h 4505325"/>
                  <a:gd name="connsiteX21" fmla="*/ 176861 w 910286"/>
                  <a:gd name="connsiteY21" fmla="*/ 1022350 h 4505325"/>
                  <a:gd name="connsiteX22" fmla="*/ 110186 w 910286"/>
                  <a:gd name="connsiteY22" fmla="*/ 1057275 h 4505325"/>
                  <a:gd name="connsiteX23" fmla="*/ 65736 w 910286"/>
                  <a:gd name="connsiteY23" fmla="*/ 1143000 h 4505325"/>
                  <a:gd name="connsiteX24" fmla="*/ 33986 w 910286"/>
                  <a:gd name="connsiteY24" fmla="*/ 1244600 h 4505325"/>
                  <a:gd name="connsiteX25" fmla="*/ 14936 w 910286"/>
                  <a:gd name="connsiteY25" fmla="*/ 1346200 h 4505325"/>
                  <a:gd name="connsiteX26" fmla="*/ 24461 w 910286"/>
                  <a:gd name="connsiteY26" fmla="*/ 1438275 h 4505325"/>
                  <a:gd name="connsiteX27" fmla="*/ 97486 w 910286"/>
                  <a:gd name="connsiteY27" fmla="*/ 1511300 h 4505325"/>
                  <a:gd name="connsiteX28" fmla="*/ 126061 w 910286"/>
                  <a:gd name="connsiteY28" fmla="*/ 1558925 h 4505325"/>
                  <a:gd name="connsiteX29" fmla="*/ 164161 w 910286"/>
                  <a:gd name="connsiteY29" fmla="*/ 1590675 h 4505325"/>
                  <a:gd name="connsiteX30" fmla="*/ 183211 w 910286"/>
                  <a:gd name="connsiteY30" fmla="*/ 1644650 h 4505325"/>
                  <a:gd name="connsiteX31" fmla="*/ 240361 w 910286"/>
                  <a:gd name="connsiteY31" fmla="*/ 1685925 h 4505325"/>
                  <a:gd name="connsiteX32" fmla="*/ 278461 w 910286"/>
                  <a:gd name="connsiteY32" fmla="*/ 1730375 h 4505325"/>
                  <a:gd name="connsiteX33" fmla="*/ 291161 w 910286"/>
                  <a:gd name="connsiteY33" fmla="*/ 1758950 h 4505325"/>
                  <a:gd name="connsiteX34" fmla="*/ 291161 w 910286"/>
                  <a:gd name="connsiteY34" fmla="*/ 1828800 h 4505325"/>
                  <a:gd name="connsiteX35" fmla="*/ 338786 w 910286"/>
                  <a:gd name="connsiteY35" fmla="*/ 1905000 h 4505325"/>
                  <a:gd name="connsiteX36" fmla="*/ 376886 w 910286"/>
                  <a:gd name="connsiteY36" fmla="*/ 1962150 h 4505325"/>
                  <a:gd name="connsiteX37" fmla="*/ 383236 w 910286"/>
                  <a:gd name="connsiteY37" fmla="*/ 2028825 h 4505325"/>
                  <a:gd name="connsiteX38" fmla="*/ 421336 w 910286"/>
                  <a:gd name="connsiteY38" fmla="*/ 2085975 h 4505325"/>
                  <a:gd name="connsiteX39" fmla="*/ 427686 w 910286"/>
                  <a:gd name="connsiteY39" fmla="*/ 2209800 h 4505325"/>
                  <a:gd name="connsiteX40" fmla="*/ 265761 w 910286"/>
                  <a:gd name="connsiteY40" fmla="*/ 2251075 h 4505325"/>
                  <a:gd name="connsiteX41" fmla="*/ 214961 w 910286"/>
                  <a:gd name="connsiteY41" fmla="*/ 2390775 h 4505325"/>
                  <a:gd name="connsiteX42" fmla="*/ 224486 w 910286"/>
                  <a:gd name="connsiteY42" fmla="*/ 2454275 h 4505325"/>
                  <a:gd name="connsiteX43" fmla="*/ 240361 w 910286"/>
                  <a:gd name="connsiteY43" fmla="*/ 2482850 h 4505325"/>
                  <a:gd name="connsiteX44" fmla="*/ 240361 w 910286"/>
                  <a:gd name="connsiteY44" fmla="*/ 2527300 h 4505325"/>
                  <a:gd name="connsiteX45" fmla="*/ 249886 w 910286"/>
                  <a:gd name="connsiteY45" fmla="*/ 2603500 h 4505325"/>
                  <a:gd name="connsiteX46" fmla="*/ 167336 w 910286"/>
                  <a:gd name="connsiteY46" fmla="*/ 2917824 h 4505325"/>
                  <a:gd name="connsiteX47" fmla="*/ 94311 w 910286"/>
                  <a:gd name="connsiteY47" fmla="*/ 3063874 h 4505325"/>
                  <a:gd name="connsiteX48" fmla="*/ 56211 w 910286"/>
                  <a:gd name="connsiteY48" fmla="*/ 3133724 h 4505325"/>
                  <a:gd name="connsiteX49" fmla="*/ 30811 w 910286"/>
                  <a:gd name="connsiteY49" fmla="*/ 3203574 h 4505325"/>
                  <a:gd name="connsiteX50" fmla="*/ 24461 w 910286"/>
                  <a:gd name="connsiteY50" fmla="*/ 3390899 h 4505325"/>
                  <a:gd name="connsiteX51" fmla="*/ 46686 w 910286"/>
                  <a:gd name="connsiteY51" fmla="*/ 3492499 h 4505325"/>
                  <a:gd name="connsiteX52" fmla="*/ 395936 w 910286"/>
                  <a:gd name="connsiteY52" fmla="*/ 4203699 h 4505325"/>
                  <a:gd name="connsiteX53" fmla="*/ 653111 w 910286"/>
                  <a:gd name="connsiteY53" fmla="*/ 4302124 h 4505325"/>
                  <a:gd name="connsiteX54" fmla="*/ 773761 w 910286"/>
                  <a:gd name="connsiteY54" fmla="*/ 4292599 h 4505325"/>
                  <a:gd name="connsiteX55" fmla="*/ 910286 w 910286"/>
                  <a:gd name="connsiteY55" fmla="*/ 4505325 h 4505325"/>
                  <a:gd name="connsiteX0" fmla="*/ 459436 w 910286"/>
                  <a:gd name="connsiteY0" fmla="*/ 0 h 4505325"/>
                  <a:gd name="connsiteX1" fmla="*/ 421336 w 910286"/>
                  <a:gd name="connsiteY1" fmla="*/ 66675 h 4505325"/>
                  <a:gd name="connsiteX2" fmla="*/ 367361 w 910286"/>
                  <a:gd name="connsiteY2" fmla="*/ 85725 h 4505325"/>
                  <a:gd name="connsiteX3" fmla="*/ 297511 w 910286"/>
                  <a:gd name="connsiteY3" fmla="*/ 98425 h 4505325"/>
                  <a:gd name="connsiteX4" fmla="*/ 237186 w 910286"/>
                  <a:gd name="connsiteY4" fmla="*/ 133350 h 4505325"/>
                  <a:gd name="connsiteX5" fmla="*/ 135586 w 910286"/>
                  <a:gd name="connsiteY5" fmla="*/ 196850 h 4505325"/>
                  <a:gd name="connsiteX6" fmla="*/ 145111 w 910286"/>
                  <a:gd name="connsiteY6" fmla="*/ 247650 h 4505325"/>
                  <a:gd name="connsiteX7" fmla="*/ 186386 w 910286"/>
                  <a:gd name="connsiteY7" fmla="*/ 276225 h 4505325"/>
                  <a:gd name="connsiteX8" fmla="*/ 199086 w 910286"/>
                  <a:gd name="connsiteY8" fmla="*/ 327025 h 4505325"/>
                  <a:gd name="connsiteX9" fmla="*/ 253061 w 910286"/>
                  <a:gd name="connsiteY9" fmla="*/ 368300 h 4505325"/>
                  <a:gd name="connsiteX10" fmla="*/ 253061 w 910286"/>
                  <a:gd name="connsiteY10" fmla="*/ 412750 h 4505325"/>
                  <a:gd name="connsiteX11" fmla="*/ 221311 w 910286"/>
                  <a:gd name="connsiteY11" fmla="*/ 454025 h 4505325"/>
                  <a:gd name="connsiteX12" fmla="*/ 300686 w 910286"/>
                  <a:gd name="connsiteY12" fmla="*/ 479425 h 4505325"/>
                  <a:gd name="connsiteX13" fmla="*/ 316561 w 910286"/>
                  <a:gd name="connsiteY13" fmla="*/ 511175 h 4505325"/>
                  <a:gd name="connsiteX14" fmla="*/ 224486 w 910286"/>
                  <a:gd name="connsiteY14" fmla="*/ 581025 h 4505325"/>
                  <a:gd name="connsiteX15" fmla="*/ 173686 w 910286"/>
                  <a:gd name="connsiteY15" fmla="*/ 638175 h 4505325"/>
                  <a:gd name="connsiteX16" fmla="*/ 173686 w 910286"/>
                  <a:gd name="connsiteY16" fmla="*/ 695325 h 4505325"/>
                  <a:gd name="connsiteX17" fmla="*/ 199086 w 910286"/>
                  <a:gd name="connsiteY17" fmla="*/ 784225 h 4505325"/>
                  <a:gd name="connsiteX18" fmla="*/ 208611 w 910286"/>
                  <a:gd name="connsiteY18" fmla="*/ 835025 h 4505325"/>
                  <a:gd name="connsiteX19" fmla="*/ 218136 w 910286"/>
                  <a:gd name="connsiteY19" fmla="*/ 885825 h 4505325"/>
                  <a:gd name="connsiteX20" fmla="*/ 234011 w 910286"/>
                  <a:gd name="connsiteY20" fmla="*/ 923925 h 4505325"/>
                  <a:gd name="connsiteX21" fmla="*/ 176861 w 910286"/>
                  <a:gd name="connsiteY21" fmla="*/ 1022350 h 4505325"/>
                  <a:gd name="connsiteX22" fmla="*/ 110186 w 910286"/>
                  <a:gd name="connsiteY22" fmla="*/ 1057275 h 4505325"/>
                  <a:gd name="connsiteX23" fmla="*/ 65736 w 910286"/>
                  <a:gd name="connsiteY23" fmla="*/ 1143000 h 4505325"/>
                  <a:gd name="connsiteX24" fmla="*/ 33986 w 910286"/>
                  <a:gd name="connsiteY24" fmla="*/ 1244600 h 4505325"/>
                  <a:gd name="connsiteX25" fmla="*/ 14936 w 910286"/>
                  <a:gd name="connsiteY25" fmla="*/ 1346200 h 4505325"/>
                  <a:gd name="connsiteX26" fmla="*/ 24461 w 910286"/>
                  <a:gd name="connsiteY26" fmla="*/ 1438275 h 4505325"/>
                  <a:gd name="connsiteX27" fmla="*/ 97486 w 910286"/>
                  <a:gd name="connsiteY27" fmla="*/ 1511300 h 4505325"/>
                  <a:gd name="connsiteX28" fmla="*/ 126061 w 910286"/>
                  <a:gd name="connsiteY28" fmla="*/ 1558925 h 4505325"/>
                  <a:gd name="connsiteX29" fmla="*/ 164161 w 910286"/>
                  <a:gd name="connsiteY29" fmla="*/ 1590675 h 4505325"/>
                  <a:gd name="connsiteX30" fmla="*/ 183211 w 910286"/>
                  <a:gd name="connsiteY30" fmla="*/ 1644650 h 4505325"/>
                  <a:gd name="connsiteX31" fmla="*/ 240361 w 910286"/>
                  <a:gd name="connsiteY31" fmla="*/ 1685925 h 4505325"/>
                  <a:gd name="connsiteX32" fmla="*/ 278461 w 910286"/>
                  <a:gd name="connsiteY32" fmla="*/ 1730375 h 4505325"/>
                  <a:gd name="connsiteX33" fmla="*/ 291161 w 910286"/>
                  <a:gd name="connsiteY33" fmla="*/ 1758950 h 4505325"/>
                  <a:gd name="connsiteX34" fmla="*/ 291161 w 910286"/>
                  <a:gd name="connsiteY34" fmla="*/ 1828800 h 4505325"/>
                  <a:gd name="connsiteX35" fmla="*/ 338786 w 910286"/>
                  <a:gd name="connsiteY35" fmla="*/ 1905000 h 4505325"/>
                  <a:gd name="connsiteX36" fmla="*/ 376886 w 910286"/>
                  <a:gd name="connsiteY36" fmla="*/ 1962150 h 4505325"/>
                  <a:gd name="connsiteX37" fmla="*/ 383236 w 910286"/>
                  <a:gd name="connsiteY37" fmla="*/ 2028825 h 4505325"/>
                  <a:gd name="connsiteX38" fmla="*/ 421336 w 910286"/>
                  <a:gd name="connsiteY38" fmla="*/ 2085975 h 4505325"/>
                  <a:gd name="connsiteX39" fmla="*/ 427686 w 910286"/>
                  <a:gd name="connsiteY39" fmla="*/ 2209800 h 4505325"/>
                  <a:gd name="connsiteX40" fmla="*/ 265761 w 910286"/>
                  <a:gd name="connsiteY40" fmla="*/ 2251075 h 4505325"/>
                  <a:gd name="connsiteX41" fmla="*/ 214961 w 910286"/>
                  <a:gd name="connsiteY41" fmla="*/ 2390775 h 4505325"/>
                  <a:gd name="connsiteX42" fmla="*/ 224486 w 910286"/>
                  <a:gd name="connsiteY42" fmla="*/ 2454275 h 4505325"/>
                  <a:gd name="connsiteX43" fmla="*/ 240361 w 910286"/>
                  <a:gd name="connsiteY43" fmla="*/ 2482850 h 4505325"/>
                  <a:gd name="connsiteX44" fmla="*/ 240361 w 910286"/>
                  <a:gd name="connsiteY44" fmla="*/ 2527300 h 4505325"/>
                  <a:gd name="connsiteX45" fmla="*/ 249886 w 910286"/>
                  <a:gd name="connsiteY45" fmla="*/ 2603500 h 4505325"/>
                  <a:gd name="connsiteX46" fmla="*/ 167336 w 910286"/>
                  <a:gd name="connsiteY46" fmla="*/ 2917824 h 4505325"/>
                  <a:gd name="connsiteX47" fmla="*/ 94311 w 910286"/>
                  <a:gd name="connsiteY47" fmla="*/ 3063874 h 4505325"/>
                  <a:gd name="connsiteX48" fmla="*/ 56211 w 910286"/>
                  <a:gd name="connsiteY48" fmla="*/ 3133724 h 4505325"/>
                  <a:gd name="connsiteX49" fmla="*/ 30811 w 910286"/>
                  <a:gd name="connsiteY49" fmla="*/ 3203574 h 4505325"/>
                  <a:gd name="connsiteX50" fmla="*/ 24461 w 910286"/>
                  <a:gd name="connsiteY50" fmla="*/ 3390899 h 4505325"/>
                  <a:gd name="connsiteX51" fmla="*/ 46686 w 910286"/>
                  <a:gd name="connsiteY51" fmla="*/ 3492499 h 4505325"/>
                  <a:gd name="connsiteX52" fmla="*/ 395936 w 910286"/>
                  <a:gd name="connsiteY52" fmla="*/ 4203699 h 4505325"/>
                  <a:gd name="connsiteX53" fmla="*/ 497536 w 910286"/>
                  <a:gd name="connsiteY53" fmla="*/ 4244974 h 4505325"/>
                  <a:gd name="connsiteX54" fmla="*/ 653111 w 910286"/>
                  <a:gd name="connsiteY54" fmla="*/ 4302124 h 4505325"/>
                  <a:gd name="connsiteX55" fmla="*/ 773761 w 910286"/>
                  <a:gd name="connsiteY55" fmla="*/ 4292599 h 4505325"/>
                  <a:gd name="connsiteX56" fmla="*/ 910286 w 910286"/>
                  <a:gd name="connsiteY56" fmla="*/ 4505325 h 4505325"/>
                  <a:gd name="connsiteX0" fmla="*/ 459436 w 910286"/>
                  <a:gd name="connsiteY0" fmla="*/ 0 h 4505325"/>
                  <a:gd name="connsiteX1" fmla="*/ 421336 w 910286"/>
                  <a:gd name="connsiteY1" fmla="*/ 66675 h 4505325"/>
                  <a:gd name="connsiteX2" fmla="*/ 367361 w 910286"/>
                  <a:gd name="connsiteY2" fmla="*/ 85725 h 4505325"/>
                  <a:gd name="connsiteX3" fmla="*/ 297511 w 910286"/>
                  <a:gd name="connsiteY3" fmla="*/ 98425 h 4505325"/>
                  <a:gd name="connsiteX4" fmla="*/ 237186 w 910286"/>
                  <a:gd name="connsiteY4" fmla="*/ 133350 h 4505325"/>
                  <a:gd name="connsiteX5" fmla="*/ 135586 w 910286"/>
                  <a:gd name="connsiteY5" fmla="*/ 196850 h 4505325"/>
                  <a:gd name="connsiteX6" fmla="*/ 145111 w 910286"/>
                  <a:gd name="connsiteY6" fmla="*/ 247650 h 4505325"/>
                  <a:gd name="connsiteX7" fmla="*/ 186386 w 910286"/>
                  <a:gd name="connsiteY7" fmla="*/ 276225 h 4505325"/>
                  <a:gd name="connsiteX8" fmla="*/ 199086 w 910286"/>
                  <a:gd name="connsiteY8" fmla="*/ 327025 h 4505325"/>
                  <a:gd name="connsiteX9" fmla="*/ 253061 w 910286"/>
                  <a:gd name="connsiteY9" fmla="*/ 368300 h 4505325"/>
                  <a:gd name="connsiteX10" fmla="*/ 253061 w 910286"/>
                  <a:gd name="connsiteY10" fmla="*/ 412750 h 4505325"/>
                  <a:gd name="connsiteX11" fmla="*/ 221311 w 910286"/>
                  <a:gd name="connsiteY11" fmla="*/ 454025 h 4505325"/>
                  <a:gd name="connsiteX12" fmla="*/ 300686 w 910286"/>
                  <a:gd name="connsiteY12" fmla="*/ 479425 h 4505325"/>
                  <a:gd name="connsiteX13" fmla="*/ 316561 w 910286"/>
                  <a:gd name="connsiteY13" fmla="*/ 511175 h 4505325"/>
                  <a:gd name="connsiteX14" fmla="*/ 224486 w 910286"/>
                  <a:gd name="connsiteY14" fmla="*/ 581025 h 4505325"/>
                  <a:gd name="connsiteX15" fmla="*/ 173686 w 910286"/>
                  <a:gd name="connsiteY15" fmla="*/ 638175 h 4505325"/>
                  <a:gd name="connsiteX16" fmla="*/ 173686 w 910286"/>
                  <a:gd name="connsiteY16" fmla="*/ 695325 h 4505325"/>
                  <a:gd name="connsiteX17" fmla="*/ 199086 w 910286"/>
                  <a:gd name="connsiteY17" fmla="*/ 784225 h 4505325"/>
                  <a:gd name="connsiteX18" fmla="*/ 208611 w 910286"/>
                  <a:gd name="connsiteY18" fmla="*/ 835025 h 4505325"/>
                  <a:gd name="connsiteX19" fmla="*/ 218136 w 910286"/>
                  <a:gd name="connsiteY19" fmla="*/ 885825 h 4505325"/>
                  <a:gd name="connsiteX20" fmla="*/ 234011 w 910286"/>
                  <a:gd name="connsiteY20" fmla="*/ 923925 h 4505325"/>
                  <a:gd name="connsiteX21" fmla="*/ 176861 w 910286"/>
                  <a:gd name="connsiteY21" fmla="*/ 1022350 h 4505325"/>
                  <a:gd name="connsiteX22" fmla="*/ 110186 w 910286"/>
                  <a:gd name="connsiteY22" fmla="*/ 1057275 h 4505325"/>
                  <a:gd name="connsiteX23" fmla="*/ 65736 w 910286"/>
                  <a:gd name="connsiteY23" fmla="*/ 1143000 h 4505325"/>
                  <a:gd name="connsiteX24" fmla="*/ 33986 w 910286"/>
                  <a:gd name="connsiteY24" fmla="*/ 1244600 h 4505325"/>
                  <a:gd name="connsiteX25" fmla="*/ 14936 w 910286"/>
                  <a:gd name="connsiteY25" fmla="*/ 1346200 h 4505325"/>
                  <a:gd name="connsiteX26" fmla="*/ 24461 w 910286"/>
                  <a:gd name="connsiteY26" fmla="*/ 1438275 h 4505325"/>
                  <a:gd name="connsiteX27" fmla="*/ 97486 w 910286"/>
                  <a:gd name="connsiteY27" fmla="*/ 1511300 h 4505325"/>
                  <a:gd name="connsiteX28" fmla="*/ 126061 w 910286"/>
                  <a:gd name="connsiteY28" fmla="*/ 1558925 h 4505325"/>
                  <a:gd name="connsiteX29" fmla="*/ 164161 w 910286"/>
                  <a:gd name="connsiteY29" fmla="*/ 1590675 h 4505325"/>
                  <a:gd name="connsiteX30" fmla="*/ 183211 w 910286"/>
                  <a:gd name="connsiteY30" fmla="*/ 1644650 h 4505325"/>
                  <a:gd name="connsiteX31" fmla="*/ 240361 w 910286"/>
                  <a:gd name="connsiteY31" fmla="*/ 1685925 h 4505325"/>
                  <a:gd name="connsiteX32" fmla="*/ 278461 w 910286"/>
                  <a:gd name="connsiteY32" fmla="*/ 1730375 h 4505325"/>
                  <a:gd name="connsiteX33" fmla="*/ 291161 w 910286"/>
                  <a:gd name="connsiteY33" fmla="*/ 1758950 h 4505325"/>
                  <a:gd name="connsiteX34" fmla="*/ 291161 w 910286"/>
                  <a:gd name="connsiteY34" fmla="*/ 1828800 h 4505325"/>
                  <a:gd name="connsiteX35" fmla="*/ 338786 w 910286"/>
                  <a:gd name="connsiteY35" fmla="*/ 1905000 h 4505325"/>
                  <a:gd name="connsiteX36" fmla="*/ 376886 w 910286"/>
                  <a:gd name="connsiteY36" fmla="*/ 1962150 h 4505325"/>
                  <a:gd name="connsiteX37" fmla="*/ 383236 w 910286"/>
                  <a:gd name="connsiteY37" fmla="*/ 2028825 h 4505325"/>
                  <a:gd name="connsiteX38" fmla="*/ 421336 w 910286"/>
                  <a:gd name="connsiteY38" fmla="*/ 2085975 h 4505325"/>
                  <a:gd name="connsiteX39" fmla="*/ 427686 w 910286"/>
                  <a:gd name="connsiteY39" fmla="*/ 2209800 h 4505325"/>
                  <a:gd name="connsiteX40" fmla="*/ 265761 w 910286"/>
                  <a:gd name="connsiteY40" fmla="*/ 2251075 h 4505325"/>
                  <a:gd name="connsiteX41" fmla="*/ 214961 w 910286"/>
                  <a:gd name="connsiteY41" fmla="*/ 2390775 h 4505325"/>
                  <a:gd name="connsiteX42" fmla="*/ 224486 w 910286"/>
                  <a:gd name="connsiteY42" fmla="*/ 2454275 h 4505325"/>
                  <a:gd name="connsiteX43" fmla="*/ 240361 w 910286"/>
                  <a:gd name="connsiteY43" fmla="*/ 2482850 h 4505325"/>
                  <a:gd name="connsiteX44" fmla="*/ 240361 w 910286"/>
                  <a:gd name="connsiteY44" fmla="*/ 2527300 h 4505325"/>
                  <a:gd name="connsiteX45" fmla="*/ 249886 w 910286"/>
                  <a:gd name="connsiteY45" fmla="*/ 2603500 h 4505325"/>
                  <a:gd name="connsiteX46" fmla="*/ 167336 w 910286"/>
                  <a:gd name="connsiteY46" fmla="*/ 2917824 h 4505325"/>
                  <a:gd name="connsiteX47" fmla="*/ 94311 w 910286"/>
                  <a:gd name="connsiteY47" fmla="*/ 3063874 h 4505325"/>
                  <a:gd name="connsiteX48" fmla="*/ 56211 w 910286"/>
                  <a:gd name="connsiteY48" fmla="*/ 3133724 h 4505325"/>
                  <a:gd name="connsiteX49" fmla="*/ 30811 w 910286"/>
                  <a:gd name="connsiteY49" fmla="*/ 3203574 h 4505325"/>
                  <a:gd name="connsiteX50" fmla="*/ 24461 w 910286"/>
                  <a:gd name="connsiteY50" fmla="*/ 3390899 h 4505325"/>
                  <a:gd name="connsiteX51" fmla="*/ 46686 w 910286"/>
                  <a:gd name="connsiteY51" fmla="*/ 3492499 h 4505325"/>
                  <a:gd name="connsiteX52" fmla="*/ 395936 w 910286"/>
                  <a:gd name="connsiteY52" fmla="*/ 4203699 h 4505325"/>
                  <a:gd name="connsiteX53" fmla="*/ 497536 w 910286"/>
                  <a:gd name="connsiteY53" fmla="*/ 4244974 h 4505325"/>
                  <a:gd name="connsiteX54" fmla="*/ 653111 w 910286"/>
                  <a:gd name="connsiteY54" fmla="*/ 4302124 h 4505325"/>
                  <a:gd name="connsiteX55" fmla="*/ 773761 w 910286"/>
                  <a:gd name="connsiteY55" fmla="*/ 4292599 h 4505325"/>
                  <a:gd name="connsiteX56" fmla="*/ 910286 w 910286"/>
                  <a:gd name="connsiteY56" fmla="*/ 4505325 h 4505325"/>
                  <a:gd name="connsiteX0" fmla="*/ 459436 w 910286"/>
                  <a:gd name="connsiteY0" fmla="*/ 0 h 4505325"/>
                  <a:gd name="connsiteX1" fmla="*/ 421336 w 910286"/>
                  <a:gd name="connsiteY1" fmla="*/ 66675 h 4505325"/>
                  <a:gd name="connsiteX2" fmla="*/ 367361 w 910286"/>
                  <a:gd name="connsiteY2" fmla="*/ 85725 h 4505325"/>
                  <a:gd name="connsiteX3" fmla="*/ 297511 w 910286"/>
                  <a:gd name="connsiteY3" fmla="*/ 98425 h 4505325"/>
                  <a:gd name="connsiteX4" fmla="*/ 237186 w 910286"/>
                  <a:gd name="connsiteY4" fmla="*/ 133350 h 4505325"/>
                  <a:gd name="connsiteX5" fmla="*/ 135586 w 910286"/>
                  <a:gd name="connsiteY5" fmla="*/ 196850 h 4505325"/>
                  <a:gd name="connsiteX6" fmla="*/ 145111 w 910286"/>
                  <a:gd name="connsiteY6" fmla="*/ 247650 h 4505325"/>
                  <a:gd name="connsiteX7" fmla="*/ 186386 w 910286"/>
                  <a:gd name="connsiteY7" fmla="*/ 276225 h 4505325"/>
                  <a:gd name="connsiteX8" fmla="*/ 199086 w 910286"/>
                  <a:gd name="connsiteY8" fmla="*/ 327025 h 4505325"/>
                  <a:gd name="connsiteX9" fmla="*/ 253061 w 910286"/>
                  <a:gd name="connsiteY9" fmla="*/ 368300 h 4505325"/>
                  <a:gd name="connsiteX10" fmla="*/ 253061 w 910286"/>
                  <a:gd name="connsiteY10" fmla="*/ 412750 h 4505325"/>
                  <a:gd name="connsiteX11" fmla="*/ 221311 w 910286"/>
                  <a:gd name="connsiteY11" fmla="*/ 454025 h 4505325"/>
                  <a:gd name="connsiteX12" fmla="*/ 300686 w 910286"/>
                  <a:gd name="connsiteY12" fmla="*/ 479425 h 4505325"/>
                  <a:gd name="connsiteX13" fmla="*/ 316561 w 910286"/>
                  <a:gd name="connsiteY13" fmla="*/ 511175 h 4505325"/>
                  <a:gd name="connsiteX14" fmla="*/ 224486 w 910286"/>
                  <a:gd name="connsiteY14" fmla="*/ 581025 h 4505325"/>
                  <a:gd name="connsiteX15" fmla="*/ 173686 w 910286"/>
                  <a:gd name="connsiteY15" fmla="*/ 638175 h 4505325"/>
                  <a:gd name="connsiteX16" fmla="*/ 173686 w 910286"/>
                  <a:gd name="connsiteY16" fmla="*/ 695325 h 4505325"/>
                  <a:gd name="connsiteX17" fmla="*/ 199086 w 910286"/>
                  <a:gd name="connsiteY17" fmla="*/ 784225 h 4505325"/>
                  <a:gd name="connsiteX18" fmla="*/ 208611 w 910286"/>
                  <a:gd name="connsiteY18" fmla="*/ 835025 h 4505325"/>
                  <a:gd name="connsiteX19" fmla="*/ 218136 w 910286"/>
                  <a:gd name="connsiteY19" fmla="*/ 885825 h 4505325"/>
                  <a:gd name="connsiteX20" fmla="*/ 234011 w 910286"/>
                  <a:gd name="connsiteY20" fmla="*/ 923925 h 4505325"/>
                  <a:gd name="connsiteX21" fmla="*/ 176861 w 910286"/>
                  <a:gd name="connsiteY21" fmla="*/ 1022350 h 4505325"/>
                  <a:gd name="connsiteX22" fmla="*/ 110186 w 910286"/>
                  <a:gd name="connsiteY22" fmla="*/ 1057275 h 4505325"/>
                  <a:gd name="connsiteX23" fmla="*/ 65736 w 910286"/>
                  <a:gd name="connsiteY23" fmla="*/ 1143000 h 4505325"/>
                  <a:gd name="connsiteX24" fmla="*/ 33986 w 910286"/>
                  <a:gd name="connsiteY24" fmla="*/ 1244600 h 4505325"/>
                  <a:gd name="connsiteX25" fmla="*/ 14936 w 910286"/>
                  <a:gd name="connsiteY25" fmla="*/ 1346200 h 4505325"/>
                  <a:gd name="connsiteX26" fmla="*/ 24461 w 910286"/>
                  <a:gd name="connsiteY26" fmla="*/ 1438275 h 4505325"/>
                  <a:gd name="connsiteX27" fmla="*/ 97486 w 910286"/>
                  <a:gd name="connsiteY27" fmla="*/ 1511300 h 4505325"/>
                  <a:gd name="connsiteX28" fmla="*/ 126061 w 910286"/>
                  <a:gd name="connsiteY28" fmla="*/ 1558925 h 4505325"/>
                  <a:gd name="connsiteX29" fmla="*/ 164161 w 910286"/>
                  <a:gd name="connsiteY29" fmla="*/ 1590675 h 4505325"/>
                  <a:gd name="connsiteX30" fmla="*/ 183211 w 910286"/>
                  <a:gd name="connsiteY30" fmla="*/ 1644650 h 4505325"/>
                  <a:gd name="connsiteX31" fmla="*/ 240361 w 910286"/>
                  <a:gd name="connsiteY31" fmla="*/ 1685925 h 4505325"/>
                  <a:gd name="connsiteX32" fmla="*/ 278461 w 910286"/>
                  <a:gd name="connsiteY32" fmla="*/ 1730375 h 4505325"/>
                  <a:gd name="connsiteX33" fmla="*/ 291161 w 910286"/>
                  <a:gd name="connsiteY33" fmla="*/ 1758950 h 4505325"/>
                  <a:gd name="connsiteX34" fmla="*/ 291161 w 910286"/>
                  <a:gd name="connsiteY34" fmla="*/ 1828800 h 4505325"/>
                  <a:gd name="connsiteX35" fmla="*/ 338786 w 910286"/>
                  <a:gd name="connsiteY35" fmla="*/ 1905000 h 4505325"/>
                  <a:gd name="connsiteX36" fmla="*/ 376886 w 910286"/>
                  <a:gd name="connsiteY36" fmla="*/ 1962150 h 4505325"/>
                  <a:gd name="connsiteX37" fmla="*/ 383236 w 910286"/>
                  <a:gd name="connsiteY37" fmla="*/ 2028825 h 4505325"/>
                  <a:gd name="connsiteX38" fmla="*/ 421336 w 910286"/>
                  <a:gd name="connsiteY38" fmla="*/ 2085975 h 4505325"/>
                  <a:gd name="connsiteX39" fmla="*/ 427686 w 910286"/>
                  <a:gd name="connsiteY39" fmla="*/ 2209800 h 4505325"/>
                  <a:gd name="connsiteX40" fmla="*/ 265761 w 910286"/>
                  <a:gd name="connsiteY40" fmla="*/ 2251075 h 4505325"/>
                  <a:gd name="connsiteX41" fmla="*/ 214961 w 910286"/>
                  <a:gd name="connsiteY41" fmla="*/ 2390775 h 4505325"/>
                  <a:gd name="connsiteX42" fmla="*/ 224486 w 910286"/>
                  <a:gd name="connsiteY42" fmla="*/ 2454275 h 4505325"/>
                  <a:gd name="connsiteX43" fmla="*/ 240361 w 910286"/>
                  <a:gd name="connsiteY43" fmla="*/ 2482850 h 4505325"/>
                  <a:gd name="connsiteX44" fmla="*/ 240361 w 910286"/>
                  <a:gd name="connsiteY44" fmla="*/ 2527300 h 4505325"/>
                  <a:gd name="connsiteX45" fmla="*/ 249886 w 910286"/>
                  <a:gd name="connsiteY45" fmla="*/ 2603500 h 4505325"/>
                  <a:gd name="connsiteX46" fmla="*/ 167336 w 910286"/>
                  <a:gd name="connsiteY46" fmla="*/ 2917824 h 4505325"/>
                  <a:gd name="connsiteX47" fmla="*/ 94311 w 910286"/>
                  <a:gd name="connsiteY47" fmla="*/ 3063874 h 4505325"/>
                  <a:gd name="connsiteX48" fmla="*/ 56211 w 910286"/>
                  <a:gd name="connsiteY48" fmla="*/ 3133724 h 4505325"/>
                  <a:gd name="connsiteX49" fmla="*/ 30811 w 910286"/>
                  <a:gd name="connsiteY49" fmla="*/ 3203574 h 4505325"/>
                  <a:gd name="connsiteX50" fmla="*/ 24461 w 910286"/>
                  <a:gd name="connsiteY50" fmla="*/ 3390899 h 4505325"/>
                  <a:gd name="connsiteX51" fmla="*/ 46686 w 910286"/>
                  <a:gd name="connsiteY51" fmla="*/ 3492499 h 4505325"/>
                  <a:gd name="connsiteX52" fmla="*/ 395936 w 910286"/>
                  <a:gd name="connsiteY52" fmla="*/ 4203699 h 4505325"/>
                  <a:gd name="connsiteX53" fmla="*/ 497536 w 910286"/>
                  <a:gd name="connsiteY53" fmla="*/ 4244974 h 4505325"/>
                  <a:gd name="connsiteX54" fmla="*/ 653111 w 910286"/>
                  <a:gd name="connsiteY54" fmla="*/ 4302124 h 4505325"/>
                  <a:gd name="connsiteX55" fmla="*/ 773761 w 910286"/>
                  <a:gd name="connsiteY55" fmla="*/ 4292599 h 4505325"/>
                  <a:gd name="connsiteX56" fmla="*/ 910286 w 910286"/>
                  <a:gd name="connsiteY56" fmla="*/ 4505325 h 4505325"/>
                  <a:gd name="connsiteX0" fmla="*/ 459436 w 910286"/>
                  <a:gd name="connsiteY0" fmla="*/ 0 h 4505325"/>
                  <a:gd name="connsiteX1" fmla="*/ 421336 w 910286"/>
                  <a:gd name="connsiteY1" fmla="*/ 66675 h 4505325"/>
                  <a:gd name="connsiteX2" fmla="*/ 367361 w 910286"/>
                  <a:gd name="connsiteY2" fmla="*/ 85725 h 4505325"/>
                  <a:gd name="connsiteX3" fmla="*/ 297511 w 910286"/>
                  <a:gd name="connsiteY3" fmla="*/ 98425 h 4505325"/>
                  <a:gd name="connsiteX4" fmla="*/ 237186 w 910286"/>
                  <a:gd name="connsiteY4" fmla="*/ 133350 h 4505325"/>
                  <a:gd name="connsiteX5" fmla="*/ 135586 w 910286"/>
                  <a:gd name="connsiteY5" fmla="*/ 196850 h 4505325"/>
                  <a:gd name="connsiteX6" fmla="*/ 145111 w 910286"/>
                  <a:gd name="connsiteY6" fmla="*/ 247650 h 4505325"/>
                  <a:gd name="connsiteX7" fmla="*/ 186386 w 910286"/>
                  <a:gd name="connsiteY7" fmla="*/ 276225 h 4505325"/>
                  <a:gd name="connsiteX8" fmla="*/ 199086 w 910286"/>
                  <a:gd name="connsiteY8" fmla="*/ 327025 h 4505325"/>
                  <a:gd name="connsiteX9" fmla="*/ 253061 w 910286"/>
                  <a:gd name="connsiteY9" fmla="*/ 368300 h 4505325"/>
                  <a:gd name="connsiteX10" fmla="*/ 253061 w 910286"/>
                  <a:gd name="connsiteY10" fmla="*/ 412750 h 4505325"/>
                  <a:gd name="connsiteX11" fmla="*/ 221311 w 910286"/>
                  <a:gd name="connsiteY11" fmla="*/ 454025 h 4505325"/>
                  <a:gd name="connsiteX12" fmla="*/ 300686 w 910286"/>
                  <a:gd name="connsiteY12" fmla="*/ 479425 h 4505325"/>
                  <a:gd name="connsiteX13" fmla="*/ 316561 w 910286"/>
                  <a:gd name="connsiteY13" fmla="*/ 511175 h 4505325"/>
                  <a:gd name="connsiteX14" fmla="*/ 224486 w 910286"/>
                  <a:gd name="connsiteY14" fmla="*/ 581025 h 4505325"/>
                  <a:gd name="connsiteX15" fmla="*/ 173686 w 910286"/>
                  <a:gd name="connsiteY15" fmla="*/ 638175 h 4505325"/>
                  <a:gd name="connsiteX16" fmla="*/ 173686 w 910286"/>
                  <a:gd name="connsiteY16" fmla="*/ 695325 h 4505325"/>
                  <a:gd name="connsiteX17" fmla="*/ 199086 w 910286"/>
                  <a:gd name="connsiteY17" fmla="*/ 784225 h 4505325"/>
                  <a:gd name="connsiteX18" fmla="*/ 208611 w 910286"/>
                  <a:gd name="connsiteY18" fmla="*/ 835025 h 4505325"/>
                  <a:gd name="connsiteX19" fmla="*/ 218136 w 910286"/>
                  <a:gd name="connsiteY19" fmla="*/ 885825 h 4505325"/>
                  <a:gd name="connsiteX20" fmla="*/ 234011 w 910286"/>
                  <a:gd name="connsiteY20" fmla="*/ 923925 h 4505325"/>
                  <a:gd name="connsiteX21" fmla="*/ 176861 w 910286"/>
                  <a:gd name="connsiteY21" fmla="*/ 1022350 h 4505325"/>
                  <a:gd name="connsiteX22" fmla="*/ 110186 w 910286"/>
                  <a:gd name="connsiteY22" fmla="*/ 1057275 h 4505325"/>
                  <a:gd name="connsiteX23" fmla="*/ 65736 w 910286"/>
                  <a:gd name="connsiteY23" fmla="*/ 1143000 h 4505325"/>
                  <a:gd name="connsiteX24" fmla="*/ 33986 w 910286"/>
                  <a:gd name="connsiteY24" fmla="*/ 1244600 h 4505325"/>
                  <a:gd name="connsiteX25" fmla="*/ 14936 w 910286"/>
                  <a:gd name="connsiteY25" fmla="*/ 1346200 h 4505325"/>
                  <a:gd name="connsiteX26" fmla="*/ 24461 w 910286"/>
                  <a:gd name="connsiteY26" fmla="*/ 1438275 h 4505325"/>
                  <a:gd name="connsiteX27" fmla="*/ 97486 w 910286"/>
                  <a:gd name="connsiteY27" fmla="*/ 1511300 h 4505325"/>
                  <a:gd name="connsiteX28" fmla="*/ 126061 w 910286"/>
                  <a:gd name="connsiteY28" fmla="*/ 1558925 h 4505325"/>
                  <a:gd name="connsiteX29" fmla="*/ 164161 w 910286"/>
                  <a:gd name="connsiteY29" fmla="*/ 1590675 h 4505325"/>
                  <a:gd name="connsiteX30" fmla="*/ 183211 w 910286"/>
                  <a:gd name="connsiteY30" fmla="*/ 1644650 h 4505325"/>
                  <a:gd name="connsiteX31" fmla="*/ 240361 w 910286"/>
                  <a:gd name="connsiteY31" fmla="*/ 1685925 h 4505325"/>
                  <a:gd name="connsiteX32" fmla="*/ 278461 w 910286"/>
                  <a:gd name="connsiteY32" fmla="*/ 1730375 h 4505325"/>
                  <a:gd name="connsiteX33" fmla="*/ 291161 w 910286"/>
                  <a:gd name="connsiteY33" fmla="*/ 1758950 h 4505325"/>
                  <a:gd name="connsiteX34" fmla="*/ 291161 w 910286"/>
                  <a:gd name="connsiteY34" fmla="*/ 1828800 h 4505325"/>
                  <a:gd name="connsiteX35" fmla="*/ 338786 w 910286"/>
                  <a:gd name="connsiteY35" fmla="*/ 1905000 h 4505325"/>
                  <a:gd name="connsiteX36" fmla="*/ 376886 w 910286"/>
                  <a:gd name="connsiteY36" fmla="*/ 1962150 h 4505325"/>
                  <a:gd name="connsiteX37" fmla="*/ 383236 w 910286"/>
                  <a:gd name="connsiteY37" fmla="*/ 2028825 h 4505325"/>
                  <a:gd name="connsiteX38" fmla="*/ 421336 w 910286"/>
                  <a:gd name="connsiteY38" fmla="*/ 2085975 h 4505325"/>
                  <a:gd name="connsiteX39" fmla="*/ 427686 w 910286"/>
                  <a:gd name="connsiteY39" fmla="*/ 2209800 h 4505325"/>
                  <a:gd name="connsiteX40" fmla="*/ 265761 w 910286"/>
                  <a:gd name="connsiteY40" fmla="*/ 2251075 h 4505325"/>
                  <a:gd name="connsiteX41" fmla="*/ 214961 w 910286"/>
                  <a:gd name="connsiteY41" fmla="*/ 2390775 h 4505325"/>
                  <a:gd name="connsiteX42" fmla="*/ 224486 w 910286"/>
                  <a:gd name="connsiteY42" fmla="*/ 2454275 h 4505325"/>
                  <a:gd name="connsiteX43" fmla="*/ 240361 w 910286"/>
                  <a:gd name="connsiteY43" fmla="*/ 2482850 h 4505325"/>
                  <a:gd name="connsiteX44" fmla="*/ 240361 w 910286"/>
                  <a:gd name="connsiteY44" fmla="*/ 2527300 h 4505325"/>
                  <a:gd name="connsiteX45" fmla="*/ 249886 w 910286"/>
                  <a:gd name="connsiteY45" fmla="*/ 2603500 h 4505325"/>
                  <a:gd name="connsiteX46" fmla="*/ 167336 w 910286"/>
                  <a:gd name="connsiteY46" fmla="*/ 2917824 h 4505325"/>
                  <a:gd name="connsiteX47" fmla="*/ 94311 w 910286"/>
                  <a:gd name="connsiteY47" fmla="*/ 3063874 h 4505325"/>
                  <a:gd name="connsiteX48" fmla="*/ 56211 w 910286"/>
                  <a:gd name="connsiteY48" fmla="*/ 3133724 h 4505325"/>
                  <a:gd name="connsiteX49" fmla="*/ 30811 w 910286"/>
                  <a:gd name="connsiteY49" fmla="*/ 3203574 h 4505325"/>
                  <a:gd name="connsiteX50" fmla="*/ 24461 w 910286"/>
                  <a:gd name="connsiteY50" fmla="*/ 3390899 h 4505325"/>
                  <a:gd name="connsiteX51" fmla="*/ 46686 w 910286"/>
                  <a:gd name="connsiteY51" fmla="*/ 3492499 h 4505325"/>
                  <a:gd name="connsiteX52" fmla="*/ 395936 w 910286"/>
                  <a:gd name="connsiteY52" fmla="*/ 4203699 h 4505325"/>
                  <a:gd name="connsiteX53" fmla="*/ 516586 w 910286"/>
                  <a:gd name="connsiteY53" fmla="*/ 4254499 h 4505325"/>
                  <a:gd name="connsiteX54" fmla="*/ 653111 w 910286"/>
                  <a:gd name="connsiteY54" fmla="*/ 4302124 h 4505325"/>
                  <a:gd name="connsiteX55" fmla="*/ 773761 w 910286"/>
                  <a:gd name="connsiteY55" fmla="*/ 4292599 h 4505325"/>
                  <a:gd name="connsiteX56" fmla="*/ 910286 w 910286"/>
                  <a:gd name="connsiteY56" fmla="*/ 4505325 h 4505325"/>
                  <a:gd name="connsiteX0" fmla="*/ 445813 w 896663"/>
                  <a:gd name="connsiteY0" fmla="*/ 0 h 4505325"/>
                  <a:gd name="connsiteX1" fmla="*/ 407713 w 896663"/>
                  <a:gd name="connsiteY1" fmla="*/ 66675 h 4505325"/>
                  <a:gd name="connsiteX2" fmla="*/ 353738 w 896663"/>
                  <a:gd name="connsiteY2" fmla="*/ 85725 h 4505325"/>
                  <a:gd name="connsiteX3" fmla="*/ 283888 w 896663"/>
                  <a:gd name="connsiteY3" fmla="*/ 98425 h 4505325"/>
                  <a:gd name="connsiteX4" fmla="*/ 223563 w 896663"/>
                  <a:gd name="connsiteY4" fmla="*/ 133350 h 4505325"/>
                  <a:gd name="connsiteX5" fmla="*/ 121963 w 896663"/>
                  <a:gd name="connsiteY5" fmla="*/ 196850 h 4505325"/>
                  <a:gd name="connsiteX6" fmla="*/ 131488 w 896663"/>
                  <a:gd name="connsiteY6" fmla="*/ 247650 h 4505325"/>
                  <a:gd name="connsiteX7" fmla="*/ 172763 w 896663"/>
                  <a:gd name="connsiteY7" fmla="*/ 276225 h 4505325"/>
                  <a:gd name="connsiteX8" fmla="*/ 185463 w 896663"/>
                  <a:gd name="connsiteY8" fmla="*/ 327025 h 4505325"/>
                  <a:gd name="connsiteX9" fmla="*/ 239438 w 896663"/>
                  <a:gd name="connsiteY9" fmla="*/ 368300 h 4505325"/>
                  <a:gd name="connsiteX10" fmla="*/ 239438 w 896663"/>
                  <a:gd name="connsiteY10" fmla="*/ 412750 h 4505325"/>
                  <a:gd name="connsiteX11" fmla="*/ 207688 w 896663"/>
                  <a:gd name="connsiteY11" fmla="*/ 454025 h 4505325"/>
                  <a:gd name="connsiteX12" fmla="*/ 287063 w 896663"/>
                  <a:gd name="connsiteY12" fmla="*/ 479425 h 4505325"/>
                  <a:gd name="connsiteX13" fmla="*/ 302938 w 896663"/>
                  <a:gd name="connsiteY13" fmla="*/ 511175 h 4505325"/>
                  <a:gd name="connsiteX14" fmla="*/ 210863 w 896663"/>
                  <a:gd name="connsiteY14" fmla="*/ 581025 h 4505325"/>
                  <a:gd name="connsiteX15" fmla="*/ 160063 w 896663"/>
                  <a:gd name="connsiteY15" fmla="*/ 638175 h 4505325"/>
                  <a:gd name="connsiteX16" fmla="*/ 160063 w 896663"/>
                  <a:gd name="connsiteY16" fmla="*/ 695325 h 4505325"/>
                  <a:gd name="connsiteX17" fmla="*/ 185463 w 896663"/>
                  <a:gd name="connsiteY17" fmla="*/ 784225 h 4505325"/>
                  <a:gd name="connsiteX18" fmla="*/ 194988 w 896663"/>
                  <a:gd name="connsiteY18" fmla="*/ 835025 h 4505325"/>
                  <a:gd name="connsiteX19" fmla="*/ 204513 w 896663"/>
                  <a:gd name="connsiteY19" fmla="*/ 885825 h 4505325"/>
                  <a:gd name="connsiteX20" fmla="*/ 220388 w 896663"/>
                  <a:gd name="connsiteY20" fmla="*/ 923925 h 4505325"/>
                  <a:gd name="connsiteX21" fmla="*/ 163238 w 896663"/>
                  <a:gd name="connsiteY21" fmla="*/ 1022350 h 4505325"/>
                  <a:gd name="connsiteX22" fmla="*/ 96563 w 896663"/>
                  <a:gd name="connsiteY22" fmla="*/ 1057275 h 4505325"/>
                  <a:gd name="connsiteX23" fmla="*/ 52113 w 896663"/>
                  <a:gd name="connsiteY23" fmla="*/ 1143000 h 4505325"/>
                  <a:gd name="connsiteX24" fmla="*/ 20363 w 896663"/>
                  <a:gd name="connsiteY24" fmla="*/ 1244600 h 4505325"/>
                  <a:gd name="connsiteX25" fmla="*/ 1313 w 896663"/>
                  <a:gd name="connsiteY25" fmla="*/ 1346200 h 4505325"/>
                  <a:gd name="connsiteX26" fmla="*/ 10838 w 896663"/>
                  <a:gd name="connsiteY26" fmla="*/ 1438275 h 4505325"/>
                  <a:gd name="connsiteX27" fmla="*/ 83863 w 896663"/>
                  <a:gd name="connsiteY27" fmla="*/ 1511300 h 4505325"/>
                  <a:gd name="connsiteX28" fmla="*/ 112438 w 896663"/>
                  <a:gd name="connsiteY28" fmla="*/ 1558925 h 4505325"/>
                  <a:gd name="connsiteX29" fmla="*/ 150538 w 896663"/>
                  <a:gd name="connsiteY29" fmla="*/ 1590675 h 4505325"/>
                  <a:gd name="connsiteX30" fmla="*/ 169588 w 896663"/>
                  <a:gd name="connsiteY30" fmla="*/ 1644650 h 4505325"/>
                  <a:gd name="connsiteX31" fmla="*/ 226738 w 896663"/>
                  <a:gd name="connsiteY31" fmla="*/ 1685925 h 4505325"/>
                  <a:gd name="connsiteX32" fmla="*/ 264838 w 896663"/>
                  <a:gd name="connsiteY32" fmla="*/ 1730375 h 4505325"/>
                  <a:gd name="connsiteX33" fmla="*/ 277538 w 896663"/>
                  <a:gd name="connsiteY33" fmla="*/ 1758950 h 4505325"/>
                  <a:gd name="connsiteX34" fmla="*/ 277538 w 896663"/>
                  <a:gd name="connsiteY34" fmla="*/ 1828800 h 4505325"/>
                  <a:gd name="connsiteX35" fmla="*/ 325163 w 896663"/>
                  <a:gd name="connsiteY35" fmla="*/ 1905000 h 4505325"/>
                  <a:gd name="connsiteX36" fmla="*/ 363263 w 896663"/>
                  <a:gd name="connsiteY36" fmla="*/ 1962150 h 4505325"/>
                  <a:gd name="connsiteX37" fmla="*/ 369613 w 896663"/>
                  <a:gd name="connsiteY37" fmla="*/ 2028825 h 4505325"/>
                  <a:gd name="connsiteX38" fmla="*/ 407713 w 896663"/>
                  <a:gd name="connsiteY38" fmla="*/ 2085975 h 4505325"/>
                  <a:gd name="connsiteX39" fmla="*/ 414063 w 896663"/>
                  <a:gd name="connsiteY39" fmla="*/ 2209800 h 4505325"/>
                  <a:gd name="connsiteX40" fmla="*/ 252138 w 896663"/>
                  <a:gd name="connsiteY40" fmla="*/ 2251075 h 4505325"/>
                  <a:gd name="connsiteX41" fmla="*/ 201338 w 896663"/>
                  <a:gd name="connsiteY41" fmla="*/ 2390775 h 4505325"/>
                  <a:gd name="connsiteX42" fmla="*/ 210863 w 896663"/>
                  <a:gd name="connsiteY42" fmla="*/ 2454275 h 4505325"/>
                  <a:gd name="connsiteX43" fmla="*/ 226738 w 896663"/>
                  <a:gd name="connsiteY43" fmla="*/ 2482850 h 4505325"/>
                  <a:gd name="connsiteX44" fmla="*/ 226738 w 896663"/>
                  <a:gd name="connsiteY44" fmla="*/ 2527300 h 4505325"/>
                  <a:gd name="connsiteX45" fmla="*/ 236263 w 896663"/>
                  <a:gd name="connsiteY45" fmla="*/ 2603500 h 4505325"/>
                  <a:gd name="connsiteX46" fmla="*/ 153713 w 896663"/>
                  <a:gd name="connsiteY46" fmla="*/ 2917824 h 4505325"/>
                  <a:gd name="connsiteX47" fmla="*/ 80688 w 896663"/>
                  <a:gd name="connsiteY47" fmla="*/ 3063874 h 4505325"/>
                  <a:gd name="connsiteX48" fmla="*/ 42588 w 896663"/>
                  <a:gd name="connsiteY48" fmla="*/ 3133724 h 4505325"/>
                  <a:gd name="connsiteX49" fmla="*/ 17188 w 896663"/>
                  <a:gd name="connsiteY49" fmla="*/ 3203574 h 4505325"/>
                  <a:gd name="connsiteX50" fmla="*/ 10838 w 896663"/>
                  <a:gd name="connsiteY50" fmla="*/ 3390899 h 4505325"/>
                  <a:gd name="connsiteX51" fmla="*/ 33063 w 896663"/>
                  <a:gd name="connsiteY51" fmla="*/ 3492499 h 4505325"/>
                  <a:gd name="connsiteX52" fmla="*/ 268013 w 896663"/>
                  <a:gd name="connsiteY52" fmla="*/ 3917949 h 4505325"/>
                  <a:gd name="connsiteX53" fmla="*/ 382313 w 896663"/>
                  <a:gd name="connsiteY53" fmla="*/ 4203699 h 4505325"/>
                  <a:gd name="connsiteX54" fmla="*/ 502963 w 896663"/>
                  <a:gd name="connsiteY54" fmla="*/ 4254499 h 4505325"/>
                  <a:gd name="connsiteX55" fmla="*/ 639488 w 896663"/>
                  <a:gd name="connsiteY55" fmla="*/ 4302124 h 4505325"/>
                  <a:gd name="connsiteX56" fmla="*/ 760138 w 896663"/>
                  <a:gd name="connsiteY56" fmla="*/ 4292599 h 4505325"/>
                  <a:gd name="connsiteX57" fmla="*/ 896663 w 896663"/>
                  <a:gd name="connsiteY57" fmla="*/ 4505325 h 4505325"/>
                  <a:gd name="connsiteX0" fmla="*/ 445813 w 896663"/>
                  <a:gd name="connsiteY0" fmla="*/ 0 h 4505325"/>
                  <a:gd name="connsiteX1" fmla="*/ 407713 w 896663"/>
                  <a:gd name="connsiteY1" fmla="*/ 66675 h 4505325"/>
                  <a:gd name="connsiteX2" fmla="*/ 353738 w 896663"/>
                  <a:gd name="connsiteY2" fmla="*/ 85725 h 4505325"/>
                  <a:gd name="connsiteX3" fmla="*/ 283888 w 896663"/>
                  <a:gd name="connsiteY3" fmla="*/ 98425 h 4505325"/>
                  <a:gd name="connsiteX4" fmla="*/ 223563 w 896663"/>
                  <a:gd name="connsiteY4" fmla="*/ 133350 h 4505325"/>
                  <a:gd name="connsiteX5" fmla="*/ 121963 w 896663"/>
                  <a:gd name="connsiteY5" fmla="*/ 196850 h 4505325"/>
                  <a:gd name="connsiteX6" fmla="*/ 131488 w 896663"/>
                  <a:gd name="connsiteY6" fmla="*/ 247650 h 4505325"/>
                  <a:gd name="connsiteX7" fmla="*/ 172763 w 896663"/>
                  <a:gd name="connsiteY7" fmla="*/ 276225 h 4505325"/>
                  <a:gd name="connsiteX8" fmla="*/ 185463 w 896663"/>
                  <a:gd name="connsiteY8" fmla="*/ 327025 h 4505325"/>
                  <a:gd name="connsiteX9" fmla="*/ 239438 w 896663"/>
                  <a:gd name="connsiteY9" fmla="*/ 368300 h 4505325"/>
                  <a:gd name="connsiteX10" fmla="*/ 239438 w 896663"/>
                  <a:gd name="connsiteY10" fmla="*/ 412750 h 4505325"/>
                  <a:gd name="connsiteX11" fmla="*/ 207688 w 896663"/>
                  <a:gd name="connsiteY11" fmla="*/ 454025 h 4505325"/>
                  <a:gd name="connsiteX12" fmla="*/ 287063 w 896663"/>
                  <a:gd name="connsiteY12" fmla="*/ 479425 h 4505325"/>
                  <a:gd name="connsiteX13" fmla="*/ 302938 w 896663"/>
                  <a:gd name="connsiteY13" fmla="*/ 511175 h 4505325"/>
                  <a:gd name="connsiteX14" fmla="*/ 210863 w 896663"/>
                  <a:gd name="connsiteY14" fmla="*/ 581025 h 4505325"/>
                  <a:gd name="connsiteX15" fmla="*/ 160063 w 896663"/>
                  <a:gd name="connsiteY15" fmla="*/ 638175 h 4505325"/>
                  <a:gd name="connsiteX16" fmla="*/ 160063 w 896663"/>
                  <a:gd name="connsiteY16" fmla="*/ 695325 h 4505325"/>
                  <a:gd name="connsiteX17" fmla="*/ 185463 w 896663"/>
                  <a:gd name="connsiteY17" fmla="*/ 784225 h 4505325"/>
                  <a:gd name="connsiteX18" fmla="*/ 194988 w 896663"/>
                  <a:gd name="connsiteY18" fmla="*/ 835025 h 4505325"/>
                  <a:gd name="connsiteX19" fmla="*/ 204513 w 896663"/>
                  <a:gd name="connsiteY19" fmla="*/ 885825 h 4505325"/>
                  <a:gd name="connsiteX20" fmla="*/ 220388 w 896663"/>
                  <a:gd name="connsiteY20" fmla="*/ 923925 h 4505325"/>
                  <a:gd name="connsiteX21" fmla="*/ 163238 w 896663"/>
                  <a:gd name="connsiteY21" fmla="*/ 1022350 h 4505325"/>
                  <a:gd name="connsiteX22" fmla="*/ 96563 w 896663"/>
                  <a:gd name="connsiteY22" fmla="*/ 1057275 h 4505325"/>
                  <a:gd name="connsiteX23" fmla="*/ 52113 w 896663"/>
                  <a:gd name="connsiteY23" fmla="*/ 1143000 h 4505325"/>
                  <a:gd name="connsiteX24" fmla="*/ 20363 w 896663"/>
                  <a:gd name="connsiteY24" fmla="*/ 1244600 h 4505325"/>
                  <a:gd name="connsiteX25" fmla="*/ 1313 w 896663"/>
                  <a:gd name="connsiteY25" fmla="*/ 1346200 h 4505325"/>
                  <a:gd name="connsiteX26" fmla="*/ 10838 w 896663"/>
                  <a:gd name="connsiteY26" fmla="*/ 1438275 h 4505325"/>
                  <a:gd name="connsiteX27" fmla="*/ 83863 w 896663"/>
                  <a:gd name="connsiteY27" fmla="*/ 1511300 h 4505325"/>
                  <a:gd name="connsiteX28" fmla="*/ 112438 w 896663"/>
                  <a:gd name="connsiteY28" fmla="*/ 1558925 h 4505325"/>
                  <a:gd name="connsiteX29" fmla="*/ 150538 w 896663"/>
                  <a:gd name="connsiteY29" fmla="*/ 1590675 h 4505325"/>
                  <a:gd name="connsiteX30" fmla="*/ 169588 w 896663"/>
                  <a:gd name="connsiteY30" fmla="*/ 1644650 h 4505325"/>
                  <a:gd name="connsiteX31" fmla="*/ 226738 w 896663"/>
                  <a:gd name="connsiteY31" fmla="*/ 1685925 h 4505325"/>
                  <a:gd name="connsiteX32" fmla="*/ 264838 w 896663"/>
                  <a:gd name="connsiteY32" fmla="*/ 1730375 h 4505325"/>
                  <a:gd name="connsiteX33" fmla="*/ 277538 w 896663"/>
                  <a:gd name="connsiteY33" fmla="*/ 1758950 h 4505325"/>
                  <a:gd name="connsiteX34" fmla="*/ 277538 w 896663"/>
                  <a:gd name="connsiteY34" fmla="*/ 1828800 h 4505325"/>
                  <a:gd name="connsiteX35" fmla="*/ 325163 w 896663"/>
                  <a:gd name="connsiteY35" fmla="*/ 1905000 h 4505325"/>
                  <a:gd name="connsiteX36" fmla="*/ 363263 w 896663"/>
                  <a:gd name="connsiteY36" fmla="*/ 1962150 h 4505325"/>
                  <a:gd name="connsiteX37" fmla="*/ 369613 w 896663"/>
                  <a:gd name="connsiteY37" fmla="*/ 2028825 h 4505325"/>
                  <a:gd name="connsiteX38" fmla="*/ 407713 w 896663"/>
                  <a:gd name="connsiteY38" fmla="*/ 2085975 h 4505325"/>
                  <a:gd name="connsiteX39" fmla="*/ 414063 w 896663"/>
                  <a:gd name="connsiteY39" fmla="*/ 2209800 h 4505325"/>
                  <a:gd name="connsiteX40" fmla="*/ 252138 w 896663"/>
                  <a:gd name="connsiteY40" fmla="*/ 2251075 h 4505325"/>
                  <a:gd name="connsiteX41" fmla="*/ 201338 w 896663"/>
                  <a:gd name="connsiteY41" fmla="*/ 2390775 h 4505325"/>
                  <a:gd name="connsiteX42" fmla="*/ 210863 w 896663"/>
                  <a:gd name="connsiteY42" fmla="*/ 2454275 h 4505325"/>
                  <a:gd name="connsiteX43" fmla="*/ 226738 w 896663"/>
                  <a:gd name="connsiteY43" fmla="*/ 2482850 h 4505325"/>
                  <a:gd name="connsiteX44" fmla="*/ 226738 w 896663"/>
                  <a:gd name="connsiteY44" fmla="*/ 2527300 h 4505325"/>
                  <a:gd name="connsiteX45" fmla="*/ 236263 w 896663"/>
                  <a:gd name="connsiteY45" fmla="*/ 2603500 h 4505325"/>
                  <a:gd name="connsiteX46" fmla="*/ 153713 w 896663"/>
                  <a:gd name="connsiteY46" fmla="*/ 2917824 h 4505325"/>
                  <a:gd name="connsiteX47" fmla="*/ 80688 w 896663"/>
                  <a:gd name="connsiteY47" fmla="*/ 3063874 h 4505325"/>
                  <a:gd name="connsiteX48" fmla="*/ 42588 w 896663"/>
                  <a:gd name="connsiteY48" fmla="*/ 3133724 h 4505325"/>
                  <a:gd name="connsiteX49" fmla="*/ 17188 w 896663"/>
                  <a:gd name="connsiteY49" fmla="*/ 3203574 h 4505325"/>
                  <a:gd name="connsiteX50" fmla="*/ 10838 w 896663"/>
                  <a:gd name="connsiteY50" fmla="*/ 3390899 h 4505325"/>
                  <a:gd name="connsiteX51" fmla="*/ 33063 w 896663"/>
                  <a:gd name="connsiteY51" fmla="*/ 3492499 h 4505325"/>
                  <a:gd name="connsiteX52" fmla="*/ 268013 w 896663"/>
                  <a:gd name="connsiteY52" fmla="*/ 3917949 h 4505325"/>
                  <a:gd name="connsiteX53" fmla="*/ 382313 w 896663"/>
                  <a:gd name="connsiteY53" fmla="*/ 4203699 h 4505325"/>
                  <a:gd name="connsiteX54" fmla="*/ 502963 w 896663"/>
                  <a:gd name="connsiteY54" fmla="*/ 4254499 h 4505325"/>
                  <a:gd name="connsiteX55" fmla="*/ 639488 w 896663"/>
                  <a:gd name="connsiteY55" fmla="*/ 4302124 h 4505325"/>
                  <a:gd name="connsiteX56" fmla="*/ 760138 w 896663"/>
                  <a:gd name="connsiteY56" fmla="*/ 4292599 h 4505325"/>
                  <a:gd name="connsiteX57" fmla="*/ 896663 w 896663"/>
                  <a:gd name="connsiteY57" fmla="*/ 4505325 h 4505325"/>
                  <a:gd name="connsiteX0" fmla="*/ 445813 w 896663"/>
                  <a:gd name="connsiteY0" fmla="*/ 0 h 4505325"/>
                  <a:gd name="connsiteX1" fmla="*/ 407713 w 896663"/>
                  <a:gd name="connsiteY1" fmla="*/ 66675 h 4505325"/>
                  <a:gd name="connsiteX2" fmla="*/ 353738 w 896663"/>
                  <a:gd name="connsiteY2" fmla="*/ 85725 h 4505325"/>
                  <a:gd name="connsiteX3" fmla="*/ 283888 w 896663"/>
                  <a:gd name="connsiteY3" fmla="*/ 98425 h 4505325"/>
                  <a:gd name="connsiteX4" fmla="*/ 223563 w 896663"/>
                  <a:gd name="connsiteY4" fmla="*/ 133350 h 4505325"/>
                  <a:gd name="connsiteX5" fmla="*/ 121963 w 896663"/>
                  <a:gd name="connsiteY5" fmla="*/ 196850 h 4505325"/>
                  <a:gd name="connsiteX6" fmla="*/ 131488 w 896663"/>
                  <a:gd name="connsiteY6" fmla="*/ 247650 h 4505325"/>
                  <a:gd name="connsiteX7" fmla="*/ 172763 w 896663"/>
                  <a:gd name="connsiteY7" fmla="*/ 276225 h 4505325"/>
                  <a:gd name="connsiteX8" fmla="*/ 185463 w 896663"/>
                  <a:gd name="connsiteY8" fmla="*/ 327025 h 4505325"/>
                  <a:gd name="connsiteX9" fmla="*/ 239438 w 896663"/>
                  <a:gd name="connsiteY9" fmla="*/ 368300 h 4505325"/>
                  <a:gd name="connsiteX10" fmla="*/ 239438 w 896663"/>
                  <a:gd name="connsiteY10" fmla="*/ 412750 h 4505325"/>
                  <a:gd name="connsiteX11" fmla="*/ 207688 w 896663"/>
                  <a:gd name="connsiteY11" fmla="*/ 454025 h 4505325"/>
                  <a:gd name="connsiteX12" fmla="*/ 287063 w 896663"/>
                  <a:gd name="connsiteY12" fmla="*/ 479425 h 4505325"/>
                  <a:gd name="connsiteX13" fmla="*/ 302938 w 896663"/>
                  <a:gd name="connsiteY13" fmla="*/ 511175 h 4505325"/>
                  <a:gd name="connsiteX14" fmla="*/ 210863 w 896663"/>
                  <a:gd name="connsiteY14" fmla="*/ 581025 h 4505325"/>
                  <a:gd name="connsiteX15" fmla="*/ 160063 w 896663"/>
                  <a:gd name="connsiteY15" fmla="*/ 638175 h 4505325"/>
                  <a:gd name="connsiteX16" fmla="*/ 160063 w 896663"/>
                  <a:gd name="connsiteY16" fmla="*/ 695325 h 4505325"/>
                  <a:gd name="connsiteX17" fmla="*/ 185463 w 896663"/>
                  <a:gd name="connsiteY17" fmla="*/ 784225 h 4505325"/>
                  <a:gd name="connsiteX18" fmla="*/ 194988 w 896663"/>
                  <a:gd name="connsiteY18" fmla="*/ 835025 h 4505325"/>
                  <a:gd name="connsiteX19" fmla="*/ 204513 w 896663"/>
                  <a:gd name="connsiteY19" fmla="*/ 885825 h 4505325"/>
                  <a:gd name="connsiteX20" fmla="*/ 220388 w 896663"/>
                  <a:gd name="connsiteY20" fmla="*/ 923925 h 4505325"/>
                  <a:gd name="connsiteX21" fmla="*/ 163238 w 896663"/>
                  <a:gd name="connsiteY21" fmla="*/ 1022350 h 4505325"/>
                  <a:gd name="connsiteX22" fmla="*/ 96563 w 896663"/>
                  <a:gd name="connsiteY22" fmla="*/ 1057275 h 4505325"/>
                  <a:gd name="connsiteX23" fmla="*/ 52113 w 896663"/>
                  <a:gd name="connsiteY23" fmla="*/ 1143000 h 4505325"/>
                  <a:gd name="connsiteX24" fmla="*/ 20363 w 896663"/>
                  <a:gd name="connsiteY24" fmla="*/ 1244600 h 4505325"/>
                  <a:gd name="connsiteX25" fmla="*/ 1313 w 896663"/>
                  <a:gd name="connsiteY25" fmla="*/ 1346200 h 4505325"/>
                  <a:gd name="connsiteX26" fmla="*/ 10838 w 896663"/>
                  <a:gd name="connsiteY26" fmla="*/ 1438275 h 4505325"/>
                  <a:gd name="connsiteX27" fmla="*/ 83863 w 896663"/>
                  <a:gd name="connsiteY27" fmla="*/ 1511300 h 4505325"/>
                  <a:gd name="connsiteX28" fmla="*/ 112438 w 896663"/>
                  <a:gd name="connsiteY28" fmla="*/ 1558925 h 4505325"/>
                  <a:gd name="connsiteX29" fmla="*/ 150538 w 896663"/>
                  <a:gd name="connsiteY29" fmla="*/ 1590675 h 4505325"/>
                  <a:gd name="connsiteX30" fmla="*/ 169588 w 896663"/>
                  <a:gd name="connsiteY30" fmla="*/ 1644650 h 4505325"/>
                  <a:gd name="connsiteX31" fmla="*/ 226738 w 896663"/>
                  <a:gd name="connsiteY31" fmla="*/ 1685925 h 4505325"/>
                  <a:gd name="connsiteX32" fmla="*/ 264838 w 896663"/>
                  <a:gd name="connsiteY32" fmla="*/ 1730375 h 4505325"/>
                  <a:gd name="connsiteX33" fmla="*/ 277538 w 896663"/>
                  <a:gd name="connsiteY33" fmla="*/ 1758950 h 4505325"/>
                  <a:gd name="connsiteX34" fmla="*/ 277538 w 896663"/>
                  <a:gd name="connsiteY34" fmla="*/ 1828800 h 4505325"/>
                  <a:gd name="connsiteX35" fmla="*/ 325163 w 896663"/>
                  <a:gd name="connsiteY35" fmla="*/ 1905000 h 4505325"/>
                  <a:gd name="connsiteX36" fmla="*/ 363263 w 896663"/>
                  <a:gd name="connsiteY36" fmla="*/ 1962150 h 4505325"/>
                  <a:gd name="connsiteX37" fmla="*/ 369613 w 896663"/>
                  <a:gd name="connsiteY37" fmla="*/ 2028825 h 4505325"/>
                  <a:gd name="connsiteX38" fmla="*/ 407713 w 896663"/>
                  <a:gd name="connsiteY38" fmla="*/ 2085975 h 4505325"/>
                  <a:gd name="connsiteX39" fmla="*/ 414063 w 896663"/>
                  <a:gd name="connsiteY39" fmla="*/ 2209800 h 4505325"/>
                  <a:gd name="connsiteX40" fmla="*/ 252138 w 896663"/>
                  <a:gd name="connsiteY40" fmla="*/ 2251075 h 4505325"/>
                  <a:gd name="connsiteX41" fmla="*/ 201338 w 896663"/>
                  <a:gd name="connsiteY41" fmla="*/ 2390775 h 4505325"/>
                  <a:gd name="connsiteX42" fmla="*/ 210863 w 896663"/>
                  <a:gd name="connsiteY42" fmla="*/ 2454275 h 4505325"/>
                  <a:gd name="connsiteX43" fmla="*/ 226738 w 896663"/>
                  <a:gd name="connsiteY43" fmla="*/ 2482850 h 4505325"/>
                  <a:gd name="connsiteX44" fmla="*/ 226738 w 896663"/>
                  <a:gd name="connsiteY44" fmla="*/ 2527300 h 4505325"/>
                  <a:gd name="connsiteX45" fmla="*/ 236263 w 896663"/>
                  <a:gd name="connsiteY45" fmla="*/ 2603500 h 4505325"/>
                  <a:gd name="connsiteX46" fmla="*/ 153713 w 896663"/>
                  <a:gd name="connsiteY46" fmla="*/ 2917824 h 4505325"/>
                  <a:gd name="connsiteX47" fmla="*/ 80688 w 896663"/>
                  <a:gd name="connsiteY47" fmla="*/ 3063874 h 4505325"/>
                  <a:gd name="connsiteX48" fmla="*/ 42588 w 896663"/>
                  <a:gd name="connsiteY48" fmla="*/ 3133724 h 4505325"/>
                  <a:gd name="connsiteX49" fmla="*/ 17188 w 896663"/>
                  <a:gd name="connsiteY49" fmla="*/ 3203574 h 4505325"/>
                  <a:gd name="connsiteX50" fmla="*/ 10838 w 896663"/>
                  <a:gd name="connsiteY50" fmla="*/ 3390899 h 4505325"/>
                  <a:gd name="connsiteX51" fmla="*/ 33063 w 896663"/>
                  <a:gd name="connsiteY51" fmla="*/ 3492499 h 4505325"/>
                  <a:gd name="connsiteX52" fmla="*/ 277538 w 896663"/>
                  <a:gd name="connsiteY52" fmla="*/ 3917949 h 4505325"/>
                  <a:gd name="connsiteX53" fmla="*/ 382313 w 896663"/>
                  <a:gd name="connsiteY53" fmla="*/ 4203699 h 4505325"/>
                  <a:gd name="connsiteX54" fmla="*/ 502963 w 896663"/>
                  <a:gd name="connsiteY54" fmla="*/ 4254499 h 4505325"/>
                  <a:gd name="connsiteX55" fmla="*/ 639488 w 896663"/>
                  <a:gd name="connsiteY55" fmla="*/ 4302124 h 4505325"/>
                  <a:gd name="connsiteX56" fmla="*/ 760138 w 896663"/>
                  <a:gd name="connsiteY56" fmla="*/ 4292599 h 4505325"/>
                  <a:gd name="connsiteX57" fmla="*/ 896663 w 896663"/>
                  <a:gd name="connsiteY57" fmla="*/ 4505325 h 4505325"/>
                  <a:gd name="connsiteX0" fmla="*/ 445813 w 896663"/>
                  <a:gd name="connsiteY0" fmla="*/ 0 h 4505325"/>
                  <a:gd name="connsiteX1" fmla="*/ 407713 w 896663"/>
                  <a:gd name="connsiteY1" fmla="*/ 66675 h 4505325"/>
                  <a:gd name="connsiteX2" fmla="*/ 353738 w 896663"/>
                  <a:gd name="connsiteY2" fmla="*/ 85725 h 4505325"/>
                  <a:gd name="connsiteX3" fmla="*/ 283888 w 896663"/>
                  <a:gd name="connsiteY3" fmla="*/ 98425 h 4505325"/>
                  <a:gd name="connsiteX4" fmla="*/ 223563 w 896663"/>
                  <a:gd name="connsiteY4" fmla="*/ 133350 h 4505325"/>
                  <a:gd name="connsiteX5" fmla="*/ 121963 w 896663"/>
                  <a:gd name="connsiteY5" fmla="*/ 196850 h 4505325"/>
                  <a:gd name="connsiteX6" fmla="*/ 131488 w 896663"/>
                  <a:gd name="connsiteY6" fmla="*/ 247650 h 4505325"/>
                  <a:gd name="connsiteX7" fmla="*/ 172763 w 896663"/>
                  <a:gd name="connsiteY7" fmla="*/ 276225 h 4505325"/>
                  <a:gd name="connsiteX8" fmla="*/ 185463 w 896663"/>
                  <a:gd name="connsiteY8" fmla="*/ 327025 h 4505325"/>
                  <a:gd name="connsiteX9" fmla="*/ 239438 w 896663"/>
                  <a:gd name="connsiteY9" fmla="*/ 368300 h 4505325"/>
                  <a:gd name="connsiteX10" fmla="*/ 239438 w 896663"/>
                  <a:gd name="connsiteY10" fmla="*/ 412750 h 4505325"/>
                  <a:gd name="connsiteX11" fmla="*/ 207688 w 896663"/>
                  <a:gd name="connsiteY11" fmla="*/ 454025 h 4505325"/>
                  <a:gd name="connsiteX12" fmla="*/ 287063 w 896663"/>
                  <a:gd name="connsiteY12" fmla="*/ 479425 h 4505325"/>
                  <a:gd name="connsiteX13" fmla="*/ 302938 w 896663"/>
                  <a:gd name="connsiteY13" fmla="*/ 511175 h 4505325"/>
                  <a:gd name="connsiteX14" fmla="*/ 210863 w 896663"/>
                  <a:gd name="connsiteY14" fmla="*/ 581025 h 4505325"/>
                  <a:gd name="connsiteX15" fmla="*/ 160063 w 896663"/>
                  <a:gd name="connsiteY15" fmla="*/ 638175 h 4505325"/>
                  <a:gd name="connsiteX16" fmla="*/ 160063 w 896663"/>
                  <a:gd name="connsiteY16" fmla="*/ 695325 h 4505325"/>
                  <a:gd name="connsiteX17" fmla="*/ 185463 w 896663"/>
                  <a:gd name="connsiteY17" fmla="*/ 784225 h 4505325"/>
                  <a:gd name="connsiteX18" fmla="*/ 194988 w 896663"/>
                  <a:gd name="connsiteY18" fmla="*/ 835025 h 4505325"/>
                  <a:gd name="connsiteX19" fmla="*/ 204513 w 896663"/>
                  <a:gd name="connsiteY19" fmla="*/ 885825 h 4505325"/>
                  <a:gd name="connsiteX20" fmla="*/ 220388 w 896663"/>
                  <a:gd name="connsiteY20" fmla="*/ 923925 h 4505325"/>
                  <a:gd name="connsiteX21" fmla="*/ 163238 w 896663"/>
                  <a:gd name="connsiteY21" fmla="*/ 1022350 h 4505325"/>
                  <a:gd name="connsiteX22" fmla="*/ 96563 w 896663"/>
                  <a:gd name="connsiteY22" fmla="*/ 1057275 h 4505325"/>
                  <a:gd name="connsiteX23" fmla="*/ 52113 w 896663"/>
                  <a:gd name="connsiteY23" fmla="*/ 1143000 h 4505325"/>
                  <a:gd name="connsiteX24" fmla="*/ 20363 w 896663"/>
                  <a:gd name="connsiteY24" fmla="*/ 1244600 h 4505325"/>
                  <a:gd name="connsiteX25" fmla="*/ 1313 w 896663"/>
                  <a:gd name="connsiteY25" fmla="*/ 1346200 h 4505325"/>
                  <a:gd name="connsiteX26" fmla="*/ 10838 w 896663"/>
                  <a:gd name="connsiteY26" fmla="*/ 1438275 h 4505325"/>
                  <a:gd name="connsiteX27" fmla="*/ 83863 w 896663"/>
                  <a:gd name="connsiteY27" fmla="*/ 1511300 h 4505325"/>
                  <a:gd name="connsiteX28" fmla="*/ 112438 w 896663"/>
                  <a:gd name="connsiteY28" fmla="*/ 1558925 h 4505325"/>
                  <a:gd name="connsiteX29" fmla="*/ 150538 w 896663"/>
                  <a:gd name="connsiteY29" fmla="*/ 1590675 h 4505325"/>
                  <a:gd name="connsiteX30" fmla="*/ 169588 w 896663"/>
                  <a:gd name="connsiteY30" fmla="*/ 1644650 h 4505325"/>
                  <a:gd name="connsiteX31" fmla="*/ 226738 w 896663"/>
                  <a:gd name="connsiteY31" fmla="*/ 1685925 h 4505325"/>
                  <a:gd name="connsiteX32" fmla="*/ 264838 w 896663"/>
                  <a:gd name="connsiteY32" fmla="*/ 1730375 h 4505325"/>
                  <a:gd name="connsiteX33" fmla="*/ 277538 w 896663"/>
                  <a:gd name="connsiteY33" fmla="*/ 1758950 h 4505325"/>
                  <a:gd name="connsiteX34" fmla="*/ 277538 w 896663"/>
                  <a:gd name="connsiteY34" fmla="*/ 1828800 h 4505325"/>
                  <a:gd name="connsiteX35" fmla="*/ 325163 w 896663"/>
                  <a:gd name="connsiteY35" fmla="*/ 1905000 h 4505325"/>
                  <a:gd name="connsiteX36" fmla="*/ 363263 w 896663"/>
                  <a:gd name="connsiteY36" fmla="*/ 1962150 h 4505325"/>
                  <a:gd name="connsiteX37" fmla="*/ 369613 w 896663"/>
                  <a:gd name="connsiteY37" fmla="*/ 2028825 h 4505325"/>
                  <a:gd name="connsiteX38" fmla="*/ 407713 w 896663"/>
                  <a:gd name="connsiteY38" fmla="*/ 2085975 h 4505325"/>
                  <a:gd name="connsiteX39" fmla="*/ 414063 w 896663"/>
                  <a:gd name="connsiteY39" fmla="*/ 2209800 h 4505325"/>
                  <a:gd name="connsiteX40" fmla="*/ 252138 w 896663"/>
                  <a:gd name="connsiteY40" fmla="*/ 2251075 h 4505325"/>
                  <a:gd name="connsiteX41" fmla="*/ 201338 w 896663"/>
                  <a:gd name="connsiteY41" fmla="*/ 2390775 h 4505325"/>
                  <a:gd name="connsiteX42" fmla="*/ 210863 w 896663"/>
                  <a:gd name="connsiteY42" fmla="*/ 2454275 h 4505325"/>
                  <a:gd name="connsiteX43" fmla="*/ 226738 w 896663"/>
                  <a:gd name="connsiteY43" fmla="*/ 2482850 h 4505325"/>
                  <a:gd name="connsiteX44" fmla="*/ 226738 w 896663"/>
                  <a:gd name="connsiteY44" fmla="*/ 2527300 h 4505325"/>
                  <a:gd name="connsiteX45" fmla="*/ 236263 w 896663"/>
                  <a:gd name="connsiteY45" fmla="*/ 2603500 h 4505325"/>
                  <a:gd name="connsiteX46" fmla="*/ 153713 w 896663"/>
                  <a:gd name="connsiteY46" fmla="*/ 2917824 h 4505325"/>
                  <a:gd name="connsiteX47" fmla="*/ 80688 w 896663"/>
                  <a:gd name="connsiteY47" fmla="*/ 3063874 h 4505325"/>
                  <a:gd name="connsiteX48" fmla="*/ 42588 w 896663"/>
                  <a:gd name="connsiteY48" fmla="*/ 3133724 h 4505325"/>
                  <a:gd name="connsiteX49" fmla="*/ 17188 w 896663"/>
                  <a:gd name="connsiteY49" fmla="*/ 3203574 h 4505325"/>
                  <a:gd name="connsiteX50" fmla="*/ 10838 w 896663"/>
                  <a:gd name="connsiteY50" fmla="*/ 3390899 h 4505325"/>
                  <a:gd name="connsiteX51" fmla="*/ 33063 w 896663"/>
                  <a:gd name="connsiteY51" fmla="*/ 3492499 h 4505325"/>
                  <a:gd name="connsiteX52" fmla="*/ 277538 w 896663"/>
                  <a:gd name="connsiteY52" fmla="*/ 3917949 h 4505325"/>
                  <a:gd name="connsiteX53" fmla="*/ 382313 w 896663"/>
                  <a:gd name="connsiteY53" fmla="*/ 4203699 h 4505325"/>
                  <a:gd name="connsiteX54" fmla="*/ 502963 w 896663"/>
                  <a:gd name="connsiteY54" fmla="*/ 4254499 h 4505325"/>
                  <a:gd name="connsiteX55" fmla="*/ 639488 w 896663"/>
                  <a:gd name="connsiteY55" fmla="*/ 4302124 h 4505325"/>
                  <a:gd name="connsiteX56" fmla="*/ 760138 w 896663"/>
                  <a:gd name="connsiteY56" fmla="*/ 4292599 h 4505325"/>
                  <a:gd name="connsiteX57" fmla="*/ 896663 w 896663"/>
                  <a:gd name="connsiteY57" fmla="*/ 4505325 h 4505325"/>
                  <a:gd name="connsiteX0" fmla="*/ 445813 w 896663"/>
                  <a:gd name="connsiteY0" fmla="*/ 0 h 4505325"/>
                  <a:gd name="connsiteX1" fmla="*/ 407713 w 896663"/>
                  <a:gd name="connsiteY1" fmla="*/ 66675 h 4505325"/>
                  <a:gd name="connsiteX2" fmla="*/ 353738 w 896663"/>
                  <a:gd name="connsiteY2" fmla="*/ 85725 h 4505325"/>
                  <a:gd name="connsiteX3" fmla="*/ 283888 w 896663"/>
                  <a:gd name="connsiteY3" fmla="*/ 98425 h 4505325"/>
                  <a:gd name="connsiteX4" fmla="*/ 223563 w 896663"/>
                  <a:gd name="connsiteY4" fmla="*/ 133350 h 4505325"/>
                  <a:gd name="connsiteX5" fmla="*/ 121963 w 896663"/>
                  <a:gd name="connsiteY5" fmla="*/ 196850 h 4505325"/>
                  <a:gd name="connsiteX6" fmla="*/ 131488 w 896663"/>
                  <a:gd name="connsiteY6" fmla="*/ 247650 h 4505325"/>
                  <a:gd name="connsiteX7" fmla="*/ 172763 w 896663"/>
                  <a:gd name="connsiteY7" fmla="*/ 276225 h 4505325"/>
                  <a:gd name="connsiteX8" fmla="*/ 185463 w 896663"/>
                  <a:gd name="connsiteY8" fmla="*/ 327025 h 4505325"/>
                  <a:gd name="connsiteX9" fmla="*/ 239438 w 896663"/>
                  <a:gd name="connsiteY9" fmla="*/ 368300 h 4505325"/>
                  <a:gd name="connsiteX10" fmla="*/ 239438 w 896663"/>
                  <a:gd name="connsiteY10" fmla="*/ 412750 h 4505325"/>
                  <a:gd name="connsiteX11" fmla="*/ 207688 w 896663"/>
                  <a:gd name="connsiteY11" fmla="*/ 454025 h 4505325"/>
                  <a:gd name="connsiteX12" fmla="*/ 287063 w 896663"/>
                  <a:gd name="connsiteY12" fmla="*/ 479425 h 4505325"/>
                  <a:gd name="connsiteX13" fmla="*/ 302938 w 896663"/>
                  <a:gd name="connsiteY13" fmla="*/ 511175 h 4505325"/>
                  <a:gd name="connsiteX14" fmla="*/ 210863 w 896663"/>
                  <a:gd name="connsiteY14" fmla="*/ 581025 h 4505325"/>
                  <a:gd name="connsiteX15" fmla="*/ 160063 w 896663"/>
                  <a:gd name="connsiteY15" fmla="*/ 638175 h 4505325"/>
                  <a:gd name="connsiteX16" fmla="*/ 160063 w 896663"/>
                  <a:gd name="connsiteY16" fmla="*/ 695325 h 4505325"/>
                  <a:gd name="connsiteX17" fmla="*/ 185463 w 896663"/>
                  <a:gd name="connsiteY17" fmla="*/ 784225 h 4505325"/>
                  <a:gd name="connsiteX18" fmla="*/ 194988 w 896663"/>
                  <a:gd name="connsiteY18" fmla="*/ 835025 h 4505325"/>
                  <a:gd name="connsiteX19" fmla="*/ 204513 w 896663"/>
                  <a:gd name="connsiteY19" fmla="*/ 885825 h 4505325"/>
                  <a:gd name="connsiteX20" fmla="*/ 220388 w 896663"/>
                  <a:gd name="connsiteY20" fmla="*/ 923925 h 4505325"/>
                  <a:gd name="connsiteX21" fmla="*/ 163238 w 896663"/>
                  <a:gd name="connsiteY21" fmla="*/ 1022350 h 4505325"/>
                  <a:gd name="connsiteX22" fmla="*/ 96563 w 896663"/>
                  <a:gd name="connsiteY22" fmla="*/ 1057275 h 4505325"/>
                  <a:gd name="connsiteX23" fmla="*/ 52113 w 896663"/>
                  <a:gd name="connsiteY23" fmla="*/ 1143000 h 4505325"/>
                  <a:gd name="connsiteX24" fmla="*/ 20363 w 896663"/>
                  <a:gd name="connsiteY24" fmla="*/ 1244600 h 4505325"/>
                  <a:gd name="connsiteX25" fmla="*/ 1313 w 896663"/>
                  <a:gd name="connsiteY25" fmla="*/ 1346200 h 4505325"/>
                  <a:gd name="connsiteX26" fmla="*/ 10838 w 896663"/>
                  <a:gd name="connsiteY26" fmla="*/ 1438275 h 4505325"/>
                  <a:gd name="connsiteX27" fmla="*/ 83863 w 896663"/>
                  <a:gd name="connsiteY27" fmla="*/ 1511300 h 4505325"/>
                  <a:gd name="connsiteX28" fmla="*/ 112438 w 896663"/>
                  <a:gd name="connsiteY28" fmla="*/ 1558925 h 4505325"/>
                  <a:gd name="connsiteX29" fmla="*/ 150538 w 896663"/>
                  <a:gd name="connsiteY29" fmla="*/ 1590675 h 4505325"/>
                  <a:gd name="connsiteX30" fmla="*/ 169588 w 896663"/>
                  <a:gd name="connsiteY30" fmla="*/ 1644650 h 4505325"/>
                  <a:gd name="connsiteX31" fmla="*/ 226738 w 896663"/>
                  <a:gd name="connsiteY31" fmla="*/ 1685925 h 4505325"/>
                  <a:gd name="connsiteX32" fmla="*/ 264838 w 896663"/>
                  <a:gd name="connsiteY32" fmla="*/ 1730375 h 4505325"/>
                  <a:gd name="connsiteX33" fmla="*/ 277538 w 896663"/>
                  <a:gd name="connsiteY33" fmla="*/ 1758950 h 4505325"/>
                  <a:gd name="connsiteX34" fmla="*/ 277538 w 896663"/>
                  <a:gd name="connsiteY34" fmla="*/ 1828800 h 4505325"/>
                  <a:gd name="connsiteX35" fmla="*/ 325163 w 896663"/>
                  <a:gd name="connsiteY35" fmla="*/ 1905000 h 4505325"/>
                  <a:gd name="connsiteX36" fmla="*/ 363263 w 896663"/>
                  <a:gd name="connsiteY36" fmla="*/ 1962150 h 4505325"/>
                  <a:gd name="connsiteX37" fmla="*/ 369613 w 896663"/>
                  <a:gd name="connsiteY37" fmla="*/ 2028825 h 4505325"/>
                  <a:gd name="connsiteX38" fmla="*/ 407713 w 896663"/>
                  <a:gd name="connsiteY38" fmla="*/ 2085975 h 4505325"/>
                  <a:gd name="connsiteX39" fmla="*/ 414063 w 896663"/>
                  <a:gd name="connsiteY39" fmla="*/ 2209800 h 4505325"/>
                  <a:gd name="connsiteX40" fmla="*/ 252138 w 896663"/>
                  <a:gd name="connsiteY40" fmla="*/ 2251075 h 4505325"/>
                  <a:gd name="connsiteX41" fmla="*/ 201338 w 896663"/>
                  <a:gd name="connsiteY41" fmla="*/ 2390775 h 4505325"/>
                  <a:gd name="connsiteX42" fmla="*/ 210863 w 896663"/>
                  <a:gd name="connsiteY42" fmla="*/ 2454275 h 4505325"/>
                  <a:gd name="connsiteX43" fmla="*/ 226738 w 896663"/>
                  <a:gd name="connsiteY43" fmla="*/ 2482850 h 4505325"/>
                  <a:gd name="connsiteX44" fmla="*/ 226738 w 896663"/>
                  <a:gd name="connsiteY44" fmla="*/ 2527300 h 4505325"/>
                  <a:gd name="connsiteX45" fmla="*/ 236263 w 896663"/>
                  <a:gd name="connsiteY45" fmla="*/ 2603500 h 4505325"/>
                  <a:gd name="connsiteX46" fmla="*/ 153713 w 896663"/>
                  <a:gd name="connsiteY46" fmla="*/ 2917824 h 4505325"/>
                  <a:gd name="connsiteX47" fmla="*/ 80688 w 896663"/>
                  <a:gd name="connsiteY47" fmla="*/ 3063874 h 4505325"/>
                  <a:gd name="connsiteX48" fmla="*/ 42588 w 896663"/>
                  <a:gd name="connsiteY48" fmla="*/ 3133724 h 4505325"/>
                  <a:gd name="connsiteX49" fmla="*/ 17188 w 896663"/>
                  <a:gd name="connsiteY49" fmla="*/ 3203574 h 4505325"/>
                  <a:gd name="connsiteX50" fmla="*/ 10838 w 896663"/>
                  <a:gd name="connsiteY50" fmla="*/ 3390899 h 4505325"/>
                  <a:gd name="connsiteX51" fmla="*/ 33063 w 896663"/>
                  <a:gd name="connsiteY51" fmla="*/ 3492499 h 4505325"/>
                  <a:gd name="connsiteX52" fmla="*/ 264838 w 896663"/>
                  <a:gd name="connsiteY52" fmla="*/ 3917949 h 4505325"/>
                  <a:gd name="connsiteX53" fmla="*/ 382313 w 896663"/>
                  <a:gd name="connsiteY53" fmla="*/ 4203699 h 4505325"/>
                  <a:gd name="connsiteX54" fmla="*/ 502963 w 896663"/>
                  <a:gd name="connsiteY54" fmla="*/ 4254499 h 4505325"/>
                  <a:gd name="connsiteX55" fmla="*/ 639488 w 896663"/>
                  <a:gd name="connsiteY55" fmla="*/ 4302124 h 4505325"/>
                  <a:gd name="connsiteX56" fmla="*/ 760138 w 896663"/>
                  <a:gd name="connsiteY56" fmla="*/ 4292599 h 4505325"/>
                  <a:gd name="connsiteX57" fmla="*/ 896663 w 896663"/>
                  <a:gd name="connsiteY57" fmla="*/ 4505325 h 4505325"/>
                  <a:gd name="connsiteX0" fmla="*/ 445813 w 896663"/>
                  <a:gd name="connsiteY0" fmla="*/ 0 h 4505325"/>
                  <a:gd name="connsiteX1" fmla="*/ 407713 w 896663"/>
                  <a:gd name="connsiteY1" fmla="*/ 66675 h 4505325"/>
                  <a:gd name="connsiteX2" fmla="*/ 353738 w 896663"/>
                  <a:gd name="connsiteY2" fmla="*/ 85725 h 4505325"/>
                  <a:gd name="connsiteX3" fmla="*/ 283888 w 896663"/>
                  <a:gd name="connsiteY3" fmla="*/ 98425 h 4505325"/>
                  <a:gd name="connsiteX4" fmla="*/ 223563 w 896663"/>
                  <a:gd name="connsiteY4" fmla="*/ 133350 h 4505325"/>
                  <a:gd name="connsiteX5" fmla="*/ 121963 w 896663"/>
                  <a:gd name="connsiteY5" fmla="*/ 196850 h 4505325"/>
                  <a:gd name="connsiteX6" fmla="*/ 131488 w 896663"/>
                  <a:gd name="connsiteY6" fmla="*/ 247650 h 4505325"/>
                  <a:gd name="connsiteX7" fmla="*/ 172763 w 896663"/>
                  <a:gd name="connsiteY7" fmla="*/ 276225 h 4505325"/>
                  <a:gd name="connsiteX8" fmla="*/ 185463 w 896663"/>
                  <a:gd name="connsiteY8" fmla="*/ 327025 h 4505325"/>
                  <a:gd name="connsiteX9" fmla="*/ 239438 w 896663"/>
                  <a:gd name="connsiteY9" fmla="*/ 368300 h 4505325"/>
                  <a:gd name="connsiteX10" fmla="*/ 239438 w 896663"/>
                  <a:gd name="connsiteY10" fmla="*/ 412750 h 4505325"/>
                  <a:gd name="connsiteX11" fmla="*/ 207688 w 896663"/>
                  <a:gd name="connsiteY11" fmla="*/ 454025 h 4505325"/>
                  <a:gd name="connsiteX12" fmla="*/ 287063 w 896663"/>
                  <a:gd name="connsiteY12" fmla="*/ 479425 h 4505325"/>
                  <a:gd name="connsiteX13" fmla="*/ 302938 w 896663"/>
                  <a:gd name="connsiteY13" fmla="*/ 511175 h 4505325"/>
                  <a:gd name="connsiteX14" fmla="*/ 210863 w 896663"/>
                  <a:gd name="connsiteY14" fmla="*/ 581025 h 4505325"/>
                  <a:gd name="connsiteX15" fmla="*/ 160063 w 896663"/>
                  <a:gd name="connsiteY15" fmla="*/ 638175 h 4505325"/>
                  <a:gd name="connsiteX16" fmla="*/ 160063 w 896663"/>
                  <a:gd name="connsiteY16" fmla="*/ 695325 h 4505325"/>
                  <a:gd name="connsiteX17" fmla="*/ 185463 w 896663"/>
                  <a:gd name="connsiteY17" fmla="*/ 784225 h 4505325"/>
                  <a:gd name="connsiteX18" fmla="*/ 194988 w 896663"/>
                  <a:gd name="connsiteY18" fmla="*/ 835025 h 4505325"/>
                  <a:gd name="connsiteX19" fmla="*/ 204513 w 896663"/>
                  <a:gd name="connsiteY19" fmla="*/ 885825 h 4505325"/>
                  <a:gd name="connsiteX20" fmla="*/ 220388 w 896663"/>
                  <a:gd name="connsiteY20" fmla="*/ 923925 h 4505325"/>
                  <a:gd name="connsiteX21" fmla="*/ 163238 w 896663"/>
                  <a:gd name="connsiteY21" fmla="*/ 1022350 h 4505325"/>
                  <a:gd name="connsiteX22" fmla="*/ 96563 w 896663"/>
                  <a:gd name="connsiteY22" fmla="*/ 1057275 h 4505325"/>
                  <a:gd name="connsiteX23" fmla="*/ 52113 w 896663"/>
                  <a:gd name="connsiteY23" fmla="*/ 1143000 h 4505325"/>
                  <a:gd name="connsiteX24" fmla="*/ 20363 w 896663"/>
                  <a:gd name="connsiteY24" fmla="*/ 1244600 h 4505325"/>
                  <a:gd name="connsiteX25" fmla="*/ 1313 w 896663"/>
                  <a:gd name="connsiteY25" fmla="*/ 1346200 h 4505325"/>
                  <a:gd name="connsiteX26" fmla="*/ 10838 w 896663"/>
                  <a:gd name="connsiteY26" fmla="*/ 1438275 h 4505325"/>
                  <a:gd name="connsiteX27" fmla="*/ 83863 w 896663"/>
                  <a:gd name="connsiteY27" fmla="*/ 1511300 h 4505325"/>
                  <a:gd name="connsiteX28" fmla="*/ 112438 w 896663"/>
                  <a:gd name="connsiteY28" fmla="*/ 1558925 h 4505325"/>
                  <a:gd name="connsiteX29" fmla="*/ 150538 w 896663"/>
                  <a:gd name="connsiteY29" fmla="*/ 1590675 h 4505325"/>
                  <a:gd name="connsiteX30" fmla="*/ 169588 w 896663"/>
                  <a:gd name="connsiteY30" fmla="*/ 1644650 h 4505325"/>
                  <a:gd name="connsiteX31" fmla="*/ 226738 w 896663"/>
                  <a:gd name="connsiteY31" fmla="*/ 1685925 h 4505325"/>
                  <a:gd name="connsiteX32" fmla="*/ 264838 w 896663"/>
                  <a:gd name="connsiteY32" fmla="*/ 1730375 h 4505325"/>
                  <a:gd name="connsiteX33" fmla="*/ 277538 w 896663"/>
                  <a:gd name="connsiteY33" fmla="*/ 1758950 h 4505325"/>
                  <a:gd name="connsiteX34" fmla="*/ 277538 w 896663"/>
                  <a:gd name="connsiteY34" fmla="*/ 1828800 h 4505325"/>
                  <a:gd name="connsiteX35" fmla="*/ 325163 w 896663"/>
                  <a:gd name="connsiteY35" fmla="*/ 1905000 h 4505325"/>
                  <a:gd name="connsiteX36" fmla="*/ 363263 w 896663"/>
                  <a:gd name="connsiteY36" fmla="*/ 1962150 h 4505325"/>
                  <a:gd name="connsiteX37" fmla="*/ 369613 w 896663"/>
                  <a:gd name="connsiteY37" fmla="*/ 2028825 h 4505325"/>
                  <a:gd name="connsiteX38" fmla="*/ 407713 w 896663"/>
                  <a:gd name="connsiteY38" fmla="*/ 2085975 h 4505325"/>
                  <a:gd name="connsiteX39" fmla="*/ 414063 w 896663"/>
                  <a:gd name="connsiteY39" fmla="*/ 2209800 h 4505325"/>
                  <a:gd name="connsiteX40" fmla="*/ 252138 w 896663"/>
                  <a:gd name="connsiteY40" fmla="*/ 2251075 h 4505325"/>
                  <a:gd name="connsiteX41" fmla="*/ 201338 w 896663"/>
                  <a:gd name="connsiteY41" fmla="*/ 2390775 h 4505325"/>
                  <a:gd name="connsiteX42" fmla="*/ 210863 w 896663"/>
                  <a:gd name="connsiteY42" fmla="*/ 2454275 h 4505325"/>
                  <a:gd name="connsiteX43" fmla="*/ 226738 w 896663"/>
                  <a:gd name="connsiteY43" fmla="*/ 2482850 h 4505325"/>
                  <a:gd name="connsiteX44" fmla="*/ 226738 w 896663"/>
                  <a:gd name="connsiteY44" fmla="*/ 2527300 h 4505325"/>
                  <a:gd name="connsiteX45" fmla="*/ 236263 w 896663"/>
                  <a:gd name="connsiteY45" fmla="*/ 2603500 h 4505325"/>
                  <a:gd name="connsiteX46" fmla="*/ 153713 w 896663"/>
                  <a:gd name="connsiteY46" fmla="*/ 2917824 h 4505325"/>
                  <a:gd name="connsiteX47" fmla="*/ 80688 w 896663"/>
                  <a:gd name="connsiteY47" fmla="*/ 3063874 h 4505325"/>
                  <a:gd name="connsiteX48" fmla="*/ 42588 w 896663"/>
                  <a:gd name="connsiteY48" fmla="*/ 3133724 h 4505325"/>
                  <a:gd name="connsiteX49" fmla="*/ 17188 w 896663"/>
                  <a:gd name="connsiteY49" fmla="*/ 3203574 h 4505325"/>
                  <a:gd name="connsiteX50" fmla="*/ 10838 w 896663"/>
                  <a:gd name="connsiteY50" fmla="*/ 3390899 h 4505325"/>
                  <a:gd name="connsiteX51" fmla="*/ 33063 w 896663"/>
                  <a:gd name="connsiteY51" fmla="*/ 3492499 h 4505325"/>
                  <a:gd name="connsiteX52" fmla="*/ 264838 w 896663"/>
                  <a:gd name="connsiteY52" fmla="*/ 3917949 h 4505325"/>
                  <a:gd name="connsiteX53" fmla="*/ 382313 w 896663"/>
                  <a:gd name="connsiteY53" fmla="*/ 4203699 h 4505325"/>
                  <a:gd name="connsiteX54" fmla="*/ 502963 w 896663"/>
                  <a:gd name="connsiteY54" fmla="*/ 4254499 h 4505325"/>
                  <a:gd name="connsiteX55" fmla="*/ 639488 w 896663"/>
                  <a:gd name="connsiteY55" fmla="*/ 4302124 h 4505325"/>
                  <a:gd name="connsiteX56" fmla="*/ 760138 w 896663"/>
                  <a:gd name="connsiteY56" fmla="*/ 4292599 h 4505325"/>
                  <a:gd name="connsiteX57" fmla="*/ 896663 w 896663"/>
                  <a:gd name="connsiteY57" fmla="*/ 4505325 h 4505325"/>
                  <a:gd name="connsiteX0" fmla="*/ 445813 w 896663"/>
                  <a:gd name="connsiteY0" fmla="*/ 0 h 4505325"/>
                  <a:gd name="connsiteX1" fmla="*/ 407713 w 896663"/>
                  <a:gd name="connsiteY1" fmla="*/ 66675 h 4505325"/>
                  <a:gd name="connsiteX2" fmla="*/ 353738 w 896663"/>
                  <a:gd name="connsiteY2" fmla="*/ 85725 h 4505325"/>
                  <a:gd name="connsiteX3" fmla="*/ 283888 w 896663"/>
                  <a:gd name="connsiteY3" fmla="*/ 98425 h 4505325"/>
                  <a:gd name="connsiteX4" fmla="*/ 223563 w 896663"/>
                  <a:gd name="connsiteY4" fmla="*/ 133350 h 4505325"/>
                  <a:gd name="connsiteX5" fmla="*/ 121963 w 896663"/>
                  <a:gd name="connsiteY5" fmla="*/ 196850 h 4505325"/>
                  <a:gd name="connsiteX6" fmla="*/ 131488 w 896663"/>
                  <a:gd name="connsiteY6" fmla="*/ 247650 h 4505325"/>
                  <a:gd name="connsiteX7" fmla="*/ 172763 w 896663"/>
                  <a:gd name="connsiteY7" fmla="*/ 276225 h 4505325"/>
                  <a:gd name="connsiteX8" fmla="*/ 185463 w 896663"/>
                  <a:gd name="connsiteY8" fmla="*/ 327025 h 4505325"/>
                  <a:gd name="connsiteX9" fmla="*/ 239438 w 896663"/>
                  <a:gd name="connsiteY9" fmla="*/ 368300 h 4505325"/>
                  <a:gd name="connsiteX10" fmla="*/ 239438 w 896663"/>
                  <a:gd name="connsiteY10" fmla="*/ 412750 h 4505325"/>
                  <a:gd name="connsiteX11" fmla="*/ 207688 w 896663"/>
                  <a:gd name="connsiteY11" fmla="*/ 454025 h 4505325"/>
                  <a:gd name="connsiteX12" fmla="*/ 287063 w 896663"/>
                  <a:gd name="connsiteY12" fmla="*/ 479425 h 4505325"/>
                  <a:gd name="connsiteX13" fmla="*/ 302938 w 896663"/>
                  <a:gd name="connsiteY13" fmla="*/ 511175 h 4505325"/>
                  <a:gd name="connsiteX14" fmla="*/ 210863 w 896663"/>
                  <a:gd name="connsiteY14" fmla="*/ 581025 h 4505325"/>
                  <a:gd name="connsiteX15" fmla="*/ 160063 w 896663"/>
                  <a:gd name="connsiteY15" fmla="*/ 638175 h 4505325"/>
                  <a:gd name="connsiteX16" fmla="*/ 160063 w 896663"/>
                  <a:gd name="connsiteY16" fmla="*/ 695325 h 4505325"/>
                  <a:gd name="connsiteX17" fmla="*/ 185463 w 896663"/>
                  <a:gd name="connsiteY17" fmla="*/ 784225 h 4505325"/>
                  <a:gd name="connsiteX18" fmla="*/ 194988 w 896663"/>
                  <a:gd name="connsiteY18" fmla="*/ 835025 h 4505325"/>
                  <a:gd name="connsiteX19" fmla="*/ 204513 w 896663"/>
                  <a:gd name="connsiteY19" fmla="*/ 885825 h 4505325"/>
                  <a:gd name="connsiteX20" fmla="*/ 220388 w 896663"/>
                  <a:gd name="connsiteY20" fmla="*/ 923925 h 4505325"/>
                  <a:gd name="connsiteX21" fmla="*/ 163238 w 896663"/>
                  <a:gd name="connsiteY21" fmla="*/ 1022350 h 4505325"/>
                  <a:gd name="connsiteX22" fmla="*/ 96563 w 896663"/>
                  <a:gd name="connsiteY22" fmla="*/ 1057275 h 4505325"/>
                  <a:gd name="connsiteX23" fmla="*/ 52113 w 896663"/>
                  <a:gd name="connsiteY23" fmla="*/ 1143000 h 4505325"/>
                  <a:gd name="connsiteX24" fmla="*/ 20363 w 896663"/>
                  <a:gd name="connsiteY24" fmla="*/ 1244600 h 4505325"/>
                  <a:gd name="connsiteX25" fmla="*/ 1313 w 896663"/>
                  <a:gd name="connsiteY25" fmla="*/ 1346200 h 4505325"/>
                  <a:gd name="connsiteX26" fmla="*/ 10838 w 896663"/>
                  <a:gd name="connsiteY26" fmla="*/ 1438275 h 4505325"/>
                  <a:gd name="connsiteX27" fmla="*/ 83863 w 896663"/>
                  <a:gd name="connsiteY27" fmla="*/ 1511300 h 4505325"/>
                  <a:gd name="connsiteX28" fmla="*/ 112438 w 896663"/>
                  <a:gd name="connsiteY28" fmla="*/ 1558925 h 4505325"/>
                  <a:gd name="connsiteX29" fmla="*/ 150538 w 896663"/>
                  <a:gd name="connsiteY29" fmla="*/ 1590675 h 4505325"/>
                  <a:gd name="connsiteX30" fmla="*/ 169588 w 896663"/>
                  <a:gd name="connsiteY30" fmla="*/ 1644650 h 4505325"/>
                  <a:gd name="connsiteX31" fmla="*/ 226738 w 896663"/>
                  <a:gd name="connsiteY31" fmla="*/ 1685925 h 4505325"/>
                  <a:gd name="connsiteX32" fmla="*/ 264838 w 896663"/>
                  <a:gd name="connsiteY32" fmla="*/ 1730375 h 4505325"/>
                  <a:gd name="connsiteX33" fmla="*/ 277538 w 896663"/>
                  <a:gd name="connsiteY33" fmla="*/ 1758950 h 4505325"/>
                  <a:gd name="connsiteX34" fmla="*/ 277538 w 896663"/>
                  <a:gd name="connsiteY34" fmla="*/ 1828800 h 4505325"/>
                  <a:gd name="connsiteX35" fmla="*/ 325163 w 896663"/>
                  <a:gd name="connsiteY35" fmla="*/ 1905000 h 4505325"/>
                  <a:gd name="connsiteX36" fmla="*/ 363263 w 896663"/>
                  <a:gd name="connsiteY36" fmla="*/ 1962150 h 4505325"/>
                  <a:gd name="connsiteX37" fmla="*/ 369613 w 896663"/>
                  <a:gd name="connsiteY37" fmla="*/ 2028825 h 4505325"/>
                  <a:gd name="connsiteX38" fmla="*/ 407713 w 896663"/>
                  <a:gd name="connsiteY38" fmla="*/ 2085975 h 4505325"/>
                  <a:gd name="connsiteX39" fmla="*/ 414063 w 896663"/>
                  <a:gd name="connsiteY39" fmla="*/ 2209800 h 4505325"/>
                  <a:gd name="connsiteX40" fmla="*/ 252138 w 896663"/>
                  <a:gd name="connsiteY40" fmla="*/ 2251075 h 4505325"/>
                  <a:gd name="connsiteX41" fmla="*/ 201338 w 896663"/>
                  <a:gd name="connsiteY41" fmla="*/ 2390775 h 4505325"/>
                  <a:gd name="connsiteX42" fmla="*/ 210863 w 896663"/>
                  <a:gd name="connsiteY42" fmla="*/ 2454275 h 4505325"/>
                  <a:gd name="connsiteX43" fmla="*/ 226738 w 896663"/>
                  <a:gd name="connsiteY43" fmla="*/ 2482850 h 4505325"/>
                  <a:gd name="connsiteX44" fmla="*/ 226738 w 896663"/>
                  <a:gd name="connsiteY44" fmla="*/ 2527300 h 4505325"/>
                  <a:gd name="connsiteX45" fmla="*/ 236263 w 896663"/>
                  <a:gd name="connsiteY45" fmla="*/ 2603500 h 4505325"/>
                  <a:gd name="connsiteX46" fmla="*/ 153713 w 896663"/>
                  <a:gd name="connsiteY46" fmla="*/ 2917824 h 4505325"/>
                  <a:gd name="connsiteX47" fmla="*/ 80688 w 896663"/>
                  <a:gd name="connsiteY47" fmla="*/ 3063874 h 4505325"/>
                  <a:gd name="connsiteX48" fmla="*/ 42588 w 896663"/>
                  <a:gd name="connsiteY48" fmla="*/ 3133724 h 4505325"/>
                  <a:gd name="connsiteX49" fmla="*/ 17188 w 896663"/>
                  <a:gd name="connsiteY49" fmla="*/ 3203574 h 4505325"/>
                  <a:gd name="connsiteX50" fmla="*/ 10838 w 896663"/>
                  <a:gd name="connsiteY50" fmla="*/ 3390899 h 4505325"/>
                  <a:gd name="connsiteX51" fmla="*/ 33063 w 896663"/>
                  <a:gd name="connsiteY51" fmla="*/ 3492499 h 4505325"/>
                  <a:gd name="connsiteX52" fmla="*/ 118788 w 896663"/>
                  <a:gd name="connsiteY52" fmla="*/ 3829049 h 4505325"/>
                  <a:gd name="connsiteX53" fmla="*/ 264838 w 896663"/>
                  <a:gd name="connsiteY53" fmla="*/ 3917949 h 4505325"/>
                  <a:gd name="connsiteX54" fmla="*/ 382313 w 896663"/>
                  <a:gd name="connsiteY54" fmla="*/ 4203699 h 4505325"/>
                  <a:gd name="connsiteX55" fmla="*/ 502963 w 896663"/>
                  <a:gd name="connsiteY55" fmla="*/ 4254499 h 4505325"/>
                  <a:gd name="connsiteX56" fmla="*/ 639488 w 896663"/>
                  <a:gd name="connsiteY56" fmla="*/ 4302124 h 4505325"/>
                  <a:gd name="connsiteX57" fmla="*/ 760138 w 896663"/>
                  <a:gd name="connsiteY57" fmla="*/ 4292599 h 4505325"/>
                  <a:gd name="connsiteX58" fmla="*/ 896663 w 896663"/>
                  <a:gd name="connsiteY58" fmla="*/ 4505325 h 4505325"/>
                  <a:gd name="connsiteX0" fmla="*/ 445813 w 896663"/>
                  <a:gd name="connsiteY0" fmla="*/ 0 h 4505325"/>
                  <a:gd name="connsiteX1" fmla="*/ 407713 w 896663"/>
                  <a:gd name="connsiteY1" fmla="*/ 66675 h 4505325"/>
                  <a:gd name="connsiteX2" fmla="*/ 353738 w 896663"/>
                  <a:gd name="connsiteY2" fmla="*/ 85725 h 4505325"/>
                  <a:gd name="connsiteX3" fmla="*/ 283888 w 896663"/>
                  <a:gd name="connsiteY3" fmla="*/ 98425 h 4505325"/>
                  <a:gd name="connsiteX4" fmla="*/ 223563 w 896663"/>
                  <a:gd name="connsiteY4" fmla="*/ 133350 h 4505325"/>
                  <a:gd name="connsiteX5" fmla="*/ 121963 w 896663"/>
                  <a:gd name="connsiteY5" fmla="*/ 196850 h 4505325"/>
                  <a:gd name="connsiteX6" fmla="*/ 131488 w 896663"/>
                  <a:gd name="connsiteY6" fmla="*/ 247650 h 4505325"/>
                  <a:gd name="connsiteX7" fmla="*/ 172763 w 896663"/>
                  <a:gd name="connsiteY7" fmla="*/ 276225 h 4505325"/>
                  <a:gd name="connsiteX8" fmla="*/ 185463 w 896663"/>
                  <a:gd name="connsiteY8" fmla="*/ 327025 h 4505325"/>
                  <a:gd name="connsiteX9" fmla="*/ 239438 w 896663"/>
                  <a:gd name="connsiteY9" fmla="*/ 368300 h 4505325"/>
                  <a:gd name="connsiteX10" fmla="*/ 239438 w 896663"/>
                  <a:gd name="connsiteY10" fmla="*/ 412750 h 4505325"/>
                  <a:gd name="connsiteX11" fmla="*/ 207688 w 896663"/>
                  <a:gd name="connsiteY11" fmla="*/ 454025 h 4505325"/>
                  <a:gd name="connsiteX12" fmla="*/ 287063 w 896663"/>
                  <a:gd name="connsiteY12" fmla="*/ 479425 h 4505325"/>
                  <a:gd name="connsiteX13" fmla="*/ 302938 w 896663"/>
                  <a:gd name="connsiteY13" fmla="*/ 511175 h 4505325"/>
                  <a:gd name="connsiteX14" fmla="*/ 210863 w 896663"/>
                  <a:gd name="connsiteY14" fmla="*/ 581025 h 4505325"/>
                  <a:gd name="connsiteX15" fmla="*/ 160063 w 896663"/>
                  <a:gd name="connsiteY15" fmla="*/ 638175 h 4505325"/>
                  <a:gd name="connsiteX16" fmla="*/ 160063 w 896663"/>
                  <a:gd name="connsiteY16" fmla="*/ 695325 h 4505325"/>
                  <a:gd name="connsiteX17" fmla="*/ 185463 w 896663"/>
                  <a:gd name="connsiteY17" fmla="*/ 784225 h 4505325"/>
                  <a:gd name="connsiteX18" fmla="*/ 194988 w 896663"/>
                  <a:gd name="connsiteY18" fmla="*/ 835025 h 4505325"/>
                  <a:gd name="connsiteX19" fmla="*/ 204513 w 896663"/>
                  <a:gd name="connsiteY19" fmla="*/ 885825 h 4505325"/>
                  <a:gd name="connsiteX20" fmla="*/ 220388 w 896663"/>
                  <a:gd name="connsiteY20" fmla="*/ 923925 h 4505325"/>
                  <a:gd name="connsiteX21" fmla="*/ 163238 w 896663"/>
                  <a:gd name="connsiteY21" fmla="*/ 1022350 h 4505325"/>
                  <a:gd name="connsiteX22" fmla="*/ 96563 w 896663"/>
                  <a:gd name="connsiteY22" fmla="*/ 1057275 h 4505325"/>
                  <a:gd name="connsiteX23" fmla="*/ 52113 w 896663"/>
                  <a:gd name="connsiteY23" fmla="*/ 1143000 h 4505325"/>
                  <a:gd name="connsiteX24" fmla="*/ 20363 w 896663"/>
                  <a:gd name="connsiteY24" fmla="*/ 1244600 h 4505325"/>
                  <a:gd name="connsiteX25" fmla="*/ 1313 w 896663"/>
                  <a:gd name="connsiteY25" fmla="*/ 1346200 h 4505325"/>
                  <a:gd name="connsiteX26" fmla="*/ 10838 w 896663"/>
                  <a:gd name="connsiteY26" fmla="*/ 1438275 h 4505325"/>
                  <a:gd name="connsiteX27" fmla="*/ 83863 w 896663"/>
                  <a:gd name="connsiteY27" fmla="*/ 1511300 h 4505325"/>
                  <a:gd name="connsiteX28" fmla="*/ 112438 w 896663"/>
                  <a:gd name="connsiteY28" fmla="*/ 1558925 h 4505325"/>
                  <a:gd name="connsiteX29" fmla="*/ 150538 w 896663"/>
                  <a:gd name="connsiteY29" fmla="*/ 1590675 h 4505325"/>
                  <a:gd name="connsiteX30" fmla="*/ 169588 w 896663"/>
                  <a:gd name="connsiteY30" fmla="*/ 1644650 h 4505325"/>
                  <a:gd name="connsiteX31" fmla="*/ 226738 w 896663"/>
                  <a:gd name="connsiteY31" fmla="*/ 1685925 h 4505325"/>
                  <a:gd name="connsiteX32" fmla="*/ 264838 w 896663"/>
                  <a:gd name="connsiteY32" fmla="*/ 1730375 h 4505325"/>
                  <a:gd name="connsiteX33" fmla="*/ 277538 w 896663"/>
                  <a:gd name="connsiteY33" fmla="*/ 1758950 h 4505325"/>
                  <a:gd name="connsiteX34" fmla="*/ 277538 w 896663"/>
                  <a:gd name="connsiteY34" fmla="*/ 1828800 h 4505325"/>
                  <a:gd name="connsiteX35" fmla="*/ 325163 w 896663"/>
                  <a:gd name="connsiteY35" fmla="*/ 1905000 h 4505325"/>
                  <a:gd name="connsiteX36" fmla="*/ 363263 w 896663"/>
                  <a:gd name="connsiteY36" fmla="*/ 1962150 h 4505325"/>
                  <a:gd name="connsiteX37" fmla="*/ 369613 w 896663"/>
                  <a:gd name="connsiteY37" fmla="*/ 2028825 h 4505325"/>
                  <a:gd name="connsiteX38" fmla="*/ 407713 w 896663"/>
                  <a:gd name="connsiteY38" fmla="*/ 2085975 h 4505325"/>
                  <a:gd name="connsiteX39" fmla="*/ 414063 w 896663"/>
                  <a:gd name="connsiteY39" fmla="*/ 2209800 h 4505325"/>
                  <a:gd name="connsiteX40" fmla="*/ 252138 w 896663"/>
                  <a:gd name="connsiteY40" fmla="*/ 2251075 h 4505325"/>
                  <a:gd name="connsiteX41" fmla="*/ 201338 w 896663"/>
                  <a:gd name="connsiteY41" fmla="*/ 2390775 h 4505325"/>
                  <a:gd name="connsiteX42" fmla="*/ 210863 w 896663"/>
                  <a:gd name="connsiteY42" fmla="*/ 2454275 h 4505325"/>
                  <a:gd name="connsiteX43" fmla="*/ 226738 w 896663"/>
                  <a:gd name="connsiteY43" fmla="*/ 2482850 h 4505325"/>
                  <a:gd name="connsiteX44" fmla="*/ 226738 w 896663"/>
                  <a:gd name="connsiteY44" fmla="*/ 2527300 h 4505325"/>
                  <a:gd name="connsiteX45" fmla="*/ 236263 w 896663"/>
                  <a:gd name="connsiteY45" fmla="*/ 2603500 h 4505325"/>
                  <a:gd name="connsiteX46" fmla="*/ 153713 w 896663"/>
                  <a:gd name="connsiteY46" fmla="*/ 2917824 h 4505325"/>
                  <a:gd name="connsiteX47" fmla="*/ 80688 w 896663"/>
                  <a:gd name="connsiteY47" fmla="*/ 3063874 h 4505325"/>
                  <a:gd name="connsiteX48" fmla="*/ 42588 w 896663"/>
                  <a:gd name="connsiteY48" fmla="*/ 3133724 h 4505325"/>
                  <a:gd name="connsiteX49" fmla="*/ 17188 w 896663"/>
                  <a:gd name="connsiteY49" fmla="*/ 3203574 h 4505325"/>
                  <a:gd name="connsiteX50" fmla="*/ 10838 w 896663"/>
                  <a:gd name="connsiteY50" fmla="*/ 3390899 h 4505325"/>
                  <a:gd name="connsiteX51" fmla="*/ 33063 w 896663"/>
                  <a:gd name="connsiteY51" fmla="*/ 3492499 h 4505325"/>
                  <a:gd name="connsiteX52" fmla="*/ 118788 w 896663"/>
                  <a:gd name="connsiteY52" fmla="*/ 3829049 h 4505325"/>
                  <a:gd name="connsiteX53" fmla="*/ 264838 w 896663"/>
                  <a:gd name="connsiteY53" fmla="*/ 3917949 h 4505325"/>
                  <a:gd name="connsiteX54" fmla="*/ 382313 w 896663"/>
                  <a:gd name="connsiteY54" fmla="*/ 4203699 h 4505325"/>
                  <a:gd name="connsiteX55" fmla="*/ 502963 w 896663"/>
                  <a:gd name="connsiteY55" fmla="*/ 4254499 h 4505325"/>
                  <a:gd name="connsiteX56" fmla="*/ 639488 w 896663"/>
                  <a:gd name="connsiteY56" fmla="*/ 4302124 h 4505325"/>
                  <a:gd name="connsiteX57" fmla="*/ 760138 w 896663"/>
                  <a:gd name="connsiteY57" fmla="*/ 4292599 h 4505325"/>
                  <a:gd name="connsiteX58" fmla="*/ 896663 w 896663"/>
                  <a:gd name="connsiteY58" fmla="*/ 4505325 h 4505325"/>
                  <a:gd name="connsiteX0" fmla="*/ 445813 w 896663"/>
                  <a:gd name="connsiteY0" fmla="*/ 0 h 4505325"/>
                  <a:gd name="connsiteX1" fmla="*/ 407713 w 896663"/>
                  <a:gd name="connsiteY1" fmla="*/ 66675 h 4505325"/>
                  <a:gd name="connsiteX2" fmla="*/ 353738 w 896663"/>
                  <a:gd name="connsiteY2" fmla="*/ 85725 h 4505325"/>
                  <a:gd name="connsiteX3" fmla="*/ 283888 w 896663"/>
                  <a:gd name="connsiteY3" fmla="*/ 98425 h 4505325"/>
                  <a:gd name="connsiteX4" fmla="*/ 223563 w 896663"/>
                  <a:gd name="connsiteY4" fmla="*/ 133350 h 4505325"/>
                  <a:gd name="connsiteX5" fmla="*/ 121963 w 896663"/>
                  <a:gd name="connsiteY5" fmla="*/ 196850 h 4505325"/>
                  <a:gd name="connsiteX6" fmla="*/ 131488 w 896663"/>
                  <a:gd name="connsiteY6" fmla="*/ 247650 h 4505325"/>
                  <a:gd name="connsiteX7" fmla="*/ 172763 w 896663"/>
                  <a:gd name="connsiteY7" fmla="*/ 276225 h 4505325"/>
                  <a:gd name="connsiteX8" fmla="*/ 185463 w 896663"/>
                  <a:gd name="connsiteY8" fmla="*/ 327025 h 4505325"/>
                  <a:gd name="connsiteX9" fmla="*/ 239438 w 896663"/>
                  <a:gd name="connsiteY9" fmla="*/ 368300 h 4505325"/>
                  <a:gd name="connsiteX10" fmla="*/ 239438 w 896663"/>
                  <a:gd name="connsiteY10" fmla="*/ 412750 h 4505325"/>
                  <a:gd name="connsiteX11" fmla="*/ 207688 w 896663"/>
                  <a:gd name="connsiteY11" fmla="*/ 454025 h 4505325"/>
                  <a:gd name="connsiteX12" fmla="*/ 287063 w 896663"/>
                  <a:gd name="connsiteY12" fmla="*/ 479425 h 4505325"/>
                  <a:gd name="connsiteX13" fmla="*/ 302938 w 896663"/>
                  <a:gd name="connsiteY13" fmla="*/ 511175 h 4505325"/>
                  <a:gd name="connsiteX14" fmla="*/ 210863 w 896663"/>
                  <a:gd name="connsiteY14" fmla="*/ 581025 h 4505325"/>
                  <a:gd name="connsiteX15" fmla="*/ 160063 w 896663"/>
                  <a:gd name="connsiteY15" fmla="*/ 638175 h 4505325"/>
                  <a:gd name="connsiteX16" fmla="*/ 160063 w 896663"/>
                  <a:gd name="connsiteY16" fmla="*/ 695325 h 4505325"/>
                  <a:gd name="connsiteX17" fmla="*/ 185463 w 896663"/>
                  <a:gd name="connsiteY17" fmla="*/ 784225 h 4505325"/>
                  <a:gd name="connsiteX18" fmla="*/ 194988 w 896663"/>
                  <a:gd name="connsiteY18" fmla="*/ 835025 h 4505325"/>
                  <a:gd name="connsiteX19" fmla="*/ 204513 w 896663"/>
                  <a:gd name="connsiteY19" fmla="*/ 885825 h 4505325"/>
                  <a:gd name="connsiteX20" fmla="*/ 220388 w 896663"/>
                  <a:gd name="connsiteY20" fmla="*/ 923925 h 4505325"/>
                  <a:gd name="connsiteX21" fmla="*/ 163238 w 896663"/>
                  <a:gd name="connsiteY21" fmla="*/ 1022350 h 4505325"/>
                  <a:gd name="connsiteX22" fmla="*/ 96563 w 896663"/>
                  <a:gd name="connsiteY22" fmla="*/ 1057275 h 4505325"/>
                  <a:gd name="connsiteX23" fmla="*/ 52113 w 896663"/>
                  <a:gd name="connsiteY23" fmla="*/ 1143000 h 4505325"/>
                  <a:gd name="connsiteX24" fmla="*/ 20363 w 896663"/>
                  <a:gd name="connsiteY24" fmla="*/ 1244600 h 4505325"/>
                  <a:gd name="connsiteX25" fmla="*/ 1313 w 896663"/>
                  <a:gd name="connsiteY25" fmla="*/ 1346200 h 4505325"/>
                  <a:gd name="connsiteX26" fmla="*/ 10838 w 896663"/>
                  <a:gd name="connsiteY26" fmla="*/ 1438275 h 4505325"/>
                  <a:gd name="connsiteX27" fmla="*/ 83863 w 896663"/>
                  <a:gd name="connsiteY27" fmla="*/ 1511300 h 4505325"/>
                  <a:gd name="connsiteX28" fmla="*/ 112438 w 896663"/>
                  <a:gd name="connsiteY28" fmla="*/ 1558925 h 4505325"/>
                  <a:gd name="connsiteX29" fmla="*/ 150538 w 896663"/>
                  <a:gd name="connsiteY29" fmla="*/ 1590675 h 4505325"/>
                  <a:gd name="connsiteX30" fmla="*/ 169588 w 896663"/>
                  <a:gd name="connsiteY30" fmla="*/ 1644650 h 4505325"/>
                  <a:gd name="connsiteX31" fmla="*/ 226738 w 896663"/>
                  <a:gd name="connsiteY31" fmla="*/ 1685925 h 4505325"/>
                  <a:gd name="connsiteX32" fmla="*/ 264838 w 896663"/>
                  <a:gd name="connsiteY32" fmla="*/ 1730375 h 4505325"/>
                  <a:gd name="connsiteX33" fmla="*/ 277538 w 896663"/>
                  <a:gd name="connsiteY33" fmla="*/ 1758950 h 4505325"/>
                  <a:gd name="connsiteX34" fmla="*/ 277538 w 896663"/>
                  <a:gd name="connsiteY34" fmla="*/ 1828800 h 4505325"/>
                  <a:gd name="connsiteX35" fmla="*/ 325163 w 896663"/>
                  <a:gd name="connsiteY35" fmla="*/ 1905000 h 4505325"/>
                  <a:gd name="connsiteX36" fmla="*/ 363263 w 896663"/>
                  <a:gd name="connsiteY36" fmla="*/ 1962150 h 4505325"/>
                  <a:gd name="connsiteX37" fmla="*/ 369613 w 896663"/>
                  <a:gd name="connsiteY37" fmla="*/ 2028825 h 4505325"/>
                  <a:gd name="connsiteX38" fmla="*/ 407713 w 896663"/>
                  <a:gd name="connsiteY38" fmla="*/ 2085975 h 4505325"/>
                  <a:gd name="connsiteX39" fmla="*/ 414063 w 896663"/>
                  <a:gd name="connsiteY39" fmla="*/ 2209800 h 4505325"/>
                  <a:gd name="connsiteX40" fmla="*/ 252138 w 896663"/>
                  <a:gd name="connsiteY40" fmla="*/ 2251075 h 4505325"/>
                  <a:gd name="connsiteX41" fmla="*/ 201338 w 896663"/>
                  <a:gd name="connsiteY41" fmla="*/ 2390775 h 4505325"/>
                  <a:gd name="connsiteX42" fmla="*/ 210863 w 896663"/>
                  <a:gd name="connsiteY42" fmla="*/ 2454275 h 4505325"/>
                  <a:gd name="connsiteX43" fmla="*/ 226738 w 896663"/>
                  <a:gd name="connsiteY43" fmla="*/ 2482850 h 4505325"/>
                  <a:gd name="connsiteX44" fmla="*/ 226738 w 896663"/>
                  <a:gd name="connsiteY44" fmla="*/ 2527300 h 4505325"/>
                  <a:gd name="connsiteX45" fmla="*/ 236263 w 896663"/>
                  <a:gd name="connsiteY45" fmla="*/ 2603500 h 4505325"/>
                  <a:gd name="connsiteX46" fmla="*/ 153713 w 896663"/>
                  <a:gd name="connsiteY46" fmla="*/ 2917824 h 4505325"/>
                  <a:gd name="connsiteX47" fmla="*/ 80688 w 896663"/>
                  <a:gd name="connsiteY47" fmla="*/ 3063874 h 4505325"/>
                  <a:gd name="connsiteX48" fmla="*/ 42588 w 896663"/>
                  <a:gd name="connsiteY48" fmla="*/ 3133724 h 4505325"/>
                  <a:gd name="connsiteX49" fmla="*/ 17188 w 896663"/>
                  <a:gd name="connsiteY49" fmla="*/ 3203574 h 4505325"/>
                  <a:gd name="connsiteX50" fmla="*/ 10838 w 896663"/>
                  <a:gd name="connsiteY50" fmla="*/ 3390899 h 4505325"/>
                  <a:gd name="connsiteX51" fmla="*/ 33063 w 896663"/>
                  <a:gd name="connsiteY51" fmla="*/ 3492499 h 4505325"/>
                  <a:gd name="connsiteX52" fmla="*/ 118788 w 896663"/>
                  <a:gd name="connsiteY52" fmla="*/ 3829049 h 4505325"/>
                  <a:gd name="connsiteX53" fmla="*/ 268013 w 896663"/>
                  <a:gd name="connsiteY53" fmla="*/ 3905249 h 4505325"/>
                  <a:gd name="connsiteX54" fmla="*/ 382313 w 896663"/>
                  <a:gd name="connsiteY54" fmla="*/ 4203699 h 4505325"/>
                  <a:gd name="connsiteX55" fmla="*/ 502963 w 896663"/>
                  <a:gd name="connsiteY55" fmla="*/ 4254499 h 4505325"/>
                  <a:gd name="connsiteX56" fmla="*/ 639488 w 896663"/>
                  <a:gd name="connsiteY56" fmla="*/ 4302124 h 4505325"/>
                  <a:gd name="connsiteX57" fmla="*/ 760138 w 896663"/>
                  <a:gd name="connsiteY57" fmla="*/ 4292599 h 4505325"/>
                  <a:gd name="connsiteX58" fmla="*/ 896663 w 896663"/>
                  <a:gd name="connsiteY58" fmla="*/ 4505325 h 4505325"/>
                  <a:gd name="connsiteX0" fmla="*/ 445813 w 896663"/>
                  <a:gd name="connsiteY0" fmla="*/ 0 h 4505325"/>
                  <a:gd name="connsiteX1" fmla="*/ 407713 w 896663"/>
                  <a:gd name="connsiteY1" fmla="*/ 66675 h 4505325"/>
                  <a:gd name="connsiteX2" fmla="*/ 353738 w 896663"/>
                  <a:gd name="connsiteY2" fmla="*/ 85725 h 4505325"/>
                  <a:gd name="connsiteX3" fmla="*/ 283888 w 896663"/>
                  <a:gd name="connsiteY3" fmla="*/ 98425 h 4505325"/>
                  <a:gd name="connsiteX4" fmla="*/ 223563 w 896663"/>
                  <a:gd name="connsiteY4" fmla="*/ 133350 h 4505325"/>
                  <a:gd name="connsiteX5" fmla="*/ 121963 w 896663"/>
                  <a:gd name="connsiteY5" fmla="*/ 196850 h 4505325"/>
                  <a:gd name="connsiteX6" fmla="*/ 131488 w 896663"/>
                  <a:gd name="connsiteY6" fmla="*/ 247650 h 4505325"/>
                  <a:gd name="connsiteX7" fmla="*/ 172763 w 896663"/>
                  <a:gd name="connsiteY7" fmla="*/ 276225 h 4505325"/>
                  <a:gd name="connsiteX8" fmla="*/ 185463 w 896663"/>
                  <a:gd name="connsiteY8" fmla="*/ 327025 h 4505325"/>
                  <a:gd name="connsiteX9" fmla="*/ 239438 w 896663"/>
                  <a:gd name="connsiteY9" fmla="*/ 368300 h 4505325"/>
                  <a:gd name="connsiteX10" fmla="*/ 239438 w 896663"/>
                  <a:gd name="connsiteY10" fmla="*/ 412750 h 4505325"/>
                  <a:gd name="connsiteX11" fmla="*/ 207688 w 896663"/>
                  <a:gd name="connsiteY11" fmla="*/ 454025 h 4505325"/>
                  <a:gd name="connsiteX12" fmla="*/ 287063 w 896663"/>
                  <a:gd name="connsiteY12" fmla="*/ 479425 h 4505325"/>
                  <a:gd name="connsiteX13" fmla="*/ 302938 w 896663"/>
                  <a:gd name="connsiteY13" fmla="*/ 511175 h 4505325"/>
                  <a:gd name="connsiteX14" fmla="*/ 210863 w 896663"/>
                  <a:gd name="connsiteY14" fmla="*/ 581025 h 4505325"/>
                  <a:gd name="connsiteX15" fmla="*/ 160063 w 896663"/>
                  <a:gd name="connsiteY15" fmla="*/ 638175 h 4505325"/>
                  <a:gd name="connsiteX16" fmla="*/ 160063 w 896663"/>
                  <a:gd name="connsiteY16" fmla="*/ 695325 h 4505325"/>
                  <a:gd name="connsiteX17" fmla="*/ 185463 w 896663"/>
                  <a:gd name="connsiteY17" fmla="*/ 784225 h 4505325"/>
                  <a:gd name="connsiteX18" fmla="*/ 194988 w 896663"/>
                  <a:gd name="connsiteY18" fmla="*/ 835025 h 4505325"/>
                  <a:gd name="connsiteX19" fmla="*/ 204513 w 896663"/>
                  <a:gd name="connsiteY19" fmla="*/ 885825 h 4505325"/>
                  <a:gd name="connsiteX20" fmla="*/ 220388 w 896663"/>
                  <a:gd name="connsiteY20" fmla="*/ 923925 h 4505325"/>
                  <a:gd name="connsiteX21" fmla="*/ 163238 w 896663"/>
                  <a:gd name="connsiteY21" fmla="*/ 1022350 h 4505325"/>
                  <a:gd name="connsiteX22" fmla="*/ 96563 w 896663"/>
                  <a:gd name="connsiteY22" fmla="*/ 1057275 h 4505325"/>
                  <a:gd name="connsiteX23" fmla="*/ 52113 w 896663"/>
                  <a:gd name="connsiteY23" fmla="*/ 1143000 h 4505325"/>
                  <a:gd name="connsiteX24" fmla="*/ 20363 w 896663"/>
                  <a:gd name="connsiteY24" fmla="*/ 1244600 h 4505325"/>
                  <a:gd name="connsiteX25" fmla="*/ 1313 w 896663"/>
                  <a:gd name="connsiteY25" fmla="*/ 1346200 h 4505325"/>
                  <a:gd name="connsiteX26" fmla="*/ 10838 w 896663"/>
                  <a:gd name="connsiteY26" fmla="*/ 1438275 h 4505325"/>
                  <a:gd name="connsiteX27" fmla="*/ 83863 w 896663"/>
                  <a:gd name="connsiteY27" fmla="*/ 1511300 h 4505325"/>
                  <a:gd name="connsiteX28" fmla="*/ 112438 w 896663"/>
                  <a:gd name="connsiteY28" fmla="*/ 1558925 h 4505325"/>
                  <a:gd name="connsiteX29" fmla="*/ 150538 w 896663"/>
                  <a:gd name="connsiteY29" fmla="*/ 1590675 h 4505325"/>
                  <a:gd name="connsiteX30" fmla="*/ 169588 w 896663"/>
                  <a:gd name="connsiteY30" fmla="*/ 1644650 h 4505325"/>
                  <a:gd name="connsiteX31" fmla="*/ 226738 w 896663"/>
                  <a:gd name="connsiteY31" fmla="*/ 1685925 h 4505325"/>
                  <a:gd name="connsiteX32" fmla="*/ 264838 w 896663"/>
                  <a:gd name="connsiteY32" fmla="*/ 1730375 h 4505325"/>
                  <a:gd name="connsiteX33" fmla="*/ 277538 w 896663"/>
                  <a:gd name="connsiteY33" fmla="*/ 1758950 h 4505325"/>
                  <a:gd name="connsiteX34" fmla="*/ 277538 w 896663"/>
                  <a:gd name="connsiteY34" fmla="*/ 1828800 h 4505325"/>
                  <a:gd name="connsiteX35" fmla="*/ 325163 w 896663"/>
                  <a:gd name="connsiteY35" fmla="*/ 1905000 h 4505325"/>
                  <a:gd name="connsiteX36" fmla="*/ 363263 w 896663"/>
                  <a:gd name="connsiteY36" fmla="*/ 1962150 h 4505325"/>
                  <a:gd name="connsiteX37" fmla="*/ 369613 w 896663"/>
                  <a:gd name="connsiteY37" fmla="*/ 2028825 h 4505325"/>
                  <a:gd name="connsiteX38" fmla="*/ 407713 w 896663"/>
                  <a:gd name="connsiteY38" fmla="*/ 2085975 h 4505325"/>
                  <a:gd name="connsiteX39" fmla="*/ 414063 w 896663"/>
                  <a:gd name="connsiteY39" fmla="*/ 2209800 h 4505325"/>
                  <a:gd name="connsiteX40" fmla="*/ 252138 w 896663"/>
                  <a:gd name="connsiteY40" fmla="*/ 2251075 h 4505325"/>
                  <a:gd name="connsiteX41" fmla="*/ 201338 w 896663"/>
                  <a:gd name="connsiteY41" fmla="*/ 2390775 h 4505325"/>
                  <a:gd name="connsiteX42" fmla="*/ 210863 w 896663"/>
                  <a:gd name="connsiteY42" fmla="*/ 2454275 h 4505325"/>
                  <a:gd name="connsiteX43" fmla="*/ 226738 w 896663"/>
                  <a:gd name="connsiteY43" fmla="*/ 2482850 h 4505325"/>
                  <a:gd name="connsiteX44" fmla="*/ 226738 w 896663"/>
                  <a:gd name="connsiteY44" fmla="*/ 2527300 h 4505325"/>
                  <a:gd name="connsiteX45" fmla="*/ 236263 w 896663"/>
                  <a:gd name="connsiteY45" fmla="*/ 2603500 h 4505325"/>
                  <a:gd name="connsiteX46" fmla="*/ 153713 w 896663"/>
                  <a:gd name="connsiteY46" fmla="*/ 2917824 h 4505325"/>
                  <a:gd name="connsiteX47" fmla="*/ 80688 w 896663"/>
                  <a:gd name="connsiteY47" fmla="*/ 3063874 h 4505325"/>
                  <a:gd name="connsiteX48" fmla="*/ 42588 w 896663"/>
                  <a:gd name="connsiteY48" fmla="*/ 3133724 h 4505325"/>
                  <a:gd name="connsiteX49" fmla="*/ 17188 w 896663"/>
                  <a:gd name="connsiteY49" fmla="*/ 3203574 h 4505325"/>
                  <a:gd name="connsiteX50" fmla="*/ 10838 w 896663"/>
                  <a:gd name="connsiteY50" fmla="*/ 3390899 h 4505325"/>
                  <a:gd name="connsiteX51" fmla="*/ 33063 w 896663"/>
                  <a:gd name="connsiteY51" fmla="*/ 3492499 h 4505325"/>
                  <a:gd name="connsiteX52" fmla="*/ 118788 w 896663"/>
                  <a:gd name="connsiteY52" fmla="*/ 3829049 h 4505325"/>
                  <a:gd name="connsiteX53" fmla="*/ 210863 w 896663"/>
                  <a:gd name="connsiteY53" fmla="*/ 3902074 h 4505325"/>
                  <a:gd name="connsiteX54" fmla="*/ 268013 w 896663"/>
                  <a:gd name="connsiteY54" fmla="*/ 3905249 h 4505325"/>
                  <a:gd name="connsiteX55" fmla="*/ 382313 w 896663"/>
                  <a:gd name="connsiteY55" fmla="*/ 4203699 h 4505325"/>
                  <a:gd name="connsiteX56" fmla="*/ 502963 w 896663"/>
                  <a:gd name="connsiteY56" fmla="*/ 4254499 h 4505325"/>
                  <a:gd name="connsiteX57" fmla="*/ 639488 w 896663"/>
                  <a:gd name="connsiteY57" fmla="*/ 4302124 h 4505325"/>
                  <a:gd name="connsiteX58" fmla="*/ 760138 w 896663"/>
                  <a:gd name="connsiteY58" fmla="*/ 4292599 h 4505325"/>
                  <a:gd name="connsiteX59" fmla="*/ 896663 w 896663"/>
                  <a:gd name="connsiteY59" fmla="*/ 4505325 h 4505325"/>
                  <a:gd name="connsiteX0" fmla="*/ 445813 w 896663"/>
                  <a:gd name="connsiteY0" fmla="*/ 0 h 4505325"/>
                  <a:gd name="connsiteX1" fmla="*/ 407713 w 896663"/>
                  <a:gd name="connsiteY1" fmla="*/ 66675 h 4505325"/>
                  <a:gd name="connsiteX2" fmla="*/ 353738 w 896663"/>
                  <a:gd name="connsiteY2" fmla="*/ 85725 h 4505325"/>
                  <a:gd name="connsiteX3" fmla="*/ 283888 w 896663"/>
                  <a:gd name="connsiteY3" fmla="*/ 98425 h 4505325"/>
                  <a:gd name="connsiteX4" fmla="*/ 223563 w 896663"/>
                  <a:gd name="connsiteY4" fmla="*/ 133350 h 4505325"/>
                  <a:gd name="connsiteX5" fmla="*/ 121963 w 896663"/>
                  <a:gd name="connsiteY5" fmla="*/ 196850 h 4505325"/>
                  <a:gd name="connsiteX6" fmla="*/ 131488 w 896663"/>
                  <a:gd name="connsiteY6" fmla="*/ 247650 h 4505325"/>
                  <a:gd name="connsiteX7" fmla="*/ 172763 w 896663"/>
                  <a:gd name="connsiteY7" fmla="*/ 276225 h 4505325"/>
                  <a:gd name="connsiteX8" fmla="*/ 185463 w 896663"/>
                  <a:gd name="connsiteY8" fmla="*/ 327025 h 4505325"/>
                  <a:gd name="connsiteX9" fmla="*/ 239438 w 896663"/>
                  <a:gd name="connsiteY9" fmla="*/ 368300 h 4505325"/>
                  <a:gd name="connsiteX10" fmla="*/ 239438 w 896663"/>
                  <a:gd name="connsiteY10" fmla="*/ 412750 h 4505325"/>
                  <a:gd name="connsiteX11" fmla="*/ 207688 w 896663"/>
                  <a:gd name="connsiteY11" fmla="*/ 454025 h 4505325"/>
                  <a:gd name="connsiteX12" fmla="*/ 287063 w 896663"/>
                  <a:gd name="connsiteY12" fmla="*/ 479425 h 4505325"/>
                  <a:gd name="connsiteX13" fmla="*/ 302938 w 896663"/>
                  <a:gd name="connsiteY13" fmla="*/ 511175 h 4505325"/>
                  <a:gd name="connsiteX14" fmla="*/ 210863 w 896663"/>
                  <a:gd name="connsiteY14" fmla="*/ 581025 h 4505325"/>
                  <a:gd name="connsiteX15" fmla="*/ 160063 w 896663"/>
                  <a:gd name="connsiteY15" fmla="*/ 638175 h 4505325"/>
                  <a:gd name="connsiteX16" fmla="*/ 160063 w 896663"/>
                  <a:gd name="connsiteY16" fmla="*/ 695325 h 4505325"/>
                  <a:gd name="connsiteX17" fmla="*/ 185463 w 896663"/>
                  <a:gd name="connsiteY17" fmla="*/ 784225 h 4505325"/>
                  <a:gd name="connsiteX18" fmla="*/ 194988 w 896663"/>
                  <a:gd name="connsiteY18" fmla="*/ 835025 h 4505325"/>
                  <a:gd name="connsiteX19" fmla="*/ 204513 w 896663"/>
                  <a:gd name="connsiteY19" fmla="*/ 885825 h 4505325"/>
                  <a:gd name="connsiteX20" fmla="*/ 220388 w 896663"/>
                  <a:gd name="connsiteY20" fmla="*/ 923925 h 4505325"/>
                  <a:gd name="connsiteX21" fmla="*/ 163238 w 896663"/>
                  <a:gd name="connsiteY21" fmla="*/ 1022350 h 4505325"/>
                  <a:gd name="connsiteX22" fmla="*/ 96563 w 896663"/>
                  <a:gd name="connsiteY22" fmla="*/ 1057275 h 4505325"/>
                  <a:gd name="connsiteX23" fmla="*/ 52113 w 896663"/>
                  <a:gd name="connsiteY23" fmla="*/ 1143000 h 4505325"/>
                  <a:gd name="connsiteX24" fmla="*/ 20363 w 896663"/>
                  <a:gd name="connsiteY24" fmla="*/ 1244600 h 4505325"/>
                  <a:gd name="connsiteX25" fmla="*/ 1313 w 896663"/>
                  <a:gd name="connsiteY25" fmla="*/ 1346200 h 4505325"/>
                  <a:gd name="connsiteX26" fmla="*/ 10838 w 896663"/>
                  <a:gd name="connsiteY26" fmla="*/ 1438275 h 4505325"/>
                  <a:gd name="connsiteX27" fmla="*/ 83863 w 896663"/>
                  <a:gd name="connsiteY27" fmla="*/ 1511300 h 4505325"/>
                  <a:gd name="connsiteX28" fmla="*/ 112438 w 896663"/>
                  <a:gd name="connsiteY28" fmla="*/ 1558925 h 4505325"/>
                  <a:gd name="connsiteX29" fmla="*/ 150538 w 896663"/>
                  <a:gd name="connsiteY29" fmla="*/ 1590675 h 4505325"/>
                  <a:gd name="connsiteX30" fmla="*/ 169588 w 896663"/>
                  <a:gd name="connsiteY30" fmla="*/ 1644650 h 4505325"/>
                  <a:gd name="connsiteX31" fmla="*/ 226738 w 896663"/>
                  <a:gd name="connsiteY31" fmla="*/ 1685925 h 4505325"/>
                  <a:gd name="connsiteX32" fmla="*/ 264838 w 896663"/>
                  <a:gd name="connsiteY32" fmla="*/ 1730375 h 4505325"/>
                  <a:gd name="connsiteX33" fmla="*/ 277538 w 896663"/>
                  <a:gd name="connsiteY33" fmla="*/ 1758950 h 4505325"/>
                  <a:gd name="connsiteX34" fmla="*/ 277538 w 896663"/>
                  <a:gd name="connsiteY34" fmla="*/ 1828800 h 4505325"/>
                  <a:gd name="connsiteX35" fmla="*/ 325163 w 896663"/>
                  <a:gd name="connsiteY35" fmla="*/ 1905000 h 4505325"/>
                  <a:gd name="connsiteX36" fmla="*/ 363263 w 896663"/>
                  <a:gd name="connsiteY36" fmla="*/ 1962150 h 4505325"/>
                  <a:gd name="connsiteX37" fmla="*/ 369613 w 896663"/>
                  <a:gd name="connsiteY37" fmla="*/ 2028825 h 4505325"/>
                  <a:gd name="connsiteX38" fmla="*/ 407713 w 896663"/>
                  <a:gd name="connsiteY38" fmla="*/ 2085975 h 4505325"/>
                  <a:gd name="connsiteX39" fmla="*/ 414063 w 896663"/>
                  <a:gd name="connsiteY39" fmla="*/ 2209800 h 4505325"/>
                  <a:gd name="connsiteX40" fmla="*/ 252138 w 896663"/>
                  <a:gd name="connsiteY40" fmla="*/ 2251075 h 4505325"/>
                  <a:gd name="connsiteX41" fmla="*/ 201338 w 896663"/>
                  <a:gd name="connsiteY41" fmla="*/ 2390775 h 4505325"/>
                  <a:gd name="connsiteX42" fmla="*/ 210863 w 896663"/>
                  <a:gd name="connsiteY42" fmla="*/ 2454275 h 4505325"/>
                  <a:gd name="connsiteX43" fmla="*/ 226738 w 896663"/>
                  <a:gd name="connsiteY43" fmla="*/ 2482850 h 4505325"/>
                  <a:gd name="connsiteX44" fmla="*/ 226738 w 896663"/>
                  <a:gd name="connsiteY44" fmla="*/ 2527300 h 4505325"/>
                  <a:gd name="connsiteX45" fmla="*/ 236263 w 896663"/>
                  <a:gd name="connsiteY45" fmla="*/ 2603500 h 4505325"/>
                  <a:gd name="connsiteX46" fmla="*/ 153713 w 896663"/>
                  <a:gd name="connsiteY46" fmla="*/ 2917824 h 4505325"/>
                  <a:gd name="connsiteX47" fmla="*/ 80688 w 896663"/>
                  <a:gd name="connsiteY47" fmla="*/ 3063874 h 4505325"/>
                  <a:gd name="connsiteX48" fmla="*/ 42588 w 896663"/>
                  <a:gd name="connsiteY48" fmla="*/ 3133724 h 4505325"/>
                  <a:gd name="connsiteX49" fmla="*/ 17188 w 896663"/>
                  <a:gd name="connsiteY49" fmla="*/ 3203574 h 4505325"/>
                  <a:gd name="connsiteX50" fmla="*/ 10838 w 896663"/>
                  <a:gd name="connsiteY50" fmla="*/ 3390899 h 4505325"/>
                  <a:gd name="connsiteX51" fmla="*/ 33063 w 896663"/>
                  <a:gd name="connsiteY51" fmla="*/ 3492499 h 4505325"/>
                  <a:gd name="connsiteX52" fmla="*/ 118788 w 896663"/>
                  <a:gd name="connsiteY52" fmla="*/ 3829049 h 4505325"/>
                  <a:gd name="connsiteX53" fmla="*/ 210863 w 896663"/>
                  <a:gd name="connsiteY53" fmla="*/ 3902074 h 4505325"/>
                  <a:gd name="connsiteX54" fmla="*/ 268013 w 896663"/>
                  <a:gd name="connsiteY54" fmla="*/ 3905249 h 4505325"/>
                  <a:gd name="connsiteX55" fmla="*/ 382313 w 896663"/>
                  <a:gd name="connsiteY55" fmla="*/ 4203699 h 4505325"/>
                  <a:gd name="connsiteX56" fmla="*/ 502963 w 896663"/>
                  <a:gd name="connsiteY56" fmla="*/ 4254499 h 4505325"/>
                  <a:gd name="connsiteX57" fmla="*/ 639488 w 896663"/>
                  <a:gd name="connsiteY57" fmla="*/ 4302124 h 4505325"/>
                  <a:gd name="connsiteX58" fmla="*/ 760138 w 896663"/>
                  <a:gd name="connsiteY58" fmla="*/ 4292599 h 4505325"/>
                  <a:gd name="connsiteX59" fmla="*/ 896663 w 896663"/>
                  <a:gd name="connsiteY59" fmla="*/ 4505325 h 4505325"/>
                  <a:gd name="connsiteX0" fmla="*/ 445813 w 896663"/>
                  <a:gd name="connsiteY0" fmla="*/ 0 h 4505325"/>
                  <a:gd name="connsiteX1" fmla="*/ 407713 w 896663"/>
                  <a:gd name="connsiteY1" fmla="*/ 66675 h 4505325"/>
                  <a:gd name="connsiteX2" fmla="*/ 353738 w 896663"/>
                  <a:gd name="connsiteY2" fmla="*/ 85725 h 4505325"/>
                  <a:gd name="connsiteX3" fmla="*/ 283888 w 896663"/>
                  <a:gd name="connsiteY3" fmla="*/ 98425 h 4505325"/>
                  <a:gd name="connsiteX4" fmla="*/ 223563 w 896663"/>
                  <a:gd name="connsiteY4" fmla="*/ 133350 h 4505325"/>
                  <a:gd name="connsiteX5" fmla="*/ 121963 w 896663"/>
                  <a:gd name="connsiteY5" fmla="*/ 196850 h 4505325"/>
                  <a:gd name="connsiteX6" fmla="*/ 131488 w 896663"/>
                  <a:gd name="connsiteY6" fmla="*/ 247650 h 4505325"/>
                  <a:gd name="connsiteX7" fmla="*/ 172763 w 896663"/>
                  <a:gd name="connsiteY7" fmla="*/ 276225 h 4505325"/>
                  <a:gd name="connsiteX8" fmla="*/ 185463 w 896663"/>
                  <a:gd name="connsiteY8" fmla="*/ 327025 h 4505325"/>
                  <a:gd name="connsiteX9" fmla="*/ 239438 w 896663"/>
                  <a:gd name="connsiteY9" fmla="*/ 368300 h 4505325"/>
                  <a:gd name="connsiteX10" fmla="*/ 239438 w 896663"/>
                  <a:gd name="connsiteY10" fmla="*/ 412750 h 4505325"/>
                  <a:gd name="connsiteX11" fmla="*/ 207688 w 896663"/>
                  <a:gd name="connsiteY11" fmla="*/ 454025 h 4505325"/>
                  <a:gd name="connsiteX12" fmla="*/ 287063 w 896663"/>
                  <a:gd name="connsiteY12" fmla="*/ 479425 h 4505325"/>
                  <a:gd name="connsiteX13" fmla="*/ 302938 w 896663"/>
                  <a:gd name="connsiteY13" fmla="*/ 511175 h 4505325"/>
                  <a:gd name="connsiteX14" fmla="*/ 210863 w 896663"/>
                  <a:gd name="connsiteY14" fmla="*/ 581025 h 4505325"/>
                  <a:gd name="connsiteX15" fmla="*/ 160063 w 896663"/>
                  <a:gd name="connsiteY15" fmla="*/ 638175 h 4505325"/>
                  <a:gd name="connsiteX16" fmla="*/ 160063 w 896663"/>
                  <a:gd name="connsiteY16" fmla="*/ 695325 h 4505325"/>
                  <a:gd name="connsiteX17" fmla="*/ 185463 w 896663"/>
                  <a:gd name="connsiteY17" fmla="*/ 784225 h 4505325"/>
                  <a:gd name="connsiteX18" fmla="*/ 194988 w 896663"/>
                  <a:gd name="connsiteY18" fmla="*/ 835025 h 4505325"/>
                  <a:gd name="connsiteX19" fmla="*/ 204513 w 896663"/>
                  <a:gd name="connsiteY19" fmla="*/ 885825 h 4505325"/>
                  <a:gd name="connsiteX20" fmla="*/ 220388 w 896663"/>
                  <a:gd name="connsiteY20" fmla="*/ 923925 h 4505325"/>
                  <a:gd name="connsiteX21" fmla="*/ 163238 w 896663"/>
                  <a:gd name="connsiteY21" fmla="*/ 1022350 h 4505325"/>
                  <a:gd name="connsiteX22" fmla="*/ 96563 w 896663"/>
                  <a:gd name="connsiteY22" fmla="*/ 1057275 h 4505325"/>
                  <a:gd name="connsiteX23" fmla="*/ 52113 w 896663"/>
                  <a:gd name="connsiteY23" fmla="*/ 1143000 h 4505325"/>
                  <a:gd name="connsiteX24" fmla="*/ 20363 w 896663"/>
                  <a:gd name="connsiteY24" fmla="*/ 1244600 h 4505325"/>
                  <a:gd name="connsiteX25" fmla="*/ 1313 w 896663"/>
                  <a:gd name="connsiteY25" fmla="*/ 1346200 h 4505325"/>
                  <a:gd name="connsiteX26" fmla="*/ 10838 w 896663"/>
                  <a:gd name="connsiteY26" fmla="*/ 1438275 h 4505325"/>
                  <a:gd name="connsiteX27" fmla="*/ 83863 w 896663"/>
                  <a:gd name="connsiteY27" fmla="*/ 1511300 h 4505325"/>
                  <a:gd name="connsiteX28" fmla="*/ 112438 w 896663"/>
                  <a:gd name="connsiteY28" fmla="*/ 1558925 h 4505325"/>
                  <a:gd name="connsiteX29" fmla="*/ 150538 w 896663"/>
                  <a:gd name="connsiteY29" fmla="*/ 1590675 h 4505325"/>
                  <a:gd name="connsiteX30" fmla="*/ 169588 w 896663"/>
                  <a:gd name="connsiteY30" fmla="*/ 1644650 h 4505325"/>
                  <a:gd name="connsiteX31" fmla="*/ 226738 w 896663"/>
                  <a:gd name="connsiteY31" fmla="*/ 1685925 h 4505325"/>
                  <a:gd name="connsiteX32" fmla="*/ 264838 w 896663"/>
                  <a:gd name="connsiteY32" fmla="*/ 1730375 h 4505325"/>
                  <a:gd name="connsiteX33" fmla="*/ 277538 w 896663"/>
                  <a:gd name="connsiteY33" fmla="*/ 1758950 h 4505325"/>
                  <a:gd name="connsiteX34" fmla="*/ 277538 w 896663"/>
                  <a:gd name="connsiteY34" fmla="*/ 1828800 h 4505325"/>
                  <a:gd name="connsiteX35" fmla="*/ 325163 w 896663"/>
                  <a:gd name="connsiteY35" fmla="*/ 1905000 h 4505325"/>
                  <a:gd name="connsiteX36" fmla="*/ 363263 w 896663"/>
                  <a:gd name="connsiteY36" fmla="*/ 1962150 h 4505325"/>
                  <a:gd name="connsiteX37" fmla="*/ 369613 w 896663"/>
                  <a:gd name="connsiteY37" fmla="*/ 2028825 h 4505325"/>
                  <a:gd name="connsiteX38" fmla="*/ 407713 w 896663"/>
                  <a:gd name="connsiteY38" fmla="*/ 2085975 h 4505325"/>
                  <a:gd name="connsiteX39" fmla="*/ 414063 w 896663"/>
                  <a:gd name="connsiteY39" fmla="*/ 2209800 h 4505325"/>
                  <a:gd name="connsiteX40" fmla="*/ 252138 w 896663"/>
                  <a:gd name="connsiteY40" fmla="*/ 2251075 h 4505325"/>
                  <a:gd name="connsiteX41" fmla="*/ 201338 w 896663"/>
                  <a:gd name="connsiteY41" fmla="*/ 2390775 h 4505325"/>
                  <a:gd name="connsiteX42" fmla="*/ 210863 w 896663"/>
                  <a:gd name="connsiteY42" fmla="*/ 2454275 h 4505325"/>
                  <a:gd name="connsiteX43" fmla="*/ 226738 w 896663"/>
                  <a:gd name="connsiteY43" fmla="*/ 2482850 h 4505325"/>
                  <a:gd name="connsiteX44" fmla="*/ 226738 w 896663"/>
                  <a:gd name="connsiteY44" fmla="*/ 2527300 h 4505325"/>
                  <a:gd name="connsiteX45" fmla="*/ 236263 w 896663"/>
                  <a:gd name="connsiteY45" fmla="*/ 2603500 h 4505325"/>
                  <a:gd name="connsiteX46" fmla="*/ 153713 w 896663"/>
                  <a:gd name="connsiteY46" fmla="*/ 2917824 h 4505325"/>
                  <a:gd name="connsiteX47" fmla="*/ 80688 w 896663"/>
                  <a:gd name="connsiteY47" fmla="*/ 3063874 h 4505325"/>
                  <a:gd name="connsiteX48" fmla="*/ 42588 w 896663"/>
                  <a:gd name="connsiteY48" fmla="*/ 3133724 h 4505325"/>
                  <a:gd name="connsiteX49" fmla="*/ 17188 w 896663"/>
                  <a:gd name="connsiteY49" fmla="*/ 3203574 h 4505325"/>
                  <a:gd name="connsiteX50" fmla="*/ 10838 w 896663"/>
                  <a:gd name="connsiteY50" fmla="*/ 3390899 h 4505325"/>
                  <a:gd name="connsiteX51" fmla="*/ 33063 w 896663"/>
                  <a:gd name="connsiteY51" fmla="*/ 3492499 h 4505325"/>
                  <a:gd name="connsiteX52" fmla="*/ 118788 w 896663"/>
                  <a:gd name="connsiteY52" fmla="*/ 3829049 h 4505325"/>
                  <a:gd name="connsiteX53" fmla="*/ 201338 w 896663"/>
                  <a:gd name="connsiteY53" fmla="*/ 3892549 h 4505325"/>
                  <a:gd name="connsiteX54" fmla="*/ 268013 w 896663"/>
                  <a:gd name="connsiteY54" fmla="*/ 3905249 h 4505325"/>
                  <a:gd name="connsiteX55" fmla="*/ 382313 w 896663"/>
                  <a:gd name="connsiteY55" fmla="*/ 4203699 h 4505325"/>
                  <a:gd name="connsiteX56" fmla="*/ 502963 w 896663"/>
                  <a:gd name="connsiteY56" fmla="*/ 4254499 h 4505325"/>
                  <a:gd name="connsiteX57" fmla="*/ 639488 w 896663"/>
                  <a:gd name="connsiteY57" fmla="*/ 4302124 h 4505325"/>
                  <a:gd name="connsiteX58" fmla="*/ 760138 w 896663"/>
                  <a:gd name="connsiteY58" fmla="*/ 4292599 h 4505325"/>
                  <a:gd name="connsiteX59" fmla="*/ 896663 w 896663"/>
                  <a:gd name="connsiteY59" fmla="*/ 4505325 h 4505325"/>
                  <a:gd name="connsiteX0" fmla="*/ 445813 w 896663"/>
                  <a:gd name="connsiteY0" fmla="*/ 0 h 4505325"/>
                  <a:gd name="connsiteX1" fmla="*/ 407713 w 896663"/>
                  <a:gd name="connsiteY1" fmla="*/ 66675 h 4505325"/>
                  <a:gd name="connsiteX2" fmla="*/ 353738 w 896663"/>
                  <a:gd name="connsiteY2" fmla="*/ 85725 h 4505325"/>
                  <a:gd name="connsiteX3" fmla="*/ 283888 w 896663"/>
                  <a:gd name="connsiteY3" fmla="*/ 98425 h 4505325"/>
                  <a:gd name="connsiteX4" fmla="*/ 223563 w 896663"/>
                  <a:gd name="connsiteY4" fmla="*/ 133350 h 4505325"/>
                  <a:gd name="connsiteX5" fmla="*/ 121963 w 896663"/>
                  <a:gd name="connsiteY5" fmla="*/ 196850 h 4505325"/>
                  <a:gd name="connsiteX6" fmla="*/ 131488 w 896663"/>
                  <a:gd name="connsiteY6" fmla="*/ 247650 h 4505325"/>
                  <a:gd name="connsiteX7" fmla="*/ 172763 w 896663"/>
                  <a:gd name="connsiteY7" fmla="*/ 276225 h 4505325"/>
                  <a:gd name="connsiteX8" fmla="*/ 185463 w 896663"/>
                  <a:gd name="connsiteY8" fmla="*/ 327025 h 4505325"/>
                  <a:gd name="connsiteX9" fmla="*/ 239438 w 896663"/>
                  <a:gd name="connsiteY9" fmla="*/ 368300 h 4505325"/>
                  <a:gd name="connsiteX10" fmla="*/ 239438 w 896663"/>
                  <a:gd name="connsiteY10" fmla="*/ 412750 h 4505325"/>
                  <a:gd name="connsiteX11" fmla="*/ 207688 w 896663"/>
                  <a:gd name="connsiteY11" fmla="*/ 454025 h 4505325"/>
                  <a:gd name="connsiteX12" fmla="*/ 287063 w 896663"/>
                  <a:gd name="connsiteY12" fmla="*/ 479425 h 4505325"/>
                  <a:gd name="connsiteX13" fmla="*/ 302938 w 896663"/>
                  <a:gd name="connsiteY13" fmla="*/ 511175 h 4505325"/>
                  <a:gd name="connsiteX14" fmla="*/ 210863 w 896663"/>
                  <a:gd name="connsiteY14" fmla="*/ 581025 h 4505325"/>
                  <a:gd name="connsiteX15" fmla="*/ 160063 w 896663"/>
                  <a:gd name="connsiteY15" fmla="*/ 638175 h 4505325"/>
                  <a:gd name="connsiteX16" fmla="*/ 160063 w 896663"/>
                  <a:gd name="connsiteY16" fmla="*/ 695325 h 4505325"/>
                  <a:gd name="connsiteX17" fmla="*/ 185463 w 896663"/>
                  <a:gd name="connsiteY17" fmla="*/ 784225 h 4505325"/>
                  <a:gd name="connsiteX18" fmla="*/ 194988 w 896663"/>
                  <a:gd name="connsiteY18" fmla="*/ 835025 h 4505325"/>
                  <a:gd name="connsiteX19" fmla="*/ 204513 w 896663"/>
                  <a:gd name="connsiteY19" fmla="*/ 885825 h 4505325"/>
                  <a:gd name="connsiteX20" fmla="*/ 220388 w 896663"/>
                  <a:gd name="connsiteY20" fmla="*/ 923925 h 4505325"/>
                  <a:gd name="connsiteX21" fmla="*/ 163238 w 896663"/>
                  <a:gd name="connsiteY21" fmla="*/ 1022350 h 4505325"/>
                  <a:gd name="connsiteX22" fmla="*/ 96563 w 896663"/>
                  <a:gd name="connsiteY22" fmla="*/ 1057275 h 4505325"/>
                  <a:gd name="connsiteX23" fmla="*/ 52113 w 896663"/>
                  <a:gd name="connsiteY23" fmla="*/ 1143000 h 4505325"/>
                  <a:gd name="connsiteX24" fmla="*/ 20363 w 896663"/>
                  <a:gd name="connsiteY24" fmla="*/ 1244600 h 4505325"/>
                  <a:gd name="connsiteX25" fmla="*/ 1313 w 896663"/>
                  <a:gd name="connsiteY25" fmla="*/ 1346200 h 4505325"/>
                  <a:gd name="connsiteX26" fmla="*/ 10838 w 896663"/>
                  <a:gd name="connsiteY26" fmla="*/ 1438275 h 4505325"/>
                  <a:gd name="connsiteX27" fmla="*/ 83863 w 896663"/>
                  <a:gd name="connsiteY27" fmla="*/ 1511300 h 4505325"/>
                  <a:gd name="connsiteX28" fmla="*/ 112438 w 896663"/>
                  <a:gd name="connsiteY28" fmla="*/ 1558925 h 4505325"/>
                  <a:gd name="connsiteX29" fmla="*/ 150538 w 896663"/>
                  <a:gd name="connsiteY29" fmla="*/ 1590675 h 4505325"/>
                  <a:gd name="connsiteX30" fmla="*/ 169588 w 896663"/>
                  <a:gd name="connsiteY30" fmla="*/ 1644650 h 4505325"/>
                  <a:gd name="connsiteX31" fmla="*/ 226738 w 896663"/>
                  <a:gd name="connsiteY31" fmla="*/ 1685925 h 4505325"/>
                  <a:gd name="connsiteX32" fmla="*/ 264838 w 896663"/>
                  <a:gd name="connsiteY32" fmla="*/ 1730375 h 4505325"/>
                  <a:gd name="connsiteX33" fmla="*/ 277538 w 896663"/>
                  <a:gd name="connsiteY33" fmla="*/ 1758950 h 4505325"/>
                  <a:gd name="connsiteX34" fmla="*/ 277538 w 896663"/>
                  <a:gd name="connsiteY34" fmla="*/ 1828800 h 4505325"/>
                  <a:gd name="connsiteX35" fmla="*/ 325163 w 896663"/>
                  <a:gd name="connsiteY35" fmla="*/ 1905000 h 4505325"/>
                  <a:gd name="connsiteX36" fmla="*/ 363263 w 896663"/>
                  <a:gd name="connsiteY36" fmla="*/ 1962150 h 4505325"/>
                  <a:gd name="connsiteX37" fmla="*/ 369613 w 896663"/>
                  <a:gd name="connsiteY37" fmla="*/ 2028825 h 4505325"/>
                  <a:gd name="connsiteX38" fmla="*/ 407713 w 896663"/>
                  <a:gd name="connsiteY38" fmla="*/ 2085975 h 4505325"/>
                  <a:gd name="connsiteX39" fmla="*/ 414063 w 896663"/>
                  <a:gd name="connsiteY39" fmla="*/ 2209800 h 4505325"/>
                  <a:gd name="connsiteX40" fmla="*/ 252138 w 896663"/>
                  <a:gd name="connsiteY40" fmla="*/ 2251075 h 4505325"/>
                  <a:gd name="connsiteX41" fmla="*/ 201338 w 896663"/>
                  <a:gd name="connsiteY41" fmla="*/ 2390775 h 4505325"/>
                  <a:gd name="connsiteX42" fmla="*/ 210863 w 896663"/>
                  <a:gd name="connsiteY42" fmla="*/ 2454275 h 4505325"/>
                  <a:gd name="connsiteX43" fmla="*/ 226738 w 896663"/>
                  <a:gd name="connsiteY43" fmla="*/ 2482850 h 4505325"/>
                  <a:gd name="connsiteX44" fmla="*/ 226738 w 896663"/>
                  <a:gd name="connsiteY44" fmla="*/ 2527300 h 4505325"/>
                  <a:gd name="connsiteX45" fmla="*/ 236263 w 896663"/>
                  <a:gd name="connsiteY45" fmla="*/ 2603500 h 4505325"/>
                  <a:gd name="connsiteX46" fmla="*/ 153713 w 896663"/>
                  <a:gd name="connsiteY46" fmla="*/ 2917824 h 4505325"/>
                  <a:gd name="connsiteX47" fmla="*/ 80688 w 896663"/>
                  <a:gd name="connsiteY47" fmla="*/ 3063874 h 4505325"/>
                  <a:gd name="connsiteX48" fmla="*/ 42588 w 896663"/>
                  <a:gd name="connsiteY48" fmla="*/ 3133724 h 4505325"/>
                  <a:gd name="connsiteX49" fmla="*/ 17188 w 896663"/>
                  <a:gd name="connsiteY49" fmla="*/ 3203574 h 4505325"/>
                  <a:gd name="connsiteX50" fmla="*/ 10838 w 896663"/>
                  <a:gd name="connsiteY50" fmla="*/ 3390899 h 4505325"/>
                  <a:gd name="connsiteX51" fmla="*/ 33063 w 896663"/>
                  <a:gd name="connsiteY51" fmla="*/ 3492499 h 4505325"/>
                  <a:gd name="connsiteX52" fmla="*/ 112438 w 896663"/>
                  <a:gd name="connsiteY52" fmla="*/ 3809999 h 4505325"/>
                  <a:gd name="connsiteX53" fmla="*/ 201338 w 896663"/>
                  <a:gd name="connsiteY53" fmla="*/ 3892549 h 4505325"/>
                  <a:gd name="connsiteX54" fmla="*/ 268013 w 896663"/>
                  <a:gd name="connsiteY54" fmla="*/ 3905249 h 4505325"/>
                  <a:gd name="connsiteX55" fmla="*/ 382313 w 896663"/>
                  <a:gd name="connsiteY55" fmla="*/ 4203699 h 4505325"/>
                  <a:gd name="connsiteX56" fmla="*/ 502963 w 896663"/>
                  <a:gd name="connsiteY56" fmla="*/ 4254499 h 4505325"/>
                  <a:gd name="connsiteX57" fmla="*/ 639488 w 896663"/>
                  <a:gd name="connsiteY57" fmla="*/ 4302124 h 4505325"/>
                  <a:gd name="connsiteX58" fmla="*/ 760138 w 896663"/>
                  <a:gd name="connsiteY58" fmla="*/ 4292599 h 4505325"/>
                  <a:gd name="connsiteX59" fmla="*/ 896663 w 896663"/>
                  <a:gd name="connsiteY59" fmla="*/ 4505325 h 4505325"/>
                  <a:gd name="connsiteX0" fmla="*/ 445813 w 896663"/>
                  <a:gd name="connsiteY0" fmla="*/ 0 h 4505325"/>
                  <a:gd name="connsiteX1" fmla="*/ 407713 w 896663"/>
                  <a:gd name="connsiteY1" fmla="*/ 66675 h 4505325"/>
                  <a:gd name="connsiteX2" fmla="*/ 353738 w 896663"/>
                  <a:gd name="connsiteY2" fmla="*/ 85725 h 4505325"/>
                  <a:gd name="connsiteX3" fmla="*/ 283888 w 896663"/>
                  <a:gd name="connsiteY3" fmla="*/ 98425 h 4505325"/>
                  <a:gd name="connsiteX4" fmla="*/ 223563 w 896663"/>
                  <a:gd name="connsiteY4" fmla="*/ 133350 h 4505325"/>
                  <a:gd name="connsiteX5" fmla="*/ 121963 w 896663"/>
                  <a:gd name="connsiteY5" fmla="*/ 196850 h 4505325"/>
                  <a:gd name="connsiteX6" fmla="*/ 131488 w 896663"/>
                  <a:gd name="connsiteY6" fmla="*/ 247650 h 4505325"/>
                  <a:gd name="connsiteX7" fmla="*/ 172763 w 896663"/>
                  <a:gd name="connsiteY7" fmla="*/ 276225 h 4505325"/>
                  <a:gd name="connsiteX8" fmla="*/ 185463 w 896663"/>
                  <a:gd name="connsiteY8" fmla="*/ 327025 h 4505325"/>
                  <a:gd name="connsiteX9" fmla="*/ 239438 w 896663"/>
                  <a:gd name="connsiteY9" fmla="*/ 368300 h 4505325"/>
                  <a:gd name="connsiteX10" fmla="*/ 239438 w 896663"/>
                  <a:gd name="connsiteY10" fmla="*/ 412750 h 4505325"/>
                  <a:gd name="connsiteX11" fmla="*/ 207688 w 896663"/>
                  <a:gd name="connsiteY11" fmla="*/ 454025 h 4505325"/>
                  <a:gd name="connsiteX12" fmla="*/ 287063 w 896663"/>
                  <a:gd name="connsiteY12" fmla="*/ 479425 h 4505325"/>
                  <a:gd name="connsiteX13" fmla="*/ 302938 w 896663"/>
                  <a:gd name="connsiteY13" fmla="*/ 511175 h 4505325"/>
                  <a:gd name="connsiteX14" fmla="*/ 210863 w 896663"/>
                  <a:gd name="connsiteY14" fmla="*/ 581025 h 4505325"/>
                  <a:gd name="connsiteX15" fmla="*/ 160063 w 896663"/>
                  <a:gd name="connsiteY15" fmla="*/ 638175 h 4505325"/>
                  <a:gd name="connsiteX16" fmla="*/ 160063 w 896663"/>
                  <a:gd name="connsiteY16" fmla="*/ 695325 h 4505325"/>
                  <a:gd name="connsiteX17" fmla="*/ 185463 w 896663"/>
                  <a:gd name="connsiteY17" fmla="*/ 784225 h 4505325"/>
                  <a:gd name="connsiteX18" fmla="*/ 194988 w 896663"/>
                  <a:gd name="connsiteY18" fmla="*/ 835025 h 4505325"/>
                  <a:gd name="connsiteX19" fmla="*/ 204513 w 896663"/>
                  <a:gd name="connsiteY19" fmla="*/ 885825 h 4505325"/>
                  <a:gd name="connsiteX20" fmla="*/ 220388 w 896663"/>
                  <a:gd name="connsiteY20" fmla="*/ 923925 h 4505325"/>
                  <a:gd name="connsiteX21" fmla="*/ 163238 w 896663"/>
                  <a:gd name="connsiteY21" fmla="*/ 1022350 h 4505325"/>
                  <a:gd name="connsiteX22" fmla="*/ 96563 w 896663"/>
                  <a:gd name="connsiteY22" fmla="*/ 1057275 h 4505325"/>
                  <a:gd name="connsiteX23" fmla="*/ 52113 w 896663"/>
                  <a:gd name="connsiteY23" fmla="*/ 1143000 h 4505325"/>
                  <a:gd name="connsiteX24" fmla="*/ 20363 w 896663"/>
                  <a:gd name="connsiteY24" fmla="*/ 1244600 h 4505325"/>
                  <a:gd name="connsiteX25" fmla="*/ 1313 w 896663"/>
                  <a:gd name="connsiteY25" fmla="*/ 1346200 h 4505325"/>
                  <a:gd name="connsiteX26" fmla="*/ 10838 w 896663"/>
                  <a:gd name="connsiteY26" fmla="*/ 1438275 h 4505325"/>
                  <a:gd name="connsiteX27" fmla="*/ 83863 w 896663"/>
                  <a:gd name="connsiteY27" fmla="*/ 1511300 h 4505325"/>
                  <a:gd name="connsiteX28" fmla="*/ 112438 w 896663"/>
                  <a:gd name="connsiteY28" fmla="*/ 1558925 h 4505325"/>
                  <a:gd name="connsiteX29" fmla="*/ 150538 w 896663"/>
                  <a:gd name="connsiteY29" fmla="*/ 1590675 h 4505325"/>
                  <a:gd name="connsiteX30" fmla="*/ 169588 w 896663"/>
                  <a:gd name="connsiteY30" fmla="*/ 1644650 h 4505325"/>
                  <a:gd name="connsiteX31" fmla="*/ 226738 w 896663"/>
                  <a:gd name="connsiteY31" fmla="*/ 1685925 h 4505325"/>
                  <a:gd name="connsiteX32" fmla="*/ 264838 w 896663"/>
                  <a:gd name="connsiteY32" fmla="*/ 1730375 h 4505325"/>
                  <a:gd name="connsiteX33" fmla="*/ 277538 w 896663"/>
                  <a:gd name="connsiteY33" fmla="*/ 1758950 h 4505325"/>
                  <a:gd name="connsiteX34" fmla="*/ 277538 w 896663"/>
                  <a:gd name="connsiteY34" fmla="*/ 1828800 h 4505325"/>
                  <a:gd name="connsiteX35" fmla="*/ 325163 w 896663"/>
                  <a:gd name="connsiteY35" fmla="*/ 1905000 h 4505325"/>
                  <a:gd name="connsiteX36" fmla="*/ 363263 w 896663"/>
                  <a:gd name="connsiteY36" fmla="*/ 1962150 h 4505325"/>
                  <a:gd name="connsiteX37" fmla="*/ 369613 w 896663"/>
                  <a:gd name="connsiteY37" fmla="*/ 2028825 h 4505325"/>
                  <a:gd name="connsiteX38" fmla="*/ 407713 w 896663"/>
                  <a:gd name="connsiteY38" fmla="*/ 2085975 h 4505325"/>
                  <a:gd name="connsiteX39" fmla="*/ 414063 w 896663"/>
                  <a:gd name="connsiteY39" fmla="*/ 2209800 h 4505325"/>
                  <a:gd name="connsiteX40" fmla="*/ 252138 w 896663"/>
                  <a:gd name="connsiteY40" fmla="*/ 2251075 h 4505325"/>
                  <a:gd name="connsiteX41" fmla="*/ 201338 w 896663"/>
                  <a:gd name="connsiteY41" fmla="*/ 2390775 h 4505325"/>
                  <a:gd name="connsiteX42" fmla="*/ 210863 w 896663"/>
                  <a:gd name="connsiteY42" fmla="*/ 2454275 h 4505325"/>
                  <a:gd name="connsiteX43" fmla="*/ 226738 w 896663"/>
                  <a:gd name="connsiteY43" fmla="*/ 2482850 h 4505325"/>
                  <a:gd name="connsiteX44" fmla="*/ 226738 w 896663"/>
                  <a:gd name="connsiteY44" fmla="*/ 2527300 h 4505325"/>
                  <a:gd name="connsiteX45" fmla="*/ 236263 w 896663"/>
                  <a:gd name="connsiteY45" fmla="*/ 2603500 h 4505325"/>
                  <a:gd name="connsiteX46" fmla="*/ 153713 w 896663"/>
                  <a:gd name="connsiteY46" fmla="*/ 2917824 h 4505325"/>
                  <a:gd name="connsiteX47" fmla="*/ 80688 w 896663"/>
                  <a:gd name="connsiteY47" fmla="*/ 3063874 h 4505325"/>
                  <a:gd name="connsiteX48" fmla="*/ 42588 w 896663"/>
                  <a:gd name="connsiteY48" fmla="*/ 3133724 h 4505325"/>
                  <a:gd name="connsiteX49" fmla="*/ 17188 w 896663"/>
                  <a:gd name="connsiteY49" fmla="*/ 3203574 h 4505325"/>
                  <a:gd name="connsiteX50" fmla="*/ 10838 w 896663"/>
                  <a:gd name="connsiteY50" fmla="*/ 3390899 h 4505325"/>
                  <a:gd name="connsiteX51" fmla="*/ 33063 w 896663"/>
                  <a:gd name="connsiteY51" fmla="*/ 3492499 h 4505325"/>
                  <a:gd name="connsiteX52" fmla="*/ 90213 w 896663"/>
                  <a:gd name="connsiteY52" fmla="*/ 3682999 h 4505325"/>
                  <a:gd name="connsiteX53" fmla="*/ 112438 w 896663"/>
                  <a:gd name="connsiteY53" fmla="*/ 3809999 h 4505325"/>
                  <a:gd name="connsiteX54" fmla="*/ 201338 w 896663"/>
                  <a:gd name="connsiteY54" fmla="*/ 3892549 h 4505325"/>
                  <a:gd name="connsiteX55" fmla="*/ 268013 w 896663"/>
                  <a:gd name="connsiteY55" fmla="*/ 3905249 h 4505325"/>
                  <a:gd name="connsiteX56" fmla="*/ 382313 w 896663"/>
                  <a:gd name="connsiteY56" fmla="*/ 4203699 h 4505325"/>
                  <a:gd name="connsiteX57" fmla="*/ 502963 w 896663"/>
                  <a:gd name="connsiteY57" fmla="*/ 4254499 h 4505325"/>
                  <a:gd name="connsiteX58" fmla="*/ 639488 w 896663"/>
                  <a:gd name="connsiteY58" fmla="*/ 4302124 h 4505325"/>
                  <a:gd name="connsiteX59" fmla="*/ 760138 w 896663"/>
                  <a:gd name="connsiteY59" fmla="*/ 4292599 h 4505325"/>
                  <a:gd name="connsiteX60" fmla="*/ 896663 w 896663"/>
                  <a:gd name="connsiteY60" fmla="*/ 4505325 h 4505325"/>
                  <a:gd name="connsiteX0" fmla="*/ 445813 w 896663"/>
                  <a:gd name="connsiteY0" fmla="*/ 0 h 4505325"/>
                  <a:gd name="connsiteX1" fmla="*/ 407713 w 896663"/>
                  <a:gd name="connsiteY1" fmla="*/ 66675 h 4505325"/>
                  <a:gd name="connsiteX2" fmla="*/ 353738 w 896663"/>
                  <a:gd name="connsiteY2" fmla="*/ 85725 h 4505325"/>
                  <a:gd name="connsiteX3" fmla="*/ 283888 w 896663"/>
                  <a:gd name="connsiteY3" fmla="*/ 98425 h 4505325"/>
                  <a:gd name="connsiteX4" fmla="*/ 223563 w 896663"/>
                  <a:gd name="connsiteY4" fmla="*/ 133350 h 4505325"/>
                  <a:gd name="connsiteX5" fmla="*/ 121963 w 896663"/>
                  <a:gd name="connsiteY5" fmla="*/ 196850 h 4505325"/>
                  <a:gd name="connsiteX6" fmla="*/ 131488 w 896663"/>
                  <a:gd name="connsiteY6" fmla="*/ 247650 h 4505325"/>
                  <a:gd name="connsiteX7" fmla="*/ 172763 w 896663"/>
                  <a:gd name="connsiteY7" fmla="*/ 276225 h 4505325"/>
                  <a:gd name="connsiteX8" fmla="*/ 185463 w 896663"/>
                  <a:gd name="connsiteY8" fmla="*/ 327025 h 4505325"/>
                  <a:gd name="connsiteX9" fmla="*/ 239438 w 896663"/>
                  <a:gd name="connsiteY9" fmla="*/ 368300 h 4505325"/>
                  <a:gd name="connsiteX10" fmla="*/ 239438 w 896663"/>
                  <a:gd name="connsiteY10" fmla="*/ 412750 h 4505325"/>
                  <a:gd name="connsiteX11" fmla="*/ 207688 w 896663"/>
                  <a:gd name="connsiteY11" fmla="*/ 454025 h 4505325"/>
                  <a:gd name="connsiteX12" fmla="*/ 287063 w 896663"/>
                  <a:gd name="connsiteY12" fmla="*/ 479425 h 4505325"/>
                  <a:gd name="connsiteX13" fmla="*/ 302938 w 896663"/>
                  <a:gd name="connsiteY13" fmla="*/ 511175 h 4505325"/>
                  <a:gd name="connsiteX14" fmla="*/ 210863 w 896663"/>
                  <a:gd name="connsiteY14" fmla="*/ 581025 h 4505325"/>
                  <a:gd name="connsiteX15" fmla="*/ 160063 w 896663"/>
                  <a:gd name="connsiteY15" fmla="*/ 638175 h 4505325"/>
                  <a:gd name="connsiteX16" fmla="*/ 160063 w 896663"/>
                  <a:gd name="connsiteY16" fmla="*/ 695325 h 4505325"/>
                  <a:gd name="connsiteX17" fmla="*/ 185463 w 896663"/>
                  <a:gd name="connsiteY17" fmla="*/ 784225 h 4505325"/>
                  <a:gd name="connsiteX18" fmla="*/ 194988 w 896663"/>
                  <a:gd name="connsiteY18" fmla="*/ 835025 h 4505325"/>
                  <a:gd name="connsiteX19" fmla="*/ 204513 w 896663"/>
                  <a:gd name="connsiteY19" fmla="*/ 885825 h 4505325"/>
                  <a:gd name="connsiteX20" fmla="*/ 220388 w 896663"/>
                  <a:gd name="connsiteY20" fmla="*/ 923925 h 4505325"/>
                  <a:gd name="connsiteX21" fmla="*/ 163238 w 896663"/>
                  <a:gd name="connsiteY21" fmla="*/ 1022350 h 4505325"/>
                  <a:gd name="connsiteX22" fmla="*/ 96563 w 896663"/>
                  <a:gd name="connsiteY22" fmla="*/ 1057275 h 4505325"/>
                  <a:gd name="connsiteX23" fmla="*/ 52113 w 896663"/>
                  <a:gd name="connsiteY23" fmla="*/ 1143000 h 4505325"/>
                  <a:gd name="connsiteX24" fmla="*/ 20363 w 896663"/>
                  <a:gd name="connsiteY24" fmla="*/ 1244600 h 4505325"/>
                  <a:gd name="connsiteX25" fmla="*/ 1313 w 896663"/>
                  <a:gd name="connsiteY25" fmla="*/ 1346200 h 4505325"/>
                  <a:gd name="connsiteX26" fmla="*/ 10838 w 896663"/>
                  <a:gd name="connsiteY26" fmla="*/ 1438275 h 4505325"/>
                  <a:gd name="connsiteX27" fmla="*/ 83863 w 896663"/>
                  <a:gd name="connsiteY27" fmla="*/ 1511300 h 4505325"/>
                  <a:gd name="connsiteX28" fmla="*/ 112438 w 896663"/>
                  <a:gd name="connsiteY28" fmla="*/ 1558925 h 4505325"/>
                  <a:gd name="connsiteX29" fmla="*/ 150538 w 896663"/>
                  <a:gd name="connsiteY29" fmla="*/ 1590675 h 4505325"/>
                  <a:gd name="connsiteX30" fmla="*/ 169588 w 896663"/>
                  <a:gd name="connsiteY30" fmla="*/ 1644650 h 4505325"/>
                  <a:gd name="connsiteX31" fmla="*/ 226738 w 896663"/>
                  <a:gd name="connsiteY31" fmla="*/ 1685925 h 4505325"/>
                  <a:gd name="connsiteX32" fmla="*/ 264838 w 896663"/>
                  <a:gd name="connsiteY32" fmla="*/ 1730375 h 4505325"/>
                  <a:gd name="connsiteX33" fmla="*/ 277538 w 896663"/>
                  <a:gd name="connsiteY33" fmla="*/ 1758950 h 4505325"/>
                  <a:gd name="connsiteX34" fmla="*/ 277538 w 896663"/>
                  <a:gd name="connsiteY34" fmla="*/ 1828800 h 4505325"/>
                  <a:gd name="connsiteX35" fmla="*/ 325163 w 896663"/>
                  <a:gd name="connsiteY35" fmla="*/ 1905000 h 4505325"/>
                  <a:gd name="connsiteX36" fmla="*/ 363263 w 896663"/>
                  <a:gd name="connsiteY36" fmla="*/ 1962150 h 4505325"/>
                  <a:gd name="connsiteX37" fmla="*/ 369613 w 896663"/>
                  <a:gd name="connsiteY37" fmla="*/ 2028825 h 4505325"/>
                  <a:gd name="connsiteX38" fmla="*/ 407713 w 896663"/>
                  <a:gd name="connsiteY38" fmla="*/ 2085975 h 4505325"/>
                  <a:gd name="connsiteX39" fmla="*/ 414063 w 896663"/>
                  <a:gd name="connsiteY39" fmla="*/ 2209800 h 4505325"/>
                  <a:gd name="connsiteX40" fmla="*/ 252138 w 896663"/>
                  <a:gd name="connsiteY40" fmla="*/ 2251075 h 4505325"/>
                  <a:gd name="connsiteX41" fmla="*/ 201338 w 896663"/>
                  <a:gd name="connsiteY41" fmla="*/ 2390775 h 4505325"/>
                  <a:gd name="connsiteX42" fmla="*/ 210863 w 896663"/>
                  <a:gd name="connsiteY42" fmla="*/ 2454275 h 4505325"/>
                  <a:gd name="connsiteX43" fmla="*/ 226738 w 896663"/>
                  <a:gd name="connsiteY43" fmla="*/ 2482850 h 4505325"/>
                  <a:gd name="connsiteX44" fmla="*/ 226738 w 896663"/>
                  <a:gd name="connsiteY44" fmla="*/ 2527300 h 4505325"/>
                  <a:gd name="connsiteX45" fmla="*/ 236263 w 896663"/>
                  <a:gd name="connsiteY45" fmla="*/ 2603500 h 4505325"/>
                  <a:gd name="connsiteX46" fmla="*/ 153713 w 896663"/>
                  <a:gd name="connsiteY46" fmla="*/ 2917824 h 4505325"/>
                  <a:gd name="connsiteX47" fmla="*/ 80688 w 896663"/>
                  <a:gd name="connsiteY47" fmla="*/ 3063874 h 4505325"/>
                  <a:gd name="connsiteX48" fmla="*/ 42588 w 896663"/>
                  <a:gd name="connsiteY48" fmla="*/ 3133724 h 4505325"/>
                  <a:gd name="connsiteX49" fmla="*/ 17188 w 896663"/>
                  <a:gd name="connsiteY49" fmla="*/ 3203574 h 4505325"/>
                  <a:gd name="connsiteX50" fmla="*/ 10838 w 896663"/>
                  <a:gd name="connsiteY50" fmla="*/ 3390899 h 4505325"/>
                  <a:gd name="connsiteX51" fmla="*/ 33063 w 896663"/>
                  <a:gd name="connsiteY51" fmla="*/ 3492499 h 4505325"/>
                  <a:gd name="connsiteX52" fmla="*/ 52113 w 896663"/>
                  <a:gd name="connsiteY52" fmla="*/ 3616324 h 4505325"/>
                  <a:gd name="connsiteX53" fmla="*/ 90213 w 896663"/>
                  <a:gd name="connsiteY53" fmla="*/ 3682999 h 4505325"/>
                  <a:gd name="connsiteX54" fmla="*/ 112438 w 896663"/>
                  <a:gd name="connsiteY54" fmla="*/ 3809999 h 4505325"/>
                  <a:gd name="connsiteX55" fmla="*/ 201338 w 896663"/>
                  <a:gd name="connsiteY55" fmla="*/ 3892549 h 4505325"/>
                  <a:gd name="connsiteX56" fmla="*/ 268013 w 896663"/>
                  <a:gd name="connsiteY56" fmla="*/ 3905249 h 4505325"/>
                  <a:gd name="connsiteX57" fmla="*/ 382313 w 896663"/>
                  <a:gd name="connsiteY57" fmla="*/ 4203699 h 4505325"/>
                  <a:gd name="connsiteX58" fmla="*/ 502963 w 896663"/>
                  <a:gd name="connsiteY58" fmla="*/ 4254499 h 4505325"/>
                  <a:gd name="connsiteX59" fmla="*/ 639488 w 896663"/>
                  <a:gd name="connsiteY59" fmla="*/ 4302124 h 4505325"/>
                  <a:gd name="connsiteX60" fmla="*/ 760138 w 896663"/>
                  <a:gd name="connsiteY60" fmla="*/ 4292599 h 4505325"/>
                  <a:gd name="connsiteX61" fmla="*/ 896663 w 896663"/>
                  <a:gd name="connsiteY61" fmla="*/ 4505325 h 4505325"/>
                  <a:gd name="connsiteX0" fmla="*/ 445813 w 896663"/>
                  <a:gd name="connsiteY0" fmla="*/ 0 h 4505325"/>
                  <a:gd name="connsiteX1" fmla="*/ 407713 w 896663"/>
                  <a:gd name="connsiteY1" fmla="*/ 66675 h 4505325"/>
                  <a:gd name="connsiteX2" fmla="*/ 353738 w 896663"/>
                  <a:gd name="connsiteY2" fmla="*/ 85725 h 4505325"/>
                  <a:gd name="connsiteX3" fmla="*/ 283888 w 896663"/>
                  <a:gd name="connsiteY3" fmla="*/ 98425 h 4505325"/>
                  <a:gd name="connsiteX4" fmla="*/ 223563 w 896663"/>
                  <a:gd name="connsiteY4" fmla="*/ 133350 h 4505325"/>
                  <a:gd name="connsiteX5" fmla="*/ 121963 w 896663"/>
                  <a:gd name="connsiteY5" fmla="*/ 196850 h 4505325"/>
                  <a:gd name="connsiteX6" fmla="*/ 131488 w 896663"/>
                  <a:gd name="connsiteY6" fmla="*/ 247650 h 4505325"/>
                  <a:gd name="connsiteX7" fmla="*/ 172763 w 896663"/>
                  <a:gd name="connsiteY7" fmla="*/ 276225 h 4505325"/>
                  <a:gd name="connsiteX8" fmla="*/ 185463 w 896663"/>
                  <a:gd name="connsiteY8" fmla="*/ 327025 h 4505325"/>
                  <a:gd name="connsiteX9" fmla="*/ 239438 w 896663"/>
                  <a:gd name="connsiteY9" fmla="*/ 368300 h 4505325"/>
                  <a:gd name="connsiteX10" fmla="*/ 239438 w 896663"/>
                  <a:gd name="connsiteY10" fmla="*/ 412750 h 4505325"/>
                  <a:gd name="connsiteX11" fmla="*/ 207688 w 896663"/>
                  <a:gd name="connsiteY11" fmla="*/ 454025 h 4505325"/>
                  <a:gd name="connsiteX12" fmla="*/ 287063 w 896663"/>
                  <a:gd name="connsiteY12" fmla="*/ 479425 h 4505325"/>
                  <a:gd name="connsiteX13" fmla="*/ 302938 w 896663"/>
                  <a:gd name="connsiteY13" fmla="*/ 511175 h 4505325"/>
                  <a:gd name="connsiteX14" fmla="*/ 210863 w 896663"/>
                  <a:gd name="connsiteY14" fmla="*/ 581025 h 4505325"/>
                  <a:gd name="connsiteX15" fmla="*/ 160063 w 896663"/>
                  <a:gd name="connsiteY15" fmla="*/ 638175 h 4505325"/>
                  <a:gd name="connsiteX16" fmla="*/ 160063 w 896663"/>
                  <a:gd name="connsiteY16" fmla="*/ 695325 h 4505325"/>
                  <a:gd name="connsiteX17" fmla="*/ 185463 w 896663"/>
                  <a:gd name="connsiteY17" fmla="*/ 784225 h 4505325"/>
                  <a:gd name="connsiteX18" fmla="*/ 194988 w 896663"/>
                  <a:gd name="connsiteY18" fmla="*/ 835025 h 4505325"/>
                  <a:gd name="connsiteX19" fmla="*/ 204513 w 896663"/>
                  <a:gd name="connsiteY19" fmla="*/ 885825 h 4505325"/>
                  <a:gd name="connsiteX20" fmla="*/ 220388 w 896663"/>
                  <a:gd name="connsiteY20" fmla="*/ 923925 h 4505325"/>
                  <a:gd name="connsiteX21" fmla="*/ 163238 w 896663"/>
                  <a:gd name="connsiteY21" fmla="*/ 1022350 h 4505325"/>
                  <a:gd name="connsiteX22" fmla="*/ 96563 w 896663"/>
                  <a:gd name="connsiteY22" fmla="*/ 1057275 h 4505325"/>
                  <a:gd name="connsiteX23" fmla="*/ 52113 w 896663"/>
                  <a:gd name="connsiteY23" fmla="*/ 1143000 h 4505325"/>
                  <a:gd name="connsiteX24" fmla="*/ 20363 w 896663"/>
                  <a:gd name="connsiteY24" fmla="*/ 1244600 h 4505325"/>
                  <a:gd name="connsiteX25" fmla="*/ 1313 w 896663"/>
                  <a:gd name="connsiteY25" fmla="*/ 1346200 h 4505325"/>
                  <a:gd name="connsiteX26" fmla="*/ 10838 w 896663"/>
                  <a:gd name="connsiteY26" fmla="*/ 1438275 h 4505325"/>
                  <a:gd name="connsiteX27" fmla="*/ 83863 w 896663"/>
                  <a:gd name="connsiteY27" fmla="*/ 1511300 h 4505325"/>
                  <a:gd name="connsiteX28" fmla="*/ 112438 w 896663"/>
                  <a:gd name="connsiteY28" fmla="*/ 1558925 h 4505325"/>
                  <a:gd name="connsiteX29" fmla="*/ 150538 w 896663"/>
                  <a:gd name="connsiteY29" fmla="*/ 1590675 h 4505325"/>
                  <a:gd name="connsiteX30" fmla="*/ 169588 w 896663"/>
                  <a:gd name="connsiteY30" fmla="*/ 1644650 h 4505325"/>
                  <a:gd name="connsiteX31" fmla="*/ 226738 w 896663"/>
                  <a:gd name="connsiteY31" fmla="*/ 1685925 h 4505325"/>
                  <a:gd name="connsiteX32" fmla="*/ 264838 w 896663"/>
                  <a:gd name="connsiteY32" fmla="*/ 1730375 h 4505325"/>
                  <a:gd name="connsiteX33" fmla="*/ 277538 w 896663"/>
                  <a:gd name="connsiteY33" fmla="*/ 1758950 h 4505325"/>
                  <a:gd name="connsiteX34" fmla="*/ 277538 w 896663"/>
                  <a:gd name="connsiteY34" fmla="*/ 1828800 h 4505325"/>
                  <a:gd name="connsiteX35" fmla="*/ 325163 w 896663"/>
                  <a:gd name="connsiteY35" fmla="*/ 1905000 h 4505325"/>
                  <a:gd name="connsiteX36" fmla="*/ 363263 w 896663"/>
                  <a:gd name="connsiteY36" fmla="*/ 1962150 h 4505325"/>
                  <a:gd name="connsiteX37" fmla="*/ 369613 w 896663"/>
                  <a:gd name="connsiteY37" fmla="*/ 2028825 h 4505325"/>
                  <a:gd name="connsiteX38" fmla="*/ 407713 w 896663"/>
                  <a:gd name="connsiteY38" fmla="*/ 2085975 h 4505325"/>
                  <a:gd name="connsiteX39" fmla="*/ 414063 w 896663"/>
                  <a:gd name="connsiteY39" fmla="*/ 2209800 h 4505325"/>
                  <a:gd name="connsiteX40" fmla="*/ 252138 w 896663"/>
                  <a:gd name="connsiteY40" fmla="*/ 2251075 h 4505325"/>
                  <a:gd name="connsiteX41" fmla="*/ 201338 w 896663"/>
                  <a:gd name="connsiteY41" fmla="*/ 2390775 h 4505325"/>
                  <a:gd name="connsiteX42" fmla="*/ 210863 w 896663"/>
                  <a:gd name="connsiteY42" fmla="*/ 2454275 h 4505325"/>
                  <a:gd name="connsiteX43" fmla="*/ 226738 w 896663"/>
                  <a:gd name="connsiteY43" fmla="*/ 2482850 h 4505325"/>
                  <a:gd name="connsiteX44" fmla="*/ 226738 w 896663"/>
                  <a:gd name="connsiteY44" fmla="*/ 2527300 h 4505325"/>
                  <a:gd name="connsiteX45" fmla="*/ 236263 w 896663"/>
                  <a:gd name="connsiteY45" fmla="*/ 2603500 h 4505325"/>
                  <a:gd name="connsiteX46" fmla="*/ 153713 w 896663"/>
                  <a:gd name="connsiteY46" fmla="*/ 2917824 h 4505325"/>
                  <a:gd name="connsiteX47" fmla="*/ 80688 w 896663"/>
                  <a:gd name="connsiteY47" fmla="*/ 3063874 h 4505325"/>
                  <a:gd name="connsiteX48" fmla="*/ 42588 w 896663"/>
                  <a:gd name="connsiteY48" fmla="*/ 3133724 h 4505325"/>
                  <a:gd name="connsiteX49" fmla="*/ 17188 w 896663"/>
                  <a:gd name="connsiteY49" fmla="*/ 3203574 h 4505325"/>
                  <a:gd name="connsiteX50" fmla="*/ 10838 w 896663"/>
                  <a:gd name="connsiteY50" fmla="*/ 3390899 h 4505325"/>
                  <a:gd name="connsiteX51" fmla="*/ 39413 w 896663"/>
                  <a:gd name="connsiteY51" fmla="*/ 3482974 h 4505325"/>
                  <a:gd name="connsiteX52" fmla="*/ 52113 w 896663"/>
                  <a:gd name="connsiteY52" fmla="*/ 3616324 h 4505325"/>
                  <a:gd name="connsiteX53" fmla="*/ 90213 w 896663"/>
                  <a:gd name="connsiteY53" fmla="*/ 3682999 h 4505325"/>
                  <a:gd name="connsiteX54" fmla="*/ 112438 w 896663"/>
                  <a:gd name="connsiteY54" fmla="*/ 3809999 h 4505325"/>
                  <a:gd name="connsiteX55" fmla="*/ 201338 w 896663"/>
                  <a:gd name="connsiteY55" fmla="*/ 3892549 h 4505325"/>
                  <a:gd name="connsiteX56" fmla="*/ 268013 w 896663"/>
                  <a:gd name="connsiteY56" fmla="*/ 3905249 h 4505325"/>
                  <a:gd name="connsiteX57" fmla="*/ 382313 w 896663"/>
                  <a:gd name="connsiteY57" fmla="*/ 4203699 h 4505325"/>
                  <a:gd name="connsiteX58" fmla="*/ 502963 w 896663"/>
                  <a:gd name="connsiteY58" fmla="*/ 4254499 h 4505325"/>
                  <a:gd name="connsiteX59" fmla="*/ 639488 w 896663"/>
                  <a:gd name="connsiteY59" fmla="*/ 4302124 h 4505325"/>
                  <a:gd name="connsiteX60" fmla="*/ 760138 w 896663"/>
                  <a:gd name="connsiteY60" fmla="*/ 4292599 h 4505325"/>
                  <a:gd name="connsiteX61" fmla="*/ 896663 w 896663"/>
                  <a:gd name="connsiteY61" fmla="*/ 4505325 h 4505325"/>
                  <a:gd name="connsiteX0" fmla="*/ 445813 w 896663"/>
                  <a:gd name="connsiteY0" fmla="*/ 0 h 4505325"/>
                  <a:gd name="connsiteX1" fmla="*/ 407713 w 896663"/>
                  <a:gd name="connsiteY1" fmla="*/ 66675 h 4505325"/>
                  <a:gd name="connsiteX2" fmla="*/ 353738 w 896663"/>
                  <a:gd name="connsiteY2" fmla="*/ 85725 h 4505325"/>
                  <a:gd name="connsiteX3" fmla="*/ 283888 w 896663"/>
                  <a:gd name="connsiteY3" fmla="*/ 98425 h 4505325"/>
                  <a:gd name="connsiteX4" fmla="*/ 223563 w 896663"/>
                  <a:gd name="connsiteY4" fmla="*/ 133350 h 4505325"/>
                  <a:gd name="connsiteX5" fmla="*/ 121963 w 896663"/>
                  <a:gd name="connsiteY5" fmla="*/ 196850 h 4505325"/>
                  <a:gd name="connsiteX6" fmla="*/ 131488 w 896663"/>
                  <a:gd name="connsiteY6" fmla="*/ 247650 h 4505325"/>
                  <a:gd name="connsiteX7" fmla="*/ 172763 w 896663"/>
                  <a:gd name="connsiteY7" fmla="*/ 276225 h 4505325"/>
                  <a:gd name="connsiteX8" fmla="*/ 185463 w 896663"/>
                  <a:gd name="connsiteY8" fmla="*/ 327025 h 4505325"/>
                  <a:gd name="connsiteX9" fmla="*/ 239438 w 896663"/>
                  <a:gd name="connsiteY9" fmla="*/ 368300 h 4505325"/>
                  <a:gd name="connsiteX10" fmla="*/ 239438 w 896663"/>
                  <a:gd name="connsiteY10" fmla="*/ 412750 h 4505325"/>
                  <a:gd name="connsiteX11" fmla="*/ 207688 w 896663"/>
                  <a:gd name="connsiteY11" fmla="*/ 454025 h 4505325"/>
                  <a:gd name="connsiteX12" fmla="*/ 287063 w 896663"/>
                  <a:gd name="connsiteY12" fmla="*/ 479425 h 4505325"/>
                  <a:gd name="connsiteX13" fmla="*/ 302938 w 896663"/>
                  <a:gd name="connsiteY13" fmla="*/ 511175 h 4505325"/>
                  <a:gd name="connsiteX14" fmla="*/ 210863 w 896663"/>
                  <a:gd name="connsiteY14" fmla="*/ 581025 h 4505325"/>
                  <a:gd name="connsiteX15" fmla="*/ 160063 w 896663"/>
                  <a:gd name="connsiteY15" fmla="*/ 638175 h 4505325"/>
                  <a:gd name="connsiteX16" fmla="*/ 160063 w 896663"/>
                  <a:gd name="connsiteY16" fmla="*/ 695325 h 4505325"/>
                  <a:gd name="connsiteX17" fmla="*/ 185463 w 896663"/>
                  <a:gd name="connsiteY17" fmla="*/ 784225 h 4505325"/>
                  <a:gd name="connsiteX18" fmla="*/ 194988 w 896663"/>
                  <a:gd name="connsiteY18" fmla="*/ 835025 h 4505325"/>
                  <a:gd name="connsiteX19" fmla="*/ 204513 w 896663"/>
                  <a:gd name="connsiteY19" fmla="*/ 885825 h 4505325"/>
                  <a:gd name="connsiteX20" fmla="*/ 220388 w 896663"/>
                  <a:gd name="connsiteY20" fmla="*/ 923925 h 4505325"/>
                  <a:gd name="connsiteX21" fmla="*/ 163238 w 896663"/>
                  <a:gd name="connsiteY21" fmla="*/ 1022350 h 4505325"/>
                  <a:gd name="connsiteX22" fmla="*/ 96563 w 896663"/>
                  <a:gd name="connsiteY22" fmla="*/ 1057275 h 4505325"/>
                  <a:gd name="connsiteX23" fmla="*/ 52113 w 896663"/>
                  <a:gd name="connsiteY23" fmla="*/ 1143000 h 4505325"/>
                  <a:gd name="connsiteX24" fmla="*/ 20363 w 896663"/>
                  <a:gd name="connsiteY24" fmla="*/ 1244600 h 4505325"/>
                  <a:gd name="connsiteX25" fmla="*/ 1313 w 896663"/>
                  <a:gd name="connsiteY25" fmla="*/ 1346200 h 4505325"/>
                  <a:gd name="connsiteX26" fmla="*/ 10838 w 896663"/>
                  <a:gd name="connsiteY26" fmla="*/ 1438275 h 4505325"/>
                  <a:gd name="connsiteX27" fmla="*/ 83863 w 896663"/>
                  <a:gd name="connsiteY27" fmla="*/ 1511300 h 4505325"/>
                  <a:gd name="connsiteX28" fmla="*/ 112438 w 896663"/>
                  <a:gd name="connsiteY28" fmla="*/ 1558925 h 4505325"/>
                  <a:gd name="connsiteX29" fmla="*/ 150538 w 896663"/>
                  <a:gd name="connsiteY29" fmla="*/ 1590675 h 4505325"/>
                  <a:gd name="connsiteX30" fmla="*/ 169588 w 896663"/>
                  <a:gd name="connsiteY30" fmla="*/ 1644650 h 4505325"/>
                  <a:gd name="connsiteX31" fmla="*/ 226738 w 896663"/>
                  <a:gd name="connsiteY31" fmla="*/ 1685925 h 4505325"/>
                  <a:gd name="connsiteX32" fmla="*/ 264838 w 896663"/>
                  <a:gd name="connsiteY32" fmla="*/ 1730375 h 4505325"/>
                  <a:gd name="connsiteX33" fmla="*/ 277538 w 896663"/>
                  <a:gd name="connsiteY33" fmla="*/ 1758950 h 4505325"/>
                  <a:gd name="connsiteX34" fmla="*/ 277538 w 896663"/>
                  <a:gd name="connsiteY34" fmla="*/ 1828800 h 4505325"/>
                  <a:gd name="connsiteX35" fmla="*/ 325163 w 896663"/>
                  <a:gd name="connsiteY35" fmla="*/ 1905000 h 4505325"/>
                  <a:gd name="connsiteX36" fmla="*/ 363263 w 896663"/>
                  <a:gd name="connsiteY36" fmla="*/ 1962150 h 4505325"/>
                  <a:gd name="connsiteX37" fmla="*/ 369613 w 896663"/>
                  <a:gd name="connsiteY37" fmla="*/ 2028825 h 4505325"/>
                  <a:gd name="connsiteX38" fmla="*/ 407713 w 896663"/>
                  <a:gd name="connsiteY38" fmla="*/ 2085975 h 4505325"/>
                  <a:gd name="connsiteX39" fmla="*/ 414063 w 896663"/>
                  <a:gd name="connsiteY39" fmla="*/ 2209800 h 4505325"/>
                  <a:gd name="connsiteX40" fmla="*/ 252138 w 896663"/>
                  <a:gd name="connsiteY40" fmla="*/ 2251075 h 4505325"/>
                  <a:gd name="connsiteX41" fmla="*/ 201338 w 896663"/>
                  <a:gd name="connsiteY41" fmla="*/ 2390775 h 4505325"/>
                  <a:gd name="connsiteX42" fmla="*/ 210863 w 896663"/>
                  <a:gd name="connsiteY42" fmla="*/ 2454275 h 4505325"/>
                  <a:gd name="connsiteX43" fmla="*/ 226738 w 896663"/>
                  <a:gd name="connsiteY43" fmla="*/ 2482850 h 4505325"/>
                  <a:gd name="connsiteX44" fmla="*/ 226738 w 896663"/>
                  <a:gd name="connsiteY44" fmla="*/ 2527300 h 4505325"/>
                  <a:gd name="connsiteX45" fmla="*/ 236263 w 896663"/>
                  <a:gd name="connsiteY45" fmla="*/ 2603500 h 4505325"/>
                  <a:gd name="connsiteX46" fmla="*/ 153713 w 896663"/>
                  <a:gd name="connsiteY46" fmla="*/ 2917824 h 4505325"/>
                  <a:gd name="connsiteX47" fmla="*/ 80688 w 896663"/>
                  <a:gd name="connsiteY47" fmla="*/ 3063874 h 4505325"/>
                  <a:gd name="connsiteX48" fmla="*/ 42588 w 896663"/>
                  <a:gd name="connsiteY48" fmla="*/ 3133724 h 4505325"/>
                  <a:gd name="connsiteX49" fmla="*/ 17188 w 896663"/>
                  <a:gd name="connsiteY49" fmla="*/ 3203574 h 4505325"/>
                  <a:gd name="connsiteX50" fmla="*/ 10838 w 896663"/>
                  <a:gd name="connsiteY50" fmla="*/ 3390899 h 4505325"/>
                  <a:gd name="connsiteX51" fmla="*/ 39413 w 896663"/>
                  <a:gd name="connsiteY51" fmla="*/ 3482974 h 4505325"/>
                  <a:gd name="connsiteX52" fmla="*/ 52113 w 896663"/>
                  <a:gd name="connsiteY52" fmla="*/ 3616324 h 4505325"/>
                  <a:gd name="connsiteX53" fmla="*/ 90213 w 896663"/>
                  <a:gd name="connsiteY53" fmla="*/ 3682999 h 4505325"/>
                  <a:gd name="connsiteX54" fmla="*/ 112438 w 896663"/>
                  <a:gd name="connsiteY54" fmla="*/ 3809999 h 4505325"/>
                  <a:gd name="connsiteX55" fmla="*/ 201338 w 896663"/>
                  <a:gd name="connsiteY55" fmla="*/ 3892549 h 4505325"/>
                  <a:gd name="connsiteX56" fmla="*/ 258488 w 896663"/>
                  <a:gd name="connsiteY56" fmla="*/ 3908424 h 4505325"/>
                  <a:gd name="connsiteX57" fmla="*/ 382313 w 896663"/>
                  <a:gd name="connsiteY57" fmla="*/ 4203699 h 4505325"/>
                  <a:gd name="connsiteX58" fmla="*/ 502963 w 896663"/>
                  <a:gd name="connsiteY58" fmla="*/ 4254499 h 4505325"/>
                  <a:gd name="connsiteX59" fmla="*/ 639488 w 896663"/>
                  <a:gd name="connsiteY59" fmla="*/ 4302124 h 4505325"/>
                  <a:gd name="connsiteX60" fmla="*/ 760138 w 896663"/>
                  <a:gd name="connsiteY60" fmla="*/ 4292599 h 4505325"/>
                  <a:gd name="connsiteX61" fmla="*/ 896663 w 896663"/>
                  <a:gd name="connsiteY61" fmla="*/ 4505325 h 4505325"/>
                  <a:gd name="connsiteX0" fmla="*/ 445813 w 896663"/>
                  <a:gd name="connsiteY0" fmla="*/ 0 h 4505325"/>
                  <a:gd name="connsiteX1" fmla="*/ 407713 w 896663"/>
                  <a:gd name="connsiteY1" fmla="*/ 66675 h 4505325"/>
                  <a:gd name="connsiteX2" fmla="*/ 353738 w 896663"/>
                  <a:gd name="connsiteY2" fmla="*/ 85725 h 4505325"/>
                  <a:gd name="connsiteX3" fmla="*/ 283888 w 896663"/>
                  <a:gd name="connsiteY3" fmla="*/ 98425 h 4505325"/>
                  <a:gd name="connsiteX4" fmla="*/ 223563 w 896663"/>
                  <a:gd name="connsiteY4" fmla="*/ 133350 h 4505325"/>
                  <a:gd name="connsiteX5" fmla="*/ 121963 w 896663"/>
                  <a:gd name="connsiteY5" fmla="*/ 196850 h 4505325"/>
                  <a:gd name="connsiteX6" fmla="*/ 131488 w 896663"/>
                  <a:gd name="connsiteY6" fmla="*/ 247650 h 4505325"/>
                  <a:gd name="connsiteX7" fmla="*/ 172763 w 896663"/>
                  <a:gd name="connsiteY7" fmla="*/ 276225 h 4505325"/>
                  <a:gd name="connsiteX8" fmla="*/ 185463 w 896663"/>
                  <a:gd name="connsiteY8" fmla="*/ 327025 h 4505325"/>
                  <a:gd name="connsiteX9" fmla="*/ 239438 w 896663"/>
                  <a:gd name="connsiteY9" fmla="*/ 368300 h 4505325"/>
                  <a:gd name="connsiteX10" fmla="*/ 239438 w 896663"/>
                  <a:gd name="connsiteY10" fmla="*/ 412750 h 4505325"/>
                  <a:gd name="connsiteX11" fmla="*/ 207688 w 896663"/>
                  <a:gd name="connsiteY11" fmla="*/ 454025 h 4505325"/>
                  <a:gd name="connsiteX12" fmla="*/ 287063 w 896663"/>
                  <a:gd name="connsiteY12" fmla="*/ 479425 h 4505325"/>
                  <a:gd name="connsiteX13" fmla="*/ 302938 w 896663"/>
                  <a:gd name="connsiteY13" fmla="*/ 511175 h 4505325"/>
                  <a:gd name="connsiteX14" fmla="*/ 210863 w 896663"/>
                  <a:gd name="connsiteY14" fmla="*/ 581025 h 4505325"/>
                  <a:gd name="connsiteX15" fmla="*/ 160063 w 896663"/>
                  <a:gd name="connsiteY15" fmla="*/ 638175 h 4505325"/>
                  <a:gd name="connsiteX16" fmla="*/ 160063 w 896663"/>
                  <a:gd name="connsiteY16" fmla="*/ 695325 h 4505325"/>
                  <a:gd name="connsiteX17" fmla="*/ 185463 w 896663"/>
                  <a:gd name="connsiteY17" fmla="*/ 784225 h 4505325"/>
                  <a:gd name="connsiteX18" fmla="*/ 194988 w 896663"/>
                  <a:gd name="connsiteY18" fmla="*/ 835025 h 4505325"/>
                  <a:gd name="connsiteX19" fmla="*/ 204513 w 896663"/>
                  <a:gd name="connsiteY19" fmla="*/ 885825 h 4505325"/>
                  <a:gd name="connsiteX20" fmla="*/ 220388 w 896663"/>
                  <a:gd name="connsiteY20" fmla="*/ 923925 h 4505325"/>
                  <a:gd name="connsiteX21" fmla="*/ 163238 w 896663"/>
                  <a:gd name="connsiteY21" fmla="*/ 1022350 h 4505325"/>
                  <a:gd name="connsiteX22" fmla="*/ 96563 w 896663"/>
                  <a:gd name="connsiteY22" fmla="*/ 1057275 h 4505325"/>
                  <a:gd name="connsiteX23" fmla="*/ 52113 w 896663"/>
                  <a:gd name="connsiteY23" fmla="*/ 1143000 h 4505325"/>
                  <a:gd name="connsiteX24" fmla="*/ 20363 w 896663"/>
                  <a:gd name="connsiteY24" fmla="*/ 1244600 h 4505325"/>
                  <a:gd name="connsiteX25" fmla="*/ 1313 w 896663"/>
                  <a:gd name="connsiteY25" fmla="*/ 1346200 h 4505325"/>
                  <a:gd name="connsiteX26" fmla="*/ 10838 w 896663"/>
                  <a:gd name="connsiteY26" fmla="*/ 1438275 h 4505325"/>
                  <a:gd name="connsiteX27" fmla="*/ 83863 w 896663"/>
                  <a:gd name="connsiteY27" fmla="*/ 1511300 h 4505325"/>
                  <a:gd name="connsiteX28" fmla="*/ 112438 w 896663"/>
                  <a:gd name="connsiteY28" fmla="*/ 1558925 h 4505325"/>
                  <a:gd name="connsiteX29" fmla="*/ 150538 w 896663"/>
                  <a:gd name="connsiteY29" fmla="*/ 1590675 h 4505325"/>
                  <a:gd name="connsiteX30" fmla="*/ 169588 w 896663"/>
                  <a:gd name="connsiteY30" fmla="*/ 1644650 h 4505325"/>
                  <a:gd name="connsiteX31" fmla="*/ 226738 w 896663"/>
                  <a:gd name="connsiteY31" fmla="*/ 1685925 h 4505325"/>
                  <a:gd name="connsiteX32" fmla="*/ 264838 w 896663"/>
                  <a:gd name="connsiteY32" fmla="*/ 1730375 h 4505325"/>
                  <a:gd name="connsiteX33" fmla="*/ 277538 w 896663"/>
                  <a:gd name="connsiteY33" fmla="*/ 1758950 h 4505325"/>
                  <a:gd name="connsiteX34" fmla="*/ 277538 w 896663"/>
                  <a:gd name="connsiteY34" fmla="*/ 1828800 h 4505325"/>
                  <a:gd name="connsiteX35" fmla="*/ 325163 w 896663"/>
                  <a:gd name="connsiteY35" fmla="*/ 1905000 h 4505325"/>
                  <a:gd name="connsiteX36" fmla="*/ 363263 w 896663"/>
                  <a:gd name="connsiteY36" fmla="*/ 1962150 h 4505325"/>
                  <a:gd name="connsiteX37" fmla="*/ 369613 w 896663"/>
                  <a:gd name="connsiteY37" fmla="*/ 2028825 h 4505325"/>
                  <a:gd name="connsiteX38" fmla="*/ 407713 w 896663"/>
                  <a:gd name="connsiteY38" fmla="*/ 2085975 h 4505325"/>
                  <a:gd name="connsiteX39" fmla="*/ 414063 w 896663"/>
                  <a:gd name="connsiteY39" fmla="*/ 2209800 h 4505325"/>
                  <a:gd name="connsiteX40" fmla="*/ 252138 w 896663"/>
                  <a:gd name="connsiteY40" fmla="*/ 2251075 h 4505325"/>
                  <a:gd name="connsiteX41" fmla="*/ 201338 w 896663"/>
                  <a:gd name="connsiteY41" fmla="*/ 2390775 h 4505325"/>
                  <a:gd name="connsiteX42" fmla="*/ 210863 w 896663"/>
                  <a:gd name="connsiteY42" fmla="*/ 2454275 h 4505325"/>
                  <a:gd name="connsiteX43" fmla="*/ 226738 w 896663"/>
                  <a:gd name="connsiteY43" fmla="*/ 2482850 h 4505325"/>
                  <a:gd name="connsiteX44" fmla="*/ 226738 w 896663"/>
                  <a:gd name="connsiteY44" fmla="*/ 2527300 h 4505325"/>
                  <a:gd name="connsiteX45" fmla="*/ 236263 w 896663"/>
                  <a:gd name="connsiteY45" fmla="*/ 2603500 h 4505325"/>
                  <a:gd name="connsiteX46" fmla="*/ 204513 w 896663"/>
                  <a:gd name="connsiteY46" fmla="*/ 2825749 h 4505325"/>
                  <a:gd name="connsiteX47" fmla="*/ 153713 w 896663"/>
                  <a:gd name="connsiteY47" fmla="*/ 2917824 h 4505325"/>
                  <a:gd name="connsiteX48" fmla="*/ 80688 w 896663"/>
                  <a:gd name="connsiteY48" fmla="*/ 3063874 h 4505325"/>
                  <a:gd name="connsiteX49" fmla="*/ 42588 w 896663"/>
                  <a:gd name="connsiteY49" fmla="*/ 3133724 h 4505325"/>
                  <a:gd name="connsiteX50" fmla="*/ 17188 w 896663"/>
                  <a:gd name="connsiteY50" fmla="*/ 3203574 h 4505325"/>
                  <a:gd name="connsiteX51" fmla="*/ 10838 w 896663"/>
                  <a:gd name="connsiteY51" fmla="*/ 3390899 h 4505325"/>
                  <a:gd name="connsiteX52" fmla="*/ 39413 w 896663"/>
                  <a:gd name="connsiteY52" fmla="*/ 3482974 h 4505325"/>
                  <a:gd name="connsiteX53" fmla="*/ 52113 w 896663"/>
                  <a:gd name="connsiteY53" fmla="*/ 3616324 h 4505325"/>
                  <a:gd name="connsiteX54" fmla="*/ 90213 w 896663"/>
                  <a:gd name="connsiteY54" fmla="*/ 3682999 h 4505325"/>
                  <a:gd name="connsiteX55" fmla="*/ 112438 w 896663"/>
                  <a:gd name="connsiteY55" fmla="*/ 3809999 h 4505325"/>
                  <a:gd name="connsiteX56" fmla="*/ 201338 w 896663"/>
                  <a:gd name="connsiteY56" fmla="*/ 3892549 h 4505325"/>
                  <a:gd name="connsiteX57" fmla="*/ 258488 w 896663"/>
                  <a:gd name="connsiteY57" fmla="*/ 3908424 h 4505325"/>
                  <a:gd name="connsiteX58" fmla="*/ 382313 w 896663"/>
                  <a:gd name="connsiteY58" fmla="*/ 4203699 h 4505325"/>
                  <a:gd name="connsiteX59" fmla="*/ 502963 w 896663"/>
                  <a:gd name="connsiteY59" fmla="*/ 4254499 h 4505325"/>
                  <a:gd name="connsiteX60" fmla="*/ 639488 w 896663"/>
                  <a:gd name="connsiteY60" fmla="*/ 4302124 h 4505325"/>
                  <a:gd name="connsiteX61" fmla="*/ 760138 w 896663"/>
                  <a:gd name="connsiteY61" fmla="*/ 4292599 h 4505325"/>
                  <a:gd name="connsiteX62" fmla="*/ 896663 w 896663"/>
                  <a:gd name="connsiteY62" fmla="*/ 4505325 h 4505325"/>
                  <a:gd name="connsiteX0" fmla="*/ 445813 w 896663"/>
                  <a:gd name="connsiteY0" fmla="*/ 0 h 4505325"/>
                  <a:gd name="connsiteX1" fmla="*/ 407713 w 896663"/>
                  <a:gd name="connsiteY1" fmla="*/ 66675 h 4505325"/>
                  <a:gd name="connsiteX2" fmla="*/ 353738 w 896663"/>
                  <a:gd name="connsiteY2" fmla="*/ 85725 h 4505325"/>
                  <a:gd name="connsiteX3" fmla="*/ 283888 w 896663"/>
                  <a:gd name="connsiteY3" fmla="*/ 98425 h 4505325"/>
                  <a:gd name="connsiteX4" fmla="*/ 223563 w 896663"/>
                  <a:gd name="connsiteY4" fmla="*/ 133350 h 4505325"/>
                  <a:gd name="connsiteX5" fmla="*/ 121963 w 896663"/>
                  <a:gd name="connsiteY5" fmla="*/ 196850 h 4505325"/>
                  <a:gd name="connsiteX6" fmla="*/ 131488 w 896663"/>
                  <a:gd name="connsiteY6" fmla="*/ 247650 h 4505325"/>
                  <a:gd name="connsiteX7" fmla="*/ 172763 w 896663"/>
                  <a:gd name="connsiteY7" fmla="*/ 276225 h 4505325"/>
                  <a:gd name="connsiteX8" fmla="*/ 185463 w 896663"/>
                  <a:gd name="connsiteY8" fmla="*/ 327025 h 4505325"/>
                  <a:gd name="connsiteX9" fmla="*/ 239438 w 896663"/>
                  <a:gd name="connsiteY9" fmla="*/ 368300 h 4505325"/>
                  <a:gd name="connsiteX10" fmla="*/ 239438 w 896663"/>
                  <a:gd name="connsiteY10" fmla="*/ 412750 h 4505325"/>
                  <a:gd name="connsiteX11" fmla="*/ 207688 w 896663"/>
                  <a:gd name="connsiteY11" fmla="*/ 454025 h 4505325"/>
                  <a:gd name="connsiteX12" fmla="*/ 287063 w 896663"/>
                  <a:gd name="connsiteY12" fmla="*/ 479425 h 4505325"/>
                  <a:gd name="connsiteX13" fmla="*/ 302938 w 896663"/>
                  <a:gd name="connsiteY13" fmla="*/ 511175 h 4505325"/>
                  <a:gd name="connsiteX14" fmla="*/ 210863 w 896663"/>
                  <a:gd name="connsiteY14" fmla="*/ 581025 h 4505325"/>
                  <a:gd name="connsiteX15" fmla="*/ 160063 w 896663"/>
                  <a:gd name="connsiteY15" fmla="*/ 638175 h 4505325"/>
                  <a:gd name="connsiteX16" fmla="*/ 160063 w 896663"/>
                  <a:gd name="connsiteY16" fmla="*/ 695325 h 4505325"/>
                  <a:gd name="connsiteX17" fmla="*/ 185463 w 896663"/>
                  <a:gd name="connsiteY17" fmla="*/ 784225 h 4505325"/>
                  <a:gd name="connsiteX18" fmla="*/ 194988 w 896663"/>
                  <a:gd name="connsiteY18" fmla="*/ 835025 h 4505325"/>
                  <a:gd name="connsiteX19" fmla="*/ 204513 w 896663"/>
                  <a:gd name="connsiteY19" fmla="*/ 885825 h 4505325"/>
                  <a:gd name="connsiteX20" fmla="*/ 220388 w 896663"/>
                  <a:gd name="connsiteY20" fmla="*/ 923925 h 4505325"/>
                  <a:gd name="connsiteX21" fmla="*/ 163238 w 896663"/>
                  <a:gd name="connsiteY21" fmla="*/ 1022350 h 4505325"/>
                  <a:gd name="connsiteX22" fmla="*/ 96563 w 896663"/>
                  <a:gd name="connsiteY22" fmla="*/ 1057275 h 4505325"/>
                  <a:gd name="connsiteX23" fmla="*/ 52113 w 896663"/>
                  <a:gd name="connsiteY23" fmla="*/ 1143000 h 4505325"/>
                  <a:gd name="connsiteX24" fmla="*/ 20363 w 896663"/>
                  <a:gd name="connsiteY24" fmla="*/ 1244600 h 4505325"/>
                  <a:gd name="connsiteX25" fmla="*/ 1313 w 896663"/>
                  <a:gd name="connsiteY25" fmla="*/ 1346200 h 4505325"/>
                  <a:gd name="connsiteX26" fmla="*/ 10838 w 896663"/>
                  <a:gd name="connsiteY26" fmla="*/ 1438275 h 4505325"/>
                  <a:gd name="connsiteX27" fmla="*/ 83863 w 896663"/>
                  <a:gd name="connsiteY27" fmla="*/ 1511300 h 4505325"/>
                  <a:gd name="connsiteX28" fmla="*/ 112438 w 896663"/>
                  <a:gd name="connsiteY28" fmla="*/ 1558925 h 4505325"/>
                  <a:gd name="connsiteX29" fmla="*/ 150538 w 896663"/>
                  <a:gd name="connsiteY29" fmla="*/ 1590675 h 4505325"/>
                  <a:gd name="connsiteX30" fmla="*/ 169588 w 896663"/>
                  <a:gd name="connsiteY30" fmla="*/ 1644650 h 4505325"/>
                  <a:gd name="connsiteX31" fmla="*/ 226738 w 896663"/>
                  <a:gd name="connsiteY31" fmla="*/ 1685925 h 4505325"/>
                  <a:gd name="connsiteX32" fmla="*/ 264838 w 896663"/>
                  <a:gd name="connsiteY32" fmla="*/ 1730375 h 4505325"/>
                  <a:gd name="connsiteX33" fmla="*/ 277538 w 896663"/>
                  <a:gd name="connsiteY33" fmla="*/ 1758950 h 4505325"/>
                  <a:gd name="connsiteX34" fmla="*/ 277538 w 896663"/>
                  <a:gd name="connsiteY34" fmla="*/ 1828800 h 4505325"/>
                  <a:gd name="connsiteX35" fmla="*/ 325163 w 896663"/>
                  <a:gd name="connsiteY35" fmla="*/ 1905000 h 4505325"/>
                  <a:gd name="connsiteX36" fmla="*/ 363263 w 896663"/>
                  <a:gd name="connsiteY36" fmla="*/ 1962150 h 4505325"/>
                  <a:gd name="connsiteX37" fmla="*/ 369613 w 896663"/>
                  <a:gd name="connsiteY37" fmla="*/ 2028825 h 4505325"/>
                  <a:gd name="connsiteX38" fmla="*/ 407713 w 896663"/>
                  <a:gd name="connsiteY38" fmla="*/ 2085975 h 4505325"/>
                  <a:gd name="connsiteX39" fmla="*/ 414063 w 896663"/>
                  <a:gd name="connsiteY39" fmla="*/ 2255981 h 4505325"/>
                  <a:gd name="connsiteX40" fmla="*/ 252138 w 896663"/>
                  <a:gd name="connsiteY40" fmla="*/ 2251075 h 4505325"/>
                  <a:gd name="connsiteX41" fmla="*/ 201338 w 896663"/>
                  <a:gd name="connsiteY41" fmla="*/ 2390775 h 4505325"/>
                  <a:gd name="connsiteX42" fmla="*/ 210863 w 896663"/>
                  <a:gd name="connsiteY42" fmla="*/ 2454275 h 4505325"/>
                  <a:gd name="connsiteX43" fmla="*/ 226738 w 896663"/>
                  <a:gd name="connsiteY43" fmla="*/ 2482850 h 4505325"/>
                  <a:gd name="connsiteX44" fmla="*/ 226738 w 896663"/>
                  <a:gd name="connsiteY44" fmla="*/ 2527300 h 4505325"/>
                  <a:gd name="connsiteX45" fmla="*/ 236263 w 896663"/>
                  <a:gd name="connsiteY45" fmla="*/ 2603500 h 4505325"/>
                  <a:gd name="connsiteX46" fmla="*/ 204513 w 896663"/>
                  <a:gd name="connsiteY46" fmla="*/ 2825749 h 4505325"/>
                  <a:gd name="connsiteX47" fmla="*/ 153713 w 896663"/>
                  <a:gd name="connsiteY47" fmla="*/ 2917824 h 4505325"/>
                  <a:gd name="connsiteX48" fmla="*/ 80688 w 896663"/>
                  <a:gd name="connsiteY48" fmla="*/ 3063874 h 4505325"/>
                  <a:gd name="connsiteX49" fmla="*/ 42588 w 896663"/>
                  <a:gd name="connsiteY49" fmla="*/ 3133724 h 4505325"/>
                  <a:gd name="connsiteX50" fmla="*/ 17188 w 896663"/>
                  <a:gd name="connsiteY50" fmla="*/ 3203574 h 4505325"/>
                  <a:gd name="connsiteX51" fmla="*/ 10838 w 896663"/>
                  <a:gd name="connsiteY51" fmla="*/ 3390899 h 4505325"/>
                  <a:gd name="connsiteX52" fmla="*/ 39413 w 896663"/>
                  <a:gd name="connsiteY52" fmla="*/ 3482974 h 4505325"/>
                  <a:gd name="connsiteX53" fmla="*/ 52113 w 896663"/>
                  <a:gd name="connsiteY53" fmla="*/ 3616324 h 4505325"/>
                  <a:gd name="connsiteX54" fmla="*/ 90213 w 896663"/>
                  <a:gd name="connsiteY54" fmla="*/ 3682999 h 4505325"/>
                  <a:gd name="connsiteX55" fmla="*/ 112438 w 896663"/>
                  <a:gd name="connsiteY55" fmla="*/ 3809999 h 4505325"/>
                  <a:gd name="connsiteX56" fmla="*/ 201338 w 896663"/>
                  <a:gd name="connsiteY56" fmla="*/ 3892549 h 4505325"/>
                  <a:gd name="connsiteX57" fmla="*/ 258488 w 896663"/>
                  <a:gd name="connsiteY57" fmla="*/ 3908424 h 4505325"/>
                  <a:gd name="connsiteX58" fmla="*/ 382313 w 896663"/>
                  <a:gd name="connsiteY58" fmla="*/ 4203699 h 4505325"/>
                  <a:gd name="connsiteX59" fmla="*/ 502963 w 896663"/>
                  <a:gd name="connsiteY59" fmla="*/ 4254499 h 4505325"/>
                  <a:gd name="connsiteX60" fmla="*/ 639488 w 896663"/>
                  <a:gd name="connsiteY60" fmla="*/ 4302124 h 4505325"/>
                  <a:gd name="connsiteX61" fmla="*/ 760138 w 896663"/>
                  <a:gd name="connsiteY61" fmla="*/ 4292599 h 4505325"/>
                  <a:gd name="connsiteX62" fmla="*/ 896663 w 896663"/>
                  <a:gd name="connsiteY62" fmla="*/ 4505325 h 4505325"/>
                  <a:gd name="connsiteX0" fmla="*/ 445813 w 896663"/>
                  <a:gd name="connsiteY0" fmla="*/ 0 h 4505325"/>
                  <a:gd name="connsiteX1" fmla="*/ 407713 w 896663"/>
                  <a:gd name="connsiteY1" fmla="*/ 66675 h 4505325"/>
                  <a:gd name="connsiteX2" fmla="*/ 353738 w 896663"/>
                  <a:gd name="connsiteY2" fmla="*/ 85725 h 4505325"/>
                  <a:gd name="connsiteX3" fmla="*/ 283888 w 896663"/>
                  <a:gd name="connsiteY3" fmla="*/ 98425 h 4505325"/>
                  <a:gd name="connsiteX4" fmla="*/ 223563 w 896663"/>
                  <a:gd name="connsiteY4" fmla="*/ 133350 h 4505325"/>
                  <a:gd name="connsiteX5" fmla="*/ 121963 w 896663"/>
                  <a:gd name="connsiteY5" fmla="*/ 196850 h 4505325"/>
                  <a:gd name="connsiteX6" fmla="*/ 131488 w 896663"/>
                  <a:gd name="connsiteY6" fmla="*/ 247650 h 4505325"/>
                  <a:gd name="connsiteX7" fmla="*/ 172763 w 896663"/>
                  <a:gd name="connsiteY7" fmla="*/ 276225 h 4505325"/>
                  <a:gd name="connsiteX8" fmla="*/ 185463 w 896663"/>
                  <a:gd name="connsiteY8" fmla="*/ 327025 h 4505325"/>
                  <a:gd name="connsiteX9" fmla="*/ 239438 w 896663"/>
                  <a:gd name="connsiteY9" fmla="*/ 368300 h 4505325"/>
                  <a:gd name="connsiteX10" fmla="*/ 239438 w 896663"/>
                  <a:gd name="connsiteY10" fmla="*/ 412750 h 4505325"/>
                  <a:gd name="connsiteX11" fmla="*/ 207688 w 896663"/>
                  <a:gd name="connsiteY11" fmla="*/ 454025 h 4505325"/>
                  <a:gd name="connsiteX12" fmla="*/ 287063 w 896663"/>
                  <a:gd name="connsiteY12" fmla="*/ 479425 h 4505325"/>
                  <a:gd name="connsiteX13" fmla="*/ 302938 w 896663"/>
                  <a:gd name="connsiteY13" fmla="*/ 511175 h 4505325"/>
                  <a:gd name="connsiteX14" fmla="*/ 210863 w 896663"/>
                  <a:gd name="connsiteY14" fmla="*/ 581025 h 4505325"/>
                  <a:gd name="connsiteX15" fmla="*/ 160063 w 896663"/>
                  <a:gd name="connsiteY15" fmla="*/ 638175 h 4505325"/>
                  <a:gd name="connsiteX16" fmla="*/ 160063 w 896663"/>
                  <a:gd name="connsiteY16" fmla="*/ 695325 h 4505325"/>
                  <a:gd name="connsiteX17" fmla="*/ 185463 w 896663"/>
                  <a:gd name="connsiteY17" fmla="*/ 784225 h 4505325"/>
                  <a:gd name="connsiteX18" fmla="*/ 194988 w 896663"/>
                  <a:gd name="connsiteY18" fmla="*/ 835025 h 4505325"/>
                  <a:gd name="connsiteX19" fmla="*/ 204513 w 896663"/>
                  <a:gd name="connsiteY19" fmla="*/ 885825 h 4505325"/>
                  <a:gd name="connsiteX20" fmla="*/ 220388 w 896663"/>
                  <a:gd name="connsiteY20" fmla="*/ 923925 h 4505325"/>
                  <a:gd name="connsiteX21" fmla="*/ 163238 w 896663"/>
                  <a:gd name="connsiteY21" fmla="*/ 1022350 h 4505325"/>
                  <a:gd name="connsiteX22" fmla="*/ 96563 w 896663"/>
                  <a:gd name="connsiteY22" fmla="*/ 1057275 h 4505325"/>
                  <a:gd name="connsiteX23" fmla="*/ 52113 w 896663"/>
                  <a:gd name="connsiteY23" fmla="*/ 1143000 h 4505325"/>
                  <a:gd name="connsiteX24" fmla="*/ 20363 w 896663"/>
                  <a:gd name="connsiteY24" fmla="*/ 1244600 h 4505325"/>
                  <a:gd name="connsiteX25" fmla="*/ 1313 w 896663"/>
                  <a:gd name="connsiteY25" fmla="*/ 1346200 h 4505325"/>
                  <a:gd name="connsiteX26" fmla="*/ 10838 w 896663"/>
                  <a:gd name="connsiteY26" fmla="*/ 1438275 h 4505325"/>
                  <a:gd name="connsiteX27" fmla="*/ 83863 w 896663"/>
                  <a:gd name="connsiteY27" fmla="*/ 1511300 h 4505325"/>
                  <a:gd name="connsiteX28" fmla="*/ 112438 w 896663"/>
                  <a:gd name="connsiteY28" fmla="*/ 1558925 h 4505325"/>
                  <a:gd name="connsiteX29" fmla="*/ 150538 w 896663"/>
                  <a:gd name="connsiteY29" fmla="*/ 1590675 h 4505325"/>
                  <a:gd name="connsiteX30" fmla="*/ 169588 w 896663"/>
                  <a:gd name="connsiteY30" fmla="*/ 1644650 h 4505325"/>
                  <a:gd name="connsiteX31" fmla="*/ 226738 w 896663"/>
                  <a:gd name="connsiteY31" fmla="*/ 1685925 h 4505325"/>
                  <a:gd name="connsiteX32" fmla="*/ 264838 w 896663"/>
                  <a:gd name="connsiteY32" fmla="*/ 1730375 h 4505325"/>
                  <a:gd name="connsiteX33" fmla="*/ 277538 w 896663"/>
                  <a:gd name="connsiteY33" fmla="*/ 1758950 h 4505325"/>
                  <a:gd name="connsiteX34" fmla="*/ 277538 w 896663"/>
                  <a:gd name="connsiteY34" fmla="*/ 1828800 h 4505325"/>
                  <a:gd name="connsiteX35" fmla="*/ 325163 w 896663"/>
                  <a:gd name="connsiteY35" fmla="*/ 1905000 h 4505325"/>
                  <a:gd name="connsiteX36" fmla="*/ 363263 w 896663"/>
                  <a:gd name="connsiteY36" fmla="*/ 1962150 h 4505325"/>
                  <a:gd name="connsiteX37" fmla="*/ 369613 w 896663"/>
                  <a:gd name="connsiteY37" fmla="*/ 2028825 h 4505325"/>
                  <a:gd name="connsiteX38" fmla="*/ 407713 w 896663"/>
                  <a:gd name="connsiteY38" fmla="*/ 2085975 h 4505325"/>
                  <a:gd name="connsiteX39" fmla="*/ 414063 w 896663"/>
                  <a:gd name="connsiteY39" fmla="*/ 2255981 h 4505325"/>
                  <a:gd name="connsiteX40" fmla="*/ 242901 w 896663"/>
                  <a:gd name="connsiteY40" fmla="*/ 2278784 h 4505325"/>
                  <a:gd name="connsiteX41" fmla="*/ 201338 w 896663"/>
                  <a:gd name="connsiteY41" fmla="*/ 2390775 h 4505325"/>
                  <a:gd name="connsiteX42" fmla="*/ 210863 w 896663"/>
                  <a:gd name="connsiteY42" fmla="*/ 2454275 h 4505325"/>
                  <a:gd name="connsiteX43" fmla="*/ 226738 w 896663"/>
                  <a:gd name="connsiteY43" fmla="*/ 2482850 h 4505325"/>
                  <a:gd name="connsiteX44" fmla="*/ 226738 w 896663"/>
                  <a:gd name="connsiteY44" fmla="*/ 2527300 h 4505325"/>
                  <a:gd name="connsiteX45" fmla="*/ 236263 w 896663"/>
                  <a:gd name="connsiteY45" fmla="*/ 2603500 h 4505325"/>
                  <a:gd name="connsiteX46" fmla="*/ 204513 w 896663"/>
                  <a:gd name="connsiteY46" fmla="*/ 2825749 h 4505325"/>
                  <a:gd name="connsiteX47" fmla="*/ 153713 w 896663"/>
                  <a:gd name="connsiteY47" fmla="*/ 2917824 h 4505325"/>
                  <a:gd name="connsiteX48" fmla="*/ 80688 w 896663"/>
                  <a:gd name="connsiteY48" fmla="*/ 3063874 h 4505325"/>
                  <a:gd name="connsiteX49" fmla="*/ 42588 w 896663"/>
                  <a:gd name="connsiteY49" fmla="*/ 3133724 h 4505325"/>
                  <a:gd name="connsiteX50" fmla="*/ 17188 w 896663"/>
                  <a:gd name="connsiteY50" fmla="*/ 3203574 h 4505325"/>
                  <a:gd name="connsiteX51" fmla="*/ 10838 w 896663"/>
                  <a:gd name="connsiteY51" fmla="*/ 3390899 h 4505325"/>
                  <a:gd name="connsiteX52" fmla="*/ 39413 w 896663"/>
                  <a:gd name="connsiteY52" fmla="*/ 3482974 h 4505325"/>
                  <a:gd name="connsiteX53" fmla="*/ 52113 w 896663"/>
                  <a:gd name="connsiteY53" fmla="*/ 3616324 h 4505325"/>
                  <a:gd name="connsiteX54" fmla="*/ 90213 w 896663"/>
                  <a:gd name="connsiteY54" fmla="*/ 3682999 h 4505325"/>
                  <a:gd name="connsiteX55" fmla="*/ 112438 w 896663"/>
                  <a:gd name="connsiteY55" fmla="*/ 3809999 h 4505325"/>
                  <a:gd name="connsiteX56" fmla="*/ 201338 w 896663"/>
                  <a:gd name="connsiteY56" fmla="*/ 3892549 h 4505325"/>
                  <a:gd name="connsiteX57" fmla="*/ 258488 w 896663"/>
                  <a:gd name="connsiteY57" fmla="*/ 3908424 h 4505325"/>
                  <a:gd name="connsiteX58" fmla="*/ 382313 w 896663"/>
                  <a:gd name="connsiteY58" fmla="*/ 4203699 h 4505325"/>
                  <a:gd name="connsiteX59" fmla="*/ 502963 w 896663"/>
                  <a:gd name="connsiteY59" fmla="*/ 4254499 h 4505325"/>
                  <a:gd name="connsiteX60" fmla="*/ 639488 w 896663"/>
                  <a:gd name="connsiteY60" fmla="*/ 4302124 h 4505325"/>
                  <a:gd name="connsiteX61" fmla="*/ 760138 w 896663"/>
                  <a:gd name="connsiteY61" fmla="*/ 4292599 h 4505325"/>
                  <a:gd name="connsiteX62" fmla="*/ 896663 w 896663"/>
                  <a:gd name="connsiteY62" fmla="*/ 4505325 h 4505325"/>
                  <a:gd name="connsiteX0" fmla="*/ 407713 w 896663"/>
                  <a:gd name="connsiteY0" fmla="*/ 0 h 4438650"/>
                  <a:gd name="connsiteX1" fmla="*/ 353738 w 896663"/>
                  <a:gd name="connsiteY1" fmla="*/ 19050 h 4438650"/>
                  <a:gd name="connsiteX2" fmla="*/ 283888 w 896663"/>
                  <a:gd name="connsiteY2" fmla="*/ 31750 h 4438650"/>
                  <a:gd name="connsiteX3" fmla="*/ 223563 w 896663"/>
                  <a:gd name="connsiteY3" fmla="*/ 66675 h 4438650"/>
                  <a:gd name="connsiteX4" fmla="*/ 121963 w 896663"/>
                  <a:gd name="connsiteY4" fmla="*/ 130175 h 4438650"/>
                  <a:gd name="connsiteX5" fmla="*/ 131488 w 896663"/>
                  <a:gd name="connsiteY5" fmla="*/ 180975 h 4438650"/>
                  <a:gd name="connsiteX6" fmla="*/ 172763 w 896663"/>
                  <a:gd name="connsiteY6" fmla="*/ 209550 h 4438650"/>
                  <a:gd name="connsiteX7" fmla="*/ 185463 w 896663"/>
                  <a:gd name="connsiteY7" fmla="*/ 260350 h 4438650"/>
                  <a:gd name="connsiteX8" fmla="*/ 239438 w 896663"/>
                  <a:gd name="connsiteY8" fmla="*/ 301625 h 4438650"/>
                  <a:gd name="connsiteX9" fmla="*/ 239438 w 896663"/>
                  <a:gd name="connsiteY9" fmla="*/ 346075 h 4438650"/>
                  <a:gd name="connsiteX10" fmla="*/ 207688 w 896663"/>
                  <a:gd name="connsiteY10" fmla="*/ 387350 h 4438650"/>
                  <a:gd name="connsiteX11" fmla="*/ 287063 w 896663"/>
                  <a:gd name="connsiteY11" fmla="*/ 412750 h 4438650"/>
                  <a:gd name="connsiteX12" fmla="*/ 302938 w 896663"/>
                  <a:gd name="connsiteY12" fmla="*/ 444500 h 4438650"/>
                  <a:gd name="connsiteX13" fmla="*/ 210863 w 896663"/>
                  <a:gd name="connsiteY13" fmla="*/ 514350 h 4438650"/>
                  <a:gd name="connsiteX14" fmla="*/ 160063 w 896663"/>
                  <a:gd name="connsiteY14" fmla="*/ 571500 h 4438650"/>
                  <a:gd name="connsiteX15" fmla="*/ 160063 w 896663"/>
                  <a:gd name="connsiteY15" fmla="*/ 628650 h 4438650"/>
                  <a:gd name="connsiteX16" fmla="*/ 185463 w 896663"/>
                  <a:gd name="connsiteY16" fmla="*/ 717550 h 4438650"/>
                  <a:gd name="connsiteX17" fmla="*/ 194988 w 896663"/>
                  <a:gd name="connsiteY17" fmla="*/ 768350 h 4438650"/>
                  <a:gd name="connsiteX18" fmla="*/ 204513 w 896663"/>
                  <a:gd name="connsiteY18" fmla="*/ 819150 h 4438650"/>
                  <a:gd name="connsiteX19" fmla="*/ 220388 w 896663"/>
                  <a:gd name="connsiteY19" fmla="*/ 857250 h 4438650"/>
                  <a:gd name="connsiteX20" fmla="*/ 163238 w 896663"/>
                  <a:gd name="connsiteY20" fmla="*/ 955675 h 4438650"/>
                  <a:gd name="connsiteX21" fmla="*/ 96563 w 896663"/>
                  <a:gd name="connsiteY21" fmla="*/ 990600 h 4438650"/>
                  <a:gd name="connsiteX22" fmla="*/ 52113 w 896663"/>
                  <a:gd name="connsiteY22" fmla="*/ 1076325 h 4438650"/>
                  <a:gd name="connsiteX23" fmla="*/ 20363 w 896663"/>
                  <a:gd name="connsiteY23" fmla="*/ 1177925 h 4438650"/>
                  <a:gd name="connsiteX24" fmla="*/ 1313 w 896663"/>
                  <a:gd name="connsiteY24" fmla="*/ 1279525 h 4438650"/>
                  <a:gd name="connsiteX25" fmla="*/ 10838 w 896663"/>
                  <a:gd name="connsiteY25" fmla="*/ 1371600 h 4438650"/>
                  <a:gd name="connsiteX26" fmla="*/ 83863 w 896663"/>
                  <a:gd name="connsiteY26" fmla="*/ 1444625 h 4438650"/>
                  <a:gd name="connsiteX27" fmla="*/ 112438 w 896663"/>
                  <a:gd name="connsiteY27" fmla="*/ 1492250 h 4438650"/>
                  <a:gd name="connsiteX28" fmla="*/ 150538 w 896663"/>
                  <a:gd name="connsiteY28" fmla="*/ 1524000 h 4438650"/>
                  <a:gd name="connsiteX29" fmla="*/ 169588 w 896663"/>
                  <a:gd name="connsiteY29" fmla="*/ 1577975 h 4438650"/>
                  <a:gd name="connsiteX30" fmla="*/ 226738 w 896663"/>
                  <a:gd name="connsiteY30" fmla="*/ 1619250 h 4438650"/>
                  <a:gd name="connsiteX31" fmla="*/ 264838 w 896663"/>
                  <a:gd name="connsiteY31" fmla="*/ 1663700 h 4438650"/>
                  <a:gd name="connsiteX32" fmla="*/ 277538 w 896663"/>
                  <a:gd name="connsiteY32" fmla="*/ 1692275 h 4438650"/>
                  <a:gd name="connsiteX33" fmla="*/ 277538 w 896663"/>
                  <a:gd name="connsiteY33" fmla="*/ 1762125 h 4438650"/>
                  <a:gd name="connsiteX34" fmla="*/ 325163 w 896663"/>
                  <a:gd name="connsiteY34" fmla="*/ 1838325 h 4438650"/>
                  <a:gd name="connsiteX35" fmla="*/ 363263 w 896663"/>
                  <a:gd name="connsiteY35" fmla="*/ 1895475 h 4438650"/>
                  <a:gd name="connsiteX36" fmla="*/ 369613 w 896663"/>
                  <a:gd name="connsiteY36" fmla="*/ 1962150 h 4438650"/>
                  <a:gd name="connsiteX37" fmla="*/ 407713 w 896663"/>
                  <a:gd name="connsiteY37" fmla="*/ 2019300 h 4438650"/>
                  <a:gd name="connsiteX38" fmla="*/ 414063 w 896663"/>
                  <a:gd name="connsiteY38" fmla="*/ 2189306 h 4438650"/>
                  <a:gd name="connsiteX39" fmla="*/ 242901 w 896663"/>
                  <a:gd name="connsiteY39" fmla="*/ 2212109 h 4438650"/>
                  <a:gd name="connsiteX40" fmla="*/ 201338 w 896663"/>
                  <a:gd name="connsiteY40" fmla="*/ 2324100 h 4438650"/>
                  <a:gd name="connsiteX41" fmla="*/ 210863 w 896663"/>
                  <a:gd name="connsiteY41" fmla="*/ 2387600 h 4438650"/>
                  <a:gd name="connsiteX42" fmla="*/ 226738 w 896663"/>
                  <a:gd name="connsiteY42" fmla="*/ 2416175 h 4438650"/>
                  <a:gd name="connsiteX43" fmla="*/ 226738 w 896663"/>
                  <a:gd name="connsiteY43" fmla="*/ 2460625 h 4438650"/>
                  <a:gd name="connsiteX44" fmla="*/ 236263 w 896663"/>
                  <a:gd name="connsiteY44" fmla="*/ 2536825 h 4438650"/>
                  <a:gd name="connsiteX45" fmla="*/ 204513 w 896663"/>
                  <a:gd name="connsiteY45" fmla="*/ 2759074 h 4438650"/>
                  <a:gd name="connsiteX46" fmla="*/ 153713 w 896663"/>
                  <a:gd name="connsiteY46" fmla="*/ 2851149 h 4438650"/>
                  <a:gd name="connsiteX47" fmla="*/ 80688 w 896663"/>
                  <a:gd name="connsiteY47" fmla="*/ 2997199 h 4438650"/>
                  <a:gd name="connsiteX48" fmla="*/ 42588 w 896663"/>
                  <a:gd name="connsiteY48" fmla="*/ 3067049 h 4438650"/>
                  <a:gd name="connsiteX49" fmla="*/ 17188 w 896663"/>
                  <a:gd name="connsiteY49" fmla="*/ 3136899 h 4438650"/>
                  <a:gd name="connsiteX50" fmla="*/ 10838 w 896663"/>
                  <a:gd name="connsiteY50" fmla="*/ 3324224 h 4438650"/>
                  <a:gd name="connsiteX51" fmla="*/ 39413 w 896663"/>
                  <a:gd name="connsiteY51" fmla="*/ 3416299 h 4438650"/>
                  <a:gd name="connsiteX52" fmla="*/ 52113 w 896663"/>
                  <a:gd name="connsiteY52" fmla="*/ 3549649 h 4438650"/>
                  <a:gd name="connsiteX53" fmla="*/ 90213 w 896663"/>
                  <a:gd name="connsiteY53" fmla="*/ 3616324 h 4438650"/>
                  <a:gd name="connsiteX54" fmla="*/ 112438 w 896663"/>
                  <a:gd name="connsiteY54" fmla="*/ 3743324 h 4438650"/>
                  <a:gd name="connsiteX55" fmla="*/ 201338 w 896663"/>
                  <a:gd name="connsiteY55" fmla="*/ 3825874 h 4438650"/>
                  <a:gd name="connsiteX56" fmla="*/ 258488 w 896663"/>
                  <a:gd name="connsiteY56" fmla="*/ 3841749 h 4438650"/>
                  <a:gd name="connsiteX57" fmla="*/ 382313 w 896663"/>
                  <a:gd name="connsiteY57" fmla="*/ 4137024 h 4438650"/>
                  <a:gd name="connsiteX58" fmla="*/ 502963 w 896663"/>
                  <a:gd name="connsiteY58" fmla="*/ 4187824 h 4438650"/>
                  <a:gd name="connsiteX59" fmla="*/ 639488 w 896663"/>
                  <a:gd name="connsiteY59" fmla="*/ 4235449 h 4438650"/>
                  <a:gd name="connsiteX60" fmla="*/ 760138 w 896663"/>
                  <a:gd name="connsiteY60" fmla="*/ 4225924 h 4438650"/>
                  <a:gd name="connsiteX61" fmla="*/ 896663 w 896663"/>
                  <a:gd name="connsiteY61" fmla="*/ 4438650 h 4438650"/>
                  <a:gd name="connsiteX0" fmla="*/ 353738 w 896663"/>
                  <a:gd name="connsiteY0" fmla="*/ 0 h 4419600"/>
                  <a:gd name="connsiteX1" fmla="*/ 283888 w 896663"/>
                  <a:gd name="connsiteY1" fmla="*/ 12700 h 4419600"/>
                  <a:gd name="connsiteX2" fmla="*/ 223563 w 896663"/>
                  <a:gd name="connsiteY2" fmla="*/ 47625 h 4419600"/>
                  <a:gd name="connsiteX3" fmla="*/ 121963 w 896663"/>
                  <a:gd name="connsiteY3" fmla="*/ 111125 h 4419600"/>
                  <a:gd name="connsiteX4" fmla="*/ 131488 w 896663"/>
                  <a:gd name="connsiteY4" fmla="*/ 161925 h 4419600"/>
                  <a:gd name="connsiteX5" fmla="*/ 172763 w 896663"/>
                  <a:gd name="connsiteY5" fmla="*/ 190500 h 4419600"/>
                  <a:gd name="connsiteX6" fmla="*/ 185463 w 896663"/>
                  <a:gd name="connsiteY6" fmla="*/ 241300 h 4419600"/>
                  <a:gd name="connsiteX7" fmla="*/ 239438 w 896663"/>
                  <a:gd name="connsiteY7" fmla="*/ 282575 h 4419600"/>
                  <a:gd name="connsiteX8" fmla="*/ 239438 w 896663"/>
                  <a:gd name="connsiteY8" fmla="*/ 327025 h 4419600"/>
                  <a:gd name="connsiteX9" fmla="*/ 207688 w 896663"/>
                  <a:gd name="connsiteY9" fmla="*/ 368300 h 4419600"/>
                  <a:gd name="connsiteX10" fmla="*/ 287063 w 896663"/>
                  <a:gd name="connsiteY10" fmla="*/ 393700 h 4419600"/>
                  <a:gd name="connsiteX11" fmla="*/ 302938 w 896663"/>
                  <a:gd name="connsiteY11" fmla="*/ 425450 h 4419600"/>
                  <a:gd name="connsiteX12" fmla="*/ 210863 w 896663"/>
                  <a:gd name="connsiteY12" fmla="*/ 495300 h 4419600"/>
                  <a:gd name="connsiteX13" fmla="*/ 160063 w 896663"/>
                  <a:gd name="connsiteY13" fmla="*/ 552450 h 4419600"/>
                  <a:gd name="connsiteX14" fmla="*/ 160063 w 896663"/>
                  <a:gd name="connsiteY14" fmla="*/ 609600 h 4419600"/>
                  <a:gd name="connsiteX15" fmla="*/ 185463 w 896663"/>
                  <a:gd name="connsiteY15" fmla="*/ 698500 h 4419600"/>
                  <a:gd name="connsiteX16" fmla="*/ 194988 w 896663"/>
                  <a:gd name="connsiteY16" fmla="*/ 749300 h 4419600"/>
                  <a:gd name="connsiteX17" fmla="*/ 204513 w 896663"/>
                  <a:gd name="connsiteY17" fmla="*/ 800100 h 4419600"/>
                  <a:gd name="connsiteX18" fmla="*/ 220388 w 896663"/>
                  <a:gd name="connsiteY18" fmla="*/ 838200 h 4419600"/>
                  <a:gd name="connsiteX19" fmla="*/ 163238 w 896663"/>
                  <a:gd name="connsiteY19" fmla="*/ 936625 h 4419600"/>
                  <a:gd name="connsiteX20" fmla="*/ 96563 w 896663"/>
                  <a:gd name="connsiteY20" fmla="*/ 971550 h 4419600"/>
                  <a:gd name="connsiteX21" fmla="*/ 52113 w 896663"/>
                  <a:gd name="connsiteY21" fmla="*/ 1057275 h 4419600"/>
                  <a:gd name="connsiteX22" fmla="*/ 20363 w 896663"/>
                  <a:gd name="connsiteY22" fmla="*/ 1158875 h 4419600"/>
                  <a:gd name="connsiteX23" fmla="*/ 1313 w 896663"/>
                  <a:gd name="connsiteY23" fmla="*/ 1260475 h 4419600"/>
                  <a:gd name="connsiteX24" fmla="*/ 10838 w 896663"/>
                  <a:gd name="connsiteY24" fmla="*/ 1352550 h 4419600"/>
                  <a:gd name="connsiteX25" fmla="*/ 83863 w 896663"/>
                  <a:gd name="connsiteY25" fmla="*/ 1425575 h 4419600"/>
                  <a:gd name="connsiteX26" fmla="*/ 112438 w 896663"/>
                  <a:gd name="connsiteY26" fmla="*/ 1473200 h 4419600"/>
                  <a:gd name="connsiteX27" fmla="*/ 150538 w 896663"/>
                  <a:gd name="connsiteY27" fmla="*/ 1504950 h 4419600"/>
                  <a:gd name="connsiteX28" fmla="*/ 169588 w 896663"/>
                  <a:gd name="connsiteY28" fmla="*/ 1558925 h 4419600"/>
                  <a:gd name="connsiteX29" fmla="*/ 226738 w 896663"/>
                  <a:gd name="connsiteY29" fmla="*/ 1600200 h 4419600"/>
                  <a:gd name="connsiteX30" fmla="*/ 264838 w 896663"/>
                  <a:gd name="connsiteY30" fmla="*/ 1644650 h 4419600"/>
                  <a:gd name="connsiteX31" fmla="*/ 277538 w 896663"/>
                  <a:gd name="connsiteY31" fmla="*/ 1673225 h 4419600"/>
                  <a:gd name="connsiteX32" fmla="*/ 277538 w 896663"/>
                  <a:gd name="connsiteY32" fmla="*/ 1743075 h 4419600"/>
                  <a:gd name="connsiteX33" fmla="*/ 325163 w 896663"/>
                  <a:gd name="connsiteY33" fmla="*/ 1819275 h 4419600"/>
                  <a:gd name="connsiteX34" fmla="*/ 363263 w 896663"/>
                  <a:gd name="connsiteY34" fmla="*/ 1876425 h 4419600"/>
                  <a:gd name="connsiteX35" fmla="*/ 369613 w 896663"/>
                  <a:gd name="connsiteY35" fmla="*/ 1943100 h 4419600"/>
                  <a:gd name="connsiteX36" fmla="*/ 407713 w 896663"/>
                  <a:gd name="connsiteY36" fmla="*/ 2000250 h 4419600"/>
                  <a:gd name="connsiteX37" fmla="*/ 414063 w 896663"/>
                  <a:gd name="connsiteY37" fmla="*/ 2170256 h 4419600"/>
                  <a:gd name="connsiteX38" fmla="*/ 242901 w 896663"/>
                  <a:gd name="connsiteY38" fmla="*/ 2193059 h 4419600"/>
                  <a:gd name="connsiteX39" fmla="*/ 201338 w 896663"/>
                  <a:gd name="connsiteY39" fmla="*/ 2305050 h 4419600"/>
                  <a:gd name="connsiteX40" fmla="*/ 210863 w 896663"/>
                  <a:gd name="connsiteY40" fmla="*/ 2368550 h 4419600"/>
                  <a:gd name="connsiteX41" fmla="*/ 226738 w 896663"/>
                  <a:gd name="connsiteY41" fmla="*/ 2397125 h 4419600"/>
                  <a:gd name="connsiteX42" fmla="*/ 226738 w 896663"/>
                  <a:gd name="connsiteY42" fmla="*/ 2441575 h 4419600"/>
                  <a:gd name="connsiteX43" fmla="*/ 236263 w 896663"/>
                  <a:gd name="connsiteY43" fmla="*/ 2517775 h 4419600"/>
                  <a:gd name="connsiteX44" fmla="*/ 204513 w 896663"/>
                  <a:gd name="connsiteY44" fmla="*/ 2740024 h 4419600"/>
                  <a:gd name="connsiteX45" fmla="*/ 153713 w 896663"/>
                  <a:gd name="connsiteY45" fmla="*/ 2832099 h 4419600"/>
                  <a:gd name="connsiteX46" fmla="*/ 80688 w 896663"/>
                  <a:gd name="connsiteY46" fmla="*/ 2978149 h 4419600"/>
                  <a:gd name="connsiteX47" fmla="*/ 42588 w 896663"/>
                  <a:gd name="connsiteY47" fmla="*/ 3047999 h 4419600"/>
                  <a:gd name="connsiteX48" fmla="*/ 17188 w 896663"/>
                  <a:gd name="connsiteY48" fmla="*/ 3117849 h 4419600"/>
                  <a:gd name="connsiteX49" fmla="*/ 10838 w 896663"/>
                  <a:gd name="connsiteY49" fmla="*/ 3305174 h 4419600"/>
                  <a:gd name="connsiteX50" fmla="*/ 39413 w 896663"/>
                  <a:gd name="connsiteY50" fmla="*/ 3397249 h 4419600"/>
                  <a:gd name="connsiteX51" fmla="*/ 52113 w 896663"/>
                  <a:gd name="connsiteY51" fmla="*/ 3530599 h 4419600"/>
                  <a:gd name="connsiteX52" fmla="*/ 90213 w 896663"/>
                  <a:gd name="connsiteY52" fmla="*/ 3597274 h 4419600"/>
                  <a:gd name="connsiteX53" fmla="*/ 112438 w 896663"/>
                  <a:gd name="connsiteY53" fmla="*/ 3724274 h 4419600"/>
                  <a:gd name="connsiteX54" fmla="*/ 201338 w 896663"/>
                  <a:gd name="connsiteY54" fmla="*/ 3806824 h 4419600"/>
                  <a:gd name="connsiteX55" fmla="*/ 258488 w 896663"/>
                  <a:gd name="connsiteY55" fmla="*/ 3822699 h 4419600"/>
                  <a:gd name="connsiteX56" fmla="*/ 382313 w 896663"/>
                  <a:gd name="connsiteY56" fmla="*/ 4117974 h 4419600"/>
                  <a:gd name="connsiteX57" fmla="*/ 502963 w 896663"/>
                  <a:gd name="connsiteY57" fmla="*/ 4168774 h 4419600"/>
                  <a:gd name="connsiteX58" fmla="*/ 639488 w 896663"/>
                  <a:gd name="connsiteY58" fmla="*/ 4216399 h 4419600"/>
                  <a:gd name="connsiteX59" fmla="*/ 760138 w 896663"/>
                  <a:gd name="connsiteY59" fmla="*/ 4206874 h 4419600"/>
                  <a:gd name="connsiteX60" fmla="*/ 896663 w 896663"/>
                  <a:gd name="connsiteY60" fmla="*/ 4419600 h 4419600"/>
                  <a:gd name="connsiteX0" fmla="*/ 283888 w 896663"/>
                  <a:gd name="connsiteY0" fmla="*/ 0 h 4406900"/>
                  <a:gd name="connsiteX1" fmla="*/ 223563 w 896663"/>
                  <a:gd name="connsiteY1" fmla="*/ 34925 h 4406900"/>
                  <a:gd name="connsiteX2" fmla="*/ 121963 w 896663"/>
                  <a:gd name="connsiteY2" fmla="*/ 98425 h 4406900"/>
                  <a:gd name="connsiteX3" fmla="*/ 131488 w 896663"/>
                  <a:gd name="connsiteY3" fmla="*/ 149225 h 4406900"/>
                  <a:gd name="connsiteX4" fmla="*/ 172763 w 896663"/>
                  <a:gd name="connsiteY4" fmla="*/ 177800 h 4406900"/>
                  <a:gd name="connsiteX5" fmla="*/ 185463 w 896663"/>
                  <a:gd name="connsiteY5" fmla="*/ 228600 h 4406900"/>
                  <a:gd name="connsiteX6" fmla="*/ 239438 w 896663"/>
                  <a:gd name="connsiteY6" fmla="*/ 269875 h 4406900"/>
                  <a:gd name="connsiteX7" fmla="*/ 239438 w 896663"/>
                  <a:gd name="connsiteY7" fmla="*/ 314325 h 4406900"/>
                  <a:gd name="connsiteX8" fmla="*/ 207688 w 896663"/>
                  <a:gd name="connsiteY8" fmla="*/ 355600 h 4406900"/>
                  <a:gd name="connsiteX9" fmla="*/ 287063 w 896663"/>
                  <a:gd name="connsiteY9" fmla="*/ 381000 h 4406900"/>
                  <a:gd name="connsiteX10" fmla="*/ 302938 w 896663"/>
                  <a:gd name="connsiteY10" fmla="*/ 412750 h 4406900"/>
                  <a:gd name="connsiteX11" fmla="*/ 210863 w 896663"/>
                  <a:gd name="connsiteY11" fmla="*/ 482600 h 4406900"/>
                  <a:gd name="connsiteX12" fmla="*/ 160063 w 896663"/>
                  <a:gd name="connsiteY12" fmla="*/ 539750 h 4406900"/>
                  <a:gd name="connsiteX13" fmla="*/ 160063 w 896663"/>
                  <a:gd name="connsiteY13" fmla="*/ 596900 h 4406900"/>
                  <a:gd name="connsiteX14" fmla="*/ 185463 w 896663"/>
                  <a:gd name="connsiteY14" fmla="*/ 685800 h 4406900"/>
                  <a:gd name="connsiteX15" fmla="*/ 194988 w 896663"/>
                  <a:gd name="connsiteY15" fmla="*/ 736600 h 4406900"/>
                  <a:gd name="connsiteX16" fmla="*/ 204513 w 896663"/>
                  <a:gd name="connsiteY16" fmla="*/ 787400 h 4406900"/>
                  <a:gd name="connsiteX17" fmla="*/ 220388 w 896663"/>
                  <a:gd name="connsiteY17" fmla="*/ 825500 h 4406900"/>
                  <a:gd name="connsiteX18" fmla="*/ 163238 w 896663"/>
                  <a:gd name="connsiteY18" fmla="*/ 923925 h 4406900"/>
                  <a:gd name="connsiteX19" fmla="*/ 96563 w 896663"/>
                  <a:gd name="connsiteY19" fmla="*/ 958850 h 4406900"/>
                  <a:gd name="connsiteX20" fmla="*/ 52113 w 896663"/>
                  <a:gd name="connsiteY20" fmla="*/ 1044575 h 4406900"/>
                  <a:gd name="connsiteX21" fmla="*/ 20363 w 896663"/>
                  <a:gd name="connsiteY21" fmla="*/ 1146175 h 4406900"/>
                  <a:gd name="connsiteX22" fmla="*/ 1313 w 896663"/>
                  <a:gd name="connsiteY22" fmla="*/ 1247775 h 4406900"/>
                  <a:gd name="connsiteX23" fmla="*/ 10838 w 896663"/>
                  <a:gd name="connsiteY23" fmla="*/ 1339850 h 4406900"/>
                  <a:gd name="connsiteX24" fmla="*/ 83863 w 896663"/>
                  <a:gd name="connsiteY24" fmla="*/ 1412875 h 4406900"/>
                  <a:gd name="connsiteX25" fmla="*/ 112438 w 896663"/>
                  <a:gd name="connsiteY25" fmla="*/ 1460500 h 4406900"/>
                  <a:gd name="connsiteX26" fmla="*/ 150538 w 896663"/>
                  <a:gd name="connsiteY26" fmla="*/ 1492250 h 4406900"/>
                  <a:gd name="connsiteX27" fmla="*/ 169588 w 896663"/>
                  <a:gd name="connsiteY27" fmla="*/ 1546225 h 4406900"/>
                  <a:gd name="connsiteX28" fmla="*/ 226738 w 896663"/>
                  <a:gd name="connsiteY28" fmla="*/ 1587500 h 4406900"/>
                  <a:gd name="connsiteX29" fmla="*/ 264838 w 896663"/>
                  <a:gd name="connsiteY29" fmla="*/ 1631950 h 4406900"/>
                  <a:gd name="connsiteX30" fmla="*/ 277538 w 896663"/>
                  <a:gd name="connsiteY30" fmla="*/ 1660525 h 4406900"/>
                  <a:gd name="connsiteX31" fmla="*/ 277538 w 896663"/>
                  <a:gd name="connsiteY31" fmla="*/ 1730375 h 4406900"/>
                  <a:gd name="connsiteX32" fmla="*/ 325163 w 896663"/>
                  <a:gd name="connsiteY32" fmla="*/ 1806575 h 4406900"/>
                  <a:gd name="connsiteX33" fmla="*/ 363263 w 896663"/>
                  <a:gd name="connsiteY33" fmla="*/ 1863725 h 4406900"/>
                  <a:gd name="connsiteX34" fmla="*/ 369613 w 896663"/>
                  <a:gd name="connsiteY34" fmla="*/ 1930400 h 4406900"/>
                  <a:gd name="connsiteX35" fmla="*/ 407713 w 896663"/>
                  <a:gd name="connsiteY35" fmla="*/ 1987550 h 4406900"/>
                  <a:gd name="connsiteX36" fmla="*/ 414063 w 896663"/>
                  <a:gd name="connsiteY36" fmla="*/ 2157556 h 4406900"/>
                  <a:gd name="connsiteX37" fmla="*/ 242901 w 896663"/>
                  <a:gd name="connsiteY37" fmla="*/ 2180359 h 4406900"/>
                  <a:gd name="connsiteX38" fmla="*/ 201338 w 896663"/>
                  <a:gd name="connsiteY38" fmla="*/ 2292350 h 4406900"/>
                  <a:gd name="connsiteX39" fmla="*/ 210863 w 896663"/>
                  <a:gd name="connsiteY39" fmla="*/ 2355850 h 4406900"/>
                  <a:gd name="connsiteX40" fmla="*/ 226738 w 896663"/>
                  <a:gd name="connsiteY40" fmla="*/ 2384425 h 4406900"/>
                  <a:gd name="connsiteX41" fmla="*/ 226738 w 896663"/>
                  <a:gd name="connsiteY41" fmla="*/ 2428875 h 4406900"/>
                  <a:gd name="connsiteX42" fmla="*/ 236263 w 896663"/>
                  <a:gd name="connsiteY42" fmla="*/ 2505075 h 4406900"/>
                  <a:gd name="connsiteX43" fmla="*/ 204513 w 896663"/>
                  <a:gd name="connsiteY43" fmla="*/ 2727324 h 4406900"/>
                  <a:gd name="connsiteX44" fmla="*/ 153713 w 896663"/>
                  <a:gd name="connsiteY44" fmla="*/ 2819399 h 4406900"/>
                  <a:gd name="connsiteX45" fmla="*/ 80688 w 896663"/>
                  <a:gd name="connsiteY45" fmla="*/ 2965449 h 4406900"/>
                  <a:gd name="connsiteX46" fmla="*/ 42588 w 896663"/>
                  <a:gd name="connsiteY46" fmla="*/ 3035299 h 4406900"/>
                  <a:gd name="connsiteX47" fmla="*/ 17188 w 896663"/>
                  <a:gd name="connsiteY47" fmla="*/ 3105149 h 4406900"/>
                  <a:gd name="connsiteX48" fmla="*/ 10838 w 896663"/>
                  <a:gd name="connsiteY48" fmla="*/ 3292474 h 4406900"/>
                  <a:gd name="connsiteX49" fmla="*/ 39413 w 896663"/>
                  <a:gd name="connsiteY49" fmla="*/ 3384549 h 4406900"/>
                  <a:gd name="connsiteX50" fmla="*/ 52113 w 896663"/>
                  <a:gd name="connsiteY50" fmla="*/ 3517899 h 4406900"/>
                  <a:gd name="connsiteX51" fmla="*/ 90213 w 896663"/>
                  <a:gd name="connsiteY51" fmla="*/ 3584574 h 4406900"/>
                  <a:gd name="connsiteX52" fmla="*/ 112438 w 896663"/>
                  <a:gd name="connsiteY52" fmla="*/ 3711574 h 4406900"/>
                  <a:gd name="connsiteX53" fmla="*/ 201338 w 896663"/>
                  <a:gd name="connsiteY53" fmla="*/ 3794124 h 4406900"/>
                  <a:gd name="connsiteX54" fmla="*/ 258488 w 896663"/>
                  <a:gd name="connsiteY54" fmla="*/ 3809999 h 4406900"/>
                  <a:gd name="connsiteX55" fmla="*/ 382313 w 896663"/>
                  <a:gd name="connsiteY55" fmla="*/ 4105274 h 4406900"/>
                  <a:gd name="connsiteX56" fmla="*/ 502963 w 896663"/>
                  <a:gd name="connsiteY56" fmla="*/ 4156074 h 4406900"/>
                  <a:gd name="connsiteX57" fmla="*/ 639488 w 896663"/>
                  <a:gd name="connsiteY57" fmla="*/ 4203699 h 4406900"/>
                  <a:gd name="connsiteX58" fmla="*/ 760138 w 896663"/>
                  <a:gd name="connsiteY58" fmla="*/ 4194174 h 4406900"/>
                  <a:gd name="connsiteX59" fmla="*/ 896663 w 896663"/>
                  <a:gd name="connsiteY59" fmla="*/ 4406900 h 4406900"/>
                  <a:gd name="connsiteX0" fmla="*/ 223563 w 896663"/>
                  <a:gd name="connsiteY0" fmla="*/ 0 h 4371975"/>
                  <a:gd name="connsiteX1" fmla="*/ 121963 w 896663"/>
                  <a:gd name="connsiteY1" fmla="*/ 63500 h 4371975"/>
                  <a:gd name="connsiteX2" fmla="*/ 131488 w 896663"/>
                  <a:gd name="connsiteY2" fmla="*/ 114300 h 4371975"/>
                  <a:gd name="connsiteX3" fmla="*/ 172763 w 896663"/>
                  <a:gd name="connsiteY3" fmla="*/ 142875 h 4371975"/>
                  <a:gd name="connsiteX4" fmla="*/ 185463 w 896663"/>
                  <a:gd name="connsiteY4" fmla="*/ 193675 h 4371975"/>
                  <a:gd name="connsiteX5" fmla="*/ 239438 w 896663"/>
                  <a:gd name="connsiteY5" fmla="*/ 234950 h 4371975"/>
                  <a:gd name="connsiteX6" fmla="*/ 239438 w 896663"/>
                  <a:gd name="connsiteY6" fmla="*/ 279400 h 4371975"/>
                  <a:gd name="connsiteX7" fmla="*/ 207688 w 896663"/>
                  <a:gd name="connsiteY7" fmla="*/ 320675 h 4371975"/>
                  <a:gd name="connsiteX8" fmla="*/ 287063 w 896663"/>
                  <a:gd name="connsiteY8" fmla="*/ 346075 h 4371975"/>
                  <a:gd name="connsiteX9" fmla="*/ 302938 w 896663"/>
                  <a:gd name="connsiteY9" fmla="*/ 377825 h 4371975"/>
                  <a:gd name="connsiteX10" fmla="*/ 210863 w 896663"/>
                  <a:gd name="connsiteY10" fmla="*/ 447675 h 4371975"/>
                  <a:gd name="connsiteX11" fmla="*/ 160063 w 896663"/>
                  <a:gd name="connsiteY11" fmla="*/ 504825 h 4371975"/>
                  <a:gd name="connsiteX12" fmla="*/ 160063 w 896663"/>
                  <a:gd name="connsiteY12" fmla="*/ 561975 h 4371975"/>
                  <a:gd name="connsiteX13" fmla="*/ 185463 w 896663"/>
                  <a:gd name="connsiteY13" fmla="*/ 650875 h 4371975"/>
                  <a:gd name="connsiteX14" fmla="*/ 194988 w 896663"/>
                  <a:gd name="connsiteY14" fmla="*/ 701675 h 4371975"/>
                  <a:gd name="connsiteX15" fmla="*/ 204513 w 896663"/>
                  <a:gd name="connsiteY15" fmla="*/ 752475 h 4371975"/>
                  <a:gd name="connsiteX16" fmla="*/ 220388 w 896663"/>
                  <a:gd name="connsiteY16" fmla="*/ 790575 h 4371975"/>
                  <a:gd name="connsiteX17" fmla="*/ 163238 w 896663"/>
                  <a:gd name="connsiteY17" fmla="*/ 889000 h 4371975"/>
                  <a:gd name="connsiteX18" fmla="*/ 96563 w 896663"/>
                  <a:gd name="connsiteY18" fmla="*/ 923925 h 4371975"/>
                  <a:gd name="connsiteX19" fmla="*/ 52113 w 896663"/>
                  <a:gd name="connsiteY19" fmla="*/ 1009650 h 4371975"/>
                  <a:gd name="connsiteX20" fmla="*/ 20363 w 896663"/>
                  <a:gd name="connsiteY20" fmla="*/ 1111250 h 4371975"/>
                  <a:gd name="connsiteX21" fmla="*/ 1313 w 896663"/>
                  <a:gd name="connsiteY21" fmla="*/ 1212850 h 4371975"/>
                  <a:gd name="connsiteX22" fmla="*/ 10838 w 896663"/>
                  <a:gd name="connsiteY22" fmla="*/ 1304925 h 4371975"/>
                  <a:gd name="connsiteX23" fmla="*/ 83863 w 896663"/>
                  <a:gd name="connsiteY23" fmla="*/ 1377950 h 4371975"/>
                  <a:gd name="connsiteX24" fmla="*/ 112438 w 896663"/>
                  <a:gd name="connsiteY24" fmla="*/ 1425575 h 4371975"/>
                  <a:gd name="connsiteX25" fmla="*/ 150538 w 896663"/>
                  <a:gd name="connsiteY25" fmla="*/ 1457325 h 4371975"/>
                  <a:gd name="connsiteX26" fmla="*/ 169588 w 896663"/>
                  <a:gd name="connsiteY26" fmla="*/ 1511300 h 4371975"/>
                  <a:gd name="connsiteX27" fmla="*/ 226738 w 896663"/>
                  <a:gd name="connsiteY27" fmla="*/ 1552575 h 4371975"/>
                  <a:gd name="connsiteX28" fmla="*/ 264838 w 896663"/>
                  <a:gd name="connsiteY28" fmla="*/ 1597025 h 4371975"/>
                  <a:gd name="connsiteX29" fmla="*/ 277538 w 896663"/>
                  <a:gd name="connsiteY29" fmla="*/ 1625600 h 4371975"/>
                  <a:gd name="connsiteX30" fmla="*/ 277538 w 896663"/>
                  <a:gd name="connsiteY30" fmla="*/ 1695450 h 4371975"/>
                  <a:gd name="connsiteX31" fmla="*/ 325163 w 896663"/>
                  <a:gd name="connsiteY31" fmla="*/ 1771650 h 4371975"/>
                  <a:gd name="connsiteX32" fmla="*/ 363263 w 896663"/>
                  <a:gd name="connsiteY32" fmla="*/ 1828800 h 4371975"/>
                  <a:gd name="connsiteX33" fmla="*/ 369613 w 896663"/>
                  <a:gd name="connsiteY33" fmla="*/ 1895475 h 4371975"/>
                  <a:gd name="connsiteX34" fmla="*/ 407713 w 896663"/>
                  <a:gd name="connsiteY34" fmla="*/ 1952625 h 4371975"/>
                  <a:gd name="connsiteX35" fmla="*/ 414063 w 896663"/>
                  <a:gd name="connsiteY35" fmla="*/ 2122631 h 4371975"/>
                  <a:gd name="connsiteX36" fmla="*/ 242901 w 896663"/>
                  <a:gd name="connsiteY36" fmla="*/ 2145434 h 4371975"/>
                  <a:gd name="connsiteX37" fmla="*/ 201338 w 896663"/>
                  <a:gd name="connsiteY37" fmla="*/ 2257425 h 4371975"/>
                  <a:gd name="connsiteX38" fmla="*/ 210863 w 896663"/>
                  <a:gd name="connsiteY38" fmla="*/ 2320925 h 4371975"/>
                  <a:gd name="connsiteX39" fmla="*/ 226738 w 896663"/>
                  <a:gd name="connsiteY39" fmla="*/ 2349500 h 4371975"/>
                  <a:gd name="connsiteX40" fmla="*/ 226738 w 896663"/>
                  <a:gd name="connsiteY40" fmla="*/ 2393950 h 4371975"/>
                  <a:gd name="connsiteX41" fmla="*/ 236263 w 896663"/>
                  <a:gd name="connsiteY41" fmla="*/ 2470150 h 4371975"/>
                  <a:gd name="connsiteX42" fmla="*/ 204513 w 896663"/>
                  <a:gd name="connsiteY42" fmla="*/ 2692399 h 4371975"/>
                  <a:gd name="connsiteX43" fmla="*/ 153713 w 896663"/>
                  <a:gd name="connsiteY43" fmla="*/ 2784474 h 4371975"/>
                  <a:gd name="connsiteX44" fmla="*/ 80688 w 896663"/>
                  <a:gd name="connsiteY44" fmla="*/ 2930524 h 4371975"/>
                  <a:gd name="connsiteX45" fmla="*/ 42588 w 896663"/>
                  <a:gd name="connsiteY45" fmla="*/ 3000374 h 4371975"/>
                  <a:gd name="connsiteX46" fmla="*/ 17188 w 896663"/>
                  <a:gd name="connsiteY46" fmla="*/ 3070224 h 4371975"/>
                  <a:gd name="connsiteX47" fmla="*/ 10838 w 896663"/>
                  <a:gd name="connsiteY47" fmla="*/ 3257549 h 4371975"/>
                  <a:gd name="connsiteX48" fmla="*/ 39413 w 896663"/>
                  <a:gd name="connsiteY48" fmla="*/ 3349624 h 4371975"/>
                  <a:gd name="connsiteX49" fmla="*/ 52113 w 896663"/>
                  <a:gd name="connsiteY49" fmla="*/ 3482974 h 4371975"/>
                  <a:gd name="connsiteX50" fmla="*/ 90213 w 896663"/>
                  <a:gd name="connsiteY50" fmla="*/ 3549649 h 4371975"/>
                  <a:gd name="connsiteX51" fmla="*/ 112438 w 896663"/>
                  <a:gd name="connsiteY51" fmla="*/ 3676649 h 4371975"/>
                  <a:gd name="connsiteX52" fmla="*/ 201338 w 896663"/>
                  <a:gd name="connsiteY52" fmla="*/ 3759199 h 4371975"/>
                  <a:gd name="connsiteX53" fmla="*/ 258488 w 896663"/>
                  <a:gd name="connsiteY53" fmla="*/ 3775074 h 4371975"/>
                  <a:gd name="connsiteX54" fmla="*/ 382313 w 896663"/>
                  <a:gd name="connsiteY54" fmla="*/ 4070349 h 4371975"/>
                  <a:gd name="connsiteX55" fmla="*/ 502963 w 896663"/>
                  <a:gd name="connsiteY55" fmla="*/ 4121149 h 4371975"/>
                  <a:gd name="connsiteX56" fmla="*/ 639488 w 896663"/>
                  <a:gd name="connsiteY56" fmla="*/ 4168774 h 4371975"/>
                  <a:gd name="connsiteX57" fmla="*/ 760138 w 896663"/>
                  <a:gd name="connsiteY57" fmla="*/ 4159249 h 4371975"/>
                  <a:gd name="connsiteX58" fmla="*/ 896663 w 896663"/>
                  <a:gd name="connsiteY58" fmla="*/ 4371975 h 4371975"/>
                  <a:gd name="connsiteX0" fmla="*/ 121963 w 896663"/>
                  <a:gd name="connsiteY0" fmla="*/ 0 h 4308475"/>
                  <a:gd name="connsiteX1" fmla="*/ 131488 w 896663"/>
                  <a:gd name="connsiteY1" fmla="*/ 50800 h 4308475"/>
                  <a:gd name="connsiteX2" fmla="*/ 172763 w 896663"/>
                  <a:gd name="connsiteY2" fmla="*/ 79375 h 4308475"/>
                  <a:gd name="connsiteX3" fmla="*/ 185463 w 896663"/>
                  <a:gd name="connsiteY3" fmla="*/ 130175 h 4308475"/>
                  <a:gd name="connsiteX4" fmla="*/ 239438 w 896663"/>
                  <a:gd name="connsiteY4" fmla="*/ 171450 h 4308475"/>
                  <a:gd name="connsiteX5" fmla="*/ 239438 w 896663"/>
                  <a:gd name="connsiteY5" fmla="*/ 215900 h 4308475"/>
                  <a:gd name="connsiteX6" fmla="*/ 207688 w 896663"/>
                  <a:gd name="connsiteY6" fmla="*/ 257175 h 4308475"/>
                  <a:gd name="connsiteX7" fmla="*/ 287063 w 896663"/>
                  <a:gd name="connsiteY7" fmla="*/ 282575 h 4308475"/>
                  <a:gd name="connsiteX8" fmla="*/ 302938 w 896663"/>
                  <a:gd name="connsiteY8" fmla="*/ 314325 h 4308475"/>
                  <a:gd name="connsiteX9" fmla="*/ 210863 w 896663"/>
                  <a:gd name="connsiteY9" fmla="*/ 384175 h 4308475"/>
                  <a:gd name="connsiteX10" fmla="*/ 160063 w 896663"/>
                  <a:gd name="connsiteY10" fmla="*/ 441325 h 4308475"/>
                  <a:gd name="connsiteX11" fmla="*/ 160063 w 896663"/>
                  <a:gd name="connsiteY11" fmla="*/ 498475 h 4308475"/>
                  <a:gd name="connsiteX12" fmla="*/ 185463 w 896663"/>
                  <a:gd name="connsiteY12" fmla="*/ 587375 h 4308475"/>
                  <a:gd name="connsiteX13" fmla="*/ 194988 w 896663"/>
                  <a:gd name="connsiteY13" fmla="*/ 638175 h 4308475"/>
                  <a:gd name="connsiteX14" fmla="*/ 204513 w 896663"/>
                  <a:gd name="connsiteY14" fmla="*/ 688975 h 4308475"/>
                  <a:gd name="connsiteX15" fmla="*/ 220388 w 896663"/>
                  <a:gd name="connsiteY15" fmla="*/ 727075 h 4308475"/>
                  <a:gd name="connsiteX16" fmla="*/ 163238 w 896663"/>
                  <a:gd name="connsiteY16" fmla="*/ 825500 h 4308475"/>
                  <a:gd name="connsiteX17" fmla="*/ 96563 w 896663"/>
                  <a:gd name="connsiteY17" fmla="*/ 860425 h 4308475"/>
                  <a:gd name="connsiteX18" fmla="*/ 52113 w 896663"/>
                  <a:gd name="connsiteY18" fmla="*/ 946150 h 4308475"/>
                  <a:gd name="connsiteX19" fmla="*/ 20363 w 896663"/>
                  <a:gd name="connsiteY19" fmla="*/ 1047750 h 4308475"/>
                  <a:gd name="connsiteX20" fmla="*/ 1313 w 896663"/>
                  <a:gd name="connsiteY20" fmla="*/ 1149350 h 4308475"/>
                  <a:gd name="connsiteX21" fmla="*/ 10838 w 896663"/>
                  <a:gd name="connsiteY21" fmla="*/ 1241425 h 4308475"/>
                  <a:gd name="connsiteX22" fmla="*/ 83863 w 896663"/>
                  <a:gd name="connsiteY22" fmla="*/ 1314450 h 4308475"/>
                  <a:gd name="connsiteX23" fmla="*/ 112438 w 896663"/>
                  <a:gd name="connsiteY23" fmla="*/ 1362075 h 4308475"/>
                  <a:gd name="connsiteX24" fmla="*/ 150538 w 896663"/>
                  <a:gd name="connsiteY24" fmla="*/ 1393825 h 4308475"/>
                  <a:gd name="connsiteX25" fmla="*/ 169588 w 896663"/>
                  <a:gd name="connsiteY25" fmla="*/ 1447800 h 4308475"/>
                  <a:gd name="connsiteX26" fmla="*/ 226738 w 896663"/>
                  <a:gd name="connsiteY26" fmla="*/ 1489075 h 4308475"/>
                  <a:gd name="connsiteX27" fmla="*/ 264838 w 896663"/>
                  <a:gd name="connsiteY27" fmla="*/ 1533525 h 4308475"/>
                  <a:gd name="connsiteX28" fmla="*/ 277538 w 896663"/>
                  <a:gd name="connsiteY28" fmla="*/ 1562100 h 4308475"/>
                  <a:gd name="connsiteX29" fmla="*/ 277538 w 896663"/>
                  <a:gd name="connsiteY29" fmla="*/ 1631950 h 4308475"/>
                  <a:gd name="connsiteX30" fmla="*/ 325163 w 896663"/>
                  <a:gd name="connsiteY30" fmla="*/ 1708150 h 4308475"/>
                  <a:gd name="connsiteX31" fmla="*/ 363263 w 896663"/>
                  <a:gd name="connsiteY31" fmla="*/ 1765300 h 4308475"/>
                  <a:gd name="connsiteX32" fmla="*/ 369613 w 896663"/>
                  <a:gd name="connsiteY32" fmla="*/ 1831975 h 4308475"/>
                  <a:gd name="connsiteX33" fmla="*/ 407713 w 896663"/>
                  <a:gd name="connsiteY33" fmla="*/ 1889125 h 4308475"/>
                  <a:gd name="connsiteX34" fmla="*/ 414063 w 896663"/>
                  <a:gd name="connsiteY34" fmla="*/ 2059131 h 4308475"/>
                  <a:gd name="connsiteX35" fmla="*/ 242901 w 896663"/>
                  <a:gd name="connsiteY35" fmla="*/ 2081934 h 4308475"/>
                  <a:gd name="connsiteX36" fmla="*/ 201338 w 896663"/>
                  <a:gd name="connsiteY36" fmla="*/ 2193925 h 4308475"/>
                  <a:gd name="connsiteX37" fmla="*/ 210863 w 896663"/>
                  <a:gd name="connsiteY37" fmla="*/ 2257425 h 4308475"/>
                  <a:gd name="connsiteX38" fmla="*/ 226738 w 896663"/>
                  <a:gd name="connsiteY38" fmla="*/ 2286000 h 4308475"/>
                  <a:gd name="connsiteX39" fmla="*/ 226738 w 896663"/>
                  <a:gd name="connsiteY39" fmla="*/ 2330450 h 4308475"/>
                  <a:gd name="connsiteX40" fmla="*/ 236263 w 896663"/>
                  <a:gd name="connsiteY40" fmla="*/ 2406650 h 4308475"/>
                  <a:gd name="connsiteX41" fmla="*/ 204513 w 896663"/>
                  <a:gd name="connsiteY41" fmla="*/ 2628899 h 4308475"/>
                  <a:gd name="connsiteX42" fmla="*/ 153713 w 896663"/>
                  <a:gd name="connsiteY42" fmla="*/ 2720974 h 4308475"/>
                  <a:gd name="connsiteX43" fmla="*/ 80688 w 896663"/>
                  <a:gd name="connsiteY43" fmla="*/ 2867024 h 4308475"/>
                  <a:gd name="connsiteX44" fmla="*/ 42588 w 896663"/>
                  <a:gd name="connsiteY44" fmla="*/ 2936874 h 4308475"/>
                  <a:gd name="connsiteX45" fmla="*/ 17188 w 896663"/>
                  <a:gd name="connsiteY45" fmla="*/ 3006724 h 4308475"/>
                  <a:gd name="connsiteX46" fmla="*/ 10838 w 896663"/>
                  <a:gd name="connsiteY46" fmla="*/ 3194049 h 4308475"/>
                  <a:gd name="connsiteX47" fmla="*/ 39413 w 896663"/>
                  <a:gd name="connsiteY47" fmla="*/ 3286124 h 4308475"/>
                  <a:gd name="connsiteX48" fmla="*/ 52113 w 896663"/>
                  <a:gd name="connsiteY48" fmla="*/ 3419474 h 4308475"/>
                  <a:gd name="connsiteX49" fmla="*/ 90213 w 896663"/>
                  <a:gd name="connsiteY49" fmla="*/ 3486149 h 4308475"/>
                  <a:gd name="connsiteX50" fmla="*/ 112438 w 896663"/>
                  <a:gd name="connsiteY50" fmla="*/ 3613149 h 4308475"/>
                  <a:gd name="connsiteX51" fmla="*/ 201338 w 896663"/>
                  <a:gd name="connsiteY51" fmla="*/ 3695699 h 4308475"/>
                  <a:gd name="connsiteX52" fmla="*/ 258488 w 896663"/>
                  <a:gd name="connsiteY52" fmla="*/ 3711574 h 4308475"/>
                  <a:gd name="connsiteX53" fmla="*/ 382313 w 896663"/>
                  <a:gd name="connsiteY53" fmla="*/ 4006849 h 4308475"/>
                  <a:gd name="connsiteX54" fmla="*/ 502963 w 896663"/>
                  <a:gd name="connsiteY54" fmla="*/ 4057649 h 4308475"/>
                  <a:gd name="connsiteX55" fmla="*/ 639488 w 896663"/>
                  <a:gd name="connsiteY55" fmla="*/ 4105274 h 4308475"/>
                  <a:gd name="connsiteX56" fmla="*/ 760138 w 896663"/>
                  <a:gd name="connsiteY56" fmla="*/ 4095749 h 4308475"/>
                  <a:gd name="connsiteX57" fmla="*/ 896663 w 896663"/>
                  <a:gd name="connsiteY57" fmla="*/ 4308475 h 4308475"/>
                  <a:gd name="connsiteX0" fmla="*/ 131488 w 896663"/>
                  <a:gd name="connsiteY0" fmla="*/ 0 h 4257675"/>
                  <a:gd name="connsiteX1" fmla="*/ 172763 w 896663"/>
                  <a:gd name="connsiteY1" fmla="*/ 28575 h 4257675"/>
                  <a:gd name="connsiteX2" fmla="*/ 185463 w 896663"/>
                  <a:gd name="connsiteY2" fmla="*/ 79375 h 4257675"/>
                  <a:gd name="connsiteX3" fmla="*/ 239438 w 896663"/>
                  <a:gd name="connsiteY3" fmla="*/ 120650 h 4257675"/>
                  <a:gd name="connsiteX4" fmla="*/ 239438 w 896663"/>
                  <a:gd name="connsiteY4" fmla="*/ 165100 h 4257675"/>
                  <a:gd name="connsiteX5" fmla="*/ 207688 w 896663"/>
                  <a:gd name="connsiteY5" fmla="*/ 206375 h 4257675"/>
                  <a:gd name="connsiteX6" fmla="*/ 287063 w 896663"/>
                  <a:gd name="connsiteY6" fmla="*/ 231775 h 4257675"/>
                  <a:gd name="connsiteX7" fmla="*/ 302938 w 896663"/>
                  <a:gd name="connsiteY7" fmla="*/ 263525 h 4257675"/>
                  <a:gd name="connsiteX8" fmla="*/ 210863 w 896663"/>
                  <a:gd name="connsiteY8" fmla="*/ 333375 h 4257675"/>
                  <a:gd name="connsiteX9" fmla="*/ 160063 w 896663"/>
                  <a:gd name="connsiteY9" fmla="*/ 390525 h 4257675"/>
                  <a:gd name="connsiteX10" fmla="*/ 160063 w 896663"/>
                  <a:gd name="connsiteY10" fmla="*/ 447675 h 4257675"/>
                  <a:gd name="connsiteX11" fmla="*/ 185463 w 896663"/>
                  <a:gd name="connsiteY11" fmla="*/ 536575 h 4257675"/>
                  <a:gd name="connsiteX12" fmla="*/ 194988 w 896663"/>
                  <a:gd name="connsiteY12" fmla="*/ 587375 h 4257675"/>
                  <a:gd name="connsiteX13" fmla="*/ 204513 w 896663"/>
                  <a:gd name="connsiteY13" fmla="*/ 638175 h 4257675"/>
                  <a:gd name="connsiteX14" fmla="*/ 220388 w 896663"/>
                  <a:gd name="connsiteY14" fmla="*/ 676275 h 4257675"/>
                  <a:gd name="connsiteX15" fmla="*/ 163238 w 896663"/>
                  <a:gd name="connsiteY15" fmla="*/ 774700 h 4257675"/>
                  <a:gd name="connsiteX16" fmla="*/ 96563 w 896663"/>
                  <a:gd name="connsiteY16" fmla="*/ 809625 h 4257675"/>
                  <a:gd name="connsiteX17" fmla="*/ 52113 w 896663"/>
                  <a:gd name="connsiteY17" fmla="*/ 895350 h 4257675"/>
                  <a:gd name="connsiteX18" fmla="*/ 20363 w 896663"/>
                  <a:gd name="connsiteY18" fmla="*/ 996950 h 4257675"/>
                  <a:gd name="connsiteX19" fmla="*/ 1313 w 896663"/>
                  <a:gd name="connsiteY19" fmla="*/ 1098550 h 4257675"/>
                  <a:gd name="connsiteX20" fmla="*/ 10838 w 896663"/>
                  <a:gd name="connsiteY20" fmla="*/ 1190625 h 4257675"/>
                  <a:gd name="connsiteX21" fmla="*/ 83863 w 896663"/>
                  <a:gd name="connsiteY21" fmla="*/ 1263650 h 4257675"/>
                  <a:gd name="connsiteX22" fmla="*/ 112438 w 896663"/>
                  <a:gd name="connsiteY22" fmla="*/ 1311275 h 4257675"/>
                  <a:gd name="connsiteX23" fmla="*/ 150538 w 896663"/>
                  <a:gd name="connsiteY23" fmla="*/ 1343025 h 4257675"/>
                  <a:gd name="connsiteX24" fmla="*/ 169588 w 896663"/>
                  <a:gd name="connsiteY24" fmla="*/ 1397000 h 4257675"/>
                  <a:gd name="connsiteX25" fmla="*/ 226738 w 896663"/>
                  <a:gd name="connsiteY25" fmla="*/ 1438275 h 4257675"/>
                  <a:gd name="connsiteX26" fmla="*/ 264838 w 896663"/>
                  <a:gd name="connsiteY26" fmla="*/ 1482725 h 4257675"/>
                  <a:gd name="connsiteX27" fmla="*/ 277538 w 896663"/>
                  <a:gd name="connsiteY27" fmla="*/ 1511300 h 4257675"/>
                  <a:gd name="connsiteX28" fmla="*/ 277538 w 896663"/>
                  <a:gd name="connsiteY28" fmla="*/ 1581150 h 4257675"/>
                  <a:gd name="connsiteX29" fmla="*/ 325163 w 896663"/>
                  <a:gd name="connsiteY29" fmla="*/ 1657350 h 4257675"/>
                  <a:gd name="connsiteX30" fmla="*/ 363263 w 896663"/>
                  <a:gd name="connsiteY30" fmla="*/ 1714500 h 4257675"/>
                  <a:gd name="connsiteX31" fmla="*/ 369613 w 896663"/>
                  <a:gd name="connsiteY31" fmla="*/ 1781175 h 4257675"/>
                  <a:gd name="connsiteX32" fmla="*/ 407713 w 896663"/>
                  <a:gd name="connsiteY32" fmla="*/ 1838325 h 4257675"/>
                  <a:gd name="connsiteX33" fmla="*/ 414063 w 896663"/>
                  <a:gd name="connsiteY33" fmla="*/ 2008331 h 4257675"/>
                  <a:gd name="connsiteX34" fmla="*/ 242901 w 896663"/>
                  <a:gd name="connsiteY34" fmla="*/ 2031134 h 4257675"/>
                  <a:gd name="connsiteX35" fmla="*/ 201338 w 896663"/>
                  <a:gd name="connsiteY35" fmla="*/ 2143125 h 4257675"/>
                  <a:gd name="connsiteX36" fmla="*/ 210863 w 896663"/>
                  <a:gd name="connsiteY36" fmla="*/ 2206625 h 4257675"/>
                  <a:gd name="connsiteX37" fmla="*/ 226738 w 896663"/>
                  <a:gd name="connsiteY37" fmla="*/ 2235200 h 4257675"/>
                  <a:gd name="connsiteX38" fmla="*/ 226738 w 896663"/>
                  <a:gd name="connsiteY38" fmla="*/ 2279650 h 4257675"/>
                  <a:gd name="connsiteX39" fmla="*/ 236263 w 896663"/>
                  <a:gd name="connsiteY39" fmla="*/ 2355850 h 4257675"/>
                  <a:gd name="connsiteX40" fmla="*/ 204513 w 896663"/>
                  <a:gd name="connsiteY40" fmla="*/ 2578099 h 4257675"/>
                  <a:gd name="connsiteX41" fmla="*/ 153713 w 896663"/>
                  <a:gd name="connsiteY41" fmla="*/ 2670174 h 4257675"/>
                  <a:gd name="connsiteX42" fmla="*/ 80688 w 896663"/>
                  <a:gd name="connsiteY42" fmla="*/ 2816224 h 4257675"/>
                  <a:gd name="connsiteX43" fmla="*/ 42588 w 896663"/>
                  <a:gd name="connsiteY43" fmla="*/ 2886074 h 4257675"/>
                  <a:gd name="connsiteX44" fmla="*/ 17188 w 896663"/>
                  <a:gd name="connsiteY44" fmla="*/ 2955924 h 4257675"/>
                  <a:gd name="connsiteX45" fmla="*/ 10838 w 896663"/>
                  <a:gd name="connsiteY45" fmla="*/ 3143249 h 4257675"/>
                  <a:gd name="connsiteX46" fmla="*/ 39413 w 896663"/>
                  <a:gd name="connsiteY46" fmla="*/ 3235324 h 4257675"/>
                  <a:gd name="connsiteX47" fmla="*/ 52113 w 896663"/>
                  <a:gd name="connsiteY47" fmla="*/ 3368674 h 4257675"/>
                  <a:gd name="connsiteX48" fmla="*/ 90213 w 896663"/>
                  <a:gd name="connsiteY48" fmla="*/ 3435349 h 4257675"/>
                  <a:gd name="connsiteX49" fmla="*/ 112438 w 896663"/>
                  <a:gd name="connsiteY49" fmla="*/ 3562349 h 4257675"/>
                  <a:gd name="connsiteX50" fmla="*/ 201338 w 896663"/>
                  <a:gd name="connsiteY50" fmla="*/ 3644899 h 4257675"/>
                  <a:gd name="connsiteX51" fmla="*/ 258488 w 896663"/>
                  <a:gd name="connsiteY51" fmla="*/ 3660774 h 4257675"/>
                  <a:gd name="connsiteX52" fmla="*/ 382313 w 896663"/>
                  <a:gd name="connsiteY52" fmla="*/ 3956049 h 4257675"/>
                  <a:gd name="connsiteX53" fmla="*/ 502963 w 896663"/>
                  <a:gd name="connsiteY53" fmla="*/ 4006849 h 4257675"/>
                  <a:gd name="connsiteX54" fmla="*/ 639488 w 896663"/>
                  <a:gd name="connsiteY54" fmla="*/ 4054474 h 4257675"/>
                  <a:gd name="connsiteX55" fmla="*/ 760138 w 896663"/>
                  <a:gd name="connsiteY55" fmla="*/ 4044949 h 4257675"/>
                  <a:gd name="connsiteX56" fmla="*/ 896663 w 896663"/>
                  <a:gd name="connsiteY56" fmla="*/ 4257675 h 4257675"/>
                  <a:gd name="connsiteX0" fmla="*/ 172763 w 896663"/>
                  <a:gd name="connsiteY0" fmla="*/ 0 h 4229100"/>
                  <a:gd name="connsiteX1" fmla="*/ 185463 w 896663"/>
                  <a:gd name="connsiteY1" fmla="*/ 50800 h 4229100"/>
                  <a:gd name="connsiteX2" fmla="*/ 239438 w 896663"/>
                  <a:gd name="connsiteY2" fmla="*/ 92075 h 4229100"/>
                  <a:gd name="connsiteX3" fmla="*/ 239438 w 896663"/>
                  <a:gd name="connsiteY3" fmla="*/ 136525 h 4229100"/>
                  <a:gd name="connsiteX4" fmla="*/ 207688 w 896663"/>
                  <a:gd name="connsiteY4" fmla="*/ 177800 h 4229100"/>
                  <a:gd name="connsiteX5" fmla="*/ 287063 w 896663"/>
                  <a:gd name="connsiteY5" fmla="*/ 203200 h 4229100"/>
                  <a:gd name="connsiteX6" fmla="*/ 302938 w 896663"/>
                  <a:gd name="connsiteY6" fmla="*/ 234950 h 4229100"/>
                  <a:gd name="connsiteX7" fmla="*/ 210863 w 896663"/>
                  <a:gd name="connsiteY7" fmla="*/ 304800 h 4229100"/>
                  <a:gd name="connsiteX8" fmla="*/ 160063 w 896663"/>
                  <a:gd name="connsiteY8" fmla="*/ 361950 h 4229100"/>
                  <a:gd name="connsiteX9" fmla="*/ 160063 w 896663"/>
                  <a:gd name="connsiteY9" fmla="*/ 419100 h 4229100"/>
                  <a:gd name="connsiteX10" fmla="*/ 185463 w 896663"/>
                  <a:gd name="connsiteY10" fmla="*/ 508000 h 4229100"/>
                  <a:gd name="connsiteX11" fmla="*/ 194988 w 896663"/>
                  <a:gd name="connsiteY11" fmla="*/ 558800 h 4229100"/>
                  <a:gd name="connsiteX12" fmla="*/ 204513 w 896663"/>
                  <a:gd name="connsiteY12" fmla="*/ 609600 h 4229100"/>
                  <a:gd name="connsiteX13" fmla="*/ 220388 w 896663"/>
                  <a:gd name="connsiteY13" fmla="*/ 647700 h 4229100"/>
                  <a:gd name="connsiteX14" fmla="*/ 163238 w 896663"/>
                  <a:gd name="connsiteY14" fmla="*/ 746125 h 4229100"/>
                  <a:gd name="connsiteX15" fmla="*/ 96563 w 896663"/>
                  <a:gd name="connsiteY15" fmla="*/ 781050 h 4229100"/>
                  <a:gd name="connsiteX16" fmla="*/ 52113 w 896663"/>
                  <a:gd name="connsiteY16" fmla="*/ 866775 h 4229100"/>
                  <a:gd name="connsiteX17" fmla="*/ 20363 w 896663"/>
                  <a:gd name="connsiteY17" fmla="*/ 968375 h 4229100"/>
                  <a:gd name="connsiteX18" fmla="*/ 1313 w 896663"/>
                  <a:gd name="connsiteY18" fmla="*/ 1069975 h 4229100"/>
                  <a:gd name="connsiteX19" fmla="*/ 10838 w 896663"/>
                  <a:gd name="connsiteY19" fmla="*/ 1162050 h 4229100"/>
                  <a:gd name="connsiteX20" fmla="*/ 83863 w 896663"/>
                  <a:gd name="connsiteY20" fmla="*/ 1235075 h 4229100"/>
                  <a:gd name="connsiteX21" fmla="*/ 112438 w 896663"/>
                  <a:gd name="connsiteY21" fmla="*/ 1282700 h 4229100"/>
                  <a:gd name="connsiteX22" fmla="*/ 150538 w 896663"/>
                  <a:gd name="connsiteY22" fmla="*/ 1314450 h 4229100"/>
                  <a:gd name="connsiteX23" fmla="*/ 169588 w 896663"/>
                  <a:gd name="connsiteY23" fmla="*/ 1368425 h 4229100"/>
                  <a:gd name="connsiteX24" fmla="*/ 226738 w 896663"/>
                  <a:gd name="connsiteY24" fmla="*/ 1409700 h 4229100"/>
                  <a:gd name="connsiteX25" fmla="*/ 264838 w 896663"/>
                  <a:gd name="connsiteY25" fmla="*/ 1454150 h 4229100"/>
                  <a:gd name="connsiteX26" fmla="*/ 277538 w 896663"/>
                  <a:gd name="connsiteY26" fmla="*/ 1482725 h 4229100"/>
                  <a:gd name="connsiteX27" fmla="*/ 277538 w 896663"/>
                  <a:gd name="connsiteY27" fmla="*/ 1552575 h 4229100"/>
                  <a:gd name="connsiteX28" fmla="*/ 325163 w 896663"/>
                  <a:gd name="connsiteY28" fmla="*/ 1628775 h 4229100"/>
                  <a:gd name="connsiteX29" fmla="*/ 363263 w 896663"/>
                  <a:gd name="connsiteY29" fmla="*/ 1685925 h 4229100"/>
                  <a:gd name="connsiteX30" fmla="*/ 369613 w 896663"/>
                  <a:gd name="connsiteY30" fmla="*/ 1752600 h 4229100"/>
                  <a:gd name="connsiteX31" fmla="*/ 407713 w 896663"/>
                  <a:gd name="connsiteY31" fmla="*/ 1809750 h 4229100"/>
                  <a:gd name="connsiteX32" fmla="*/ 414063 w 896663"/>
                  <a:gd name="connsiteY32" fmla="*/ 1979756 h 4229100"/>
                  <a:gd name="connsiteX33" fmla="*/ 242901 w 896663"/>
                  <a:gd name="connsiteY33" fmla="*/ 2002559 h 4229100"/>
                  <a:gd name="connsiteX34" fmla="*/ 201338 w 896663"/>
                  <a:gd name="connsiteY34" fmla="*/ 2114550 h 4229100"/>
                  <a:gd name="connsiteX35" fmla="*/ 210863 w 896663"/>
                  <a:gd name="connsiteY35" fmla="*/ 2178050 h 4229100"/>
                  <a:gd name="connsiteX36" fmla="*/ 226738 w 896663"/>
                  <a:gd name="connsiteY36" fmla="*/ 2206625 h 4229100"/>
                  <a:gd name="connsiteX37" fmla="*/ 226738 w 896663"/>
                  <a:gd name="connsiteY37" fmla="*/ 2251075 h 4229100"/>
                  <a:gd name="connsiteX38" fmla="*/ 236263 w 896663"/>
                  <a:gd name="connsiteY38" fmla="*/ 2327275 h 4229100"/>
                  <a:gd name="connsiteX39" fmla="*/ 204513 w 896663"/>
                  <a:gd name="connsiteY39" fmla="*/ 2549524 h 4229100"/>
                  <a:gd name="connsiteX40" fmla="*/ 153713 w 896663"/>
                  <a:gd name="connsiteY40" fmla="*/ 2641599 h 4229100"/>
                  <a:gd name="connsiteX41" fmla="*/ 80688 w 896663"/>
                  <a:gd name="connsiteY41" fmla="*/ 2787649 h 4229100"/>
                  <a:gd name="connsiteX42" fmla="*/ 42588 w 896663"/>
                  <a:gd name="connsiteY42" fmla="*/ 2857499 h 4229100"/>
                  <a:gd name="connsiteX43" fmla="*/ 17188 w 896663"/>
                  <a:gd name="connsiteY43" fmla="*/ 2927349 h 4229100"/>
                  <a:gd name="connsiteX44" fmla="*/ 10838 w 896663"/>
                  <a:gd name="connsiteY44" fmla="*/ 3114674 h 4229100"/>
                  <a:gd name="connsiteX45" fmla="*/ 39413 w 896663"/>
                  <a:gd name="connsiteY45" fmla="*/ 3206749 h 4229100"/>
                  <a:gd name="connsiteX46" fmla="*/ 52113 w 896663"/>
                  <a:gd name="connsiteY46" fmla="*/ 3340099 h 4229100"/>
                  <a:gd name="connsiteX47" fmla="*/ 90213 w 896663"/>
                  <a:gd name="connsiteY47" fmla="*/ 3406774 h 4229100"/>
                  <a:gd name="connsiteX48" fmla="*/ 112438 w 896663"/>
                  <a:gd name="connsiteY48" fmla="*/ 3533774 h 4229100"/>
                  <a:gd name="connsiteX49" fmla="*/ 201338 w 896663"/>
                  <a:gd name="connsiteY49" fmla="*/ 3616324 h 4229100"/>
                  <a:gd name="connsiteX50" fmla="*/ 258488 w 896663"/>
                  <a:gd name="connsiteY50" fmla="*/ 3632199 h 4229100"/>
                  <a:gd name="connsiteX51" fmla="*/ 382313 w 896663"/>
                  <a:gd name="connsiteY51" fmla="*/ 3927474 h 4229100"/>
                  <a:gd name="connsiteX52" fmla="*/ 502963 w 896663"/>
                  <a:gd name="connsiteY52" fmla="*/ 3978274 h 4229100"/>
                  <a:gd name="connsiteX53" fmla="*/ 639488 w 896663"/>
                  <a:gd name="connsiteY53" fmla="*/ 4025899 h 4229100"/>
                  <a:gd name="connsiteX54" fmla="*/ 760138 w 896663"/>
                  <a:gd name="connsiteY54" fmla="*/ 4016374 h 4229100"/>
                  <a:gd name="connsiteX55" fmla="*/ 896663 w 896663"/>
                  <a:gd name="connsiteY55" fmla="*/ 4229100 h 4229100"/>
                  <a:gd name="connsiteX0" fmla="*/ 185463 w 896663"/>
                  <a:gd name="connsiteY0" fmla="*/ 0 h 4178300"/>
                  <a:gd name="connsiteX1" fmla="*/ 239438 w 896663"/>
                  <a:gd name="connsiteY1" fmla="*/ 41275 h 4178300"/>
                  <a:gd name="connsiteX2" fmla="*/ 239438 w 896663"/>
                  <a:gd name="connsiteY2" fmla="*/ 85725 h 4178300"/>
                  <a:gd name="connsiteX3" fmla="*/ 207688 w 896663"/>
                  <a:gd name="connsiteY3" fmla="*/ 127000 h 4178300"/>
                  <a:gd name="connsiteX4" fmla="*/ 287063 w 896663"/>
                  <a:gd name="connsiteY4" fmla="*/ 152400 h 4178300"/>
                  <a:gd name="connsiteX5" fmla="*/ 302938 w 896663"/>
                  <a:gd name="connsiteY5" fmla="*/ 184150 h 4178300"/>
                  <a:gd name="connsiteX6" fmla="*/ 210863 w 896663"/>
                  <a:gd name="connsiteY6" fmla="*/ 254000 h 4178300"/>
                  <a:gd name="connsiteX7" fmla="*/ 160063 w 896663"/>
                  <a:gd name="connsiteY7" fmla="*/ 311150 h 4178300"/>
                  <a:gd name="connsiteX8" fmla="*/ 160063 w 896663"/>
                  <a:gd name="connsiteY8" fmla="*/ 368300 h 4178300"/>
                  <a:gd name="connsiteX9" fmla="*/ 185463 w 896663"/>
                  <a:gd name="connsiteY9" fmla="*/ 457200 h 4178300"/>
                  <a:gd name="connsiteX10" fmla="*/ 194988 w 896663"/>
                  <a:gd name="connsiteY10" fmla="*/ 508000 h 4178300"/>
                  <a:gd name="connsiteX11" fmla="*/ 204513 w 896663"/>
                  <a:gd name="connsiteY11" fmla="*/ 558800 h 4178300"/>
                  <a:gd name="connsiteX12" fmla="*/ 220388 w 896663"/>
                  <a:gd name="connsiteY12" fmla="*/ 596900 h 4178300"/>
                  <a:gd name="connsiteX13" fmla="*/ 163238 w 896663"/>
                  <a:gd name="connsiteY13" fmla="*/ 695325 h 4178300"/>
                  <a:gd name="connsiteX14" fmla="*/ 96563 w 896663"/>
                  <a:gd name="connsiteY14" fmla="*/ 730250 h 4178300"/>
                  <a:gd name="connsiteX15" fmla="*/ 52113 w 896663"/>
                  <a:gd name="connsiteY15" fmla="*/ 815975 h 4178300"/>
                  <a:gd name="connsiteX16" fmla="*/ 20363 w 896663"/>
                  <a:gd name="connsiteY16" fmla="*/ 917575 h 4178300"/>
                  <a:gd name="connsiteX17" fmla="*/ 1313 w 896663"/>
                  <a:gd name="connsiteY17" fmla="*/ 1019175 h 4178300"/>
                  <a:gd name="connsiteX18" fmla="*/ 10838 w 896663"/>
                  <a:gd name="connsiteY18" fmla="*/ 1111250 h 4178300"/>
                  <a:gd name="connsiteX19" fmla="*/ 83863 w 896663"/>
                  <a:gd name="connsiteY19" fmla="*/ 1184275 h 4178300"/>
                  <a:gd name="connsiteX20" fmla="*/ 112438 w 896663"/>
                  <a:gd name="connsiteY20" fmla="*/ 1231900 h 4178300"/>
                  <a:gd name="connsiteX21" fmla="*/ 150538 w 896663"/>
                  <a:gd name="connsiteY21" fmla="*/ 1263650 h 4178300"/>
                  <a:gd name="connsiteX22" fmla="*/ 169588 w 896663"/>
                  <a:gd name="connsiteY22" fmla="*/ 1317625 h 4178300"/>
                  <a:gd name="connsiteX23" fmla="*/ 226738 w 896663"/>
                  <a:gd name="connsiteY23" fmla="*/ 1358900 h 4178300"/>
                  <a:gd name="connsiteX24" fmla="*/ 264838 w 896663"/>
                  <a:gd name="connsiteY24" fmla="*/ 1403350 h 4178300"/>
                  <a:gd name="connsiteX25" fmla="*/ 277538 w 896663"/>
                  <a:gd name="connsiteY25" fmla="*/ 1431925 h 4178300"/>
                  <a:gd name="connsiteX26" fmla="*/ 277538 w 896663"/>
                  <a:gd name="connsiteY26" fmla="*/ 1501775 h 4178300"/>
                  <a:gd name="connsiteX27" fmla="*/ 325163 w 896663"/>
                  <a:gd name="connsiteY27" fmla="*/ 1577975 h 4178300"/>
                  <a:gd name="connsiteX28" fmla="*/ 363263 w 896663"/>
                  <a:gd name="connsiteY28" fmla="*/ 1635125 h 4178300"/>
                  <a:gd name="connsiteX29" fmla="*/ 369613 w 896663"/>
                  <a:gd name="connsiteY29" fmla="*/ 1701800 h 4178300"/>
                  <a:gd name="connsiteX30" fmla="*/ 407713 w 896663"/>
                  <a:gd name="connsiteY30" fmla="*/ 1758950 h 4178300"/>
                  <a:gd name="connsiteX31" fmla="*/ 414063 w 896663"/>
                  <a:gd name="connsiteY31" fmla="*/ 1928956 h 4178300"/>
                  <a:gd name="connsiteX32" fmla="*/ 242901 w 896663"/>
                  <a:gd name="connsiteY32" fmla="*/ 1951759 h 4178300"/>
                  <a:gd name="connsiteX33" fmla="*/ 201338 w 896663"/>
                  <a:gd name="connsiteY33" fmla="*/ 2063750 h 4178300"/>
                  <a:gd name="connsiteX34" fmla="*/ 210863 w 896663"/>
                  <a:gd name="connsiteY34" fmla="*/ 2127250 h 4178300"/>
                  <a:gd name="connsiteX35" fmla="*/ 226738 w 896663"/>
                  <a:gd name="connsiteY35" fmla="*/ 2155825 h 4178300"/>
                  <a:gd name="connsiteX36" fmla="*/ 226738 w 896663"/>
                  <a:gd name="connsiteY36" fmla="*/ 2200275 h 4178300"/>
                  <a:gd name="connsiteX37" fmla="*/ 236263 w 896663"/>
                  <a:gd name="connsiteY37" fmla="*/ 2276475 h 4178300"/>
                  <a:gd name="connsiteX38" fmla="*/ 204513 w 896663"/>
                  <a:gd name="connsiteY38" fmla="*/ 2498724 h 4178300"/>
                  <a:gd name="connsiteX39" fmla="*/ 153713 w 896663"/>
                  <a:gd name="connsiteY39" fmla="*/ 2590799 h 4178300"/>
                  <a:gd name="connsiteX40" fmla="*/ 80688 w 896663"/>
                  <a:gd name="connsiteY40" fmla="*/ 2736849 h 4178300"/>
                  <a:gd name="connsiteX41" fmla="*/ 42588 w 896663"/>
                  <a:gd name="connsiteY41" fmla="*/ 2806699 h 4178300"/>
                  <a:gd name="connsiteX42" fmla="*/ 17188 w 896663"/>
                  <a:gd name="connsiteY42" fmla="*/ 2876549 h 4178300"/>
                  <a:gd name="connsiteX43" fmla="*/ 10838 w 896663"/>
                  <a:gd name="connsiteY43" fmla="*/ 3063874 h 4178300"/>
                  <a:gd name="connsiteX44" fmla="*/ 39413 w 896663"/>
                  <a:gd name="connsiteY44" fmla="*/ 3155949 h 4178300"/>
                  <a:gd name="connsiteX45" fmla="*/ 52113 w 896663"/>
                  <a:gd name="connsiteY45" fmla="*/ 3289299 h 4178300"/>
                  <a:gd name="connsiteX46" fmla="*/ 90213 w 896663"/>
                  <a:gd name="connsiteY46" fmla="*/ 3355974 h 4178300"/>
                  <a:gd name="connsiteX47" fmla="*/ 112438 w 896663"/>
                  <a:gd name="connsiteY47" fmla="*/ 3482974 h 4178300"/>
                  <a:gd name="connsiteX48" fmla="*/ 201338 w 896663"/>
                  <a:gd name="connsiteY48" fmla="*/ 3565524 h 4178300"/>
                  <a:gd name="connsiteX49" fmla="*/ 258488 w 896663"/>
                  <a:gd name="connsiteY49" fmla="*/ 3581399 h 4178300"/>
                  <a:gd name="connsiteX50" fmla="*/ 382313 w 896663"/>
                  <a:gd name="connsiteY50" fmla="*/ 3876674 h 4178300"/>
                  <a:gd name="connsiteX51" fmla="*/ 502963 w 896663"/>
                  <a:gd name="connsiteY51" fmla="*/ 3927474 h 4178300"/>
                  <a:gd name="connsiteX52" fmla="*/ 639488 w 896663"/>
                  <a:gd name="connsiteY52" fmla="*/ 3975099 h 4178300"/>
                  <a:gd name="connsiteX53" fmla="*/ 760138 w 896663"/>
                  <a:gd name="connsiteY53" fmla="*/ 3965574 h 4178300"/>
                  <a:gd name="connsiteX54" fmla="*/ 896663 w 896663"/>
                  <a:gd name="connsiteY54" fmla="*/ 4178300 h 4178300"/>
                  <a:gd name="connsiteX0" fmla="*/ 239438 w 896663"/>
                  <a:gd name="connsiteY0" fmla="*/ 0 h 4137025"/>
                  <a:gd name="connsiteX1" fmla="*/ 239438 w 896663"/>
                  <a:gd name="connsiteY1" fmla="*/ 44450 h 4137025"/>
                  <a:gd name="connsiteX2" fmla="*/ 207688 w 896663"/>
                  <a:gd name="connsiteY2" fmla="*/ 85725 h 4137025"/>
                  <a:gd name="connsiteX3" fmla="*/ 287063 w 896663"/>
                  <a:gd name="connsiteY3" fmla="*/ 111125 h 4137025"/>
                  <a:gd name="connsiteX4" fmla="*/ 302938 w 896663"/>
                  <a:gd name="connsiteY4" fmla="*/ 142875 h 4137025"/>
                  <a:gd name="connsiteX5" fmla="*/ 210863 w 896663"/>
                  <a:gd name="connsiteY5" fmla="*/ 212725 h 4137025"/>
                  <a:gd name="connsiteX6" fmla="*/ 160063 w 896663"/>
                  <a:gd name="connsiteY6" fmla="*/ 269875 h 4137025"/>
                  <a:gd name="connsiteX7" fmla="*/ 160063 w 896663"/>
                  <a:gd name="connsiteY7" fmla="*/ 327025 h 4137025"/>
                  <a:gd name="connsiteX8" fmla="*/ 185463 w 896663"/>
                  <a:gd name="connsiteY8" fmla="*/ 415925 h 4137025"/>
                  <a:gd name="connsiteX9" fmla="*/ 194988 w 896663"/>
                  <a:gd name="connsiteY9" fmla="*/ 466725 h 4137025"/>
                  <a:gd name="connsiteX10" fmla="*/ 204513 w 896663"/>
                  <a:gd name="connsiteY10" fmla="*/ 517525 h 4137025"/>
                  <a:gd name="connsiteX11" fmla="*/ 220388 w 896663"/>
                  <a:gd name="connsiteY11" fmla="*/ 555625 h 4137025"/>
                  <a:gd name="connsiteX12" fmla="*/ 163238 w 896663"/>
                  <a:gd name="connsiteY12" fmla="*/ 654050 h 4137025"/>
                  <a:gd name="connsiteX13" fmla="*/ 96563 w 896663"/>
                  <a:gd name="connsiteY13" fmla="*/ 688975 h 4137025"/>
                  <a:gd name="connsiteX14" fmla="*/ 52113 w 896663"/>
                  <a:gd name="connsiteY14" fmla="*/ 774700 h 4137025"/>
                  <a:gd name="connsiteX15" fmla="*/ 20363 w 896663"/>
                  <a:gd name="connsiteY15" fmla="*/ 876300 h 4137025"/>
                  <a:gd name="connsiteX16" fmla="*/ 1313 w 896663"/>
                  <a:gd name="connsiteY16" fmla="*/ 977900 h 4137025"/>
                  <a:gd name="connsiteX17" fmla="*/ 10838 w 896663"/>
                  <a:gd name="connsiteY17" fmla="*/ 1069975 h 4137025"/>
                  <a:gd name="connsiteX18" fmla="*/ 83863 w 896663"/>
                  <a:gd name="connsiteY18" fmla="*/ 1143000 h 4137025"/>
                  <a:gd name="connsiteX19" fmla="*/ 112438 w 896663"/>
                  <a:gd name="connsiteY19" fmla="*/ 1190625 h 4137025"/>
                  <a:gd name="connsiteX20" fmla="*/ 150538 w 896663"/>
                  <a:gd name="connsiteY20" fmla="*/ 1222375 h 4137025"/>
                  <a:gd name="connsiteX21" fmla="*/ 169588 w 896663"/>
                  <a:gd name="connsiteY21" fmla="*/ 1276350 h 4137025"/>
                  <a:gd name="connsiteX22" fmla="*/ 226738 w 896663"/>
                  <a:gd name="connsiteY22" fmla="*/ 1317625 h 4137025"/>
                  <a:gd name="connsiteX23" fmla="*/ 264838 w 896663"/>
                  <a:gd name="connsiteY23" fmla="*/ 1362075 h 4137025"/>
                  <a:gd name="connsiteX24" fmla="*/ 277538 w 896663"/>
                  <a:gd name="connsiteY24" fmla="*/ 1390650 h 4137025"/>
                  <a:gd name="connsiteX25" fmla="*/ 277538 w 896663"/>
                  <a:gd name="connsiteY25" fmla="*/ 1460500 h 4137025"/>
                  <a:gd name="connsiteX26" fmla="*/ 325163 w 896663"/>
                  <a:gd name="connsiteY26" fmla="*/ 1536700 h 4137025"/>
                  <a:gd name="connsiteX27" fmla="*/ 363263 w 896663"/>
                  <a:gd name="connsiteY27" fmla="*/ 1593850 h 4137025"/>
                  <a:gd name="connsiteX28" fmla="*/ 369613 w 896663"/>
                  <a:gd name="connsiteY28" fmla="*/ 1660525 h 4137025"/>
                  <a:gd name="connsiteX29" fmla="*/ 407713 w 896663"/>
                  <a:gd name="connsiteY29" fmla="*/ 1717675 h 4137025"/>
                  <a:gd name="connsiteX30" fmla="*/ 414063 w 896663"/>
                  <a:gd name="connsiteY30" fmla="*/ 1887681 h 4137025"/>
                  <a:gd name="connsiteX31" fmla="*/ 242901 w 896663"/>
                  <a:gd name="connsiteY31" fmla="*/ 1910484 h 4137025"/>
                  <a:gd name="connsiteX32" fmla="*/ 201338 w 896663"/>
                  <a:gd name="connsiteY32" fmla="*/ 2022475 h 4137025"/>
                  <a:gd name="connsiteX33" fmla="*/ 210863 w 896663"/>
                  <a:gd name="connsiteY33" fmla="*/ 2085975 h 4137025"/>
                  <a:gd name="connsiteX34" fmla="*/ 226738 w 896663"/>
                  <a:gd name="connsiteY34" fmla="*/ 2114550 h 4137025"/>
                  <a:gd name="connsiteX35" fmla="*/ 226738 w 896663"/>
                  <a:gd name="connsiteY35" fmla="*/ 2159000 h 4137025"/>
                  <a:gd name="connsiteX36" fmla="*/ 236263 w 896663"/>
                  <a:gd name="connsiteY36" fmla="*/ 2235200 h 4137025"/>
                  <a:gd name="connsiteX37" fmla="*/ 204513 w 896663"/>
                  <a:gd name="connsiteY37" fmla="*/ 2457449 h 4137025"/>
                  <a:gd name="connsiteX38" fmla="*/ 153713 w 896663"/>
                  <a:gd name="connsiteY38" fmla="*/ 2549524 h 4137025"/>
                  <a:gd name="connsiteX39" fmla="*/ 80688 w 896663"/>
                  <a:gd name="connsiteY39" fmla="*/ 2695574 h 4137025"/>
                  <a:gd name="connsiteX40" fmla="*/ 42588 w 896663"/>
                  <a:gd name="connsiteY40" fmla="*/ 2765424 h 4137025"/>
                  <a:gd name="connsiteX41" fmla="*/ 17188 w 896663"/>
                  <a:gd name="connsiteY41" fmla="*/ 2835274 h 4137025"/>
                  <a:gd name="connsiteX42" fmla="*/ 10838 w 896663"/>
                  <a:gd name="connsiteY42" fmla="*/ 3022599 h 4137025"/>
                  <a:gd name="connsiteX43" fmla="*/ 39413 w 896663"/>
                  <a:gd name="connsiteY43" fmla="*/ 3114674 h 4137025"/>
                  <a:gd name="connsiteX44" fmla="*/ 52113 w 896663"/>
                  <a:gd name="connsiteY44" fmla="*/ 3248024 h 4137025"/>
                  <a:gd name="connsiteX45" fmla="*/ 90213 w 896663"/>
                  <a:gd name="connsiteY45" fmla="*/ 3314699 h 4137025"/>
                  <a:gd name="connsiteX46" fmla="*/ 112438 w 896663"/>
                  <a:gd name="connsiteY46" fmla="*/ 3441699 h 4137025"/>
                  <a:gd name="connsiteX47" fmla="*/ 201338 w 896663"/>
                  <a:gd name="connsiteY47" fmla="*/ 3524249 h 4137025"/>
                  <a:gd name="connsiteX48" fmla="*/ 258488 w 896663"/>
                  <a:gd name="connsiteY48" fmla="*/ 3540124 h 4137025"/>
                  <a:gd name="connsiteX49" fmla="*/ 382313 w 896663"/>
                  <a:gd name="connsiteY49" fmla="*/ 3835399 h 4137025"/>
                  <a:gd name="connsiteX50" fmla="*/ 502963 w 896663"/>
                  <a:gd name="connsiteY50" fmla="*/ 3886199 h 4137025"/>
                  <a:gd name="connsiteX51" fmla="*/ 639488 w 896663"/>
                  <a:gd name="connsiteY51" fmla="*/ 3933824 h 4137025"/>
                  <a:gd name="connsiteX52" fmla="*/ 760138 w 896663"/>
                  <a:gd name="connsiteY52" fmla="*/ 3924299 h 4137025"/>
                  <a:gd name="connsiteX53" fmla="*/ 896663 w 896663"/>
                  <a:gd name="connsiteY53" fmla="*/ 4137025 h 4137025"/>
                  <a:gd name="connsiteX0" fmla="*/ 239438 w 896663"/>
                  <a:gd name="connsiteY0" fmla="*/ 0 h 4092575"/>
                  <a:gd name="connsiteX1" fmla="*/ 207688 w 896663"/>
                  <a:gd name="connsiteY1" fmla="*/ 41275 h 4092575"/>
                  <a:gd name="connsiteX2" fmla="*/ 287063 w 896663"/>
                  <a:gd name="connsiteY2" fmla="*/ 66675 h 4092575"/>
                  <a:gd name="connsiteX3" fmla="*/ 302938 w 896663"/>
                  <a:gd name="connsiteY3" fmla="*/ 98425 h 4092575"/>
                  <a:gd name="connsiteX4" fmla="*/ 210863 w 896663"/>
                  <a:gd name="connsiteY4" fmla="*/ 168275 h 4092575"/>
                  <a:gd name="connsiteX5" fmla="*/ 160063 w 896663"/>
                  <a:gd name="connsiteY5" fmla="*/ 225425 h 4092575"/>
                  <a:gd name="connsiteX6" fmla="*/ 160063 w 896663"/>
                  <a:gd name="connsiteY6" fmla="*/ 282575 h 4092575"/>
                  <a:gd name="connsiteX7" fmla="*/ 185463 w 896663"/>
                  <a:gd name="connsiteY7" fmla="*/ 371475 h 4092575"/>
                  <a:gd name="connsiteX8" fmla="*/ 194988 w 896663"/>
                  <a:gd name="connsiteY8" fmla="*/ 422275 h 4092575"/>
                  <a:gd name="connsiteX9" fmla="*/ 204513 w 896663"/>
                  <a:gd name="connsiteY9" fmla="*/ 473075 h 4092575"/>
                  <a:gd name="connsiteX10" fmla="*/ 220388 w 896663"/>
                  <a:gd name="connsiteY10" fmla="*/ 511175 h 4092575"/>
                  <a:gd name="connsiteX11" fmla="*/ 163238 w 896663"/>
                  <a:gd name="connsiteY11" fmla="*/ 609600 h 4092575"/>
                  <a:gd name="connsiteX12" fmla="*/ 96563 w 896663"/>
                  <a:gd name="connsiteY12" fmla="*/ 644525 h 4092575"/>
                  <a:gd name="connsiteX13" fmla="*/ 52113 w 896663"/>
                  <a:gd name="connsiteY13" fmla="*/ 730250 h 4092575"/>
                  <a:gd name="connsiteX14" fmla="*/ 20363 w 896663"/>
                  <a:gd name="connsiteY14" fmla="*/ 831850 h 4092575"/>
                  <a:gd name="connsiteX15" fmla="*/ 1313 w 896663"/>
                  <a:gd name="connsiteY15" fmla="*/ 933450 h 4092575"/>
                  <a:gd name="connsiteX16" fmla="*/ 10838 w 896663"/>
                  <a:gd name="connsiteY16" fmla="*/ 1025525 h 4092575"/>
                  <a:gd name="connsiteX17" fmla="*/ 83863 w 896663"/>
                  <a:gd name="connsiteY17" fmla="*/ 1098550 h 4092575"/>
                  <a:gd name="connsiteX18" fmla="*/ 112438 w 896663"/>
                  <a:gd name="connsiteY18" fmla="*/ 1146175 h 4092575"/>
                  <a:gd name="connsiteX19" fmla="*/ 150538 w 896663"/>
                  <a:gd name="connsiteY19" fmla="*/ 1177925 h 4092575"/>
                  <a:gd name="connsiteX20" fmla="*/ 169588 w 896663"/>
                  <a:gd name="connsiteY20" fmla="*/ 1231900 h 4092575"/>
                  <a:gd name="connsiteX21" fmla="*/ 226738 w 896663"/>
                  <a:gd name="connsiteY21" fmla="*/ 1273175 h 4092575"/>
                  <a:gd name="connsiteX22" fmla="*/ 264838 w 896663"/>
                  <a:gd name="connsiteY22" fmla="*/ 1317625 h 4092575"/>
                  <a:gd name="connsiteX23" fmla="*/ 277538 w 896663"/>
                  <a:gd name="connsiteY23" fmla="*/ 1346200 h 4092575"/>
                  <a:gd name="connsiteX24" fmla="*/ 277538 w 896663"/>
                  <a:gd name="connsiteY24" fmla="*/ 1416050 h 4092575"/>
                  <a:gd name="connsiteX25" fmla="*/ 325163 w 896663"/>
                  <a:gd name="connsiteY25" fmla="*/ 1492250 h 4092575"/>
                  <a:gd name="connsiteX26" fmla="*/ 363263 w 896663"/>
                  <a:gd name="connsiteY26" fmla="*/ 1549400 h 4092575"/>
                  <a:gd name="connsiteX27" fmla="*/ 369613 w 896663"/>
                  <a:gd name="connsiteY27" fmla="*/ 1616075 h 4092575"/>
                  <a:gd name="connsiteX28" fmla="*/ 407713 w 896663"/>
                  <a:gd name="connsiteY28" fmla="*/ 1673225 h 4092575"/>
                  <a:gd name="connsiteX29" fmla="*/ 414063 w 896663"/>
                  <a:gd name="connsiteY29" fmla="*/ 1843231 h 4092575"/>
                  <a:gd name="connsiteX30" fmla="*/ 242901 w 896663"/>
                  <a:gd name="connsiteY30" fmla="*/ 1866034 h 4092575"/>
                  <a:gd name="connsiteX31" fmla="*/ 201338 w 896663"/>
                  <a:gd name="connsiteY31" fmla="*/ 1978025 h 4092575"/>
                  <a:gd name="connsiteX32" fmla="*/ 210863 w 896663"/>
                  <a:gd name="connsiteY32" fmla="*/ 2041525 h 4092575"/>
                  <a:gd name="connsiteX33" fmla="*/ 226738 w 896663"/>
                  <a:gd name="connsiteY33" fmla="*/ 2070100 h 4092575"/>
                  <a:gd name="connsiteX34" fmla="*/ 226738 w 896663"/>
                  <a:gd name="connsiteY34" fmla="*/ 2114550 h 4092575"/>
                  <a:gd name="connsiteX35" fmla="*/ 236263 w 896663"/>
                  <a:gd name="connsiteY35" fmla="*/ 2190750 h 4092575"/>
                  <a:gd name="connsiteX36" fmla="*/ 204513 w 896663"/>
                  <a:gd name="connsiteY36" fmla="*/ 2412999 h 4092575"/>
                  <a:gd name="connsiteX37" fmla="*/ 153713 w 896663"/>
                  <a:gd name="connsiteY37" fmla="*/ 2505074 h 4092575"/>
                  <a:gd name="connsiteX38" fmla="*/ 80688 w 896663"/>
                  <a:gd name="connsiteY38" fmla="*/ 2651124 h 4092575"/>
                  <a:gd name="connsiteX39" fmla="*/ 42588 w 896663"/>
                  <a:gd name="connsiteY39" fmla="*/ 2720974 h 4092575"/>
                  <a:gd name="connsiteX40" fmla="*/ 17188 w 896663"/>
                  <a:gd name="connsiteY40" fmla="*/ 2790824 h 4092575"/>
                  <a:gd name="connsiteX41" fmla="*/ 10838 w 896663"/>
                  <a:gd name="connsiteY41" fmla="*/ 2978149 h 4092575"/>
                  <a:gd name="connsiteX42" fmla="*/ 39413 w 896663"/>
                  <a:gd name="connsiteY42" fmla="*/ 3070224 h 4092575"/>
                  <a:gd name="connsiteX43" fmla="*/ 52113 w 896663"/>
                  <a:gd name="connsiteY43" fmla="*/ 3203574 h 4092575"/>
                  <a:gd name="connsiteX44" fmla="*/ 90213 w 896663"/>
                  <a:gd name="connsiteY44" fmla="*/ 3270249 h 4092575"/>
                  <a:gd name="connsiteX45" fmla="*/ 112438 w 896663"/>
                  <a:gd name="connsiteY45" fmla="*/ 3397249 h 4092575"/>
                  <a:gd name="connsiteX46" fmla="*/ 201338 w 896663"/>
                  <a:gd name="connsiteY46" fmla="*/ 3479799 h 4092575"/>
                  <a:gd name="connsiteX47" fmla="*/ 258488 w 896663"/>
                  <a:gd name="connsiteY47" fmla="*/ 3495674 h 4092575"/>
                  <a:gd name="connsiteX48" fmla="*/ 382313 w 896663"/>
                  <a:gd name="connsiteY48" fmla="*/ 3790949 h 4092575"/>
                  <a:gd name="connsiteX49" fmla="*/ 502963 w 896663"/>
                  <a:gd name="connsiteY49" fmla="*/ 3841749 h 4092575"/>
                  <a:gd name="connsiteX50" fmla="*/ 639488 w 896663"/>
                  <a:gd name="connsiteY50" fmla="*/ 3889374 h 4092575"/>
                  <a:gd name="connsiteX51" fmla="*/ 760138 w 896663"/>
                  <a:gd name="connsiteY51" fmla="*/ 3879849 h 4092575"/>
                  <a:gd name="connsiteX52" fmla="*/ 896663 w 896663"/>
                  <a:gd name="connsiteY52" fmla="*/ 4092575 h 4092575"/>
                  <a:gd name="connsiteX0" fmla="*/ 207688 w 896663"/>
                  <a:gd name="connsiteY0" fmla="*/ 0 h 4051300"/>
                  <a:gd name="connsiteX1" fmla="*/ 287063 w 896663"/>
                  <a:gd name="connsiteY1" fmla="*/ 25400 h 4051300"/>
                  <a:gd name="connsiteX2" fmla="*/ 302938 w 896663"/>
                  <a:gd name="connsiteY2" fmla="*/ 57150 h 4051300"/>
                  <a:gd name="connsiteX3" fmla="*/ 210863 w 896663"/>
                  <a:gd name="connsiteY3" fmla="*/ 127000 h 4051300"/>
                  <a:gd name="connsiteX4" fmla="*/ 160063 w 896663"/>
                  <a:gd name="connsiteY4" fmla="*/ 184150 h 4051300"/>
                  <a:gd name="connsiteX5" fmla="*/ 160063 w 896663"/>
                  <a:gd name="connsiteY5" fmla="*/ 241300 h 4051300"/>
                  <a:gd name="connsiteX6" fmla="*/ 185463 w 896663"/>
                  <a:gd name="connsiteY6" fmla="*/ 330200 h 4051300"/>
                  <a:gd name="connsiteX7" fmla="*/ 194988 w 896663"/>
                  <a:gd name="connsiteY7" fmla="*/ 381000 h 4051300"/>
                  <a:gd name="connsiteX8" fmla="*/ 204513 w 896663"/>
                  <a:gd name="connsiteY8" fmla="*/ 431800 h 4051300"/>
                  <a:gd name="connsiteX9" fmla="*/ 220388 w 896663"/>
                  <a:gd name="connsiteY9" fmla="*/ 469900 h 4051300"/>
                  <a:gd name="connsiteX10" fmla="*/ 163238 w 896663"/>
                  <a:gd name="connsiteY10" fmla="*/ 568325 h 4051300"/>
                  <a:gd name="connsiteX11" fmla="*/ 96563 w 896663"/>
                  <a:gd name="connsiteY11" fmla="*/ 603250 h 4051300"/>
                  <a:gd name="connsiteX12" fmla="*/ 52113 w 896663"/>
                  <a:gd name="connsiteY12" fmla="*/ 688975 h 4051300"/>
                  <a:gd name="connsiteX13" fmla="*/ 20363 w 896663"/>
                  <a:gd name="connsiteY13" fmla="*/ 790575 h 4051300"/>
                  <a:gd name="connsiteX14" fmla="*/ 1313 w 896663"/>
                  <a:gd name="connsiteY14" fmla="*/ 892175 h 4051300"/>
                  <a:gd name="connsiteX15" fmla="*/ 10838 w 896663"/>
                  <a:gd name="connsiteY15" fmla="*/ 984250 h 4051300"/>
                  <a:gd name="connsiteX16" fmla="*/ 83863 w 896663"/>
                  <a:gd name="connsiteY16" fmla="*/ 1057275 h 4051300"/>
                  <a:gd name="connsiteX17" fmla="*/ 112438 w 896663"/>
                  <a:gd name="connsiteY17" fmla="*/ 1104900 h 4051300"/>
                  <a:gd name="connsiteX18" fmla="*/ 150538 w 896663"/>
                  <a:gd name="connsiteY18" fmla="*/ 1136650 h 4051300"/>
                  <a:gd name="connsiteX19" fmla="*/ 169588 w 896663"/>
                  <a:gd name="connsiteY19" fmla="*/ 1190625 h 4051300"/>
                  <a:gd name="connsiteX20" fmla="*/ 226738 w 896663"/>
                  <a:gd name="connsiteY20" fmla="*/ 1231900 h 4051300"/>
                  <a:gd name="connsiteX21" fmla="*/ 264838 w 896663"/>
                  <a:gd name="connsiteY21" fmla="*/ 1276350 h 4051300"/>
                  <a:gd name="connsiteX22" fmla="*/ 277538 w 896663"/>
                  <a:gd name="connsiteY22" fmla="*/ 1304925 h 4051300"/>
                  <a:gd name="connsiteX23" fmla="*/ 277538 w 896663"/>
                  <a:gd name="connsiteY23" fmla="*/ 1374775 h 4051300"/>
                  <a:gd name="connsiteX24" fmla="*/ 325163 w 896663"/>
                  <a:gd name="connsiteY24" fmla="*/ 1450975 h 4051300"/>
                  <a:gd name="connsiteX25" fmla="*/ 363263 w 896663"/>
                  <a:gd name="connsiteY25" fmla="*/ 1508125 h 4051300"/>
                  <a:gd name="connsiteX26" fmla="*/ 369613 w 896663"/>
                  <a:gd name="connsiteY26" fmla="*/ 1574800 h 4051300"/>
                  <a:gd name="connsiteX27" fmla="*/ 407713 w 896663"/>
                  <a:gd name="connsiteY27" fmla="*/ 1631950 h 4051300"/>
                  <a:gd name="connsiteX28" fmla="*/ 414063 w 896663"/>
                  <a:gd name="connsiteY28" fmla="*/ 1801956 h 4051300"/>
                  <a:gd name="connsiteX29" fmla="*/ 242901 w 896663"/>
                  <a:gd name="connsiteY29" fmla="*/ 1824759 h 4051300"/>
                  <a:gd name="connsiteX30" fmla="*/ 201338 w 896663"/>
                  <a:gd name="connsiteY30" fmla="*/ 1936750 h 4051300"/>
                  <a:gd name="connsiteX31" fmla="*/ 210863 w 896663"/>
                  <a:gd name="connsiteY31" fmla="*/ 2000250 h 4051300"/>
                  <a:gd name="connsiteX32" fmla="*/ 226738 w 896663"/>
                  <a:gd name="connsiteY32" fmla="*/ 2028825 h 4051300"/>
                  <a:gd name="connsiteX33" fmla="*/ 226738 w 896663"/>
                  <a:gd name="connsiteY33" fmla="*/ 2073275 h 4051300"/>
                  <a:gd name="connsiteX34" fmla="*/ 236263 w 896663"/>
                  <a:gd name="connsiteY34" fmla="*/ 2149475 h 4051300"/>
                  <a:gd name="connsiteX35" fmla="*/ 204513 w 896663"/>
                  <a:gd name="connsiteY35" fmla="*/ 2371724 h 4051300"/>
                  <a:gd name="connsiteX36" fmla="*/ 153713 w 896663"/>
                  <a:gd name="connsiteY36" fmla="*/ 2463799 h 4051300"/>
                  <a:gd name="connsiteX37" fmla="*/ 80688 w 896663"/>
                  <a:gd name="connsiteY37" fmla="*/ 2609849 h 4051300"/>
                  <a:gd name="connsiteX38" fmla="*/ 42588 w 896663"/>
                  <a:gd name="connsiteY38" fmla="*/ 2679699 h 4051300"/>
                  <a:gd name="connsiteX39" fmla="*/ 17188 w 896663"/>
                  <a:gd name="connsiteY39" fmla="*/ 2749549 h 4051300"/>
                  <a:gd name="connsiteX40" fmla="*/ 10838 w 896663"/>
                  <a:gd name="connsiteY40" fmla="*/ 2936874 h 4051300"/>
                  <a:gd name="connsiteX41" fmla="*/ 39413 w 896663"/>
                  <a:gd name="connsiteY41" fmla="*/ 3028949 h 4051300"/>
                  <a:gd name="connsiteX42" fmla="*/ 52113 w 896663"/>
                  <a:gd name="connsiteY42" fmla="*/ 3162299 h 4051300"/>
                  <a:gd name="connsiteX43" fmla="*/ 90213 w 896663"/>
                  <a:gd name="connsiteY43" fmla="*/ 3228974 h 4051300"/>
                  <a:gd name="connsiteX44" fmla="*/ 112438 w 896663"/>
                  <a:gd name="connsiteY44" fmla="*/ 3355974 h 4051300"/>
                  <a:gd name="connsiteX45" fmla="*/ 201338 w 896663"/>
                  <a:gd name="connsiteY45" fmla="*/ 3438524 h 4051300"/>
                  <a:gd name="connsiteX46" fmla="*/ 258488 w 896663"/>
                  <a:gd name="connsiteY46" fmla="*/ 3454399 h 4051300"/>
                  <a:gd name="connsiteX47" fmla="*/ 382313 w 896663"/>
                  <a:gd name="connsiteY47" fmla="*/ 3749674 h 4051300"/>
                  <a:gd name="connsiteX48" fmla="*/ 502963 w 896663"/>
                  <a:gd name="connsiteY48" fmla="*/ 3800474 h 4051300"/>
                  <a:gd name="connsiteX49" fmla="*/ 639488 w 896663"/>
                  <a:gd name="connsiteY49" fmla="*/ 3848099 h 4051300"/>
                  <a:gd name="connsiteX50" fmla="*/ 760138 w 896663"/>
                  <a:gd name="connsiteY50" fmla="*/ 3838574 h 4051300"/>
                  <a:gd name="connsiteX51" fmla="*/ 896663 w 896663"/>
                  <a:gd name="connsiteY51" fmla="*/ 4051300 h 4051300"/>
                  <a:gd name="connsiteX0" fmla="*/ 287063 w 896663"/>
                  <a:gd name="connsiteY0" fmla="*/ 0 h 4025900"/>
                  <a:gd name="connsiteX1" fmla="*/ 302938 w 896663"/>
                  <a:gd name="connsiteY1" fmla="*/ 31750 h 4025900"/>
                  <a:gd name="connsiteX2" fmla="*/ 210863 w 896663"/>
                  <a:gd name="connsiteY2" fmla="*/ 101600 h 4025900"/>
                  <a:gd name="connsiteX3" fmla="*/ 160063 w 896663"/>
                  <a:gd name="connsiteY3" fmla="*/ 158750 h 4025900"/>
                  <a:gd name="connsiteX4" fmla="*/ 160063 w 896663"/>
                  <a:gd name="connsiteY4" fmla="*/ 215900 h 4025900"/>
                  <a:gd name="connsiteX5" fmla="*/ 185463 w 896663"/>
                  <a:gd name="connsiteY5" fmla="*/ 304800 h 4025900"/>
                  <a:gd name="connsiteX6" fmla="*/ 194988 w 896663"/>
                  <a:gd name="connsiteY6" fmla="*/ 355600 h 4025900"/>
                  <a:gd name="connsiteX7" fmla="*/ 204513 w 896663"/>
                  <a:gd name="connsiteY7" fmla="*/ 406400 h 4025900"/>
                  <a:gd name="connsiteX8" fmla="*/ 220388 w 896663"/>
                  <a:gd name="connsiteY8" fmla="*/ 444500 h 4025900"/>
                  <a:gd name="connsiteX9" fmla="*/ 163238 w 896663"/>
                  <a:gd name="connsiteY9" fmla="*/ 542925 h 4025900"/>
                  <a:gd name="connsiteX10" fmla="*/ 96563 w 896663"/>
                  <a:gd name="connsiteY10" fmla="*/ 577850 h 4025900"/>
                  <a:gd name="connsiteX11" fmla="*/ 52113 w 896663"/>
                  <a:gd name="connsiteY11" fmla="*/ 663575 h 4025900"/>
                  <a:gd name="connsiteX12" fmla="*/ 20363 w 896663"/>
                  <a:gd name="connsiteY12" fmla="*/ 765175 h 4025900"/>
                  <a:gd name="connsiteX13" fmla="*/ 1313 w 896663"/>
                  <a:gd name="connsiteY13" fmla="*/ 866775 h 4025900"/>
                  <a:gd name="connsiteX14" fmla="*/ 10838 w 896663"/>
                  <a:gd name="connsiteY14" fmla="*/ 958850 h 4025900"/>
                  <a:gd name="connsiteX15" fmla="*/ 83863 w 896663"/>
                  <a:gd name="connsiteY15" fmla="*/ 1031875 h 4025900"/>
                  <a:gd name="connsiteX16" fmla="*/ 112438 w 896663"/>
                  <a:gd name="connsiteY16" fmla="*/ 1079500 h 4025900"/>
                  <a:gd name="connsiteX17" fmla="*/ 150538 w 896663"/>
                  <a:gd name="connsiteY17" fmla="*/ 1111250 h 4025900"/>
                  <a:gd name="connsiteX18" fmla="*/ 169588 w 896663"/>
                  <a:gd name="connsiteY18" fmla="*/ 1165225 h 4025900"/>
                  <a:gd name="connsiteX19" fmla="*/ 226738 w 896663"/>
                  <a:gd name="connsiteY19" fmla="*/ 1206500 h 4025900"/>
                  <a:gd name="connsiteX20" fmla="*/ 264838 w 896663"/>
                  <a:gd name="connsiteY20" fmla="*/ 1250950 h 4025900"/>
                  <a:gd name="connsiteX21" fmla="*/ 277538 w 896663"/>
                  <a:gd name="connsiteY21" fmla="*/ 1279525 h 4025900"/>
                  <a:gd name="connsiteX22" fmla="*/ 277538 w 896663"/>
                  <a:gd name="connsiteY22" fmla="*/ 1349375 h 4025900"/>
                  <a:gd name="connsiteX23" fmla="*/ 325163 w 896663"/>
                  <a:gd name="connsiteY23" fmla="*/ 1425575 h 4025900"/>
                  <a:gd name="connsiteX24" fmla="*/ 363263 w 896663"/>
                  <a:gd name="connsiteY24" fmla="*/ 1482725 h 4025900"/>
                  <a:gd name="connsiteX25" fmla="*/ 369613 w 896663"/>
                  <a:gd name="connsiteY25" fmla="*/ 1549400 h 4025900"/>
                  <a:gd name="connsiteX26" fmla="*/ 407713 w 896663"/>
                  <a:gd name="connsiteY26" fmla="*/ 1606550 h 4025900"/>
                  <a:gd name="connsiteX27" fmla="*/ 414063 w 896663"/>
                  <a:gd name="connsiteY27" fmla="*/ 1776556 h 4025900"/>
                  <a:gd name="connsiteX28" fmla="*/ 242901 w 896663"/>
                  <a:gd name="connsiteY28" fmla="*/ 1799359 h 4025900"/>
                  <a:gd name="connsiteX29" fmla="*/ 201338 w 896663"/>
                  <a:gd name="connsiteY29" fmla="*/ 1911350 h 4025900"/>
                  <a:gd name="connsiteX30" fmla="*/ 210863 w 896663"/>
                  <a:gd name="connsiteY30" fmla="*/ 1974850 h 4025900"/>
                  <a:gd name="connsiteX31" fmla="*/ 226738 w 896663"/>
                  <a:gd name="connsiteY31" fmla="*/ 2003425 h 4025900"/>
                  <a:gd name="connsiteX32" fmla="*/ 226738 w 896663"/>
                  <a:gd name="connsiteY32" fmla="*/ 2047875 h 4025900"/>
                  <a:gd name="connsiteX33" fmla="*/ 236263 w 896663"/>
                  <a:gd name="connsiteY33" fmla="*/ 2124075 h 4025900"/>
                  <a:gd name="connsiteX34" fmla="*/ 204513 w 896663"/>
                  <a:gd name="connsiteY34" fmla="*/ 2346324 h 4025900"/>
                  <a:gd name="connsiteX35" fmla="*/ 153713 w 896663"/>
                  <a:gd name="connsiteY35" fmla="*/ 2438399 h 4025900"/>
                  <a:gd name="connsiteX36" fmla="*/ 80688 w 896663"/>
                  <a:gd name="connsiteY36" fmla="*/ 2584449 h 4025900"/>
                  <a:gd name="connsiteX37" fmla="*/ 42588 w 896663"/>
                  <a:gd name="connsiteY37" fmla="*/ 2654299 h 4025900"/>
                  <a:gd name="connsiteX38" fmla="*/ 17188 w 896663"/>
                  <a:gd name="connsiteY38" fmla="*/ 2724149 h 4025900"/>
                  <a:gd name="connsiteX39" fmla="*/ 10838 w 896663"/>
                  <a:gd name="connsiteY39" fmla="*/ 2911474 h 4025900"/>
                  <a:gd name="connsiteX40" fmla="*/ 39413 w 896663"/>
                  <a:gd name="connsiteY40" fmla="*/ 3003549 h 4025900"/>
                  <a:gd name="connsiteX41" fmla="*/ 52113 w 896663"/>
                  <a:gd name="connsiteY41" fmla="*/ 3136899 h 4025900"/>
                  <a:gd name="connsiteX42" fmla="*/ 90213 w 896663"/>
                  <a:gd name="connsiteY42" fmla="*/ 3203574 h 4025900"/>
                  <a:gd name="connsiteX43" fmla="*/ 112438 w 896663"/>
                  <a:gd name="connsiteY43" fmla="*/ 3330574 h 4025900"/>
                  <a:gd name="connsiteX44" fmla="*/ 201338 w 896663"/>
                  <a:gd name="connsiteY44" fmla="*/ 3413124 h 4025900"/>
                  <a:gd name="connsiteX45" fmla="*/ 258488 w 896663"/>
                  <a:gd name="connsiteY45" fmla="*/ 3428999 h 4025900"/>
                  <a:gd name="connsiteX46" fmla="*/ 382313 w 896663"/>
                  <a:gd name="connsiteY46" fmla="*/ 3724274 h 4025900"/>
                  <a:gd name="connsiteX47" fmla="*/ 502963 w 896663"/>
                  <a:gd name="connsiteY47" fmla="*/ 3775074 h 4025900"/>
                  <a:gd name="connsiteX48" fmla="*/ 639488 w 896663"/>
                  <a:gd name="connsiteY48" fmla="*/ 3822699 h 4025900"/>
                  <a:gd name="connsiteX49" fmla="*/ 760138 w 896663"/>
                  <a:gd name="connsiteY49" fmla="*/ 3813174 h 4025900"/>
                  <a:gd name="connsiteX50" fmla="*/ 896663 w 896663"/>
                  <a:gd name="connsiteY50" fmla="*/ 4025900 h 4025900"/>
                  <a:gd name="connsiteX0" fmla="*/ 287063 w 896663"/>
                  <a:gd name="connsiteY0" fmla="*/ 0 h 4025900"/>
                  <a:gd name="connsiteX1" fmla="*/ 210863 w 896663"/>
                  <a:gd name="connsiteY1" fmla="*/ 101600 h 4025900"/>
                  <a:gd name="connsiteX2" fmla="*/ 160063 w 896663"/>
                  <a:gd name="connsiteY2" fmla="*/ 158750 h 4025900"/>
                  <a:gd name="connsiteX3" fmla="*/ 160063 w 896663"/>
                  <a:gd name="connsiteY3" fmla="*/ 215900 h 4025900"/>
                  <a:gd name="connsiteX4" fmla="*/ 185463 w 896663"/>
                  <a:gd name="connsiteY4" fmla="*/ 304800 h 4025900"/>
                  <a:gd name="connsiteX5" fmla="*/ 194988 w 896663"/>
                  <a:gd name="connsiteY5" fmla="*/ 355600 h 4025900"/>
                  <a:gd name="connsiteX6" fmla="*/ 204513 w 896663"/>
                  <a:gd name="connsiteY6" fmla="*/ 406400 h 4025900"/>
                  <a:gd name="connsiteX7" fmla="*/ 220388 w 896663"/>
                  <a:gd name="connsiteY7" fmla="*/ 444500 h 4025900"/>
                  <a:gd name="connsiteX8" fmla="*/ 163238 w 896663"/>
                  <a:gd name="connsiteY8" fmla="*/ 542925 h 4025900"/>
                  <a:gd name="connsiteX9" fmla="*/ 96563 w 896663"/>
                  <a:gd name="connsiteY9" fmla="*/ 577850 h 4025900"/>
                  <a:gd name="connsiteX10" fmla="*/ 52113 w 896663"/>
                  <a:gd name="connsiteY10" fmla="*/ 663575 h 4025900"/>
                  <a:gd name="connsiteX11" fmla="*/ 20363 w 896663"/>
                  <a:gd name="connsiteY11" fmla="*/ 765175 h 4025900"/>
                  <a:gd name="connsiteX12" fmla="*/ 1313 w 896663"/>
                  <a:gd name="connsiteY12" fmla="*/ 866775 h 4025900"/>
                  <a:gd name="connsiteX13" fmla="*/ 10838 w 896663"/>
                  <a:gd name="connsiteY13" fmla="*/ 958850 h 4025900"/>
                  <a:gd name="connsiteX14" fmla="*/ 83863 w 896663"/>
                  <a:gd name="connsiteY14" fmla="*/ 1031875 h 4025900"/>
                  <a:gd name="connsiteX15" fmla="*/ 112438 w 896663"/>
                  <a:gd name="connsiteY15" fmla="*/ 1079500 h 4025900"/>
                  <a:gd name="connsiteX16" fmla="*/ 150538 w 896663"/>
                  <a:gd name="connsiteY16" fmla="*/ 1111250 h 4025900"/>
                  <a:gd name="connsiteX17" fmla="*/ 169588 w 896663"/>
                  <a:gd name="connsiteY17" fmla="*/ 1165225 h 4025900"/>
                  <a:gd name="connsiteX18" fmla="*/ 226738 w 896663"/>
                  <a:gd name="connsiteY18" fmla="*/ 1206500 h 4025900"/>
                  <a:gd name="connsiteX19" fmla="*/ 264838 w 896663"/>
                  <a:gd name="connsiteY19" fmla="*/ 1250950 h 4025900"/>
                  <a:gd name="connsiteX20" fmla="*/ 277538 w 896663"/>
                  <a:gd name="connsiteY20" fmla="*/ 1279525 h 4025900"/>
                  <a:gd name="connsiteX21" fmla="*/ 277538 w 896663"/>
                  <a:gd name="connsiteY21" fmla="*/ 1349375 h 4025900"/>
                  <a:gd name="connsiteX22" fmla="*/ 325163 w 896663"/>
                  <a:gd name="connsiteY22" fmla="*/ 1425575 h 4025900"/>
                  <a:gd name="connsiteX23" fmla="*/ 363263 w 896663"/>
                  <a:gd name="connsiteY23" fmla="*/ 1482725 h 4025900"/>
                  <a:gd name="connsiteX24" fmla="*/ 369613 w 896663"/>
                  <a:gd name="connsiteY24" fmla="*/ 1549400 h 4025900"/>
                  <a:gd name="connsiteX25" fmla="*/ 407713 w 896663"/>
                  <a:gd name="connsiteY25" fmla="*/ 1606550 h 4025900"/>
                  <a:gd name="connsiteX26" fmla="*/ 414063 w 896663"/>
                  <a:gd name="connsiteY26" fmla="*/ 1776556 h 4025900"/>
                  <a:gd name="connsiteX27" fmla="*/ 242901 w 896663"/>
                  <a:gd name="connsiteY27" fmla="*/ 1799359 h 4025900"/>
                  <a:gd name="connsiteX28" fmla="*/ 201338 w 896663"/>
                  <a:gd name="connsiteY28" fmla="*/ 1911350 h 4025900"/>
                  <a:gd name="connsiteX29" fmla="*/ 210863 w 896663"/>
                  <a:gd name="connsiteY29" fmla="*/ 1974850 h 4025900"/>
                  <a:gd name="connsiteX30" fmla="*/ 226738 w 896663"/>
                  <a:gd name="connsiteY30" fmla="*/ 2003425 h 4025900"/>
                  <a:gd name="connsiteX31" fmla="*/ 226738 w 896663"/>
                  <a:gd name="connsiteY31" fmla="*/ 2047875 h 4025900"/>
                  <a:gd name="connsiteX32" fmla="*/ 236263 w 896663"/>
                  <a:gd name="connsiteY32" fmla="*/ 2124075 h 4025900"/>
                  <a:gd name="connsiteX33" fmla="*/ 204513 w 896663"/>
                  <a:gd name="connsiteY33" fmla="*/ 2346324 h 4025900"/>
                  <a:gd name="connsiteX34" fmla="*/ 153713 w 896663"/>
                  <a:gd name="connsiteY34" fmla="*/ 2438399 h 4025900"/>
                  <a:gd name="connsiteX35" fmla="*/ 80688 w 896663"/>
                  <a:gd name="connsiteY35" fmla="*/ 2584449 h 4025900"/>
                  <a:gd name="connsiteX36" fmla="*/ 42588 w 896663"/>
                  <a:gd name="connsiteY36" fmla="*/ 2654299 h 4025900"/>
                  <a:gd name="connsiteX37" fmla="*/ 17188 w 896663"/>
                  <a:gd name="connsiteY37" fmla="*/ 2724149 h 4025900"/>
                  <a:gd name="connsiteX38" fmla="*/ 10838 w 896663"/>
                  <a:gd name="connsiteY38" fmla="*/ 2911474 h 4025900"/>
                  <a:gd name="connsiteX39" fmla="*/ 39413 w 896663"/>
                  <a:gd name="connsiteY39" fmla="*/ 3003549 h 4025900"/>
                  <a:gd name="connsiteX40" fmla="*/ 52113 w 896663"/>
                  <a:gd name="connsiteY40" fmla="*/ 3136899 h 4025900"/>
                  <a:gd name="connsiteX41" fmla="*/ 90213 w 896663"/>
                  <a:gd name="connsiteY41" fmla="*/ 3203574 h 4025900"/>
                  <a:gd name="connsiteX42" fmla="*/ 112438 w 896663"/>
                  <a:gd name="connsiteY42" fmla="*/ 3330574 h 4025900"/>
                  <a:gd name="connsiteX43" fmla="*/ 201338 w 896663"/>
                  <a:gd name="connsiteY43" fmla="*/ 3413124 h 4025900"/>
                  <a:gd name="connsiteX44" fmla="*/ 258488 w 896663"/>
                  <a:gd name="connsiteY44" fmla="*/ 3428999 h 4025900"/>
                  <a:gd name="connsiteX45" fmla="*/ 382313 w 896663"/>
                  <a:gd name="connsiteY45" fmla="*/ 3724274 h 4025900"/>
                  <a:gd name="connsiteX46" fmla="*/ 502963 w 896663"/>
                  <a:gd name="connsiteY46" fmla="*/ 3775074 h 4025900"/>
                  <a:gd name="connsiteX47" fmla="*/ 639488 w 896663"/>
                  <a:gd name="connsiteY47" fmla="*/ 3822699 h 4025900"/>
                  <a:gd name="connsiteX48" fmla="*/ 760138 w 896663"/>
                  <a:gd name="connsiteY48" fmla="*/ 3813174 h 4025900"/>
                  <a:gd name="connsiteX49" fmla="*/ 896663 w 896663"/>
                  <a:gd name="connsiteY49" fmla="*/ 4025900 h 4025900"/>
                  <a:gd name="connsiteX0" fmla="*/ 210863 w 896663"/>
                  <a:gd name="connsiteY0" fmla="*/ 0 h 3924300"/>
                  <a:gd name="connsiteX1" fmla="*/ 160063 w 896663"/>
                  <a:gd name="connsiteY1" fmla="*/ 57150 h 3924300"/>
                  <a:gd name="connsiteX2" fmla="*/ 160063 w 896663"/>
                  <a:gd name="connsiteY2" fmla="*/ 114300 h 3924300"/>
                  <a:gd name="connsiteX3" fmla="*/ 185463 w 896663"/>
                  <a:gd name="connsiteY3" fmla="*/ 203200 h 3924300"/>
                  <a:gd name="connsiteX4" fmla="*/ 194988 w 896663"/>
                  <a:gd name="connsiteY4" fmla="*/ 254000 h 3924300"/>
                  <a:gd name="connsiteX5" fmla="*/ 204513 w 896663"/>
                  <a:gd name="connsiteY5" fmla="*/ 304800 h 3924300"/>
                  <a:gd name="connsiteX6" fmla="*/ 220388 w 896663"/>
                  <a:gd name="connsiteY6" fmla="*/ 342900 h 3924300"/>
                  <a:gd name="connsiteX7" fmla="*/ 163238 w 896663"/>
                  <a:gd name="connsiteY7" fmla="*/ 441325 h 3924300"/>
                  <a:gd name="connsiteX8" fmla="*/ 96563 w 896663"/>
                  <a:gd name="connsiteY8" fmla="*/ 476250 h 3924300"/>
                  <a:gd name="connsiteX9" fmla="*/ 52113 w 896663"/>
                  <a:gd name="connsiteY9" fmla="*/ 561975 h 3924300"/>
                  <a:gd name="connsiteX10" fmla="*/ 20363 w 896663"/>
                  <a:gd name="connsiteY10" fmla="*/ 663575 h 3924300"/>
                  <a:gd name="connsiteX11" fmla="*/ 1313 w 896663"/>
                  <a:gd name="connsiteY11" fmla="*/ 765175 h 3924300"/>
                  <a:gd name="connsiteX12" fmla="*/ 10838 w 896663"/>
                  <a:gd name="connsiteY12" fmla="*/ 857250 h 3924300"/>
                  <a:gd name="connsiteX13" fmla="*/ 83863 w 896663"/>
                  <a:gd name="connsiteY13" fmla="*/ 930275 h 3924300"/>
                  <a:gd name="connsiteX14" fmla="*/ 112438 w 896663"/>
                  <a:gd name="connsiteY14" fmla="*/ 977900 h 3924300"/>
                  <a:gd name="connsiteX15" fmla="*/ 150538 w 896663"/>
                  <a:gd name="connsiteY15" fmla="*/ 1009650 h 3924300"/>
                  <a:gd name="connsiteX16" fmla="*/ 169588 w 896663"/>
                  <a:gd name="connsiteY16" fmla="*/ 1063625 h 3924300"/>
                  <a:gd name="connsiteX17" fmla="*/ 226738 w 896663"/>
                  <a:gd name="connsiteY17" fmla="*/ 1104900 h 3924300"/>
                  <a:gd name="connsiteX18" fmla="*/ 264838 w 896663"/>
                  <a:gd name="connsiteY18" fmla="*/ 1149350 h 3924300"/>
                  <a:gd name="connsiteX19" fmla="*/ 277538 w 896663"/>
                  <a:gd name="connsiteY19" fmla="*/ 1177925 h 3924300"/>
                  <a:gd name="connsiteX20" fmla="*/ 277538 w 896663"/>
                  <a:gd name="connsiteY20" fmla="*/ 1247775 h 3924300"/>
                  <a:gd name="connsiteX21" fmla="*/ 325163 w 896663"/>
                  <a:gd name="connsiteY21" fmla="*/ 1323975 h 3924300"/>
                  <a:gd name="connsiteX22" fmla="*/ 363263 w 896663"/>
                  <a:gd name="connsiteY22" fmla="*/ 1381125 h 3924300"/>
                  <a:gd name="connsiteX23" fmla="*/ 369613 w 896663"/>
                  <a:gd name="connsiteY23" fmla="*/ 1447800 h 3924300"/>
                  <a:gd name="connsiteX24" fmla="*/ 407713 w 896663"/>
                  <a:gd name="connsiteY24" fmla="*/ 1504950 h 3924300"/>
                  <a:gd name="connsiteX25" fmla="*/ 414063 w 896663"/>
                  <a:gd name="connsiteY25" fmla="*/ 1674956 h 3924300"/>
                  <a:gd name="connsiteX26" fmla="*/ 242901 w 896663"/>
                  <a:gd name="connsiteY26" fmla="*/ 1697759 h 3924300"/>
                  <a:gd name="connsiteX27" fmla="*/ 201338 w 896663"/>
                  <a:gd name="connsiteY27" fmla="*/ 1809750 h 3924300"/>
                  <a:gd name="connsiteX28" fmla="*/ 210863 w 896663"/>
                  <a:gd name="connsiteY28" fmla="*/ 1873250 h 3924300"/>
                  <a:gd name="connsiteX29" fmla="*/ 226738 w 896663"/>
                  <a:gd name="connsiteY29" fmla="*/ 1901825 h 3924300"/>
                  <a:gd name="connsiteX30" fmla="*/ 226738 w 896663"/>
                  <a:gd name="connsiteY30" fmla="*/ 1946275 h 3924300"/>
                  <a:gd name="connsiteX31" fmla="*/ 236263 w 896663"/>
                  <a:gd name="connsiteY31" fmla="*/ 2022475 h 3924300"/>
                  <a:gd name="connsiteX32" fmla="*/ 204513 w 896663"/>
                  <a:gd name="connsiteY32" fmla="*/ 2244724 h 3924300"/>
                  <a:gd name="connsiteX33" fmla="*/ 153713 w 896663"/>
                  <a:gd name="connsiteY33" fmla="*/ 2336799 h 3924300"/>
                  <a:gd name="connsiteX34" fmla="*/ 80688 w 896663"/>
                  <a:gd name="connsiteY34" fmla="*/ 2482849 h 3924300"/>
                  <a:gd name="connsiteX35" fmla="*/ 42588 w 896663"/>
                  <a:gd name="connsiteY35" fmla="*/ 2552699 h 3924300"/>
                  <a:gd name="connsiteX36" fmla="*/ 17188 w 896663"/>
                  <a:gd name="connsiteY36" fmla="*/ 2622549 h 3924300"/>
                  <a:gd name="connsiteX37" fmla="*/ 10838 w 896663"/>
                  <a:gd name="connsiteY37" fmla="*/ 2809874 h 3924300"/>
                  <a:gd name="connsiteX38" fmla="*/ 39413 w 896663"/>
                  <a:gd name="connsiteY38" fmla="*/ 2901949 h 3924300"/>
                  <a:gd name="connsiteX39" fmla="*/ 52113 w 896663"/>
                  <a:gd name="connsiteY39" fmla="*/ 3035299 h 3924300"/>
                  <a:gd name="connsiteX40" fmla="*/ 90213 w 896663"/>
                  <a:gd name="connsiteY40" fmla="*/ 3101974 h 3924300"/>
                  <a:gd name="connsiteX41" fmla="*/ 112438 w 896663"/>
                  <a:gd name="connsiteY41" fmla="*/ 3228974 h 3924300"/>
                  <a:gd name="connsiteX42" fmla="*/ 201338 w 896663"/>
                  <a:gd name="connsiteY42" fmla="*/ 3311524 h 3924300"/>
                  <a:gd name="connsiteX43" fmla="*/ 258488 w 896663"/>
                  <a:gd name="connsiteY43" fmla="*/ 3327399 h 3924300"/>
                  <a:gd name="connsiteX44" fmla="*/ 382313 w 896663"/>
                  <a:gd name="connsiteY44" fmla="*/ 3622674 h 3924300"/>
                  <a:gd name="connsiteX45" fmla="*/ 502963 w 896663"/>
                  <a:gd name="connsiteY45" fmla="*/ 3673474 h 3924300"/>
                  <a:gd name="connsiteX46" fmla="*/ 639488 w 896663"/>
                  <a:gd name="connsiteY46" fmla="*/ 3721099 h 3924300"/>
                  <a:gd name="connsiteX47" fmla="*/ 760138 w 896663"/>
                  <a:gd name="connsiteY47" fmla="*/ 3711574 h 3924300"/>
                  <a:gd name="connsiteX48" fmla="*/ 896663 w 896663"/>
                  <a:gd name="connsiteY48" fmla="*/ 3924300 h 3924300"/>
                  <a:gd name="connsiteX0" fmla="*/ 160063 w 896663"/>
                  <a:gd name="connsiteY0" fmla="*/ 0 h 3867150"/>
                  <a:gd name="connsiteX1" fmla="*/ 160063 w 896663"/>
                  <a:gd name="connsiteY1" fmla="*/ 57150 h 3867150"/>
                  <a:gd name="connsiteX2" fmla="*/ 185463 w 896663"/>
                  <a:gd name="connsiteY2" fmla="*/ 146050 h 3867150"/>
                  <a:gd name="connsiteX3" fmla="*/ 194988 w 896663"/>
                  <a:gd name="connsiteY3" fmla="*/ 196850 h 3867150"/>
                  <a:gd name="connsiteX4" fmla="*/ 204513 w 896663"/>
                  <a:gd name="connsiteY4" fmla="*/ 247650 h 3867150"/>
                  <a:gd name="connsiteX5" fmla="*/ 220388 w 896663"/>
                  <a:gd name="connsiteY5" fmla="*/ 285750 h 3867150"/>
                  <a:gd name="connsiteX6" fmla="*/ 163238 w 896663"/>
                  <a:gd name="connsiteY6" fmla="*/ 384175 h 3867150"/>
                  <a:gd name="connsiteX7" fmla="*/ 96563 w 896663"/>
                  <a:gd name="connsiteY7" fmla="*/ 419100 h 3867150"/>
                  <a:gd name="connsiteX8" fmla="*/ 52113 w 896663"/>
                  <a:gd name="connsiteY8" fmla="*/ 504825 h 3867150"/>
                  <a:gd name="connsiteX9" fmla="*/ 20363 w 896663"/>
                  <a:gd name="connsiteY9" fmla="*/ 606425 h 3867150"/>
                  <a:gd name="connsiteX10" fmla="*/ 1313 w 896663"/>
                  <a:gd name="connsiteY10" fmla="*/ 708025 h 3867150"/>
                  <a:gd name="connsiteX11" fmla="*/ 10838 w 896663"/>
                  <a:gd name="connsiteY11" fmla="*/ 800100 h 3867150"/>
                  <a:gd name="connsiteX12" fmla="*/ 83863 w 896663"/>
                  <a:gd name="connsiteY12" fmla="*/ 873125 h 3867150"/>
                  <a:gd name="connsiteX13" fmla="*/ 112438 w 896663"/>
                  <a:gd name="connsiteY13" fmla="*/ 920750 h 3867150"/>
                  <a:gd name="connsiteX14" fmla="*/ 150538 w 896663"/>
                  <a:gd name="connsiteY14" fmla="*/ 952500 h 3867150"/>
                  <a:gd name="connsiteX15" fmla="*/ 169588 w 896663"/>
                  <a:gd name="connsiteY15" fmla="*/ 1006475 h 3867150"/>
                  <a:gd name="connsiteX16" fmla="*/ 226738 w 896663"/>
                  <a:gd name="connsiteY16" fmla="*/ 1047750 h 3867150"/>
                  <a:gd name="connsiteX17" fmla="*/ 264838 w 896663"/>
                  <a:gd name="connsiteY17" fmla="*/ 1092200 h 3867150"/>
                  <a:gd name="connsiteX18" fmla="*/ 277538 w 896663"/>
                  <a:gd name="connsiteY18" fmla="*/ 1120775 h 3867150"/>
                  <a:gd name="connsiteX19" fmla="*/ 277538 w 896663"/>
                  <a:gd name="connsiteY19" fmla="*/ 1190625 h 3867150"/>
                  <a:gd name="connsiteX20" fmla="*/ 325163 w 896663"/>
                  <a:gd name="connsiteY20" fmla="*/ 1266825 h 3867150"/>
                  <a:gd name="connsiteX21" fmla="*/ 363263 w 896663"/>
                  <a:gd name="connsiteY21" fmla="*/ 1323975 h 3867150"/>
                  <a:gd name="connsiteX22" fmla="*/ 369613 w 896663"/>
                  <a:gd name="connsiteY22" fmla="*/ 1390650 h 3867150"/>
                  <a:gd name="connsiteX23" fmla="*/ 407713 w 896663"/>
                  <a:gd name="connsiteY23" fmla="*/ 1447800 h 3867150"/>
                  <a:gd name="connsiteX24" fmla="*/ 414063 w 896663"/>
                  <a:gd name="connsiteY24" fmla="*/ 1617806 h 3867150"/>
                  <a:gd name="connsiteX25" fmla="*/ 242901 w 896663"/>
                  <a:gd name="connsiteY25" fmla="*/ 1640609 h 3867150"/>
                  <a:gd name="connsiteX26" fmla="*/ 201338 w 896663"/>
                  <a:gd name="connsiteY26" fmla="*/ 1752600 h 3867150"/>
                  <a:gd name="connsiteX27" fmla="*/ 210863 w 896663"/>
                  <a:gd name="connsiteY27" fmla="*/ 1816100 h 3867150"/>
                  <a:gd name="connsiteX28" fmla="*/ 226738 w 896663"/>
                  <a:gd name="connsiteY28" fmla="*/ 1844675 h 3867150"/>
                  <a:gd name="connsiteX29" fmla="*/ 226738 w 896663"/>
                  <a:gd name="connsiteY29" fmla="*/ 1889125 h 3867150"/>
                  <a:gd name="connsiteX30" fmla="*/ 236263 w 896663"/>
                  <a:gd name="connsiteY30" fmla="*/ 1965325 h 3867150"/>
                  <a:gd name="connsiteX31" fmla="*/ 204513 w 896663"/>
                  <a:gd name="connsiteY31" fmla="*/ 2187574 h 3867150"/>
                  <a:gd name="connsiteX32" fmla="*/ 153713 w 896663"/>
                  <a:gd name="connsiteY32" fmla="*/ 2279649 h 3867150"/>
                  <a:gd name="connsiteX33" fmla="*/ 80688 w 896663"/>
                  <a:gd name="connsiteY33" fmla="*/ 2425699 h 3867150"/>
                  <a:gd name="connsiteX34" fmla="*/ 42588 w 896663"/>
                  <a:gd name="connsiteY34" fmla="*/ 2495549 h 3867150"/>
                  <a:gd name="connsiteX35" fmla="*/ 17188 w 896663"/>
                  <a:gd name="connsiteY35" fmla="*/ 2565399 h 3867150"/>
                  <a:gd name="connsiteX36" fmla="*/ 10838 w 896663"/>
                  <a:gd name="connsiteY36" fmla="*/ 2752724 h 3867150"/>
                  <a:gd name="connsiteX37" fmla="*/ 39413 w 896663"/>
                  <a:gd name="connsiteY37" fmla="*/ 2844799 h 3867150"/>
                  <a:gd name="connsiteX38" fmla="*/ 52113 w 896663"/>
                  <a:gd name="connsiteY38" fmla="*/ 2978149 h 3867150"/>
                  <a:gd name="connsiteX39" fmla="*/ 90213 w 896663"/>
                  <a:gd name="connsiteY39" fmla="*/ 3044824 h 3867150"/>
                  <a:gd name="connsiteX40" fmla="*/ 112438 w 896663"/>
                  <a:gd name="connsiteY40" fmla="*/ 3171824 h 3867150"/>
                  <a:gd name="connsiteX41" fmla="*/ 201338 w 896663"/>
                  <a:gd name="connsiteY41" fmla="*/ 3254374 h 3867150"/>
                  <a:gd name="connsiteX42" fmla="*/ 258488 w 896663"/>
                  <a:gd name="connsiteY42" fmla="*/ 3270249 h 3867150"/>
                  <a:gd name="connsiteX43" fmla="*/ 382313 w 896663"/>
                  <a:gd name="connsiteY43" fmla="*/ 3565524 h 3867150"/>
                  <a:gd name="connsiteX44" fmla="*/ 502963 w 896663"/>
                  <a:gd name="connsiteY44" fmla="*/ 3616324 h 3867150"/>
                  <a:gd name="connsiteX45" fmla="*/ 639488 w 896663"/>
                  <a:gd name="connsiteY45" fmla="*/ 3663949 h 3867150"/>
                  <a:gd name="connsiteX46" fmla="*/ 760138 w 896663"/>
                  <a:gd name="connsiteY46" fmla="*/ 3654424 h 3867150"/>
                  <a:gd name="connsiteX47" fmla="*/ 896663 w 896663"/>
                  <a:gd name="connsiteY47" fmla="*/ 3867150 h 3867150"/>
                  <a:gd name="connsiteX0" fmla="*/ 160063 w 896663"/>
                  <a:gd name="connsiteY0" fmla="*/ 0 h 3810000"/>
                  <a:gd name="connsiteX1" fmla="*/ 185463 w 896663"/>
                  <a:gd name="connsiteY1" fmla="*/ 88900 h 3810000"/>
                  <a:gd name="connsiteX2" fmla="*/ 194988 w 896663"/>
                  <a:gd name="connsiteY2" fmla="*/ 139700 h 3810000"/>
                  <a:gd name="connsiteX3" fmla="*/ 204513 w 896663"/>
                  <a:gd name="connsiteY3" fmla="*/ 190500 h 3810000"/>
                  <a:gd name="connsiteX4" fmla="*/ 220388 w 896663"/>
                  <a:gd name="connsiteY4" fmla="*/ 228600 h 3810000"/>
                  <a:gd name="connsiteX5" fmla="*/ 163238 w 896663"/>
                  <a:gd name="connsiteY5" fmla="*/ 327025 h 3810000"/>
                  <a:gd name="connsiteX6" fmla="*/ 96563 w 896663"/>
                  <a:gd name="connsiteY6" fmla="*/ 361950 h 3810000"/>
                  <a:gd name="connsiteX7" fmla="*/ 52113 w 896663"/>
                  <a:gd name="connsiteY7" fmla="*/ 447675 h 3810000"/>
                  <a:gd name="connsiteX8" fmla="*/ 20363 w 896663"/>
                  <a:gd name="connsiteY8" fmla="*/ 549275 h 3810000"/>
                  <a:gd name="connsiteX9" fmla="*/ 1313 w 896663"/>
                  <a:gd name="connsiteY9" fmla="*/ 650875 h 3810000"/>
                  <a:gd name="connsiteX10" fmla="*/ 10838 w 896663"/>
                  <a:gd name="connsiteY10" fmla="*/ 742950 h 3810000"/>
                  <a:gd name="connsiteX11" fmla="*/ 83863 w 896663"/>
                  <a:gd name="connsiteY11" fmla="*/ 815975 h 3810000"/>
                  <a:gd name="connsiteX12" fmla="*/ 112438 w 896663"/>
                  <a:gd name="connsiteY12" fmla="*/ 863600 h 3810000"/>
                  <a:gd name="connsiteX13" fmla="*/ 150538 w 896663"/>
                  <a:gd name="connsiteY13" fmla="*/ 895350 h 3810000"/>
                  <a:gd name="connsiteX14" fmla="*/ 169588 w 896663"/>
                  <a:gd name="connsiteY14" fmla="*/ 949325 h 3810000"/>
                  <a:gd name="connsiteX15" fmla="*/ 226738 w 896663"/>
                  <a:gd name="connsiteY15" fmla="*/ 990600 h 3810000"/>
                  <a:gd name="connsiteX16" fmla="*/ 264838 w 896663"/>
                  <a:gd name="connsiteY16" fmla="*/ 1035050 h 3810000"/>
                  <a:gd name="connsiteX17" fmla="*/ 277538 w 896663"/>
                  <a:gd name="connsiteY17" fmla="*/ 1063625 h 3810000"/>
                  <a:gd name="connsiteX18" fmla="*/ 277538 w 896663"/>
                  <a:gd name="connsiteY18" fmla="*/ 1133475 h 3810000"/>
                  <a:gd name="connsiteX19" fmla="*/ 325163 w 896663"/>
                  <a:gd name="connsiteY19" fmla="*/ 1209675 h 3810000"/>
                  <a:gd name="connsiteX20" fmla="*/ 363263 w 896663"/>
                  <a:gd name="connsiteY20" fmla="*/ 1266825 h 3810000"/>
                  <a:gd name="connsiteX21" fmla="*/ 369613 w 896663"/>
                  <a:gd name="connsiteY21" fmla="*/ 1333500 h 3810000"/>
                  <a:gd name="connsiteX22" fmla="*/ 407713 w 896663"/>
                  <a:gd name="connsiteY22" fmla="*/ 1390650 h 3810000"/>
                  <a:gd name="connsiteX23" fmla="*/ 414063 w 896663"/>
                  <a:gd name="connsiteY23" fmla="*/ 1560656 h 3810000"/>
                  <a:gd name="connsiteX24" fmla="*/ 242901 w 896663"/>
                  <a:gd name="connsiteY24" fmla="*/ 1583459 h 3810000"/>
                  <a:gd name="connsiteX25" fmla="*/ 201338 w 896663"/>
                  <a:gd name="connsiteY25" fmla="*/ 1695450 h 3810000"/>
                  <a:gd name="connsiteX26" fmla="*/ 210863 w 896663"/>
                  <a:gd name="connsiteY26" fmla="*/ 1758950 h 3810000"/>
                  <a:gd name="connsiteX27" fmla="*/ 226738 w 896663"/>
                  <a:gd name="connsiteY27" fmla="*/ 1787525 h 3810000"/>
                  <a:gd name="connsiteX28" fmla="*/ 226738 w 896663"/>
                  <a:gd name="connsiteY28" fmla="*/ 1831975 h 3810000"/>
                  <a:gd name="connsiteX29" fmla="*/ 236263 w 896663"/>
                  <a:gd name="connsiteY29" fmla="*/ 1908175 h 3810000"/>
                  <a:gd name="connsiteX30" fmla="*/ 204513 w 896663"/>
                  <a:gd name="connsiteY30" fmla="*/ 2130424 h 3810000"/>
                  <a:gd name="connsiteX31" fmla="*/ 153713 w 896663"/>
                  <a:gd name="connsiteY31" fmla="*/ 2222499 h 3810000"/>
                  <a:gd name="connsiteX32" fmla="*/ 80688 w 896663"/>
                  <a:gd name="connsiteY32" fmla="*/ 2368549 h 3810000"/>
                  <a:gd name="connsiteX33" fmla="*/ 42588 w 896663"/>
                  <a:gd name="connsiteY33" fmla="*/ 2438399 h 3810000"/>
                  <a:gd name="connsiteX34" fmla="*/ 17188 w 896663"/>
                  <a:gd name="connsiteY34" fmla="*/ 2508249 h 3810000"/>
                  <a:gd name="connsiteX35" fmla="*/ 10838 w 896663"/>
                  <a:gd name="connsiteY35" fmla="*/ 2695574 h 3810000"/>
                  <a:gd name="connsiteX36" fmla="*/ 39413 w 896663"/>
                  <a:gd name="connsiteY36" fmla="*/ 2787649 h 3810000"/>
                  <a:gd name="connsiteX37" fmla="*/ 52113 w 896663"/>
                  <a:gd name="connsiteY37" fmla="*/ 2920999 h 3810000"/>
                  <a:gd name="connsiteX38" fmla="*/ 90213 w 896663"/>
                  <a:gd name="connsiteY38" fmla="*/ 2987674 h 3810000"/>
                  <a:gd name="connsiteX39" fmla="*/ 112438 w 896663"/>
                  <a:gd name="connsiteY39" fmla="*/ 3114674 h 3810000"/>
                  <a:gd name="connsiteX40" fmla="*/ 201338 w 896663"/>
                  <a:gd name="connsiteY40" fmla="*/ 3197224 h 3810000"/>
                  <a:gd name="connsiteX41" fmla="*/ 258488 w 896663"/>
                  <a:gd name="connsiteY41" fmla="*/ 3213099 h 3810000"/>
                  <a:gd name="connsiteX42" fmla="*/ 382313 w 896663"/>
                  <a:gd name="connsiteY42" fmla="*/ 3508374 h 3810000"/>
                  <a:gd name="connsiteX43" fmla="*/ 502963 w 896663"/>
                  <a:gd name="connsiteY43" fmla="*/ 3559174 h 3810000"/>
                  <a:gd name="connsiteX44" fmla="*/ 639488 w 896663"/>
                  <a:gd name="connsiteY44" fmla="*/ 3606799 h 3810000"/>
                  <a:gd name="connsiteX45" fmla="*/ 760138 w 896663"/>
                  <a:gd name="connsiteY45" fmla="*/ 3597274 h 3810000"/>
                  <a:gd name="connsiteX46" fmla="*/ 896663 w 896663"/>
                  <a:gd name="connsiteY46" fmla="*/ 3810000 h 3810000"/>
                  <a:gd name="connsiteX0" fmla="*/ 185463 w 896663"/>
                  <a:gd name="connsiteY0" fmla="*/ 0 h 3721100"/>
                  <a:gd name="connsiteX1" fmla="*/ 194988 w 896663"/>
                  <a:gd name="connsiteY1" fmla="*/ 50800 h 3721100"/>
                  <a:gd name="connsiteX2" fmla="*/ 204513 w 896663"/>
                  <a:gd name="connsiteY2" fmla="*/ 101600 h 3721100"/>
                  <a:gd name="connsiteX3" fmla="*/ 220388 w 896663"/>
                  <a:gd name="connsiteY3" fmla="*/ 139700 h 3721100"/>
                  <a:gd name="connsiteX4" fmla="*/ 163238 w 896663"/>
                  <a:gd name="connsiteY4" fmla="*/ 238125 h 3721100"/>
                  <a:gd name="connsiteX5" fmla="*/ 96563 w 896663"/>
                  <a:gd name="connsiteY5" fmla="*/ 273050 h 3721100"/>
                  <a:gd name="connsiteX6" fmla="*/ 52113 w 896663"/>
                  <a:gd name="connsiteY6" fmla="*/ 358775 h 3721100"/>
                  <a:gd name="connsiteX7" fmla="*/ 20363 w 896663"/>
                  <a:gd name="connsiteY7" fmla="*/ 460375 h 3721100"/>
                  <a:gd name="connsiteX8" fmla="*/ 1313 w 896663"/>
                  <a:gd name="connsiteY8" fmla="*/ 561975 h 3721100"/>
                  <a:gd name="connsiteX9" fmla="*/ 10838 w 896663"/>
                  <a:gd name="connsiteY9" fmla="*/ 654050 h 3721100"/>
                  <a:gd name="connsiteX10" fmla="*/ 83863 w 896663"/>
                  <a:gd name="connsiteY10" fmla="*/ 727075 h 3721100"/>
                  <a:gd name="connsiteX11" fmla="*/ 112438 w 896663"/>
                  <a:gd name="connsiteY11" fmla="*/ 774700 h 3721100"/>
                  <a:gd name="connsiteX12" fmla="*/ 150538 w 896663"/>
                  <a:gd name="connsiteY12" fmla="*/ 806450 h 3721100"/>
                  <a:gd name="connsiteX13" fmla="*/ 169588 w 896663"/>
                  <a:gd name="connsiteY13" fmla="*/ 860425 h 3721100"/>
                  <a:gd name="connsiteX14" fmla="*/ 226738 w 896663"/>
                  <a:gd name="connsiteY14" fmla="*/ 901700 h 3721100"/>
                  <a:gd name="connsiteX15" fmla="*/ 264838 w 896663"/>
                  <a:gd name="connsiteY15" fmla="*/ 946150 h 3721100"/>
                  <a:gd name="connsiteX16" fmla="*/ 277538 w 896663"/>
                  <a:gd name="connsiteY16" fmla="*/ 974725 h 3721100"/>
                  <a:gd name="connsiteX17" fmla="*/ 277538 w 896663"/>
                  <a:gd name="connsiteY17" fmla="*/ 1044575 h 3721100"/>
                  <a:gd name="connsiteX18" fmla="*/ 325163 w 896663"/>
                  <a:gd name="connsiteY18" fmla="*/ 1120775 h 3721100"/>
                  <a:gd name="connsiteX19" fmla="*/ 363263 w 896663"/>
                  <a:gd name="connsiteY19" fmla="*/ 1177925 h 3721100"/>
                  <a:gd name="connsiteX20" fmla="*/ 369613 w 896663"/>
                  <a:gd name="connsiteY20" fmla="*/ 1244600 h 3721100"/>
                  <a:gd name="connsiteX21" fmla="*/ 407713 w 896663"/>
                  <a:gd name="connsiteY21" fmla="*/ 1301750 h 3721100"/>
                  <a:gd name="connsiteX22" fmla="*/ 414063 w 896663"/>
                  <a:gd name="connsiteY22" fmla="*/ 1471756 h 3721100"/>
                  <a:gd name="connsiteX23" fmla="*/ 242901 w 896663"/>
                  <a:gd name="connsiteY23" fmla="*/ 1494559 h 3721100"/>
                  <a:gd name="connsiteX24" fmla="*/ 201338 w 896663"/>
                  <a:gd name="connsiteY24" fmla="*/ 1606550 h 3721100"/>
                  <a:gd name="connsiteX25" fmla="*/ 210863 w 896663"/>
                  <a:gd name="connsiteY25" fmla="*/ 1670050 h 3721100"/>
                  <a:gd name="connsiteX26" fmla="*/ 226738 w 896663"/>
                  <a:gd name="connsiteY26" fmla="*/ 1698625 h 3721100"/>
                  <a:gd name="connsiteX27" fmla="*/ 226738 w 896663"/>
                  <a:gd name="connsiteY27" fmla="*/ 1743075 h 3721100"/>
                  <a:gd name="connsiteX28" fmla="*/ 236263 w 896663"/>
                  <a:gd name="connsiteY28" fmla="*/ 1819275 h 3721100"/>
                  <a:gd name="connsiteX29" fmla="*/ 204513 w 896663"/>
                  <a:gd name="connsiteY29" fmla="*/ 2041524 h 3721100"/>
                  <a:gd name="connsiteX30" fmla="*/ 153713 w 896663"/>
                  <a:gd name="connsiteY30" fmla="*/ 2133599 h 3721100"/>
                  <a:gd name="connsiteX31" fmla="*/ 80688 w 896663"/>
                  <a:gd name="connsiteY31" fmla="*/ 2279649 h 3721100"/>
                  <a:gd name="connsiteX32" fmla="*/ 42588 w 896663"/>
                  <a:gd name="connsiteY32" fmla="*/ 2349499 h 3721100"/>
                  <a:gd name="connsiteX33" fmla="*/ 17188 w 896663"/>
                  <a:gd name="connsiteY33" fmla="*/ 2419349 h 3721100"/>
                  <a:gd name="connsiteX34" fmla="*/ 10838 w 896663"/>
                  <a:gd name="connsiteY34" fmla="*/ 2606674 h 3721100"/>
                  <a:gd name="connsiteX35" fmla="*/ 39413 w 896663"/>
                  <a:gd name="connsiteY35" fmla="*/ 2698749 h 3721100"/>
                  <a:gd name="connsiteX36" fmla="*/ 52113 w 896663"/>
                  <a:gd name="connsiteY36" fmla="*/ 2832099 h 3721100"/>
                  <a:gd name="connsiteX37" fmla="*/ 90213 w 896663"/>
                  <a:gd name="connsiteY37" fmla="*/ 2898774 h 3721100"/>
                  <a:gd name="connsiteX38" fmla="*/ 112438 w 896663"/>
                  <a:gd name="connsiteY38" fmla="*/ 3025774 h 3721100"/>
                  <a:gd name="connsiteX39" fmla="*/ 201338 w 896663"/>
                  <a:gd name="connsiteY39" fmla="*/ 3108324 h 3721100"/>
                  <a:gd name="connsiteX40" fmla="*/ 258488 w 896663"/>
                  <a:gd name="connsiteY40" fmla="*/ 3124199 h 3721100"/>
                  <a:gd name="connsiteX41" fmla="*/ 382313 w 896663"/>
                  <a:gd name="connsiteY41" fmla="*/ 3419474 h 3721100"/>
                  <a:gd name="connsiteX42" fmla="*/ 502963 w 896663"/>
                  <a:gd name="connsiteY42" fmla="*/ 3470274 h 3721100"/>
                  <a:gd name="connsiteX43" fmla="*/ 639488 w 896663"/>
                  <a:gd name="connsiteY43" fmla="*/ 3517899 h 3721100"/>
                  <a:gd name="connsiteX44" fmla="*/ 760138 w 896663"/>
                  <a:gd name="connsiteY44" fmla="*/ 3508374 h 3721100"/>
                  <a:gd name="connsiteX45" fmla="*/ 896663 w 896663"/>
                  <a:gd name="connsiteY45" fmla="*/ 3721100 h 3721100"/>
                  <a:gd name="connsiteX0" fmla="*/ 194988 w 896663"/>
                  <a:gd name="connsiteY0" fmla="*/ 0 h 3670300"/>
                  <a:gd name="connsiteX1" fmla="*/ 204513 w 896663"/>
                  <a:gd name="connsiteY1" fmla="*/ 50800 h 3670300"/>
                  <a:gd name="connsiteX2" fmla="*/ 220388 w 896663"/>
                  <a:gd name="connsiteY2" fmla="*/ 88900 h 3670300"/>
                  <a:gd name="connsiteX3" fmla="*/ 163238 w 896663"/>
                  <a:gd name="connsiteY3" fmla="*/ 187325 h 3670300"/>
                  <a:gd name="connsiteX4" fmla="*/ 96563 w 896663"/>
                  <a:gd name="connsiteY4" fmla="*/ 222250 h 3670300"/>
                  <a:gd name="connsiteX5" fmla="*/ 52113 w 896663"/>
                  <a:gd name="connsiteY5" fmla="*/ 307975 h 3670300"/>
                  <a:gd name="connsiteX6" fmla="*/ 20363 w 896663"/>
                  <a:gd name="connsiteY6" fmla="*/ 409575 h 3670300"/>
                  <a:gd name="connsiteX7" fmla="*/ 1313 w 896663"/>
                  <a:gd name="connsiteY7" fmla="*/ 511175 h 3670300"/>
                  <a:gd name="connsiteX8" fmla="*/ 10838 w 896663"/>
                  <a:gd name="connsiteY8" fmla="*/ 603250 h 3670300"/>
                  <a:gd name="connsiteX9" fmla="*/ 83863 w 896663"/>
                  <a:gd name="connsiteY9" fmla="*/ 676275 h 3670300"/>
                  <a:gd name="connsiteX10" fmla="*/ 112438 w 896663"/>
                  <a:gd name="connsiteY10" fmla="*/ 723900 h 3670300"/>
                  <a:gd name="connsiteX11" fmla="*/ 150538 w 896663"/>
                  <a:gd name="connsiteY11" fmla="*/ 755650 h 3670300"/>
                  <a:gd name="connsiteX12" fmla="*/ 169588 w 896663"/>
                  <a:gd name="connsiteY12" fmla="*/ 809625 h 3670300"/>
                  <a:gd name="connsiteX13" fmla="*/ 226738 w 896663"/>
                  <a:gd name="connsiteY13" fmla="*/ 850900 h 3670300"/>
                  <a:gd name="connsiteX14" fmla="*/ 264838 w 896663"/>
                  <a:gd name="connsiteY14" fmla="*/ 895350 h 3670300"/>
                  <a:gd name="connsiteX15" fmla="*/ 277538 w 896663"/>
                  <a:gd name="connsiteY15" fmla="*/ 923925 h 3670300"/>
                  <a:gd name="connsiteX16" fmla="*/ 277538 w 896663"/>
                  <a:gd name="connsiteY16" fmla="*/ 993775 h 3670300"/>
                  <a:gd name="connsiteX17" fmla="*/ 325163 w 896663"/>
                  <a:gd name="connsiteY17" fmla="*/ 1069975 h 3670300"/>
                  <a:gd name="connsiteX18" fmla="*/ 363263 w 896663"/>
                  <a:gd name="connsiteY18" fmla="*/ 1127125 h 3670300"/>
                  <a:gd name="connsiteX19" fmla="*/ 369613 w 896663"/>
                  <a:gd name="connsiteY19" fmla="*/ 1193800 h 3670300"/>
                  <a:gd name="connsiteX20" fmla="*/ 407713 w 896663"/>
                  <a:gd name="connsiteY20" fmla="*/ 1250950 h 3670300"/>
                  <a:gd name="connsiteX21" fmla="*/ 414063 w 896663"/>
                  <a:gd name="connsiteY21" fmla="*/ 1420956 h 3670300"/>
                  <a:gd name="connsiteX22" fmla="*/ 242901 w 896663"/>
                  <a:gd name="connsiteY22" fmla="*/ 1443759 h 3670300"/>
                  <a:gd name="connsiteX23" fmla="*/ 201338 w 896663"/>
                  <a:gd name="connsiteY23" fmla="*/ 1555750 h 3670300"/>
                  <a:gd name="connsiteX24" fmla="*/ 210863 w 896663"/>
                  <a:gd name="connsiteY24" fmla="*/ 1619250 h 3670300"/>
                  <a:gd name="connsiteX25" fmla="*/ 226738 w 896663"/>
                  <a:gd name="connsiteY25" fmla="*/ 1647825 h 3670300"/>
                  <a:gd name="connsiteX26" fmla="*/ 226738 w 896663"/>
                  <a:gd name="connsiteY26" fmla="*/ 1692275 h 3670300"/>
                  <a:gd name="connsiteX27" fmla="*/ 236263 w 896663"/>
                  <a:gd name="connsiteY27" fmla="*/ 1768475 h 3670300"/>
                  <a:gd name="connsiteX28" fmla="*/ 204513 w 896663"/>
                  <a:gd name="connsiteY28" fmla="*/ 1990724 h 3670300"/>
                  <a:gd name="connsiteX29" fmla="*/ 153713 w 896663"/>
                  <a:gd name="connsiteY29" fmla="*/ 2082799 h 3670300"/>
                  <a:gd name="connsiteX30" fmla="*/ 80688 w 896663"/>
                  <a:gd name="connsiteY30" fmla="*/ 2228849 h 3670300"/>
                  <a:gd name="connsiteX31" fmla="*/ 42588 w 896663"/>
                  <a:gd name="connsiteY31" fmla="*/ 2298699 h 3670300"/>
                  <a:gd name="connsiteX32" fmla="*/ 17188 w 896663"/>
                  <a:gd name="connsiteY32" fmla="*/ 2368549 h 3670300"/>
                  <a:gd name="connsiteX33" fmla="*/ 10838 w 896663"/>
                  <a:gd name="connsiteY33" fmla="*/ 2555874 h 3670300"/>
                  <a:gd name="connsiteX34" fmla="*/ 39413 w 896663"/>
                  <a:gd name="connsiteY34" fmla="*/ 2647949 h 3670300"/>
                  <a:gd name="connsiteX35" fmla="*/ 52113 w 896663"/>
                  <a:gd name="connsiteY35" fmla="*/ 2781299 h 3670300"/>
                  <a:gd name="connsiteX36" fmla="*/ 90213 w 896663"/>
                  <a:gd name="connsiteY36" fmla="*/ 2847974 h 3670300"/>
                  <a:gd name="connsiteX37" fmla="*/ 112438 w 896663"/>
                  <a:gd name="connsiteY37" fmla="*/ 2974974 h 3670300"/>
                  <a:gd name="connsiteX38" fmla="*/ 201338 w 896663"/>
                  <a:gd name="connsiteY38" fmla="*/ 3057524 h 3670300"/>
                  <a:gd name="connsiteX39" fmla="*/ 258488 w 896663"/>
                  <a:gd name="connsiteY39" fmla="*/ 3073399 h 3670300"/>
                  <a:gd name="connsiteX40" fmla="*/ 382313 w 896663"/>
                  <a:gd name="connsiteY40" fmla="*/ 3368674 h 3670300"/>
                  <a:gd name="connsiteX41" fmla="*/ 502963 w 896663"/>
                  <a:gd name="connsiteY41" fmla="*/ 3419474 h 3670300"/>
                  <a:gd name="connsiteX42" fmla="*/ 639488 w 896663"/>
                  <a:gd name="connsiteY42" fmla="*/ 3467099 h 3670300"/>
                  <a:gd name="connsiteX43" fmla="*/ 760138 w 896663"/>
                  <a:gd name="connsiteY43" fmla="*/ 3457574 h 3670300"/>
                  <a:gd name="connsiteX44" fmla="*/ 896663 w 896663"/>
                  <a:gd name="connsiteY44" fmla="*/ 3670300 h 3670300"/>
                  <a:gd name="connsiteX0" fmla="*/ 204513 w 896663"/>
                  <a:gd name="connsiteY0" fmla="*/ 0 h 3619500"/>
                  <a:gd name="connsiteX1" fmla="*/ 220388 w 896663"/>
                  <a:gd name="connsiteY1" fmla="*/ 38100 h 3619500"/>
                  <a:gd name="connsiteX2" fmla="*/ 163238 w 896663"/>
                  <a:gd name="connsiteY2" fmla="*/ 136525 h 3619500"/>
                  <a:gd name="connsiteX3" fmla="*/ 96563 w 896663"/>
                  <a:gd name="connsiteY3" fmla="*/ 171450 h 3619500"/>
                  <a:gd name="connsiteX4" fmla="*/ 52113 w 896663"/>
                  <a:gd name="connsiteY4" fmla="*/ 257175 h 3619500"/>
                  <a:gd name="connsiteX5" fmla="*/ 20363 w 896663"/>
                  <a:gd name="connsiteY5" fmla="*/ 358775 h 3619500"/>
                  <a:gd name="connsiteX6" fmla="*/ 1313 w 896663"/>
                  <a:gd name="connsiteY6" fmla="*/ 460375 h 3619500"/>
                  <a:gd name="connsiteX7" fmla="*/ 10838 w 896663"/>
                  <a:gd name="connsiteY7" fmla="*/ 552450 h 3619500"/>
                  <a:gd name="connsiteX8" fmla="*/ 83863 w 896663"/>
                  <a:gd name="connsiteY8" fmla="*/ 625475 h 3619500"/>
                  <a:gd name="connsiteX9" fmla="*/ 112438 w 896663"/>
                  <a:gd name="connsiteY9" fmla="*/ 673100 h 3619500"/>
                  <a:gd name="connsiteX10" fmla="*/ 150538 w 896663"/>
                  <a:gd name="connsiteY10" fmla="*/ 704850 h 3619500"/>
                  <a:gd name="connsiteX11" fmla="*/ 169588 w 896663"/>
                  <a:gd name="connsiteY11" fmla="*/ 758825 h 3619500"/>
                  <a:gd name="connsiteX12" fmla="*/ 226738 w 896663"/>
                  <a:gd name="connsiteY12" fmla="*/ 800100 h 3619500"/>
                  <a:gd name="connsiteX13" fmla="*/ 264838 w 896663"/>
                  <a:gd name="connsiteY13" fmla="*/ 844550 h 3619500"/>
                  <a:gd name="connsiteX14" fmla="*/ 277538 w 896663"/>
                  <a:gd name="connsiteY14" fmla="*/ 873125 h 3619500"/>
                  <a:gd name="connsiteX15" fmla="*/ 277538 w 896663"/>
                  <a:gd name="connsiteY15" fmla="*/ 942975 h 3619500"/>
                  <a:gd name="connsiteX16" fmla="*/ 325163 w 896663"/>
                  <a:gd name="connsiteY16" fmla="*/ 1019175 h 3619500"/>
                  <a:gd name="connsiteX17" fmla="*/ 363263 w 896663"/>
                  <a:gd name="connsiteY17" fmla="*/ 1076325 h 3619500"/>
                  <a:gd name="connsiteX18" fmla="*/ 369613 w 896663"/>
                  <a:gd name="connsiteY18" fmla="*/ 1143000 h 3619500"/>
                  <a:gd name="connsiteX19" fmla="*/ 407713 w 896663"/>
                  <a:gd name="connsiteY19" fmla="*/ 1200150 h 3619500"/>
                  <a:gd name="connsiteX20" fmla="*/ 414063 w 896663"/>
                  <a:gd name="connsiteY20" fmla="*/ 1370156 h 3619500"/>
                  <a:gd name="connsiteX21" fmla="*/ 242901 w 896663"/>
                  <a:gd name="connsiteY21" fmla="*/ 1392959 h 3619500"/>
                  <a:gd name="connsiteX22" fmla="*/ 201338 w 896663"/>
                  <a:gd name="connsiteY22" fmla="*/ 1504950 h 3619500"/>
                  <a:gd name="connsiteX23" fmla="*/ 210863 w 896663"/>
                  <a:gd name="connsiteY23" fmla="*/ 1568450 h 3619500"/>
                  <a:gd name="connsiteX24" fmla="*/ 226738 w 896663"/>
                  <a:gd name="connsiteY24" fmla="*/ 1597025 h 3619500"/>
                  <a:gd name="connsiteX25" fmla="*/ 226738 w 896663"/>
                  <a:gd name="connsiteY25" fmla="*/ 1641475 h 3619500"/>
                  <a:gd name="connsiteX26" fmla="*/ 236263 w 896663"/>
                  <a:gd name="connsiteY26" fmla="*/ 1717675 h 3619500"/>
                  <a:gd name="connsiteX27" fmla="*/ 204513 w 896663"/>
                  <a:gd name="connsiteY27" fmla="*/ 1939924 h 3619500"/>
                  <a:gd name="connsiteX28" fmla="*/ 153713 w 896663"/>
                  <a:gd name="connsiteY28" fmla="*/ 2031999 h 3619500"/>
                  <a:gd name="connsiteX29" fmla="*/ 80688 w 896663"/>
                  <a:gd name="connsiteY29" fmla="*/ 2178049 h 3619500"/>
                  <a:gd name="connsiteX30" fmla="*/ 42588 w 896663"/>
                  <a:gd name="connsiteY30" fmla="*/ 2247899 h 3619500"/>
                  <a:gd name="connsiteX31" fmla="*/ 17188 w 896663"/>
                  <a:gd name="connsiteY31" fmla="*/ 2317749 h 3619500"/>
                  <a:gd name="connsiteX32" fmla="*/ 10838 w 896663"/>
                  <a:gd name="connsiteY32" fmla="*/ 2505074 h 3619500"/>
                  <a:gd name="connsiteX33" fmla="*/ 39413 w 896663"/>
                  <a:gd name="connsiteY33" fmla="*/ 2597149 h 3619500"/>
                  <a:gd name="connsiteX34" fmla="*/ 52113 w 896663"/>
                  <a:gd name="connsiteY34" fmla="*/ 2730499 h 3619500"/>
                  <a:gd name="connsiteX35" fmla="*/ 90213 w 896663"/>
                  <a:gd name="connsiteY35" fmla="*/ 2797174 h 3619500"/>
                  <a:gd name="connsiteX36" fmla="*/ 112438 w 896663"/>
                  <a:gd name="connsiteY36" fmla="*/ 2924174 h 3619500"/>
                  <a:gd name="connsiteX37" fmla="*/ 201338 w 896663"/>
                  <a:gd name="connsiteY37" fmla="*/ 3006724 h 3619500"/>
                  <a:gd name="connsiteX38" fmla="*/ 258488 w 896663"/>
                  <a:gd name="connsiteY38" fmla="*/ 3022599 h 3619500"/>
                  <a:gd name="connsiteX39" fmla="*/ 382313 w 896663"/>
                  <a:gd name="connsiteY39" fmla="*/ 3317874 h 3619500"/>
                  <a:gd name="connsiteX40" fmla="*/ 502963 w 896663"/>
                  <a:gd name="connsiteY40" fmla="*/ 3368674 h 3619500"/>
                  <a:gd name="connsiteX41" fmla="*/ 639488 w 896663"/>
                  <a:gd name="connsiteY41" fmla="*/ 3416299 h 3619500"/>
                  <a:gd name="connsiteX42" fmla="*/ 760138 w 896663"/>
                  <a:gd name="connsiteY42" fmla="*/ 3406774 h 3619500"/>
                  <a:gd name="connsiteX43" fmla="*/ 896663 w 896663"/>
                  <a:gd name="connsiteY43" fmla="*/ 3619500 h 3619500"/>
                  <a:gd name="connsiteX0" fmla="*/ 220388 w 896663"/>
                  <a:gd name="connsiteY0" fmla="*/ 0 h 3581400"/>
                  <a:gd name="connsiteX1" fmla="*/ 163238 w 896663"/>
                  <a:gd name="connsiteY1" fmla="*/ 98425 h 3581400"/>
                  <a:gd name="connsiteX2" fmla="*/ 96563 w 896663"/>
                  <a:gd name="connsiteY2" fmla="*/ 133350 h 3581400"/>
                  <a:gd name="connsiteX3" fmla="*/ 52113 w 896663"/>
                  <a:gd name="connsiteY3" fmla="*/ 219075 h 3581400"/>
                  <a:gd name="connsiteX4" fmla="*/ 20363 w 896663"/>
                  <a:gd name="connsiteY4" fmla="*/ 320675 h 3581400"/>
                  <a:gd name="connsiteX5" fmla="*/ 1313 w 896663"/>
                  <a:gd name="connsiteY5" fmla="*/ 422275 h 3581400"/>
                  <a:gd name="connsiteX6" fmla="*/ 10838 w 896663"/>
                  <a:gd name="connsiteY6" fmla="*/ 514350 h 3581400"/>
                  <a:gd name="connsiteX7" fmla="*/ 83863 w 896663"/>
                  <a:gd name="connsiteY7" fmla="*/ 587375 h 3581400"/>
                  <a:gd name="connsiteX8" fmla="*/ 112438 w 896663"/>
                  <a:gd name="connsiteY8" fmla="*/ 635000 h 3581400"/>
                  <a:gd name="connsiteX9" fmla="*/ 150538 w 896663"/>
                  <a:gd name="connsiteY9" fmla="*/ 666750 h 3581400"/>
                  <a:gd name="connsiteX10" fmla="*/ 169588 w 896663"/>
                  <a:gd name="connsiteY10" fmla="*/ 720725 h 3581400"/>
                  <a:gd name="connsiteX11" fmla="*/ 226738 w 896663"/>
                  <a:gd name="connsiteY11" fmla="*/ 762000 h 3581400"/>
                  <a:gd name="connsiteX12" fmla="*/ 264838 w 896663"/>
                  <a:gd name="connsiteY12" fmla="*/ 806450 h 3581400"/>
                  <a:gd name="connsiteX13" fmla="*/ 277538 w 896663"/>
                  <a:gd name="connsiteY13" fmla="*/ 835025 h 3581400"/>
                  <a:gd name="connsiteX14" fmla="*/ 277538 w 896663"/>
                  <a:gd name="connsiteY14" fmla="*/ 904875 h 3581400"/>
                  <a:gd name="connsiteX15" fmla="*/ 325163 w 896663"/>
                  <a:gd name="connsiteY15" fmla="*/ 981075 h 3581400"/>
                  <a:gd name="connsiteX16" fmla="*/ 363263 w 896663"/>
                  <a:gd name="connsiteY16" fmla="*/ 1038225 h 3581400"/>
                  <a:gd name="connsiteX17" fmla="*/ 369613 w 896663"/>
                  <a:gd name="connsiteY17" fmla="*/ 1104900 h 3581400"/>
                  <a:gd name="connsiteX18" fmla="*/ 407713 w 896663"/>
                  <a:gd name="connsiteY18" fmla="*/ 1162050 h 3581400"/>
                  <a:gd name="connsiteX19" fmla="*/ 414063 w 896663"/>
                  <a:gd name="connsiteY19" fmla="*/ 1332056 h 3581400"/>
                  <a:gd name="connsiteX20" fmla="*/ 242901 w 896663"/>
                  <a:gd name="connsiteY20" fmla="*/ 1354859 h 3581400"/>
                  <a:gd name="connsiteX21" fmla="*/ 201338 w 896663"/>
                  <a:gd name="connsiteY21" fmla="*/ 1466850 h 3581400"/>
                  <a:gd name="connsiteX22" fmla="*/ 210863 w 896663"/>
                  <a:gd name="connsiteY22" fmla="*/ 1530350 h 3581400"/>
                  <a:gd name="connsiteX23" fmla="*/ 226738 w 896663"/>
                  <a:gd name="connsiteY23" fmla="*/ 1558925 h 3581400"/>
                  <a:gd name="connsiteX24" fmla="*/ 226738 w 896663"/>
                  <a:gd name="connsiteY24" fmla="*/ 1603375 h 3581400"/>
                  <a:gd name="connsiteX25" fmla="*/ 236263 w 896663"/>
                  <a:gd name="connsiteY25" fmla="*/ 1679575 h 3581400"/>
                  <a:gd name="connsiteX26" fmla="*/ 204513 w 896663"/>
                  <a:gd name="connsiteY26" fmla="*/ 1901824 h 3581400"/>
                  <a:gd name="connsiteX27" fmla="*/ 153713 w 896663"/>
                  <a:gd name="connsiteY27" fmla="*/ 1993899 h 3581400"/>
                  <a:gd name="connsiteX28" fmla="*/ 80688 w 896663"/>
                  <a:gd name="connsiteY28" fmla="*/ 2139949 h 3581400"/>
                  <a:gd name="connsiteX29" fmla="*/ 42588 w 896663"/>
                  <a:gd name="connsiteY29" fmla="*/ 2209799 h 3581400"/>
                  <a:gd name="connsiteX30" fmla="*/ 17188 w 896663"/>
                  <a:gd name="connsiteY30" fmla="*/ 2279649 h 3581400"/>
                  <a:gd name="connsiteX31" fmla="*/ 10838 w 896663"/>
                  <a:gd name="connsiteY31" fmla="*/ 2466974 h 3581400"/>
                  <a:gd name="connsiteX32" fmla="*/ 39413 w 896663"/>
                  <a:gd name="connsiteY32" fmla="*/ 2559049 h 3581400"/>
                  <a:gd name="connsiteX33" fmla="*/ 52113 w 896663"/>
                  <a:gd name="connsiteY33" fmla="*/ 2692399 h 3581400"/>
                  <a:gd name="connsiteX34" fmla="*/ 90213 w 896663"/>
                  <a:gd name="connsiteY34" fmla="*/ 2759074 h 3581400"/>
                  <a:gd name="connsiteX35" fmla="*/ 112438 w 896663"/>
                  <a:gd name="connsiteY35" fmla="*/ 2886074 h 3581400"/>
                  <a:gd name="connsiteX36" fmla="*/ 201338 w 896663"/>
                  <a:gd name="connsiteY36" fmla="*/ 2968624 h 3581400"/>
                  <a:gd name="connsiteX37" fmla="*/ 258488 w 896663"/>
                  <a:gd name="connsiteY37" fmla="*/ 2984499 h 3581400"/>
                  <a:gd name="connsiteX38" fmla="*/ 382313 w 896663"/>
                  <a:gd name="connsiteY38" fmla="*/ 3279774 h 3581400"/>
                  <a:gd name="connsiteX39" fmla="*/ 502963 w 896663"/>
                  <a:gd name="connsiteY39" fmla="*/ 3330574 h 3581400"/>
                  <a:gd name="connsiteX40" fmla="*/ 639488 w 896663"/>
                  <a:gd name="connsiteY40" fmla="*/ 3378199 h 3581400"/>
                  <a:gd name="connsiteX41" fmla="*/ 760138 w 896663"/>
                  <a:gd name="connsiteY41" fmla="*/ 3368674 h 3581400"/>
                  <a:gd name="connsiteX42" fmla="*/ 896663 w 896663"/>
                  <a:gd name="connsiteY42" fmla="*/ 3581400 h 3581400"/>
                  <a:gd name="connsiteX0" fmla="*/ 163238 w 896663"/>
                  <a:gd name="connsiteY0" fmla="*/ 0 h 3482975"/>
                  <a:gd name="connsiteX1" fmla="*/ 96563 w 896663"/>
                  <a:gd name="connsiteY1" fmla="*/ 34925 h 3482975"/>
                  <a:gd name="connsiteX2" fmla="*/ 52113 w 896663"/>
                  <a:gd name="connsiteY2" fmla="*/ 120650 h 3482975"/>
                  <a:gd name="connsiteX3" fmla="*/ 20363 w 896663"/>
                  <a:gd name="connsiteY3" fmla="*/ 222250 h 3482975"/>
                  <a:gd name="connsiteX4" fmla="*/ 1313 w 896663"/>
                  <a:gd name="connsiteY4" fmla="*/ 323850 h 3482975"/>
                  <a:gd name="connsiteX5" fmla="*/ 10838 w 896663"/>
                  <a:gd name="connsiteY5" fmla="*/ 415925 h 3482975"/>
                  <a:gd name="connsiteX6" fmla="*/ 83863 w 896663"/>
                  <a:gd name="connsiteY6" fmla="*/ 488950 h 3482975"/>
                  <a:gd name="connsiteX7" fmla="*/ 112438 w 896663"/>
                  <a:gd name="connsiteY7" fmla="*/ 536575 h 3482975"/>
                  <a:gd name="connsiteX8" fmla="*/ 150538 w 896663"/>
                  <a:gd name="connsiteY8" fmla="*/ 568325 h 3482975"/>
                  <a:gd name="connsiteX9" fmla="*/ 169588 w 896663"/>
                  <a:gd name="connsiteY9" fmla="*/ 622300 h 3482975"/>
                  <a:gd name="connsiteX10" fmla="*/ 226738 w 896663"/>
                  <a:gd name="connsiteY10" fmla="*/ 663575 h 3482975"/>
                  <a:gd name="connsiteX11" fmla="*/ 264838 w 896663"/>
                  <a:gd name="connsiteY11" fmla="*/ 708025 h 3482975"/>
                  <a:gd name="connsiteX12" fmla="*/ 277538 w 896663"/>
                  <a:gd name="connsiteY12" fmla="*/ 736600 h 3482975"/>
                  <a:gd name="connsiteX13" fmla="*/ 277538 w 896663"/>
                  <a:gd name="connsiteY13" fmla="*/ 806450 h 3482975"/>
                  <a:gd name="connsiteX14" fmla="*/ 325163 w 896663"/>
                  <a:gd name="connsiteY14" fmla="*/ 882650 h 3482975"/>
                  <a:gd name="connsiteX15" fmla="*/ 363263 w 896663"/>
                  <a:gd name="connsiteY15" fmla="*/ 939800 h 3482975"/>
                  <a:gd name="connsiteX16" fmla="*/ 369613 w 896663"/>
                  <a:gd name="connsiteY16" fmla="*/ 1006475 h 3482975"/>
                  <a:gd name="connsiteX17" fmla="*/ 407713 w 896663"/>
                  <a:gd name="connsiteY17" fmla="*/ 1063625 h 3482975"/>
                  <a:gd name="connsiteX18" fmla="*/ 414063 w 896663"/>
                  <a:gd name="connsiteY18" fmla="*/ 1233631 h 3482975"/>
                  <a:gd name="connsiteX19" fmla="*/ 242901 w 896663"/>
                  <a:gd name="connsiteY19" fmla="*/ 1256434 h 3482975"/>
                  <a:gd name="connsiteX20" fmla="*/ 201338 w 896663"/>
                  <a:gd name="connsiteY20" fmla="*/ 1368425 h 3482975"/>
                  <a:gd name="connsiteX21" fmla="*/ 210863 w 896663"/>
                  <a:gd name="connsiteY21" fmla="*/ 1431925 h 3482975"/>
                  <a:gd name="connsiteX22" fmla="*/ 226738 w 896663"/>
                  <a:gd name="connsiteY22" fmla="*/ 1460500 h 3482975"/>
                  <a:gd name="connsiteX23" fmla="*/ 226738 w 896663"/>
                  <a:gd name="connsiteY23" fmla="*/ 1504950 h 3482975"/>
                  <a:gd name="connsiteX24" fmla="*/ 236263 w 896663"/>
                  <a:gd name="connsiteY24" fmla="*/ 1581150 h 3482975"/>
                  <a:gd name="connsiteX25" fmla="*/ 204513 w 896663"/>
                  <a:gd name="connsiteY25" fmla="*/ 1803399 h 3482975"/>
                  <a:gd name="connsiteX26" fmla="*/ 153713 w 896663"/>
                  <a:gd name="connsiteY26" fmla="*/ 1895474 h 3482975"/>
                  <a:gd name="connsiteX27" fmla="*/ 80688 w 896663"/>
                  <a:gd name="connsiteY27" fmla="*/ 2041524 h 3482975"/>
                  <a:gd name="connsiteX28" fmla="*/ 42588 w 896663"/>
                  <a:gd name="connsiteY28" fmla="*/ 2111374 h 3482975"/>
                  <a:gd name="connsiteX29" fmla="*/ 17188 w 896663"/>
                  <a:gd name="connsiteY29" fmla="*/ 2181224 h 3482975"/>
                  <a:gd name="connsiteX30" fmla="*/ 10838 w 896663"/>
                  <a:gd name="connsiteY30" fmla="*/ 2368549 h 3482975"/>
                  <a:gd name="connsiteX31" fmla="*/ 39413 w 896663"/>
                  <a:gd name="connsiteY31" fmla="*/ 2460624 h 3482975"/>
                  <a:gd name="connsiteX32" fmla="*/ 52113 w 896663"/>
                  <a:gd name="connsiteY32" fmla="*/ 2593974 h 3482975"/>
                  <a:gd name="connsiteX33" fmla="*/ 90213 w 896663"/>
                  <a:gd name="connsiteY33" fmla="*/ 2660649 h 3482975"/>
                  <a:gd name="connsiteX34" fmla="*/ 112438 w 896663"/>
                  <a:gd name="connsiteY34" fmla="*/ 2787649 h 3482975"/>
                  <a:gd name="connsiteX35" fmla="*/ 201338 w 896663"/>
                  <a:gd name="connsiteY35" fmla="*/ 2870199 h 3482975"/>
                  <a:gd name="connsiteX36" fmla="*/ 258488 w 896663"/>
                  <a:gd name="connsiteY36" fmla="*/ 2886074 h 3482975"/>
                  <a:gd name="connsiteX37" fmla="*/ 382313 w 896663"/>
                  <a:gd name="connsiteY37" fmla="*/ 3181349 h 3482975"/>
                  <a:gd name="connsiteX38" fmla="*/ 502963 w 896663"/>
                  <a:gd name="connsiteY38" fmla="*/ 3232149 h 3482975"/>
                  <a:gd name="connsiteX39" fmla="*/ 639488 w 896663"/>
                  <a:gd name="connsiteY39" fmla="*/ 3279774 h 3482975"/>
                  <a:gd name="connsiteX40" fmla="*/ 760138 w 896663"/>
                  <a:gd name="connsiteY40" fmla="*/ 3270249 h 3482975"/>
                  <a:gd name="connsiteX41" fmla="*/ 896663 w 896663"/>
                  <a:gd name="connsiteY41" fmla="*/ 3482975 h 3482975"/>
                  <a:gd name="connsiteX0" fmla="*/ 96563 w 896663"/>
                  <a:gd name="connsiteY0" fmla="*/ 0 h 3448050"/>
                  <a:gd name="connsiteX1" fmla="*/ 52113 w 896663"/>
                  <a:gd name="connsiteY1" fmla="*/ 85725 h 3448050"/>
                  <a:gd name="connsiteX2" fmla="*/ 20363 w 896663"/>
                  <a:gd name="connsiteY2" fmla="*/ 187325 h 3448050"/>
                  <a:gd name="connsiteX3" fmla="*/ 1313 w 896663"/>
                  <a:gd name="connsiteY3" fmla="*/ 288925 h 3448050"/>
                  <a:gd name="connsiteX4" fmla="*/ 10838 w 896663"/>
                  <a:gd name="connsiteY4" fmla="*/ 381000 h 3448050"/>
                  <a:gd name="connsiteX5" fmla="*/ 83863 w 896663"/>
                  <a:gd name="connsiteY5" fmla="*/ 454025 h 3448050"/>
                  <a:gd name="connsiteX6" fmla="*/ 112438 w 896663"/>
                  <a:gd name="connsiteY6" fmla="*/ 501650 h 3448050"/>
                  <a:gd name="connsiteX7" fmla="*/ 150538 w 896663"/>
                  <a:gd name="connsiteY7" fmla="*/ 533400 h 3448050"/>
                  <a:gd name="connsiteX8" fmla="*/ 169588 w 896663"/>
                  <a:gd name="connsiteY8" fmla="*/ 587375 h 3448050"/>
                  <a:gd name="connsiteX9" fmla="*/ 226738 w 896663"/>
                  <a:gd name="connsiteY9" fmla="*/ 628650 h 3448050"/>
                  <a:gd name="connsiteX10" fmla="*/ 264838 w 896663"/>
                  <a:gd name="connsiteY10" fmla="*/ 673100 h 3448050"/>
                  <a:gd name="connsiteX11" fmla="*/ 277538 w 896663"/>
                  <a:gd name="connsiteY11" fmla="*/ 701675 h 3448050"/>
                  <a:gd name="connsiteX12" fmla="*/ 277538 w 896663"/>
                  <a:gd name="connsiteY12" fmla="*/ 771525 h 3448050"/>
                  <a:gd name="connsiteX13" fmla="*/ 325163 w 896663"/>
                  <a:gd name="connsiteY13" fmla="*/ 847725 h 3448050"/>
                  <a:gd name="connsiteX14" fmla="*/ 363263 w 896663"/>
                  <a:gd name="connsiteY14" fmla="*/ 904875 h 3448050"/>
                  <a:gd name="connsiteX15" fmla="*/ 369613 w 896663"/>
                  <a:gd name="connsiteY15" fmla="*/ 971550 h 3448050"/>
                  <a:gd name="connsiteX16" fmla="*/ 407713 w 896663"/>
                  <a:gd name="connsiteY16" fmla="*/ 1028700 h 3448050"/>
                  <a:gd name="connsiteX17" fmla="*/ 414063 w 896663"/>
                  <a:gd name="connsiteY17" fmla="*/ 1198706 h 3448050"/>
                  <a:gd name="connsiteX18" fmla="*/ 242901 w 896663"/>
                  <a:gd name="connsiteY18" fmla="*/ 1221509 h 3448050"/>
                  <a:gd name="connsiteX19" fmla="*/ 201338 w 896663"/>
                  <a:gd name="connsiteY19" fmla="*/ 1333500 h 3448050"/>
                  <a:gd name="connsiteX20" fmla="*/ 210863 w 896663"/>
                  <a:gd name="connsiteY20" fmla="*/ 1397000 h 3448050"/>
                  <a:gd name="connsiteX21" fmla="*/ 226738 w 896663"/>
                  <a:gd name="connsiteY21" fmla="*/ 1425575 h 3448050"/>
                  <a:gd name="connsiteX22" fmla="*/ 226738 w 896663"/>
                  <a:gd name="connsiteY22" fmla="*/ 1470025 h 3448050"/>
                  <a:gd name="connsiteX23" fmla="*/ 236263 w 896663"/>
                  <a:gd name="connsiteY23" fmla="*/ 1546225 h 3448050"/>
                  <a:gd name="connsiteX24" fmla="*/ 204513 w 896663"/>
                  <a:gd name="connsiteY24" fmla="*/ 1768474 h 3448050"/>
                  <a:gd name="connsiteX25" fmla="*/ 153713 w 896663"/>
                  <a:gd name="connsiteY25" fmla="*/ 1860549 h 3448050"/>
                  <a:gd name="connsiteX26" fmla="*/ 80688 w 896663"/>
                  <a:gd name="connsiteY26" fmla="*/ 2006599 h 3448050"/>
                  <a:gd name="connsiteX27" fmla="*/ 42588 w 896663"/>
                  <a:gd name="connsiteY27" fmla="*/ 2076449 h 3448050"/>
                  <a:gd name="connsiteX28" fmla="*/ 17188 w 896663"/>
                  <a:gd name="connsiteY28" fmla="*/ 2146299 h 3448050"/>
                  <a:gd name="connsiteX29" fmla="*/ 10838 w 896663"/>
                  <a:gd name="connsiteY29" fmla="*/ 2333624 h 3448050"/>
                  <a:gd name="connsiteX30" fmla="*/ 39413 w 896663"/>
                  <a:gd name="connsiteY30" fmla="*/ 2425699 h 3448050"/>
                  <a:gd name="connsiteX31" fmla="*/ 52113 w 896663"/>
                  <a:gd name="connsiteY31" fmla="*/ 2559049 h 3448050"/>
                  <a:gd name="connsiteX32" fmla="*/ 90213 w 896663"/>
                  <a:gd name="connsiteY32" fmla="*/ 2625724 h 3448050"/>
                  <a:gd name="connsiteX33" fmla="*/ 112438 w 896663"/>
                  <a:gd name="connsiteY33" fmla="*/ 2752724 h 3448050"/>
                  <a:gd name="connsiteX34" fmla="*/ 201338 w 896663"/>
                  <a:gd name="connsiteY34" fmla="*/ 2835274 h 3448050"/>
                  <a:gd name="connsiteX35" fmla="*/ 258488 w 896663"/>
                  <a:gd name="connsiteY35" fmla="*/ 2851149 h 3448050"/>
                  <a:gd name="connsiteX36" fmla="*/ 382313 w 896663"/>
                  <a:gd name="connsiteY36" fmla="*/ 3146424 h 3448050"/>
                  <a:gd name="connsiteX37" fmla="*/ 502963 w 896663"/>
                  <a:gd name="connsiteY37" fmla="*/ 3197224 h 3448050"/>
                  <a:gd name="connsiteX38" fmla="*/ 639488 w 896663"/>
                  <a:gd name="connsiteY38" fmla="*/ 3244849 h 3448050"/>
                  <a:gd name="connsiteX39" fmla="*/ 760138 w 896663"/>
                  <a:gd name="connsiteY39" fmla="*/ 3235324 h 3448050"/>
                  <a:gd name="connsiteX40" fmla="*/ 896663 w 896663"/>
                  <a:gd name="connsiteY40" fmla="*/ 3448050 h 3448050"/>
                  <a:gd name="connsiteX0" fmla="*/ 52113 w 896663"/>
                  <a:gd name="connsiteY0" fmla="*/ 0 h 3362325"/>
                  <a:gd name="connsiteX1" fmla="*/ 20363 w 896663"/>
                  <a:gd name="connsiteY1" fmla="*/ 101600 h 3362325"/>
                  <a:gd name="connsiteX2" fmla="*/ 1313 w 896663"/>
                  <a:gd name="connsiteY2" fmla="*/ 203200 h 3362325"/>
                  <a:gd name="connsiteX3" fmla="*/ 10838 w 896663"/>
                  <a:gd name="connsiteY3" fmla="*/ 295275 h 3362325"/>
                  <a:gd name="connsiteX4" fmla="*/ 83863 w 896663"/>
                  <a:gd name="connsiteY4" fmla="*/ 368300 h 3362325"/>
                  <a:gd name="connsiteX5" fmla="*/ 112438 w 896663"/>
                  <a:gd name="connsiteY5" fmla="*/ 415925 h 3362325"/>
                  <a:gd name="connsiteX6" fmla="*/ 150538 w 896663"/>
                  <a:gd name="connsiteY6" fmla="*/ 447675 h 3362325"/>
                  <a:gd name="connsiteX7" fmla="*/ 169588 w 896663"/>
                  <a:gd name="connsiteY7" fmla="*/ 501650 h 3362325"/>
                  <a:gd name="connsiteX8" fmla="*/ 226738 w 896663"/>
                  <a:gd name="connsiteY8" fmla="*/ 542925 h 3362325"/>
                  <a:gd name="connsiteX9" fmla="*/ 264838 w 896663"/>
                  <a:gd name="connsiteY9" fmla="*/ 587375 h 3362325"/>
                  <a:gd name="connsiteX10" fmla="*/ 277538 w 896663"/>
                  <a:gd name="connsiteY10" fmla="*/ 615950 h 3362325"/>
                  <a:gd name="connsiteX11" fmla="*/ 277538 w 896663"/>
                  <a:gd name="connsiteY11" fmla="*/ 685800 h 3362325"/>
                  <a:gd name="connsiteX12" fmla="*/ 325163 w 896663"/>
                  <a:gd name="connsiteY12" fmla="*/ 762000 h 3362325"/>
                  <a:gd name="connsiteX13" fmla="*/ 363263 w 896663"/>
                  <a:gd name="connsiteY13" fmla="*/ 819150 h 3362325"/>
                  <a:gd name="connsiteX14" fmla="*/ 369613 w 896663"/>
                  <a:gd name="connsiteY14" fmla="*/ 885825 h 3362325"/>
                  <a:gd name="connsiteX15" fmla="*/ 407713 w 896663"/>
                  <a:gd name="connsiteY15" fmla="*/ 942975 h 3362325"/>
                  <a:gd name="connsiteX16" fmla="*/ 414063 w 896663"/>
                  <a:gd name="connsiteY16" fmla="*/ 1112981 h 3362325"/>
                  <a:gd name="connsiteX17" fmla="*/ 242901 w 896663"/>
                  <a:gd name="connsiteY17" fmla="*/ 1135784 h 3362325"/>
                  <a:gd name="connsiteX18" fmla="*/ 201338 w 896663"/>
                  <a:gd name="connsiteY18" fmla="*/ 1247775 h 3362325"/>
                  <a:gd name="connsiteX19" fmla="*/ 210863 w 896663"/>
                  <a:gd name="connsiteY19" fmla="*/ 1311275 h 3362325"/>
                  <a:gd name="connsiteX20" fmla="*/ 226738 w 896663"/>
                  <a:gd name="connsiteY20" fmla="*/ 1339850 h 3362325"/>
                  <a:gd name="connsiteX21" fmla="*/ 226738 w 896663"/>
                  <a:gd name="connsiteY21" fmla="*/ 1384300 h 3362325"/>
                  <a:gd name="connsiteX22" fmla="*/ 236263 w 896663"/>
                  <a:gd name="connsiteY22" fmla="*/ 1460500 h 3362325"/>
                  <a:gd name="connsiteX23" fmla="*/ 204513 w 896663"/>
                  <a:gd name="connsiteY23" fmla="*/ 1682749 h 3362325"/>
                  <a:gd name="connsiteX24" fmla="*/ 153713 w 896663"/>
                  <a:gd name="connsiteY24" fmla="*/ 1774824 h 3362325"/>
                  <a:gd name="connsiteX25" fmla="*/ 80688 w 896663"/>
                  <a:gd name="connsiteY25" fmla="*/ 1920874 h 3362325"/>
                  <a:gd name="connsiteX26" fmla="*/ 42588 w 896663"/>
                  <a:gd name="connsiteY26" fmla="*/ 1990724 h 3362325"/>
                  <a:gd name="connsiteX27" fmla="*/ 17188 w 896663"/>
                  <a:gd name="connsiteY27" fmla="*/ 2060574 h 3362325"/>
                  <a:gd name="connsiteX28" fmla="*/ 10838 w 896663"/>
                  <a:gd name="connsiteY28" fmla="*/ 2247899 h 3362325"/>
                  <a:gd name="connsiteX29" fmla="*/ 39413 w 896663"/>
                  <a:gd name="connsiteY29" fmla="*/ 2339974 h 3362325"/>
                  <a:gd name="connsiteX30" fmla="*/ 52113 w 896663"/>
                  <a:gd name="connsiteY30" fmla="*/ 2473324 h 3362325"/>
                  <a:gd name="connsiteX31" fmla="*/ 90213 w 896663"/>
                  <a:gd name="connsiteY31" fmla="*/ 2539999 h 3362325"/>
                  <a:gd name="connsiteX32" fmla="*/ 112438 w 896663"/>
                  <a:gd name="connsiteY32" fmla="*/ 2666999 h 3362325"/>
                  <a:gd name="connsiteX33" fmla="*/ 201338 w 896663"/>
                  <a:gd name="connsiteY33" fmla="*/ 2749549 h 3362325"/>
                  <a:gd name="connsiteX34" fmla="*/ 258488 w 896663"/>
                  <a:gd name="connsiteY34" fmla="*/ 2765424 h 3362325"/>
                  <a:gd name="connsiteX35" fmla="*/ 382313 w 896663"/>
                  <a:gd name="connsiteY35" fmla="*/ 3060699 h 3362325"/>
                  <a:gd name="connsiteX36" fmla="*/ 502963 w 896663"/>
                  <a:gd name="connsiteY36" fmla="*/ 3111499 h 3362325"/>
                  <a:gd name="connsiteX37" fmla="*/ 639488 w 896663"/>
                  <a:gd name="connsiteY37" fmla="*/ 3159124 h 3362325"/>
                  <a:gd name="connsiteX38" fmla="*/ 760138 w 896663"/>
                  <a:gd name="connsiteY38" fmla="*/ 3149599 h 3362325"/>
                  <a:gd name="connsiteX39" fmla="*/ 896663 w 896663"/>
                  <a:gd name="connsiteY39" fmla="*/ 3362325 h 3362325"/>
                  <a:gd name="connsiteX0" fmla="*/ 20363 w 896663"/>
                  <a:gd name="connsiteY0" fmla="*/ 0 h 3260725"/>
                  <a:gd name="connsiteX1" fmla="*/ 1313 w 896663"/>
                  <a:gd name="connsiteY1" fmla="*/ 101600 h 3260725"/>
                  <a:gd name="connsiteX2" fmla="*/ 10838 w 896663"/>
                  <a:gd name="connsiteY2" fmla="*/ 193675 h 3260725"/>
                  <a:gd name="connsiteX3" fmla="*/ 83863 w 896663"/>
                  <a:gd name="connsiteY3" fmla="*/ 266700 h 3260725"/>
                  <a:gd name="connsiteX4" fmla="*/ 112438 w 896663"/>
                  <a:gd name="connsiteY4" fmla="*/ 314325 h 3260725"/>
                  <a:gd name="connsiteX5" fmla="*/ 150538 w 896663"/>
                  <a:gd name="connsiteY5" fmla="*/ 346075 h 3260725"/>
                  <a:gd name="connsiteX6" fmla="*/ 169588 w 896663"/>
                  <a:gd name="connsiteY6" fmla="*/ 400050 h 3260725"/>
                  <a:gd name="connsiteX7" fmla="*/ 226738 w 896663"/>
                  <a:gd name="connsiteY7" fmla="*/ 441325 h 3260725"/>
                  <a:gd name="connsiteX8" fmla="*/ 264838 w 896663"/>
                  <a:gd name="connsiteY8" fmla="*/ 485775 h 3260725"/>
                  <a:gd name="connsiteX9" fmla="*/ 277538 w 896663"/>
                  <a:gd name="connsiteY9" fmla="*/ 514350 h 3260725"/>
                  <a:gd name="connsiteX10" fmla="*/ 277538 w 896663"/>
                  <a:gd name="connsiteY10" fmla="*/ 584200 h 3260725"/>
                  <a:gd name="connsiteX11" fmla="*/ 325163 w 896663"/>
                  <a:gd name="connsiteY11" fmla="*/ 660400 h 3260725"/>
                  <a:gd name="connsiteX12" fmla="*/ 363263 w 896663"/>
                  <a:gd name="connsiteY12" fmla="*/ 717550 h 3260725"/>
                  <a:gd name="connsiteX13" fmla="*/ 369613 w 896663"/>
                  <a:gd name="connsiteY13" fmla="*/ 784225 h 3260725"/>
                  <a:gd name="connsiteX14" fmla="*/ 407713 w 896663"/>
                  <a:gd name="connsiteY14" fmla="*/ 841375 h 3260725"/>
                  <a:gd name="connsiteX15" fmla="*/ 414063 w 896663"/>
                  <a:gd name="connsiteY15" fmla="*/ 1011381 h 3260725"/>
                  <a:gd name="connsiteX16" fmla="*/ 242901 w 896663"/>
                  <a:gd name="connsiteY16" fmla="*/ 1034184 h 3260725"/>
                  <a:gd name="connsiteX17" fmla="*/ 201338 w 896663"/>
                  <a:gd name="connsiteY17" fmla="*/ 1146175 h 3260725"/>
                  <a:gd name="connsiteX18" fmla="*/ 210863 w 896663"/>
                  <a:gd name="connsiteY18" fmla="*/ 1209675 h 3260725"/>
                  <a:gd name="connsiteX19" fmla="*/ 226738 w 896663"/>
                  <a:gd name="connsiteY19" fmla="*/ 1238250 h 3260725"/>
                  <a:gd name="connsiteX20" fmla="*/ 226738 w 896663"/>
                  <a:gd name="connsiteY20" fmla="*/ 1282700 h 3260725"/>
                  <a:gd name="connsiteX21" fmla="*/ 236263 w 896663"/>
                  <a:gd name="connsiteY21" fmla="*/ 1358900 h 3260725"/>
                  <a:gd name="connsiteX22" fmla="*/ 204513 w 896663"/>
                  <a:gd name="connsiteY22" fmla="*/ 1581149 h 3260725"/>
                  <a:gd name="connsiteX23" fmla="*/ 153713 w 896663"/>
                  <a:gd name="connsiteY23" fmla="*/ 1673224 h 3260725"/>
                  <a:gd name="connsiteX24" fmla="*/ 80688 w 896663"/>
                  <a:gd name="connsiteY24" fmla="*/ 1819274 h 3260725"/>
                  <a:gd name="connsiteX25" fmla="*/ 42588 w 896663"/>
                  <a:gd name="connsiteY25" fmla="*/ 1889124 h 3260725"/>
                  <a:gd name="connsiteX26" fmla="*/ 17188 w 896663"/>
                  <a:gd name="connsiteY26" fmla="*/ 1958974 h 3260725"/>
                  <a:gd name="connsiteX27" fmla="*/ 10838 w 896663"/>
                  <a:gd name="connsiteY27" fmla="*/ 2146299 h 3260725"/>
                  <a:gd name="connsiteX28" fmla="*/ 39413 w 896663"/>
                  <a:gd name="connsiteY28" fmla="*/ 2238374 h 3260725"/>
                  <a:gd name="connsiteX29" fmla="*/ 52113 w 896663"/>
                  <a:gd name="connsiteY29" fmla="*/ 2371724 h 3260725"/>
                  <a:gd name="connsiteX30" fmla="*/ 90213 w 896663"/>
                  <a:gd name="connsiteY30" fmla="*/ 2438399 h 3260725"/>
                  <a:gd name="connsiteX31" fmla="*/ 112438 w 896663"/>
                  <a:gd name="connsiteY31" fmla="*/ 2565399 h 3260725"/>
                  <a:gd name="connsiteX32" fmla="*/ 201338 w 896663"/>
                  <a:gd name="connsiteY32" fmla="*/ 2647949 h 3260725"/>
                  <a:gd name="connsiteX33" fmla="*/ 258488 w 896663"/>
                  <a:gd name="connsiteY33" fmla="*/ 2663824 h 3260725"/>
                  <a:gd name="connsiteX34" fmla="*/ 382313 w 896663"/>
                  <a:gd name="connsiteY34" fmla="*/ 2959099 h 3260725"/>
                  <a:gd name="connsiteX35" fmla="*/ 502963 w 896663"/>
                  <a:gd name="connsiteY35" fmla="*/ 3009899 h 3260725"/>
                  <a:gd name="connsiteX36" fmla="*/ 639488 w 896663"/>
                  <a:gd name="connsiteY36" fmla="*/ 3057524 h 3260725"/>
                  <a:gd name="connsiteX37" fmla="*/ 760138 w 896663"/>
                  <a:gd name="connsiteY37" fmla="*/ 3047999 h 3260725"/>
                  <a:gd name="connsiteX38" fmla="*/ 896663 w 896663"/>
                  <a:gd name="connsiteY38" fmla="*/ 3260725 h 3260725"/>
                  <a:gd name="connsiteX0" fmla="*/ 1313 w 896663"/>
                  <a:gd name="connsiteY0" fmla="*/ 0 h 3159125"/>
                  <a:gd name="connsiteX1" fmla="*/ 10838 w 896663"/>
                  <a:gd name="connsiteY1" fmla="*/ 92075 h 3159125"/>
                  <a:gd name="connsiteX2" fmla="*/ 83863 w 896663"/>
                  <a:gd name="connsiteY2" fmla="*/ 165100 h 3159125"/>
                  <a:gd name="connsiteX3" fmla="*/ 112438 w 896663"/>
                  <a:gd name="connsiteY3" fmla="*/ 212725 h 3159125"/>
                  <a:gd name="connsiteX4" fmla="*/ 150538 w 896663"/>
                  <a:gd name="connsiteY4" fmla="*/ 244475 h 3159125"/>
                  <a:gd name="connsiteX5" fmla="*/ 169588 w 896663"/>
                  <a:gd name="connsiteY5" fmla="*/ 298450 h 3159125"/>
                  <a:gd name="connsiteX6" fmla="*/ 226738 w 896663"/>
                  <a:gd name="connsiteY6" fmla="*/ 339725 h 3159125"/>
                  <a:gd name="connsiteX7" fmla="*/ 264838 w 896663"/>
                  <a:gd name="connsiteY7" fmla="*/ 384175 h 3159125"/>
                  <a:gd name="connsiteX8" fmla="*/ 277538 w 896663"/>
                  <a:gd name="connsiteY8" fmla="*/ 412750 h 3159125"/>
                  <a:gd name="connsiteX9" fmla="*/ 277538 w 896663"/>
                  <a:gd name="connsiteY9" fmla="*/ 482600 h 3159125"/>
                  <a:gd name="connsiteX10" fmla="*/ 325163 w 896663"/>
                  <a:gd name="connsiteY10" fmla="*/ 558800 h 3159125"/>
                  <a:gd name="connsiteX11" fmla="*/ 363263 w 896663"/>
                  <a:gd name="connsiteY11" fmla="*/ 615950 h 3159125"/>
                  <a:gd name="connsiteX12" fmla="*/ 369613 w 896663"/>
                  <a:gd name="connsiteY12" fmla="*/ 682625 h 3159125"/>
                  <a:gd name="connsiteX13" fmla="*/ 407713 w 896663"/>
                  <a:gd name="connsiteY13" fmla="*/ 739775 h 3159125"/>
                  <a:gd name="connsiteX14" fmla="*/ 414063 w 896663"/>
                  <a:gd name="connsiteY14" fmla="*/ 909781 h 3159125"/>
                  <a:gd name="connsiteX15" fmla="*/ 242901 w 896663"/>
                  <a:gd name="connsiteY15" fmla="*/ 932584 h 3159125"/>
                  <a:gd name="connsiteX16" fmla="*/ 201338 w 896663"/>
                  <a:gd name="connsiteY16" fmla="*/ 1044575 h 3159125"/>
                  <a:gd name="connsiteX17" fmla="*/ 210863 w 896663"/>
                  <a:gd name="connsiteY17" fmla="*/ 1108075 h 3159125"/>
                  <a:gd name="connsiteX18" fmla="*/ 226738 w 896663"/>
                  <a:gd name="connsiteY18" fmla="*/ 1136650 h 3159125"/>
                  <a:gd name="connsiteX19" fmla="*/ 226738 w 896663"/>
                  <a:gd name="connsiteY19" fmla="*/ 1181100 h 3159125"/>
                  <a:gd name="connsiteX20" fmla="*/ 236263 w 896663"/>
                  <a:gd name="connsiteY20" fmla="*/ 1257300 h 3159125"/>
                  <a:gd name="connsiteX21" fmla="*/ 204513 w 896663"/>
                  <a:gd name="connsiteY21" fmla="*/ 1479549 h 3159125"/>
                  <a:gd name="connsiteX22" fmla="*/ 153713 w 896663"/>
                  <a:gd name="connsiteY22" fmla="*/ 1571624 h 3159125"/>
                  <a:gd name="connsiteX23" fmla="*/ 80688 w 896663"/>
                  <a:gd name="connsiteY23" fmla="*/ 1717674 h 3159125"/>
                  <a:gd name="connsiteX24" fmla="*/ 42588 w 896663"/>
                  <a:gd name="connsiteY24" fmla="*/ 1787524 h 3159125"/>
                  <a:gd name="connsiteX25" fmla="*/ 17188 w 896663"/>
                  <a:gd name="connsiteY25" fmla="*/ 1857374 h 3159125"/>
                  <a:gd name="connsiteX26" fmla="*/ 10838 w 896663"/>
                  <a:gd name="connsiteY26" fmla="*/ 2044699 h 3159125"/>
                  <a:gd name="connsiteX27" fmla="*/ 39413 w 896663"/>
                  <a:gd name="connsiteY27" fmla="*/ 2136774 h 3159125"/>
                  <a:gd name="connsiteX28" fmla="*/ 52113 w 896663"/>
                  <a:gd name="connsiteY28" fmla="*/ 2270124 h 3159125"/>
                  <a:gd name="connsiteX29" fmla="*/ 90213 w 896663"/>
                  <a:gd name="connsiteY29" fmla="*/ 2336799 h 3159125"/>
                  <a:gd name="connsiteX30" fmla="*/ 112438 w 896663"/>
                  <a:gd name="connsiteY30" fmla="*/ 2463799 h 3159125"/>
                  <a:gd name="connsiteX31" fmla="*/ 201338 w 896663"/>
                  <a:gd name="connsiteY31" fmla="*/ 2546349 h 3159125"/>
                  <a:gd name="connsiteX32" fmla="*/ 258488 w 896663"/>
                  <a:gd name="connsiteY32" fmla="*/ 2562224 h 3159125"/>
                  <a:gd name="connsiteX33" fmla="*/ 382313 w 896663"/>
                  <a:gd name="connsiteY33" fmla="*/ 2857499 h 3159125"/>
                  <a:gd name="connsiteX34" fmla="*/ 502963 w 896663"/>
                  <a:gd name="connsiteY34" fmla="*/ 2908299 h 3159125"/>
                  <a:gd name="connsiteX35" fmla="*/ 639488 w 896663"/>
                  <a:gd name="connsiteY35" fmla="*/ 2955924 h 3159125"/>
                  <a:gd name="connsiteX36" fmla="*/ 760138 w 896663"/>
                  <a:gd name="connsiteY36" fmla="*/ 2946399 h 3159125"/>
                  <a:gd name="connsiteX37" fmla="*/ 896663 w 896663"/>
                  <a:gd name="connsiteY37" fmla="*/ 3159125 h 3159125"/>
                  <a:gd name="connsiteX0" fmla="*/ 0 w 885825"/>
                  <a:gd name="connsiteY0" fmla="*/ 0 h 3067050"/>
                  <a:gd name="connsiteX1" fmla="*/ 73025 w 885825"/>
                  <a:gd name="connsiteY1" fmla="*/ 73025 h 3067050"/>
                  <a:gd name="connsiteX2" fmla="*/ 101600 w 885825"/>
                  <a:gd name="connsiteY2" fmla="*/ 120650 h 3067050"/>
                  <a:gd name="connsiteX3" fmla="*/ 139700 w 885825"/>
                  <a:gd name="connsiteY3" fmla="*/ 152400 h 3067050"/>
                  <a:gd name="connsiteX4" fmla="*/ 158750 w 885825"/>
                  <a:gd name="connsiteY4" fmla="*/ 206375 h 3067050"/>
                  <a:gd name="connsiteX5" fmla="*/ 215900 w 885825"/>
                  <a:gd name="connsiteY5" fmla="*/ 247650 h 3067050"/>
                  <a:gd name="connsiteX6" fmla="*/ 254000 w 885825"/>
                  <a:gd name="connsiteY6" fmla="*/ 292100 h 3067050"/>
                  <a:gd name="connsiteX7" fmla="*/ 266700 w 885825"/>
                  <a:gd name="connsiteY7" fmla="*/ 320675 h 3067050"/>
                  <a:gd name="connsiteX8" fmla="*/ 266700 w 885825"/>
                  <a:gd name="connsiteY8" fmla="*/ 390525 h 3067050"/>
                  <a:gd name="connsiteX9" fmla="*/ 314325 w 885825"/>
                  <a:gd name="connsiteY9" fmla="*/ 466725 h 3067050"/>
                  <a:gd name="connsiteX10" fmla="*/ 352425 w 885825"/>
                  <a:gd name="connsiteY10" fmla="*/ 523875 h 3067050"/>
                  <a:gd name="connsiteX11" fmla="*/ 358775 w 885825"/>
                  <a:gd name="connsiteY11" fmla="*/ 590550 h 3067050"/>
                  <a:gd name="connsiteX12" fmla="*/ 396875 w 885825"/>
                  <a:gd name="connsiteY12" fmla="*/ 647700 h 3067050"/>
                  <a:gd name="connsiteX13" fmla="*/ 403225 w 885825"/>
                  <a:gd name="connsiteY13" fmla="*/ 817706 h 3067050"/>
                  <a:gd name="connsiteX14" fmla="*/ 232063 w 885825"/>
                  <a:gd name="connsiteY14" fmla="*/ 840509 h 3067050"/>
                  <a:gd name="connsiteX15" fmla="*/ 190500 w 885825"/>
                  <a:gd name="connsiteY15" fmla="*/ 952500 h 3067050"/>
                  <a:gd name="connsiteX16" fmla="*/ 200025 w 885825"/>
                  <a:gd name="connsiteY16" fmla="*/ 1016000 h 3067050"/>
                  <a:gd name="connsiteX17" fmla="*/ 215900 w 885825"/>
                  <a:gd name="connsiteY17" fmla="*/ 1044575 h 3067050"/>
                  <a:gd name="connsiteX18" fmla="*/ 215900 w 885825"/>
                  <a:gd name="connsiteY18" fmla="*/ 1089025 h 3067050"/>
                  <a:gd name="connsiteX19" fmla="*/ 225425 w 885825"/>
                  <a:gd name="connsiteY19" fmla="*/ 1165225 h 3067050"/>
                  <a:gd name="connsiteX20" fmla="*/ 193675 w 885825"/>
                  <a:gd name="connsiteY20" fmla="*/ 1387474 h 3067050"/>
                  <a:gd name="connsiteX21" fmla="*/ 142875 w 885825"/>
                  <a:gd name="connsiteY21" fmla="*/ 1479549 h 3067050"/>
                  <a:gd name="connsiteX22" fmla="*/ 69850 w 885825"/>
                  <a:gd name="connsiteY22" fmla="*/ 1625599 h 3067050"/>
                  <a:gd name="connsiteX23" fmla="*/ 31750 w 885825"/>
                  <a:gd name="connsiteY23" fmla="*/ 1695449 h 3067050"/>
                  <a:gd name="connsiteX24" fmla="*/ 6350 w 885825"/>
                  <a:gd name="connsiteY24" fmla="*/ 1765299 h 3067050"/>
                  <a:gd name="connsiteX25" fmla="*/ 0 w 885825"/>
                  <a:gd name="connsiteY25" fmla="*/ 1952624 h 3067050"/>
                  <a:gd name="connsiteX26" fmla="*/ 28575 w 885825"/>
                  <a:gd name="connsiteY26" fmla="*/ 2044699 h 3067050"/>
                  <a:gd name="connsiteX27" fmla="*/ 41275 w 885825"/>
                  <a:gd name="connsiteY27" fmla="*/ 2178049 h 3067050"/>
                  <a:gd name="connsiteX28" fmla="*/ 79375 w 885825"/>
                  <a:gd name="connsiteY28" fmla="*/ 2244724 h 3067050"/>
                  <a:gd name="connsiteX29" fmla="*/ 101600 w 885825"/>
                  <a:gd name="connsiteY29" fmla="*/ 2371724 h 3067050"/>
                  <a:gd name="connsiteX30" fmla="*/ 190500 w 885825"/>
                  <a:gd name="connsiteY30" fmla="*/ 2454274 h 3067050"/>
                  <a:gd name="connsiteX31" fmla="*/ 247650 w 885825"/>
                  <a:gd name="connsiteY31" fmla="*/ 2470149 h 3067050"/>
                  <a:gd name="connsiteX32" fmla="*/ 371475 w 885825"/>
                  <a:gd name="connsiteY32" fmla="*/ 2765424 h 3067050"/>
                  <a:gd name="connsiteX33" fmla="*/ 492125 w 885825"/>
                  <a:gd name="connsiteY33" fmla="*/ 2816224 h 3067050"/>
                  <a:gd name="connsiteX34" fmla="*/ 628650 w 885825"/>
                  <a:gd name="connsiteY34" fmla="*/ 2863849 h 3067050"/>
                  <a:gd name="connsiteX35" fmla="*/ 749300 w 885825"/>
                  <a:gd name="connsiteY35" fmla="*/ 2854324 h 3067050"/>
                  <a:gd name="connsiteX36" fmla="*/ 885825 w 885825"/>
                  <a:gd name="connsiteY36" fmla="*/ 3067050 h 3067050"/>
                  <a:gd name="connsiteX0" fmla="*/ 73025 w 885825"/>
                  <a:gd name="connsiteY0" fmla="*/ 0 h 2994025"/>
                  <a:gd name="connsiteX1" fmla="*/ 101600 w 885825"/>
                  <a:gd name="connsiteY1" fmla="*/ 47625 h 2994025"/>
                  <a:gd name="connsiteX2" fmla="*/ 139700 w 885825"/>
                  <a:gd name="connsiteY2" fmla="*/ 79375 h 2994025"/>
                  <a:gd name="connsiteX3" fmla="*/ 158750 w 885825"/>
                  <a:gd name="connsiteY3" fmla="*/ 133350 h 2994025"/>
                  <a:gd name="connsiteX4" fmla="*/ 215900 w 885825"/>
                  <a:gd name="connsiteY4" fmla="*/ 174625 h 2994025"/>
                  <a:gd name="connsiteX5" fmla="*/ 254000 w 885825"/>
                  <a:gd name="connsiteY5" fmla="*/ 219075 h 2994025"/>
                  <a:gd name="connsiteX6" fmla="*/ 266700 w 885825"/>
                  <a:gd name="connsiteY6" fmla="*/ 247650 h 2994025"/>
                  <a:gd name="connsiteX7" fmla="*/ 266700 w 885825"/>
                  <a:gd name="connsiteY7" fmla="*/ 317500 h 2994025"/>
                  <a:gd name="connsiteX8" fmla="*/ 314325 w 885825"/>
                  <a:gd name="connsiteY8" fmla="*/ 393700 h 2994025"/>
                  <a:gd name="connsiteX9" fmla="*/ 352425 w 885825"/>
                  <a:gd name="connsiteY9" fmla="*/ 450850 h 2994025"/>
                  <a:gd name="connsiteX10" fmla="*/ 358775 w 885825"/>
                  <a:gd name="connsiteY10" fmla="*/ 517525 h 2994025"/>
                  <a:gd name="connsiteX11" fmla="*/ 396875 w 885825"/>
                  <a:gd name="connsiteY11" fmla="*/ 574675 h 2994025"/>
                  <a:gd name="connsiteX12" fmla="*/ 403225 w 885825"/>
                  <a:gd name="connsiteY12" fmla="*/ 744681 h 2994025"/>
                  <a:gd name="connsiteX13" fmla="*/ 232063 w 885825"/>
                  <a:gd name="connsiteY13" fmla="*/ 767484 h 2994025"/>
                  <a:gd name="connsiteX14" fmla="*/ 190500 w 885825"/>
                  <a:gd name="connsiteY14" fmla="*/ 879475 h 2994025"/>
                  <a:gd name="connsiteX15" fmla="*/ 200025 w 885825"/>
                  <a:gd name="connsiteY15" fmla="*/ 942975 h 2994025"/>
                  <a:gd name="connsiteX16" fmla="*/ 215900 w 885825"/>
                  <a:gd name="connsiteY16" fmla="*/ 971550 h 2994025"/>
                  <a:gd name="connsiteX17" fmla="*/ 215900 w 885825"/>
                  <a:gd name="connsiteY17" fmla="*/ 1016000 h 2994025"/>
                  <a:gd name="connsiteX18" fmla="*/ 225425 w 885825"/>
                  <a:gd name="connsiteY18" fmla="*/ 1092200 h 2994025"/>
                  <a:gd name="connsiteX19" fmla="*/ 193675 w 885825"/>
                  <a:gd name="connsiteY19" fmla="*/ 1314449 h 2994025"/>
                  <a:gd name="connsiteX20" fmla="*/ 142875 w 885825"/>
                  <a:gd name="connsiteY20" fmla="*/ 1406524 h 2994025"/>
                  <a:gd name="connsiteX21" fmla="*/ 69850 w 885825"/>
                  <a:gd name="connsiteY21" fmla="*/ 1552574 h 2994025"/>
                  <a:gd name="connsiteX22" fmla="*/ 31750 w 885825"/>
                  <a:gd name="connsiteY22" fmla="*/ 1622424 h 2994025"/>
                  <a:gd name="connsiteX23" fmla="*/ 6350 w 885825"/>
                  <a:gd name="connsiteY23" fmla="*/ 1692274 h 2994025"/>
                  <a:gd name="connsiteX24" fmla="*/ 0 w 885825"/>
                  <a:gd name="connsiteY24" fmla="*/ 1879599 h 2994025"/>
                  <a:gd name="connsiteX25" fmla="*/ 28575 w 885825"/>
                  <a:gd name="connsiteY25" fmla="*/ 1971674 h 2994025"/>
                  <a:gd name="connsiteX26" fmla="*/ 41275 w 885825"/>
                  <a:gd name="connsiteY26" fmla="*/ 2105024 h 2994025"/>
                  <a:gd name="connsiteX27" fmla="*/ 79375 w 885825"/>
                  <a:gd name="connsiteY27" fmla="*/ 2171699 h 2994025"/>
                  <a:gd name="connsiteX28" fmla="*/ 101600 w 885825"/>
                  <a:gd name="connsiteY28" fmla="*/ 2298699 h 2994025"/>
                  <a:gd name="connsiteX29" fmla="*/ 190500 w 885825"/>
                  <a:gd name="connsiteY29" fmla="*/ 2381249 h 2994025"/>
                  <a:gd name="connsiteX30" fmla="*/ 247650 w 885825"/>
                  <a:gd name="connsiteY30" fmla="*/ 2397124 h 2994025"/>
                  <a:gd name="connsiteX31" fmla="*/ 371475 w 885825"/>
                  <a:gd name="connsiteY31" fmla="*/ 2692399 h 2994025"/>
                  <a:gd name="connsiteX32" fmla="*/ 492125 w 885825"/>
                  <a:gd name="connsiteY32" fmla="*/ 2743199 h 2994025"/>
                  <a:gd name="connsiteX33" fmla="*/ 628650 w 885825"/>
                  <a:gd name="connsiteY33" fmla="*/ 2790824 h 2994025"/>
                  <a:gd name="connsiteX34" fmla="*/ 749300 w 885825"/>
                  <a:gd name="connsiteY34" fmla="*/ 2781299 h 2994025"/>
                  <a:gd name="connsiteX35" fmla="*/ 885825 w 885825"/>
                  <a:gd name="connsiteY35" fmla="*/ 2994025 h 2994025"/>
                  <a:gd name="connsiteX0" fmla="*/ 101600 w 885825"/>
                  <a:gd name="connsiteY0" fmla="*/ 0 h 2946400"/>
                  <a:gd name="connsiteX1" fmla="*/ 139700 w 885825"/>
                  <a:gd name="connsiteY1" fmla="*/ 31750 h 2946400"/>
                  <a:gd name="connsiteX2" fmla="*/ 158750 w 885825"/>
                  <a:gd name="connsiteY2" fmla="*/ 85725 h 2946400"/>
                  <a:gd name="connsiteX3" fmla="*/ 215900 w 885825"/>
                  <a:gd name="connsiteY3" fmla="*/ 127000 h 2946400"/>
                  <a:gd name="connsiteX4" fmla="*/ 254000 w 885825"/>
                  <a:gd name="connsiteY4" fmla="*/ 171450 h 2946400"/>
                  <a:gd name="connsiteX5" fmla="*/ 266700 w 885825"/>
                  <a:gd name="connsiteY5" fmla="*/ 200025 h 2946400"/>
                  <a:gd name="connsiteX6" fmla="*/ 266700 w 885825"/>
                  <a:gd name="connsiteY6" fmla="*/ 269875 h 2946400"/>
                  <a:gd name="connsiteX7" fmla="*/ 314325 w 885825"/>
                  <a:gd name="connsiteY7" fmla="*/ 346075 h 2946400"/>
                  <a:gd name="connsiteX8" fmla="*/ 352425 w 885825"/>
                  <a:gd name="connsiteY8" fmla="*/ 403225 h 2946400"/>
                  <a:gd name="connsiteX9" fmla="*/ 358775 w 885825"/>
                  <a:gd name="connsiteY9" fmla="*/ 469900 h 2946400"/>
                  <a:gd name="connsiteX10" fmla="*/ 396875 w 885825"/>
                  <a:gd name="connsiteY10" fmla="*/ 527050 h 2946400"/>
                  <a:gd name="connsiteX11" fmla="*/ 403225 w 885825"/>
                  <a:gd name="connsiteY11" fmla="*/ 697056 h 2946400"/>
                  <a:gd name="connsiteX12" fmla="*/ 232063 w 885825"/>
                  <a:gd name="connsiteY12" fmla="*/ 719859 h 2946400"/>
                  <a:gd name="connsiteX13" fmla="*/ 190500 w 885825"/>
                  <a:gd name="connsiteY13" fmla="*/ 831850 h 2946400"/>
                  <a:gd name="connsiteX14" fmla="*/ 200025 w 885825"/>
                  <a:gd name="connsiteY14" fmla="*/ 895350 h 2946400"/>
                  <a:gd name="connsiteX15" fmla="*/ 215900 w 885825"/>
                  <a:gd name="connsiteY15" fmla="*/ 923925 h 2946400"/>
                  <a:gd name="connsiteX16" fmla="*/ 215900 w 885825"/>
                  <a:gd name="connsiteY16" fmla="*/ 968375 h 2946400"/>
                  <a:gd name="connsiteX17" fmla="*/ 225425 w 885825"/>
                  <a:gd name="connsiteY17" fmla="*/ 1044575 h 2946400"/>
                  <a:gd name="connsiteX18" fmla="*/ 193675 w 885825"/>
                  <a:gd name="connsiteY18" fmla="*/ 1266824 h 2946400"/>
                  <a:gd name="connsiteX19" fmla="*/ 142875 w 885825"/>
                  <a:gd name="connsiteY19" fmla="*/ 1358899 h 2946400"/>
                  <a:gd name="connsiteX20" fmla="*/ 69850 w 885825"/>
                  <a:gd name="connsiteY20" fmla="*/ 1504949 h 2946400"/>
                  <a:gd name="connsiteX21" fmla="*/ 31750 w 885825"/>
                  <a:gd name="connsiteY21" fmla="*/ 1574799 h 2946400"/>
                  <a:gd name="connsiteX22" fmla="*/ 6350 w 885825"/>
                  <a:gd name="connsiteY22" fmla="*/ 1644649 h 2946400"/>
                  <a:gd name="connsiteX23" fmla="*/ 0 w 885825"/>
                  <a:gd name="connsiteY23" fmla="*/ 1831974 h 2946400"/>
                  <a:gd name="connsiteX24" fmla="*/ 28575 w 885825"/>
                  <a:gd name="connsiteY24" fmla="*/ 1924049 h 2946400"/>
                  <a:gd name="connsiteX25" fmla="*/ 41275 w 885825"/>
                  <a:gd name="connsiteY25" fmla="*/ 2057399 h 2946400"/>
                  <a:gd name="connsiteX26" fmla="*/ 79375 w 885825"/>
                  <a:gd name="connsiteY26" fmla="*/ 2124074 h 2946400"/>
                  <a:gd name="connsiteX27" fmla="*/ 101600 w 885825"/>
                  <a:gd name="connsiteY27" fmla="*/ 2251074 h 2946400"/>
                  <a:gd name="connsiteX28" fmla="*/ 190500 w 885825"/>
                  <a:gd name="connsiteY28" fmla="*/ 2333624 h 2946400"/>
                  <a:gd name="connsiteX29" fmla="*/ 247650 w 885825"/>
                  <a:gd name="connsiteY29" fmla="*/ 2349499 h 2946400"/>
                  <a:gd name="connsiteX30" fmla="*/ 371475 w 885825"/>
                  <a:gd name="connsiteY30" fmla="*/ 2644774 h 2946400"/>
                  <a:gd name="connsiteX31" fmla="*/ 492125 w 885825"/>
                  <a:gd name="connsiteY31" fmla="*/ 2695574 h 2946400"/>
                  <a:gd name="connsiteX32" fmla="*/ 628650 w 885825"/>
                  <a:gd name="connsiteY32" fmla="*/ 2743199 h 2946400"/>
                  <a:gd name="connsiteX33" fmla="*/ 749300 w 885825"/>
                  <a:gd name="connsiteY33" fmla="*/ 2733674 h 2946400"/>
                  <a:gd name="connsiteX34" fmla="*/ 885825 w 885825"/>
                  <a:gd name="connsiteY34" fmla="*/ 2946400 h 2946400"/>
                  <a:gd name="connsiteX0" fmla="*/ 139700 w 885825"/>
                  <a:gd name="connsiteY0" fmla="*/ 0 h 2914650"/>
                  <a:gd name="connsiteX1" fmla="*/ 158750 w 885825"/>
                  <a:gd name="connsiteY1" fmla="*/ 53975 h 2914650"/>
                  <a:gd name="connsiteX2" fmla="*/ 215900 w 885825"/>
                  <a:gd name="connsiteY2" fmla="*/ 95250 h 2914650"/>
                  <a:gd name="connsiteX3" fmla="*/ 254000 w 885825"/>
                  <a:gd name="connsiteY3" fmla="*/ 139700 h 2914650"/>
                  <a:gd name="connsiteX4" fmla="*/ 266700 w 885825"/>
                  <a:gd name="connsiteY4" fmla="*/ 168275 h 2914650"/>
                  <a:gd name="connsiteX5" fmla="*/ 266700 w 885825"/>
                  <a:gd name="connsiteY5" fmla="*/ 238125 h 2914650"/>
                  <a:gd name="connsiteX6" fmla="*/ 314325 w 885825"/>
                  <a:gd name="connsiteY6" fmla="*/ 314325 h 2914650"/>
                  <a:gd name="connsiteX7" fmla="*/ 352425 w 885825"/>
                  <a:gd name="connsiteY7" fmla="*/ 371475 h 2914650"/>
                  <a:gd name="connsiteX8" fmla="*/ 358775 w 885825"/>
                  <a:gd name="connsiteY8" fmla="*/ 438150 h 2914650"/>
                  <a:gd name="connsiteX9" fmla="*/ 396875 w 885825"/>
                  <a:gd name="connsiteY9" fmla="*/ 495300 h 2914650"/>
                  <a:gd name="connsiteX10" fmla="*/ 403225 w 885825"/>
                  <a:gd name="connsiteY10" fmla="*/ 665306 h 2914650"/>
                  <a:gd name="connsiteX11" fmla="*/ 232063 w 885825"/>
                  <a:gd name="connsiteY11" fmla="*/ 688109 h 2914650"/>
                  <a:gd name="connsiteX12" fmla="*/ 190500 w 885825"/>
                  <a:gd name="connsiteY12" fmla="*/ 800100 h 2914650"/>
                  <a:gd name="connsiteX13" fmla="*/ 200025 w 885825"/>
                  <a:gd name="connsiteY13" fmla="*/ 863600 h 2914650"/>
                  <a:gd name="connsiteX14" fmla="*/ 215900 w 885825"/>
                  <a:gd name="connsiteY14" fmla="*/ 892175 h 2914650"/>
                  <a:gd name="connsiteX15" fmla="*/ 215900 w 885825"/>
                  <a:gd name="connsiteY15" fmla="*/ 936625 h 2914650"/>
                  <a:gd name="connsiteX16" fmla="*/ 225425 w 885825"/>
                  <a:gd name="connsiteY16" fmla="*/ 1012825 h 2914650"/>
                  <a:gd name="connsiteX17" fmla="*/ 193675 w 885825"/>
                  <a:gd name="connsiteY17" fmla="*/ 1235074 h 2914650"/>
                  <a:gd name="connsiteX18" fmla="*/ 142875 w 885825"/>
                  <a:gd name="connsiteY18" fmla="*/ 1327149 h 2914650"/>
                  <a:gd name="connsiteX19" fmla="*/ 69850 w 885825"/>
                  <a:gd name="connsiteY19" fmla="*/ 1473199 h 2914650"/>
                  <a:gd name="connsiteX20" fmla="*/ 31750 w 885825"/>
                  <a:gd name="connsiteY20" fmla="*/ 1543049 h 2914650"/>
                  <a:gd name="connsiteX21" fmla="*/ 6350 w 885825"/>
                  <a:gd name="connsiteY21" fmla="*/ 1612899 h 2914650"/>
                  <a:gd name="connsiteX22" fmla="*/ 0 w 885825"/>
                  <a:gd name="connsiteY22" fmla="*/ 1800224 h 2914650"/>
                  <a:gd name="connsiteX23" fmla="*/ 28575 w 885825"/>
                  <a:gd name="connsiteY23" fmla="*/ 1892299 h 2914650"/>
                  <a:gd name="connsiteX24" fmla="*/ 41275 w 885825"/>
                  <a:gd name="connsiteY24" fmla="*/ 2025649 h 2914650"/>
                  <a:gd name="connsiteX25" fmla="*/ 79375 w 885825"/>
                  <a:gd name="connsiteY25" fmla="*/ 2092324 h 2914650"/>
                  <a:gd name="connsiteX26" fmla="*/ 101600 w 885825"/>
                  <a:gd name="connsiteY26" fmla="*/ 2219324 h 2914650"/>
                  <a:gd name="connsiteX27" fmla="*/ 190500 w 885825"/>
                  <a:gd name="connsiteY27" fmla="*/ 2301874 h 2914650"/>
                  <a:gd name="connsiteX28" fmla="*/ 247650 w 885825"/>
                  <a:gd name="connsiteY28" fmla="*/ 2317749 h 2914650"/>
                  <a:gd name="connsiteX29" fmla="*/ 371475 w 885825"/>
                  <a:gd name="connsiteY29" fmla="*/ 2613024 h 2914650"/>
                  <a:gd name="connsiteX30" fmla="*/ 492125 w 885825"/>
                  <a:gd name="connsiteY30" fmla="*/ 2663824 h 2914650"/>
                  <a:gd name="connsiteX31" fmla="*/ 628650 w 885825"/>
                  <a:gd name="connsiteY31" fmla="*/ 2711449 h 2914650"/>
                  <a:gd name="connsiteX32" fmla="*/ 749300 w 885825"/>
                  <a:gd name="connsiteY32" fmla="*/ 2701924 h 2914650"/>
                  <a:gd name="connsiteX33" fmla="*/ 885825 w 885825"/>
                  <a:gd name="connsiteY33" fmla="*/ 2914650 h 2914650"/>
                  <a:gd name="connsiteX0" fmla="*/ 158750 w 885825"/>
                  <a:gd name="connsiteY0" fmla="*/ 0 h 2860675"/>
                  <a:gd name="connsiteX1" fmla="*/ 215900 w 885825"/>
                  <a:gd name="connsiteY1" fmla="*/ 41275 h 2860675"/>
                  <a:gd name="connsiteX2" fmla="*/ 254000 w 885825"/>
                  <a:gd name="connsiteY2" fmla="*/ 85725 h 2860675"/>
                  <a:gd name="connsiteX3" fmla="*/ 266700 w 885825"/>
                  <a:gd name="connsiteY3" fmla="*/ 114300 h 2860675"/>
                  <a:gd name="connsiteX4" fmla="*/ 266700 w 885825"/>
                  <a:gd name="connsiteY4" fmla="*/ 184150 h 2860675"/>
                  <a:gd name="connsiteX5" fmla="*/ 314325 w 885825"/>
                  <a:gd name="connsiteY5" fmla="*/ 260350 h 2860675"/>
                  <a:gd name="connsiteX6" fmla="*/ 352425 w 885825"/>
                  <a:gd name="connsiteY6" fmla="*/ 317500 h 2860675"/>
                  <a:gd name="connsiteX7" fmla="*/ 358775 w 885825"/>
                  <a:gd name="connsiteY7" fmla="*/ 384175 h 2860675"/>
                  <a:gd name="connsiteX8" fmla="*/ 396875 w 885825"/>
                  <a:gd name="connsiteY8" fmla="*/ 441325 h 2860675"/>
                  <a:gd name="connsiteX9" fmla="*/ 403225 w 885825"/>
                  <a:gd name="connsiteY9" fmla="*/ 611331 h 2860675"/>
                  <a:gd name="connsiteX10" fmla="*/ 232063 w 885825"/>
                  <a:gd name="connsiteY10" fmla="*/ 634134 h 2860675"/>
                  <a:gd name="connsiteX11" fmla="*/ 190500 w 885825"/>
                  <a:gd name="connsiteY11" fmla="*/ 746125 h 2860675"/>
                  <a:gd name="connsiteX12" fmla="*/ 200025 w 885825"/>
                  <a:gd name="connsiteY12" fmla="*/ 809625 h 2860675"/>
                  <a:gd name="connsiteX13" fmla="*/ 215900 w 885825"/>
                  <a:gd name="connsiteY13" fmla="*/ 838200 h 2860675"/>
                  <a:gd name="connsiteX14" fmla="*/ 215900 w 885825"/>
                  <a:gd name="connsiteY14" fmla="*/ 882650 h 2860675"/>
                  <a:gd name="connsiteX15" fmla="*/ 225425 w 885825"/>
                  <a:gd name="connsiteY15" fmla="*/ 958850 h 2860675"/>
                  <a:gd name="connsiteX16" fmla="*/ 193675 w 885825"/>
                  <a:gd name="connsiteY16" fmla="*/ 1181099 h 2860675"/>
                  <a:gd name="connsiteX17" fmla="*/ 142875 w 885825"/>
                  <a:gd name="connsiteY17" fmla="*/ 1273174 h 2860675"/>
                  <a:gd name="connsiteX18" fmla="*/ 69850 w 885825"/>
                  <a:gd name="connsiteY18" fmla="*/ 1419224 h 2860675"/>
                  <a:gd name="connsiteX19" fmla="*/ 31750 w 885825"/>
                  <a:gd name="connsiteY19" fmla="*/ 1489074 h 2860675"/>
                  <a:gd name="connsiteX20" fmla="*/ 6350 w 885825"/>
                  <a:gd name="connsiteY20" fmla="*/ 1558924 h 2860675"/>
                  <a:gd name="connsiteX21" fmla="*/ 0 w 885825"/>
                  <a:gd name="connsiteY21" fmla="*/ 1746249 h 2860675"/>
                  <a:gd name="connsiteX22" fmla="*/ 28575 w 885825"/>
                  <a:gd name="connsiteY22" fmla="*/ 1838324 h 2860675"/>
                  <a:gd name="connsiteX23" fmla="*/ 41275 w 885825"/>
                  <a:gd name="connsiteY23" fmla="*/ 1971674 h 2860675"/>
                  <a:gd name="connsiteX24" fmla="*/ 79375 w 885825"/>
                  <a:gd name="connsiteY24" fmla="*/ 2038349 h 2860675"/>
                  <a:gd name="connsiteX25" fmla="*/ 101600 w 885825"/>
                  <a:gd name="connsiteY25" fmla="*/ 2165349 h 2860675"/>
                  <a:gd name="connsiteX26" fmla="*/ 190500 w 885825"/>
                  <a:gd name="connsiteY26" fmla="*/ 2247899 h 2860675"/>
                  <a:gd name="connsiteX27" fmla="*/ 247650 w 885825"/>
                  <a:gd name="connsiteY27" fmla="*/ 2263774 h 2860675"/>
                  <a:gd name="connsiteX28" fmla="*/ 371475 w 885825"/>
                  <a:gd name="connsiteY28" fmla="*/ 2559049 h 2860675"/>
                  <a:gd name="connsiteX29" fmla="*/ 492125 w 885825"/>
                  <a:gd name="connsiteY29" fmla="*/ 2609849 h 2860675"/>
                  <a:gd name="connsiteX30" fmla="*/ 628650 w 885825"/>
                  <a:gd name="connsiteY30" fmla="*/ 2657474 h 2860675"/>
                  <a:gd name="connsiteX31" fmla="*/ 749300 w 885825"/>
                  <a:gd name="connsiteY31" fmla="*/ 2647949 h 2860675"/>
                  <a:gd name="connsiteX32" fmla="*/ 885825 w 885825"/>
                  <a:gd name="connsiteY32" fmla="*/ 2860675 h 2860675"/>
                  <a:gd name="connsiteX0" fmla="*/ 215900 w 885825"/>
                  <a:gd name="connsiteY0" fmla="*/ 0 h 2819400"/>
                  <a:gd name="connsiteX1" fmla="*/ 254000 w 885825"/>
                  <a:gd name="connsiteY1" fmla="*/ 44450 h 2819400"/>
                  <a:gd name="connsiteX2" fmla="*/ 266700 w 885825"/>
                  <a:gd name="connsiteY2" fmla="*/ 73025 h 2819400"/>
                  <a:gd name="connsiteX3" fmla="*/ 266700 w 885825"/>
                  <a:gd name="connsiteY3" fmla="*/ 142875 h 2819400"/>
                  <a:gd name="connsiteX4" fmla="*/ 314325 w 885825"/>
                  <a:gd name="connsiteY4" fmla="*/ 219075 h 2819400"/>
                  <a:gd name="connsiteX5" fmla="*/ 352425 w 885825"/>
                  <a:gd name="connsiteY5" fmla="*/ 276225 h 2819400"/>
                  <a:gd name="connsiteX6" fmla="*/ 358775 w 885825"/>
                  <a:gd name="connsiteY6" fmla="*/ 342900 h 2819400"/>
                  <a:gd name="connsiteX7" fmla="*/ 396875 w 885825"/>
                  <a:gd name="connsiteY7" fmla="*/ 400050 h 2819400"/>
                  <a:gd name="connsiteX8" fmla="*/ 403225 w 885825"/>
                  <a:gd name="connsiteY8" fmla="*/ 570056 h 2819400"/>
                  <a:gd name="connsiteX9" fmla="*/ 232063 w 885825"/>
                  <a:gd name="connsiteY9" fmla="*/ 592859 h 2819400"/>
                  <a:gd name="connsiteX10" fmla="*/ 190500 w 885825"/>
                  <a:gd name="connsiteY10" fmla="*/ 704850 h 2819400"/>
                  <a:gd name="connsiteX11" fmla="*/ 200025 w 885825"/>
                  <a:gd name="connsiteY11" fmla="*/ 768350 h 2819400"/>
                  <a:gd name="connsiteX12" fmla="*/ 215900 w 885825"/>
                  <a:gd name="connsiteY12" fmla="*/ 796925 h 2819400"/>
                  <a:gd name="connsiteX13" fmla="*/ 215900 w 885825"/>
                  <a:gd name="connsiteY13" fmla="*/ 841375 h 2819400"/>
                  <a:gd name="connsiteX14" fmla="*/ 225425 w 885825"/>
                  <a:gd name="connsiteY14" fmla="*/ 917575 h 2819400"/>
                  <a:gd name="connsiteX15" fmla="*/ 193675 w 885825"/>
                  <a:gd name="connsiteY15" fmla="*/ 1139824 h 2819400"/>
                  <a:gd name="connsiteX16" fmla="*/ 142875 w 885825"/>
                  <a:gd name="connsiteY16" fmla="*/ 1231899 h 2819400"/>
                  <a:gd name="connsiteX17" fmla="*/ 69850 w 885825"/>
                  <a:gd name="connsiteY17" fmla="*/ 1377949 h 2819400"/>
                  <a:gd name="connsiteX18" fmla="*/ 31750 w 885825"/>
                  <a:gd name="connsiteY18" fmla="*/ 1447799 h 2819400"/>
                  <a:gd name="connsiteX19" fmla="*/ 6350 w 885825"/>
                  <a:gd name="connsiteY19" fmla="*/ 1517649 h 2819400"/>
                  <a:gd name="connsiteX20" fmla="*/ 0 w 885825"/>
                  <a:gd name="connsiteY20" fmla="*/ 1704974 h 2819400"/>
                  <a:gd name="connsiteX21" fmla="*/ 28575 w 885825"/>
                  <a:gd name="connsiteY21" fmla="*/ 1797049 h 2819400"/>
                  <a:gd name="connsiteX22" fmla="*/ 41275 w 885825"/>
                  <a:gd name="connsiteY22" fmla="*/ 1930399 h 2819400"/>
                  <a:gd name="connsiteX23" fmla="*/ 79375 w 885825"/>
                  <a:gd name="connsiteY23" fmla="*/ 1997074 h 2819400"/>
                  <a:gd name="connsiteX24" fmla="*/ 101600 w 885825"/>
                  <a:gd name="connsiteY24" fmla="*/ 2124074 h 2819400"/>
                  <a:gd name="connsiteX25" fmla="*/ 190500 w 885825"/>
                  <a:gd name="connsiteY25" fmla="*/ 2206624 h 2819400"/>
                  <a:gd name="connsiteX26" fmla="*/ 247650 w 885825"/>
                  <a:gd name="connsiteY26" fmla="*/ 2222499 h 2819400"/>
                  <a:gd name="connsiteX27" fmla="*/ 371475 w 885825"/>
                  <a:gd name="connsiteY27" fmla="*/ 2517774 h 2819400"/>
                  <a:gd name="connsiteX28" fmla="*/ 492125 w 885825"/>
                  <a:gd name="connsiteY28" fmla="*/ 2568574 h 2819400"/>
                  <a:gd name="connsiteX29" fmla="*/ 628650 w 885825"/>
                  <a:gd name="connsiteY29" fmla="*/ 2616199 h 2819400"/>
                  <a:gd name="connsiteX30" fmla="*/ 749300 w 885825"/>
                  <a:gd name="connsiteY30" fmla="*/ 2606674 h 2819400"/>
                  <a:gd name="connsiteX31" fmla="*/ 885825 w 885825"/>
                  <a:gd name="connsiteY31" fmla="*/ 2819400 h 2819400"/>
                  <a:gd name="connsiteX0" fmla="*/ 254000 w 885825"/>
                  <a:gd name="connsiteY0" fmla="*/ 0 h 2774950"/>
                  <a:gd name="connsiteX1" fmla="*/ 266700 w 885825"/>
                  <a:gd name="connsiteY1" fmla="*/ 28575 h 2774950"/>
                  <a:gd name="connsiteX2" fmla="*/ 266700 w 885825"/>
                  <a:gd name="connsiteY2" fmla="*/ 98425 h 2774950"/>
                  <a:gd name="connsiteX3" fmla="*/ 314325 w 885825"/>
                  <a:gd name="connsiteY3" fmla="*/ 174625 h 2774950"/>
                  <a:gd name="connsiteX4" fmla="*/ 352425 w 885825"/>
                  <a:gd name="connsiteY4" fmla="*/ 231775 h 2774950"/>
                  <a:gd name="connsiteX5" fmla="*/ 358775 w 885825"/>
                  <a:gd name="connsiteY5" fmla="*/ 298450 h 2774950"/>
                  <a:gd name="connsiteX6" fmla="*/ 396875 w 885825"/>
                  <a:gd name="connsiteY6" fmla="*/ 355600 h 2774950"/>
                  <a:gd name="connsiteX7" fmla="*/ 403225 w 885825"/>
                  <a:gd name="connsiteY7" fmla="*/ 525606 h 2774950"/>
                  <a:gd name="connsiteX8" fmla="*/ 232063 w 885825"/>
                  <a:gd name="connsiteY8" fmla="*/ 548409 h 2774950"/>
                  <a:gd name="connsiteX9" fmla="*/ 190500 w 885825"/>
                  <a:gd name="connsiteY9" fmla="*/ 660400 h 2774950"/>
                  <a:gd name="connsiteX10" fmla="*/ 200025 w 885825"/>
                  <a:gd name="connsiteY10" fmla="*/ 723900 h 2774950"/>
                  <a:gd name="connsiteX11" fmla="*/ 215900 w 885825"/>
                  <a:gd name="connsiteY11" fmla="*/ 752475 h 2774950"/>
                  <a:gd name="connsiteX12" fmla="*/ 215900 w 885825"/>
                  <a:gd name="connsiteY12" fmla="*/ 796925 h 2774950"/>
                  <a:gd name="connsiteX13" fmla="*/ 225425 w 885825"/>
                  <a:gd name="connsiteY13" fmla="*/ 873125 h 2774950"/>
                  <a:gd name="connsiteX14" fmla="*/ 193675 w 885825"/>
                  <a:gd name="connsiteY14" fmla="*/ 1095374 h 2774950"/>
                  <a:gd name="connsiteX15" fmla="*/ 142875 w 885825"/>
                  <a:gd name="connsiteY15" fmla="*/ 1187449 h 2774950"/>
                  <a:gd name="connsiteX16" fmla="*/ 69850 w 885825"/>
                  <a:gd name="connsiteY16" fmla="*/ 1333499 h 2774950"/>
                  <a:gd name="connsiteX17" fmla="*/ 31750 w 885825"/>
                  <a:gd name="connsiteY17" fmla="*/ 1403349 h 2774950"/>
                  <a:gd name="connsiteX18" fmla="*/ 6350 w 885825"/>
                  <a:gd name="connsiteY18" fmla="*/ 1473199 h 2774950"/>
                  <a:gd name="connsiteX19" fmla="*/ 0 w 885825"/>
                  <a:gd name="connsiteY19" fmla="*/ 1660524 h 2774950"/>
                  <a:gd name="connsiteX20" fmla="*/ 28575 w 885825"/>
                  <a:gd name="connsiteY20" fmla="*/ 1752599 h 2774950"/>
                  <a:gd name="connsiteX21" fmla="*/ 41275 w 885825"/>
                  <a:gd name="connsiteY21" fmla="*/ 1885949 h 2774950"/>
                  <a:gd name="connsiteX22" fmla="*/ 79375 w 885825"/>
                  <a:gd name="connsiteY22" fmla="*/ 1952624 h 2774950"/>
                  <a:gd name="connsiteX23" fmla="*/ 101600 w 885825"/>
                  <a:gd name="connsiteY23" fmla="*/ 2079624 h 2774950"/>
                  <a:gd name="connsiteX24" fmla="*/ 190500 w 885825"/>
                  <a:gd name="connsiteY24" fmla="*/ 2162174 h 2774950"/>
                  <a:gd name="connsiteX25" fmla="*/ 247650 w 885825"/>
                  <a:gd name="connsiteY25" fmla="*/ 2178049 h 2774950"/>
                  <a:gd name="connsiteX26" fmla="*/ 371475 w 885825"/>
                  <a:gd name="connsiteY26" fmla="*/ 2473324 h 2774950"/>
                  <a:gd name="connsiteX27" fmla="*/ 492125 w 885825"/>
                  <a:gd name="connsiteY27" fmla="*/ 2524124 h 2774950"/>
                  <a:gd name="connsiteX28" fmla="*/ 628650 w 885825"/>
                  <a:gd name="connsiteY28" fmla="*/ 2571749 h 2774950"/>
                  <a:gd name="connsiteX29" fmla="*/ 749300 w 885825"/>
                  <a:gd name="connsiteY29" fmla="*/ 2562224 h 2774950"/>
                  <a:gd name="connsiteX30" fmla="*/ 885825 w 885825"/>
                  <a:gd name="connsiteY30" fmla="*/ 2774950 h 2774950"/>
                  <a:gd name="connsiteX0" fmla="*/ 266700 w 885825"/>
                  <a:gd name="connsiteY0" fmla="*/ 0 h 2746375"/>
                  <a:gd name="connsiteX1" fmla="*/ 266700 w 885825"/>
                  <a:gd name="connsiteY1" fmla="*/ 69850 h 2746375"/>
                  <a:gd name="connsiteX2" fmla="*/ 314325 w 885825"/>
                  <a:gd name="connsiteY2" fmla="*/ 146050 h 2746375"/>
                  <a:gd name="connsiteX3" fmla="*/ 352425 w 885825"/>
                  <a:gd name="connsiteY3" fmla="*/ 203200 h 2746375"/>
                  <a:gd name="connsiteX4" fmla="*/ 358775 w 885825"/>
                  <a:gd name="connsiteY4" fmla="*/ 269875 h 2746375"/>
                  <a:gd name="connsiteX5" fmla="*/ 396875 w 885825"/>
                  <a:gd name="connsiteY5" fmla="*/ 327025 h 2746375"/>
                  <a:gd name="connsiteX6" fmla="*/ 403225 w 885825"/>
                  <a:gd name="connsiteY6" fmla="*/ 497031 h 2746375"/>
                  <a:gd name="connsiteX7" fmla="*/ 232063 w 885825"/>
                  <a:gd name="connsiteY7" fmla="*/ 519834 h 2746375"/>
                  <a:gd name="connsiteX8" fmla="*/ 190500 w 885825"/>
                  <a:gd name="connsiteY8" fmla="*/ 631825 h 2746375"/>
                  <a:gd name="connsiteX9" fmla="*/ 200025 w 885825"/>
                  <a:gd name="connsiteY9" fmla="*/ 695325 h 2746375"/>
                  <a:gd name="connsiteX10" fmla="*/ 215900 w 885825"/>
                  <a:gd name="connsiteY10" fmla="*/ 723900 h 2746375"/>
                  <a:gd name="connsiteX11" fmla="*/ 215900 w 885825"/>
                  <a:gd name="connsiteY11" fmla="*/ 768350 h 2746375"/>
                  <a:gd name="connsiteX12" fmla="*/ 225425 w 885825"/>
                  <a:gd name="connsiteY12" fmla="*/ 844550 h 2746375"/>
                  <a:gd name="connsiteX13" fmla="*/ 193675 w 885825"/>
                  <a:gd name="connsiteY13" fmla="*/ 1066799 h 2746375"/>
                  <a:gd name="connsiteX14" fmla="*/ 142875 w 885825"/>
                  <a:gd name="connsiteY14" fmla="*/ 1158874 h 2746375"/>
                  <a:gd name="connsiteX15" fmla="*/ 69850 w 885825"/>
                  <a:gd name="connsiteY15" fmla="*/ 1304924 h 2746375"/>
                  <a:gd name="connsiteX16" fmla="*/ 31750 w 885825"/>
                  <a:gd name="connsiteY16" fmla="*/ 1374774 h 2746375"/>
                  <a:gd name="connsiteX17" fmla="*/ 6350 w 885825"/>
                  <a:gd name="connsiteY17" fmla="*/ 1444624 h 2746375"/>
                  <a:gd name="connsiteX18" fmla="*/ 0 w 885825"/>
                  <a:gd name="connsiteY18" fmla="*/ 1631949 h 2746375"/>
                  <a:gd name="connsiteX19" fmla="*/ 28575 w 885825"/>
                  <a:gd name="connsiteY19" fmla="*/ 1724024 h 2746375"/>
                  <a:gd name="connsiteX20" fmla="*/ 41275 w 885825"/>
                  <a:gd name="connsiteY20" fmla="*/ 1857374 h 2746375"/>
                  <a:gd name="connsiteX21" fmla="*/ 79375 w 885825"/>
                  <a:gd name="connsiteY21" fmla="*/ 1924049 h 2746375"/>
                  <a:gd name="connsiteX22" fmla="*/ 101600 w 885825"/>
                  <a:gd name="connsiteY22" fmla="*/ 2051049 h 2746375"/>
                  <a:gd name="connsiteX23" fmla="*/ 190500 w 885825"/>
                  <a:gd name="connsiteY23" fmla="*/ 2133599 h 2746375"/>
                  <a:gd name="connsiteX24" fmla="*/ 247650 w 885825"/>
                  <a:gd name="connsiteY24" fmla="*/ 2149474 h 2746375"/>
                  <a:gd name="connsiteX25" fmla="*/ 371475 w 885825"/>
                  <a:gd name="connsiteY25" fmla="*/ 2444749 h 2746375"/>
                  <a:gd name="connsiteX26" fmla="*/ 492125 w 885825"/>
                  <a:gd name="connsiteY26" fmla="*/ 2495549 h 2746375"/>
                  <a:gd name="connsiteX27" fmla="*/ 628650 w 885825"/>
                  <a:gd name="connsiteY27" fmla="*/ 2543174 h 2746375"/>
                  <a:gd name="connsiteX28" fmla="*/ 749300 w 885825"/>
                  <a:gd name="connsiteY28" fmla="*/ 2533649 h 2746375"/>
                  <a:gd name="connsiteX29" fmla="*/ 885825 w 885825"/>
                  <a:gd name="connsiteY29" fmla="*/ 2746375 h 2746375"/>
                  <a:gd name="connsiteX0" fmla="*/ 266700 w 885825"/>
                  <a:gd name="connsiteY0" fmla="*/ 0 h 2746375"/>
                  <a:gd name="connsiteX1" fmla="*/ 271240 w 885825"/>
                  <a:gd name="connsiteY1" fmla="*/ 30882 h 2746375"/>
                  <a:gd name="connsiteX2" fmla="*/ 266700 w 885825"/>
                  <a:gd name="connsiteY2" fmla="*/ 69850 h 2746375"/>
                  <a:gd name="connsiteX3" fmla="*/ 314325 w 885825"/>
                  <a:gd name="connsiteY3" fmla="*/ 146050 h 2746375"/>
                  <a:gd name="connsiteX4" fmla="*/ 352425 w 885825"/>
                  <a:gd name="connsiteY4" fmla="*/ 203200 h 2746375"/>
                  <a:gd name="connsiteX5" fmla="*/ 358775 w 885825"/>
                  <a:gd name="connsiteY5" fmla="*/ 269875 h 2746375"/>
                  <a:gd name="connsiteX6" fmla="*/ 396875 w 885825"/>
                  <a:gd name="connsiteY6" fmla="*/ 327025 h 2746375"/>
                  <a:gd name="connsiteX7" fmla="*/ 403225 w 885825"/>
                  <a:gd name="connsiteY7" fmla="*/ 497031 h 2746375"/>
                  <a:gd name="connsiteX8" fmla="*/ 232063 w 885825"/>
                  <a:gd name="connsiteY8" fmla="*/ 519834 h 2746375"/>
                  <a:gd name="connsiteX9" fmla="*/ 190500 w 885825"/>
                  <a:gd name="connsiteY9" fmla="*/ 631825 h 2746375"/>
                  <a:gd name="connsiteX10" fmla="*/ 200025 w 885825"/>
                  <a:gd name="connsiteY10" fmla="*/ 695325 h 2746375"/>
                  <a:gd name="connsiteX11" fmla="*/ 215900 w 885825"/>
                  <a:gd name="connsiteY11" fmla="*/ 723900 h 2746375"/>
                  <a:gd name="connsiteX12" fmla="*/ 215900 w 885825"/>
                  <a:gd name="connsiteY12" fmla="*/ 768350 h 2746375"/>
                  <a:gd name="connsiteX13" fmla="*/ 225425 w 885825"/>
                  <a:gd name="connsiteY13" fmla="*/ 844550 h 2746375"/>
                  <a:gd name="connsiteX14" fmla="*/ 193675 w 885825"/>
                  <a:gd name="connsiteY14" fmla="*/ 1066799 h 2746375"/>
                  <a:gd name="connsiteX15" fmla="*/ 142875 w 885825"/>
                  <a:gd name="connsiteY15" fmla="*/ 1158874 h 2746375"/>
                  <a:gd name="connsiteX16" fmla="*/ 69850 w 885825"/>
                  <a:gd name="connsiteY16" fmla="*/ 1304924 h 2746375"/>
                  <a:gd name="connsiteX17" fmla="*/ 31750 w 885825"/>
                  <a:gd name="connsiteY17" fmla="*/ 1374774 h 2746375"/>
                  <a:gd name="connsiteX18" fmla="*/ 6350 w 885825"/>
                  <a:gd name="connsiteY18" fmla="*/ 1444624 h 2746375"/>
                  <a:gd name="connsiteX19" fmla="*/ 0 w 885825"/>
                  <a:gd name="connsiteY19" fmla="*/ 1631949 h 2746375"/>
                  <a:gd name="connsiteX20" fmla="*/ 28575 w 885825"/>
                  <a:gd name="connsiteY20" fmla="*/ 1724024 h 2746375"/>
                  <a:gd name="connsiteX21" fmla="*/ 41275 w 885825"/>
                  <a:gd name="connsiteY21" fmla="*/ 1857374 h 2746375"/>
                  <a:gd name="connsiteX22" fmla="*/ 79375 w 885825"/>
                  <a:gd name="connsiteY22" fmla="*/ 1924049 h 2746375"/>
                  <a:gd name="connsiteX23" fmla="*/ 101600 w 885825"/>
                  <a:gd name="connsiteY23" fmla="*/ 2051049 h 2746375"/>
                  <a:gd name="connsiteX24" fmla="*/ 190500 w 885825"/>
                  <a:gd name="connsiteY24" fmla="*/ 2133599 h 2746375"/>
                  <a:gd name="connsiteX25" fmla="*/ 247650 w 885825"/>
                  <a:gd name="connsiteY25" fmla="*/ 2149474 h 2746375"/>
                  <a:gd name="connsiteX26" fmla="*/ 371475 w 885825"/>
                  <a:gd name="connsiteY26" fmla="*/ 2444749 h 2746375"/>
                  <a:gd name="connsiteX27" fmla="*/ 492125 w 885825"/>
                  <a:gd name="connsiteY27" fmla="*/ 2495549 h 2746375"/>
                  <a:gd name="connsiteX28" fmla="*/ 628650 w 885825"/>
                  <a:gd name="connsiteY28" fmla="*/ 2543174 h 2746375"/>
                  <a:gd name="connsiteX29" fmla="*/ 749300 w 885825"/>
                  <a:gd name="connsiteY29" fmla="*/ 2533649 h 2746375"/>
                  <a:gd name="connsiteX30" fmla="*/ 885825 w 885825"/>
                  <a:gd name="connsiteY30" fmla="*/ 2746375 h 2746375"/>
                  <a:gd name="connsiteX0" fmla="*/ 266700 w 885825"/>
                  <a:gd name="connsiteY0" fmla="*/ 0 h 2746375"/>
                  <a:gd name="connsiteX1" fmla="*/ 266700 w 885825"/>
                  <a:gd name="connsiteY1" fmla="*/ 69850 h 2746375"/>
                  <a:gd name="connsiteX2" fmla="*/ 314325 w 885825"/>
                  <a:gd name="connsiteY2" fmla="*/ 146050 h 2746375"/>
                  <a:gd name="connsiteX3" fmla="*/ 352425 w 885825"/>
                  <a:gd name="connsiteY3" fmla="*/ 203200 h 2746375"/>
                  <a:gd name="connsiteX4" fmla="*/ 358775 w 885825"/>
                  <a:gd name="connsiteY4" fmla="*/ 269875 h 2746375"/>
                  <a:gd name="connsiteX5" fmla="*/ 396875 w 885825"/>
                  <a:gd name="connsiteY5" fmla="*/ 327025 h 2746375"/>
                  <a:gd name="connsiteX6" fmla="*/ 403225 w 885825"/>
                  <a:gd name="connsiteY6" fmla="*/ 497031 h 2746375"/>
                  <a:gd name="connsiteX7" fmla="*/ 232063 w 885825"/>
                  <a:gd name="connsiteY7" fmla="*/ 519834 h 2746375"/>
                  <a:gd name="connsiteX8" fmla="*/ 190500 w 885825"/>
                  <a:gd name="connsiteY8" fmla="*/ 631825 h 2746375"/>
                  <a:gd name="connsiteX9" fmla="*/ 200025 w 885825"/>
                  <a:gd name="connsiteY9" fmla="*/ 695325 h 2746375"/>
                  <a:gd name="connsiteX10" fmla="*/ 215900 w 885825"/>
                  <a:gd name="connsiteY10" fmla="*/ 723900 h 2746375"/>
                  <a:gd name="connsiteX11" fmla="*/ 215900 w 885825"/>
                  <a:gd name="connsiteY11" fmla="*/ 768350 h 2746375"/>
                  <a:gd name="connsiteX12" fmla="*/ 225425 w 885825"/>
                  <a:gd name="connsiteY12" fmla="*/ 844550 h 2746375"/>
                  <a:gd name="connsiteX13" fmla="*/ 193675 w 885825"/>
                  <a:gd name="connsiteY13" fmla="*/ 1066799 h 2746375"/>
                  <a:gd name="connsiteX14" fmla="*/ 142875 w 885825"/>
                  <a:gd name="connsiteY14" fmla="*/ 1158874 h 2746375"/>
                  <a:gd name="connsiteX15" fmla="*/ 69850 w 885825"/>
                  <a:gd name="connsiteY15" fmla="*/ 1304924 h 2746375"/>
                  <a:gd name="connsiteX16" fmla="*/ 31750 w 885825"/>
                  <a:gd name="connsiteY16" fmla="*/ 1374774 h 2746375"/>
                  <a:gd name="connsiteX17" fmla="*/ 6350 w 885825"/>
                  <a:gd name="connsiteY17" fmla="*/ 1444624 h 2746375"/>
                  <a:gd name="connsiteX18" fmla="*/ 0 w 885825"/>
                  <a:gd name="connsiteY18" fmla="*/ 1631949 h 2746375"/>
                  <a:gd name="connsiteX19" fmla="*/ 28575 w 885825"/>
                  <a:gd name="connsiteY19" fmla="*/ 1724024 h 2746375"/>
                  <a:gd name="connsiteX20" fmla="*/ 41275 w 885825"/>
                  <a:gd name="connsiteY20" fmla="*/ 1857374 h 2746375"/>
                  <a:gd name="connsiteX21" fmla="*/ 79375 w 885825"/>
                  <a:gd name="connsiteY21" fmla="*/ 1924049 h 2746375"/>
                  <a:gd name="connsiteX22" fmla="*/ 101600 w 885825"/>
                  <a:gd name="connsiteY22" fmla="*/ 2051049 h 2746375"/>
                  <a:gd name="connsiteX23" fmla="*/ 190500 w 885825"/>
                  <a:gd name="connsiteY23" fmla="*/ 2133599 h 2746375"/>
                  <a:gd name="connsiteX24" fmla="*/ 247650 w 885825"/>
                  <a:gd name="connsiteY24" fmla="*/ 2149474 h 2746375"/>
                  <a:gd name="connsiteX25" fmla="*/ 371475 w 885825"/>
                  <a:gd name="connsiteY25" fmla="*/ 2444749 h 2746375"/>
                  <a:gd name="connsiteX26" fmla="*/ 492125 w 885825"/>
                  <a:gd name="connsiteY26" fmla="*/ 2495549 h 2746375"/>
                  <a:gd name="connsiteX27" fmla="*/ 628650 w 885825"/>
                  <a:gd name="connsiteY27" fmla="*/ 2543174 h 2746375"/>
                  <a:gd name="connsiteX28" fmla="*/ 749300 w 885825"/>
                  <a:gd name="connsiteY28" fmla="*/ 2533649 h 2746375"/>
                  <a:gd name="connsiteX29" fmla="*/ 885825 w 885825"/>
                  <a:gd name="connsiteY29" fmla="*/ 2746375 h 2746375"/>
                  <a:gd name="connsiteX0" fmla="*/ 266700 w 885825"/>
                  <a:gd name="connsiteY0" fmla="*/ 0 h 2676525"/>
                  <a:gd name="connsiteX1" fmla="*/ 314325 w 885825"/>
                  <a:gd name="connsiteY1" fmla="*/ 76200 h 2676525"/>
                  <a:gd name="connsiteX2" fmla="*/ 352425 w 885825"/>
                  <a:gd name="connsiteY2" fmla="*/ 133350 h 2676525"/>
                  <a:gd name="connsiteX3" fmla="*/ 358775 w 885825"/>
                  <a:gd name="connsiteY3" fmla="*/ 200025 h 2676525"/>
                  <a:gd name="connsiteX4" fmla="*/ 396875 w 885825"/>
                  <a:gd name="connsiteY4" fmla="*/ 257175 h 2676525"/>
                  <a:gd name="connsiteX5" fmla="*/ 403225 w 885825"/>
                  <a:gd name="connsiteY5" fmla="*/ 427181 h 2676525"/>
                  <a:gd name="connsiteX6" fmla="*/ 232063 w 885825"/>
                  <a:gd name="connsiteY6" fmla="*/ 449984 h 2676525"/>
                  <a:gd name="connsiteX7" fmla="*/ 190500 w 885825"/>
                  <a:gd name="connsiteY7" fmla="*/ 561975 h 2676525"/>
                  <a:gd name="connsiteX8" fmla="*/ 200025 w 885825"/>
                  <a:gd name="connsiteY8" fmla="*/ 625475 h 2676525"/>
                  <a:gd name="connsiteX9" fmla="*/ 215900 w 885825"/>
                  <a:gd name="connsiteY9" fmla="*/ 654050 h 2676525"/>
                  <a:gd name="connsiteX10" fmla="*/ 215900 w 885825"/>
                  <a:gd name="connsiteY10" fmla="*/ 698500 h 2676525"/>
                  <a:gd name="connsiteX11" fmla="*/ 225425 w 885825"/>
                  <a:gd name="connsiteY11" fmla="*/ 774700 h 2676525"/>
                  <a:gd name="connsiteX12" fmla="*/ 193675 w 885825"/>
                  <a:gd name="connsiteY12" fmla="*/ 996949 h 2676525"/>
                  <a:gd name="connsiteX13" fmla="*/ 142875 w 885825"/>
                  <a:gd name="connsiteY13" fmla="*/ 1089024 h 2676525"/>
                  <a:gd name="connsiteX14" fmla="*/ 69850 w 885825"/>
                  <a:gd name="connsiteY14" fmla="*/ 1235074 h 2676525"/>
                  <a:gd name="connsiteX15" fmla="*/ 31750 w 885825"/>
                  <a:gd name="connsiteY15" fmla="*/ 1304924 h 2676525"/>
                  <a:gd name="connsiteX16" fmla="*/ 6350 w 885825"/>
                  <a:gd name="connsiteY16" fmla="*/ 1374774 h 2676525"/>
                  <a:gd name="connsiteX17" fmla="*/ 0 w 885825"/>
                  <a:gd name="connsiteY17" fmla="*/ 1562099 h 2676525"/>
                  <a:gd name="connsiteX18" fmla="*/ 28575 w 885825"/>
                  <a:gd name="connsiteY18" fmla="*/ 1654174 h 2676525"/>
                  <a:gd name="connsiteX19" fmla="*/ 41275 w 885825"/>
                  <a:gd name="connsiteY19" fmla="*/ 1787524 h 2676525"/>
                  <a:gd name="connsiteX20" fmla="*/ 79375 w 885825"/>
                  <a:gd name="connsiteY20" fmla="*/ 1854199 h 2676525"/>
                  <a:gd name="connsiteX21" fmla="*/ 101600 w 885825"/>
                  <a:gd name="connsiteY21" fmla="*/ 1981199 h 2676525"/>
                  <a:gd name="connsiteX22" fmla="*/ 190500 w 885825"/>
                  <a:gd name="connsiteY22" fmla="*/ 2063749 h 2676525"/>
                  <a:gd name="connsiteX23" fmla="*/ 247650 w 885825"/>
                  <a:gd name="connsiteY23" fmla="*/ 2079624 h 2676525"/>
                  <a:gd name="connsiteX24" fmla="*/ 371475 w 885825"/>
                  <a:gd name="connsiteY24" fmla="*/ 2374899 h 2676525"/>
                  <a:gd name="connsiteX25" fmla="*/ 492125 w 885825"/>
                  <a:gd name="connsiteY25" fmla="*/ 2425699 h 2676525"/>
                  <a:gd name="connsiteX26" fmla="*/ 628650 w 885825"/>
                  <a:gd name="connsiteY26" fmla="*/ 2473324 h 2676525"/>
                  <a:gd name="connsiteX27" fmla="*/ 749300 w 885825"/>
                  <a:gd name="connsiteY27" fmla="*/ 2463799 h 2676525"/>
                  <a:gd name="connsiteX28" fmla="*/ 885825 w 885825"/>
                  <a:gd name="connsiteY28" fmla="*/ 2676525 h 2676525"/>
                  <a:gd name="connsiteX0" fmla="*/ 314325 w 885825"/>
                  <a:gd name="connsiteY0" fmla="*/ 0 h 2600325"/>
                  <a:gd name="connsiteX1" fmla="*/ 352425 w 885825"/>
                  <a:gd name="connsiteY1" fmla="*/ 57150 h 2600325"/>
                  <a:gd name="connsiteX2" fmla="*/ 358775 w 885825"/>
                  <a:gd name="connsiteY2" fmla="*/ 123825 h 2600325"/>
                  <a:gd name="connsiteX3" fmla="*/ 396875 w 885825"/>
                  <a:gd name="connsiteY3" fmla="*/ 180975 h 2600325"/>
                  <a:gd name="connsiteX4" fmla="*/ 403225 w 885825"/>
                  <a:gd name="connsiteY4" fmla="*/ 350981 h 2600325"/>
                  <a:gd name="connsiteX5" fmla="*/ 232063 w 885825"/>
                  <a:gd name="connsiteY5" fmla="*/ 373784 h 2600325"/>
                  <a:gd name="connsiteX6" fmla="*/ 190500 w 885825"/>
                  <a:gd name="connsiteY6" fmla="*/ 485775 h 2600325"/>
                  <a:gd name="connsiteX7" fmla="*/ 200025 w 885825"/>
                  <a:gd name="connsiteY7" fmla="*/ 549275 h 2600325"/>
                  <a:gd name="connsiteX8" fmla="*/ 215900 w 885825"/>
                  <a:gd name="connsiteY8" fmla="*/ 577850 h 2600325"/>
                  <a:gd name="connsiteX9" fmla="*/ 215900 w 885825"/>
                  <a:gd name="connsiteY9" fmla="*/ 622300 h 2600325"/>
                  <a:gd name="connsiteX10" fmla="*/ 225425 w 885825"/>
                  <a:gd name="connsiteY10" fmla="*/ 698500 h 2600325"/>
                  <a:gd name="connsiteX11" fmla="*/ 193675 w 885825"/>
                  <a:gd name="connsiteY11" fmla="*/ 920749 h 2600325"/>
                  <a:gd name="connsiteX12" fmla="*/ 142875 w 885825"/>
                  <a:gd name="connsiteY12" fmla="*/ 1012824 h 2600325"/>
                  <a:gd name="connsiteX13" fmla="*/ 69850 w 885825"/>
                  <a:gd name="connsiteY13" fmla="*/ 1158874 h 2600325"/>
                  <a:gd name="connsiteX14" fmla="*/ 31750 w 885825"/>
                  <a:gd name="connsiteY14" fmla="*/ 1228724 h 2600325"/>
                  <a:gd name="connsiteX15" fmla="*/ 6350 w 885825"/>
                  <a:gd name="connsiteY15" fmla="*/ 1298574 h 2600325"/>
                  <a:gd name="connsiteX16" fmla="*/ 0 w 885825"/>
                  <a:gd name="connsiteY16" fmla="*/ 1485899 h 2600325"/>
                  <a:gd name="connsiteX17" fmla="*/ 28575 w 885825"/>
                  <a:gd name="connsiteY17" fmla="*/ 1577974 h 2600325"/>
                  <a:gd name="connsiteX18" fmla="*/ 41275 w 885825"/>
                  <a:gd name="connsiteY18" fmla="*/ 1711324 h 2600325"/>
                  <a:gd name="connsiteX19" fmla="*/ 79375 w 885825"/>
                  <a:gd name="connsiteY19" fmla="*/ 1777999 h 2600325"/>
                  <a:gd name="connsiteX20" fmla="*/ 101600 w 885825"/>
                  <a:gd name="connsiteY20" fmla="*/ 1904999 h 2600325"/>
                  <a:gd name="connsiteX21" fmla="*/ 190500 w 885825"/>
                  <a:gd name="connsiteY21" fmla="*/ 1987549 h 2600325"/>
                  <a:gd name="connsiteX22" fmla="*/ 247650 w 885825"/>
                  <a:gd name="connsiteY22" fmla="*/ 2003424 h 2600325"/>
                  <a:gd name="connsiteX23" fmla="*/ 371475 w 885825"/>
                  <a:gd name="connsiteY23" fmla="*/ 2298699 h 2600325"/>
                  <a:gd name="connsiteX24" fmla="*/ 492125 w 885825"/>
                  <a:gd name="connsiteY24" fmla="*/ 2349499 h 2600325"/>
                  <a:gd name="connsiteX25" fmla="*/ 628650 w 885825"/>
                  <a:gd name="connsiteY25" fmla="*/ 2397124 h 2600325"/>
                  <a:gd name="connsiteX26" fmla="*/ 749300 w 885825"/>
                  <a:gd name="connsiteY26" fmla="*/ 2387599 h 2600325"/>
                  <a:gd name="connsiteX27" fmla="*/ 885825 w 885825"/>
                  <a:gd name="connsiteY27" fmla="*/ 2600325 h 2600325"/>
                  <a:gd name="connsiteX0" fmla="*/ 352425 w 885825"/>
                  <a:gd name="connsiteY0" fmla="*/ 0 h 2543175"/>
                  <a:gd name="connsiteX1" fmla="*/ 358775 w 885825"/>
                  <a:gd name="connsiteY1" fmla="*/ 66675 h 2543175"/>
                  <a:gd name="connsiteX2" fmla="*/ 396875 w 885825"/>
                  <a:gd name="connsiteY2" fmla="*/ 123825 h 2543175"/>
                  <a:gd name="connsiteX3" fmla="*/ 403225 w 885825"/>
                  <a:gd name="connsiteY3" fmla="*/ 293831 h 2543175"/>
                  <a:gd name="connsiteX4" fmla="*/ 232063 w 885825"/>
                  <a:gd name="connsiteY4" fmla="*/ 316634 h 2543175"/>
                  <a:gd name="connsiteX5" fmla="*/ 190500 w 885825"/>
                  <a:gd name="connsiteY5" fmla="*/ 428625 h 2543175"/>
                  <a:gd name="connsiteX6" fmla="*/ 200025 w 885825"/>
                  <a:gd name="connsiteY6" fmla="*/ 492125 h 2543175"/>
                  <a:gd name="connsiteX7" fmla="*/ 215900 w 885825"/>
                  <a:gd name="connsiteY7" fmla="*/ 520700 h 2543175"/>
                  <a:gd name="connsiteX8" fmla="*/ 215900 w 885825"/>
                  <a:gd name="connsiteY8" fmla="*/ 565150 h 2543175"/>
                  <a:gd name="connsiteX9" fmla="*/ 225425 w 885825"/>
                  <a:gd name="connsiteY9" fmla="*/ 641350 h 2543175"/>
                  <a:gd name="connsiteX10" fmla="*/ 193675 w 885825"/>
                  <a:gd name="connsiteY10" fmla="*/ 863599 h 2543175"/>
                  <a:gd name="connsiteX11" fmla="*/ 142875 w 885825"/>
                  <a:gd name="connsiteY11" fmla="*/ 955674 h 2543175"/>
                  <a:gd name="connsiteX12" fmla="*/ 69850 w 885825"/>
                  <a:gd name="connsiteY12" fmla="*/ 1101724 h 2543175"/>
                  <a:gd name="connsiteX13" fmla="*/ 31750 w 885825"/>
                  <a:gd name="connsiteY13" fmla="*/ 1171574 h 2543175"/>
                  <a:gd name="connsiteX14" fmla="*/ 6350 w 885825"/>
                  <a:gd name="connsiteY14" fmla="*/ 1241424 h 2543175"/>
                  <a:gd name="connsiteX15" fmla="*/ 0 w 885825"/>
                  <a:gd name="connsiteY15" fmla="*/ 1428749 h 2543175"/>
                  <a:gd name="connsiteX16" fmla="*/ 28575 w 885825"/>
                  <a:gd name="connsiteY16" fmla="*/ 1520824 h 2543175"/>
                  <a:gd name="connsiteX17" fmla="*/ 41275 w 885825"/>
                  <a:gd name="connsiteY17" fmla="*/ 1654174 h 2543175"/>
                  <a:gd name="connsiteX18" fmla="*/ 79375 w 885825"/>
                  <a:gd name="connsiteY18" fmla="*/ 1720849 h 2543175"/>
                  <a:gd name="connsiteX19" fmla="*/ 101600 w 885825"/>
                  <a:gd name="connsiteY19" fmla="*/ 1847849 h 2543175"/>
                  <a:gd name="connsiteX20" fmla="*/ 190500 w 885825"/>
                  <a:gd name="connsiteY20" fmla="*/ 1930399 h 2543175"/>
                  <a:gd name="connsiteX21" fmla="*/ 247650 w 885825"/>
                  <a:gd name="connsiteY21" fmla="*/ 1946274 h 2543175"/>
                  <a:gd name="connsiteX22" fmla="*/ 371475 w 885825"/>
                  <a:gd name="connsiteY22" fmla="*/ 2241549 h 2543175"/>
                  <a:gd name="connsiteX23" fmla="*/ 492125 w 885825"/>
                  <a:gd name="connsiteY23" fmla="*/ 2292349 h 2543175"/>
                  <a:gd name="connsiteX24" fmla="*/ 628650 w 885825"/>
                  <a:gd name="connsiteY24" fmla="*/ 2339974 h 2543175"/>
                  <a:gd name="connsiteX25" fmla="*/ 749300 w 885825"/>
                  <a:gd name="connsiteY25" fmla="*/ 2330449 h 2543175"/>
                  <a:gd name="connsiteX26" fmla="*/ 885825 w 885825"/>
                  <a:gd name="connsiteY26" fmla="*/ 2543175 h 2543175"/>
                  <a:gd name="connsiteX0" fmla="*/ 358775 w 885825"/>
                  <a:gd name="connsiteY0" fmla="*/ 0 h 2476500"/>
                  <a:gd name="connsiteX1" fmla="*/ 396875 w 885825"/>
                  <a:gd name="connsiteY1" fmla="*/ 57150 h 2476500"/>
                  <a:gd name="connsiteX2" fmla="*/ 403225 w 885825"/>
                  <a:gd name="connsiteY2" fmla="*/ 227156 h 2476500"/>
                  <a:gd name="connsiteX3" fmla="*/ 232063 w 885825"/>
                  <a:gd name="connsiteY3" fmla="*/ 249959 h 2476500"/>
                  <a:gd name="connsiteX4" fmla="*/ 190500 w 885825"/>
                  <a:gd name="connsiteY4" fmla="*/ 361950 h 2476500"/>
                  <a:gd name="connsiteX5" fmla="*/ 200025 w 885825"/>
                  <a:gd name="connsiteY5" fmla="*/ 425450 h 2476500"/>
                  <a:gd name="connsiteX6" fmla="*/ 215900 w 885825"/>
                  <a:gd name="connsiteY6" fmla="*/ 454025 h 2476500"/>
                  <a:gd name="connsiteX7" fmla="*/ 215900 w 885825"/>
                  <a:gd name="connsiteY7" fmla="*/ 498475 h 2476500"/>
                  <a:gd name="connsiteX8" fmla="*/ 225425 w 885825"/>
                  <a:gd name="connsiteY8" fmla="*/ 574675 h 2476500"/>
                  <a:gd name="connsiteX9" fmla="*/ 193675 w 885825"/>
                  <a:gd name="connsiteY9" fmla="*/ 796924 h 2476500"/>
                  <a:gd name="connsiteX10" fmla="*/ 142875 w 885825"/>
                  <a:gd name="connsiteY10" fmla="*/ 888999 h 2476500"/>
                  <a:gd name="connsiteX11" fmla="*/ 69850 w 885825"/>
                  <a:gd name="connsiteY11" fmla="*/ 1035049 h 2476500"/>
                  <a:gd name="connsiteX12" fmla="*/ 31750 w 885825"/>
                  <a:gd name="connsiteY12" fmla="*/ 1104899 h 2476500"/>
                  <a:gd name="connsiteX13" fmla="*/ 6350 w 885825"/>
                  <a:gd name="connsiteY13" fmla="*/ 1174749 h 2476500"/>
                  <a:gd name="connsiteX14" fmla="*/ 0 w 885825"/>
                  <a:gd name="connsiteY14" fmla="*/ 1362074 h 2476500"/>
                  <a:gd name="connsiteX15" fmla="*/ 28575 w 885825"/>
                  <a:gd name="connsiteY15" fmla="*/ 1454149 h 2476500"/>
                  <a:gd name="connsiteX16" fmla="*/ 41275 w 885825"/>
                  <a:gd name="connsiteY16" fmla="*/ 1587499 h 2476500"/>
                  <a:gd name="connsiteX17" fmla="*/ 79375 w 885825"/>
                  <a:gd name="connsiteY17" fmla="*/ 1654174 h 2476500"/>
                  <a:gd name="connsiteX18" fmla="*/ 101600 w 885825"/>
                  <a:gd name="connsiteY18" fmla="*/ 1781174 h 2476500"/>
                  <a:gd name="connsiteX19" fmla="*/ 190500 w 885825"/>
                  <a:gd name="connsiteY19" fmla="*/ 1863724 h 2476500"/>
                  <a:gd name="connsiteX20" fmla="*/ 247650 w 885825"/>
                  <a:gd name="connsiteY20" fmla="*/ 1879599 h 2476500"/>
                  <a:gd name="connsiteX21" fmla="*/ 371475 w 885825"/>
                  <a:gd name="connsiteY21" fmla="*/ 2174874 h 2476500"/>
                  <a:gd name="connsiteX22" fmla="*/ 492125 w 885825"/>
                  <a:gd name="connsiteY22" fmla="*/ 2225674 h 2476500"/>
                  <a:gd name="connsiteX23" fmla="*/ 628650 w 885825"/>
                  <a:gd name="connsiteY23" fmla="*/ 2273299 h 2476500"/>
                  <a:gd name="connsiteX24" fmla="*/ 749300 w 885825"/>
                  <a:gd name="connsiteY24" fmla="*/ 2263774 h 2476500"/>
                  <a:gd name="connsiteX25" fmla="*/ 885825 w 885825"/>
                  <a:gd name="connsiteY25" fmla="*/ 2476500 h 2476500"/>
                  <a:gd name="connsiteX0" fmla="*/ 396875 w 885825"/>
                  <a:gd name="connsiteY0" fmla="*/ 0 h 2419350"/>
                  <a:gd name="connsiteX1" fmla="*/ 403225 w 885825"/>
                  <a:gd name="connsiteY1" fmla="*/ 170006 h 2419350"/>
                  <a:gd name="connsiteX2" fmla="*/ 232063 w 885825"/>
                  <a:gd name="connsiteY2" fmla="*/ 192809 h 2419350"/>
                  <a:gd name="connsiteX3" fmla="*/ 190500 w 885825"/>
                  <a:gd name="connsiteY3" fmla="*/ 304800 h 2419350"/>
                  <a:gd name="connsiteX4" fmla="*/ 200025 w 885825"/>
                  <a:gd name="connsiteY4" fmla="*/ 368300 h 2419350"/>
                  <a:gd name="connsiteX5" fmla="*/ 215900 w 885825"/>
                  <a:gd name="connsiteY5" fmla="*/ 396875 h 2419350"/>
                  <a:gd name="connsiteX6" fmla="*/ 215900 w 885825"/>
                  <a:gd name="connsiteY6" fmla="*/ 441325 h 2419350"/>
                  <a:gd name="connsiteX7" fmla="*/ 225425 w 885825"/>
                  <a:gd name="connsiteY7" fmla="*/ 517525 h 2419350"/>
                  <a:gd name="connsiteX8" fmla="*/ 193675 w 885825"/>
                  <a:gd name="connsiteY8" fmla="*/ 739774 h 2419350"/>
                  <a:gd name="connsiteX9" fmla="*/ 142875 w 885825"/>
                  <a:gd name="connsiteY9" fmla="*/ 831849 h 2419350"/>
                  <a:gd name="connsiteX10" fmla="*/ 69850 w 885825"/>
                  <a:gd name="connsiteY10" fmla="*/ 977899 h 2419350"/>
                  <a:gd name="connsiteX11" fmla="*/ 31750 w 885825"/>
                  <a:gd name="connsiteY11" fmla="*/ 1047749 h 2419350"/>
                  <a:gd name="connsiteX12" fmla="*/ 6350 w 885825"/>
                  <a:gd name="connsiteY12" fmla="*/ 1117599 h 2419350"/>
                  <a:gd name="connsiteX13" fmla="*/ 0 w 885825"/>
                  <a:gd name="connsiteY13" fmla="*/ 1304924 h 2419350"/>
                  <a:gd name="connsiteX14" fmla="*/ 28575 w 885825"/>
                  <a:gd name="connsiteY14" fmla="*/ 1396999 h 2419350"/>
                  <a:gd name="connsiteX15" fmla="*/ 41275 w 885825"/>
                  <a:gd name="connsiteY15" fmla="*/ 1530349 h 2419350"/>
                  <a:gd name="connsiteX16" fmla="*/ 79375 w 885825"/>
                  <a:gd name="connsiteY16" fmla="*/ 1597024 h 2419350"/>
                  <a:gd name="connsiteX17" fmla="*/ 101600 w 885825"/>
                  <a:gd name="connsiteY17" fmla="*/ 1724024 h 2419350"/>
                  <a:gd name="connsiteX18" fmla="*/ 190500 w 885825"/>
                  <a:gd name="connsiteY18" fmla="*/ 1806574 h 2419350"/>
                  <a:gd name="connsiteX19" fmla="*/ 247650 w 885825"/>
                  <a:gd name="connsiteY19" fmla="*/ 1822449 h 2419350"/>
                  <a:gd name="connsiteX20" fmla="*/ 371475 w 885825"/>
                  <a:gd name="connsiteY20" fmla="*/ 2117724 h 2419350"/>
                  <a:gd name="connsiteX21" fmla="*/ 492125 w 885825"/>
                  <a:gd name="connsiteY21" fmla="*/ 2168524 h 2419350"/>
                  <a:gd name="connsiteX22" fmla="*/ 628650 w 885825"/>
                  <a:gd name="connsiteY22" fmla="*/ 2216149 h 2419350"/>
                  <a:gd name="connsiteX23" fmla="*/ 749300 w 885825"/>
                  <a:gd name="connsiteY23" fmla="*/ 2206624 h 2419350"/>
                  <a:gd name="connsiteX24" fmla="*/ 885825 w 885825"/>
                  <a:gd name="connsiteY24" fmla="*/ 2419350 h 2419350"/>
                  <a:gd name="connsiteX0" fmla="*/ 403225 w 885825"/>
                  <a:gd name="connsiteY0" fmla="*/ 0 h 2249344"/>
                  <a:gd name="connsiteX1" fmla="*/ 232063 w 885825"/>
                  <a:gd name="connsiteY1" fmla="*/ 22803 h 2249344"/>
                  <a:gd name="connsiteX2" fmla="*/ 190500 w 885825"/>
                  <a:gd name="connsiteY2" fmla="*/ 134794 h 2249344"/>
                  <a:gd name="connsiteX3" fmla="*/ 200025 w 885825"/>
                  <a:gd name="connsiteY3" fmla="*/ 198294 h 2249344"/>
                  <a:gd name="connsiteX4" fmla="*/ 215900 w 885825"/>
                  <a:gd name="connsiteY4" fmla="*/ 226869 h 2249344"/>
                  <a:gd name="connsiteX5" fmla="*/ 215900 w 885825"/>
                  <a:gd name="connsiteY5" fmla="*/ 271319 h 2249344"/>
                  <a:gd name="connsiteX6" fmla="*/ 225425 w 885825"/>
                  <a:gd name="connsiteY6" fmla="*/ 347519 h 2249344"/>
                  <a:gd name="connsiteX7" fmla="*/ 193675 w 885825"/>
                  <a:gd name="connsiteY7" fmla="*/ 569768 h 2249344"/>
                  <a:gd name="connsiteX8" fmla="*/ 142875 w 885825"/>
                  <a:gd name="connsiteY8" fmla="*/ 661843 h 2249344"/>
                  <a:gd name="connsiteX9" fmla="*/ 69850 w 885825"/>
                  <a:gd name="connsiteY9" fmla="*/ 807893 h 2249344"/>
                  <a:gd name="connsiteX10" fmla="*/ 31750 w 885825"/>
                  <a:gd name="connsiteY10" fmla="*/ 877743 h 2249344"/>
                  <a:gd name="connsiteX11" fmla="*/ 6350 w 885825"/>
                  <a:gd name="connsiteY11" fmla="*/ 947593 h 2249344"/>
                  <a:gd name="connsiteX12" fmla="*/ 0 w 885825"/>
                  <a:gd name="connsiteY12" fmla="*/ 1134918 h 2249344"/>
                  <a:gd name="connsiteX13" fmla="*/ 28575 w 885825"/>
                  <a:gd name="connsiteY13" fmla="*/ 1226993 h 2249344"/>
                  <a:gd name="connsiteX14" fmla="*/ 41275 w 885825"/>
                  <a:gd name="connsiteY14" fmla="*/ 1360343 h 2249344"/>
                  <a:gd name="connsiteX15" fmla="*/ 79375 w 885825"/>
                  <a:gd name="connsiteY15" fmla="*/ 1427018 h 2249344"/>
                  <a:gd name="connsiteX16" fmla="*/ 101600 w 885825"/>
                  <a:gd name="connsiteY16" fmla="*/ 1554018 h 2249344"/>
                  <a:gd name="connsiteX17" fmla="*/ 190500 w 885825"/>
                  <a:gd name="connsiteY17" fmla="*/ 1636568 h 2249344"/>
                  <a:gd name="connsiteX18" fmla="*/ 247650 w 885825"/>
                  <a:gd name="connsiteY18" fmla="*/ 1652443 h 2249344"/>
                  <a:gd name="connsiteX19" fmla="*/ 371475 w 885825"/>
                  <a:gd name="connsiteY19" fmla="*/ 1947718 h 2249344"/>
                  <a:gd name="connsiteX20" fmla="*/ 492125 w 885825"/>
                  <a:gd name="connsiteY20" fmla="*/ 1998518 h 2249344"/>
                  <a:gd name="connsiteX21" fmla="*/ 628650 w 885825"/>
                  <a:gd name="connsiteY21" fmla="*/ 2046143 h 2249344"/>
                  <a:gd name="connsiteX22" fmla="*/ 749300 w 885825"/>
                  <a:gd name="connsiteY22" fmla="*/ 2036618 h 2249344"/>
                  <a:gd name="connsiteX23" fmla="*/ 885825 w 885825"/>
                  <a:gd name="connsiteY23" fmla="*/ 2249344 h 2249344"/>
                  <a:gd name="connsiteX0" fmla="*/ 232063 w 885825"/>
                  <a:gd name="connsiteY0" fmla="*/ 0 h 2226541"/>
                  <a:gd name="connsiteX1" fmla="*/ 190500 w 885825"/>
                  <a:gd name="connsiteY1" fmla="*/ 111991 h 2226541"/>
                  <a:gd name="connsiteX2" fmla="*/ 200025 w 885825"/>
                  <a:gd name="connsiteY2" fmla="*/ 175491 h 2226541"/>
                  <a:gd name="connsiteX3" fmla="*/ 215900 w 885825"/>
                  <a:gd name="connsiteY3" fmla="*/ 204066 h 2226541"/>
                  <a:gd name="connsiteX4" fmla="*/ 215900 w 885825"/>
                  <a:gd name="connsiteY4" fmla="*/ 248516 h 2226541"/>
                  <a:gd name="connsiteX5" fmla="*/ 225425 w 885825"/>
                  <a:gd name="connsiteY5" fmla="*/ 324716 h 2226541"/>
                  <a:gd name="connsiteX6" fmla="*/ 193675 w 885825"/>
                  <a:gd name="connsiteY6" fmla="*/ 546965 h 2226541"/>
                  <a:gd name="connsiteX7" fmla="*/ 142875 w 885825"/>
                  <a:gd name="connsiteY7" fmla="*/ 639040 h 2226541"/>
                  <a:gd name="connsiteX8" fmla="*/ 69850 w 885825"/>
                  <a:gd name="connsiteY8" fmla="*/ 785090 h 2226541"/>
                  <a:gd name="connsiteX9" fmla="*/ 31750 w 885825"/>
                  <a:gd name="connsiteY9" fmla="*/ 854940 h 2226541"/>
                  <a:gd name="connsiteX10" fmla="*/ 6350 w 885825"/>
                  <a:gd name="connsiteY10" fmla="*/ 924790 h 2226541"/>
                  <a:gd name="connsiteX11" fmla="*/ 0 w 885825"/>
                  <a:gd name="connsiteY11" fmla="*/ 1112115 h 2226541"/>
                  <a:gd name="connsiteX12" fmla="*/ 28575 w 885825"/>
                  <a:gd name="connsiteY12" fmla="*/ 1204190 h 2226541"/>
                  <a:gd name="connsiteX13" fmla="*/ 41275 w 885825"/>
                  <a:gd name="connsiteY13" fmla="*/ 1337540 h 2226541"/>
                  <a:gd name="connsiteX14" fmla="*/ 79375 w 885825"/>
                  <a:gd name="connsiteY14" fmla="*/ 1404215 h 2226541"/>
                  <a:gd name="connsiteX15" fmla="*/ 101600 w 885825"/>
                  <a:gd name="connsiteY15" fmla="*/ 1531215 h 2226541"/>
                  <a:gd name="connsiteX16" fmla="*/ 190500 w 885825"/>
                  <a:gd name="connsiteY16" fmla="*/ 1613765 h 2226541"/>
                  <a:gd name="connsiteX17" fmla="*/ 247650 w 885825"/>
                  <a:gd name="connsiteY17" fmla="*/ 1629640 h 2226541"/>
                  <a:gd name="connsiteX18" fmla="*/ 371475 w 885825"/>
                  <a:gd name="connsiteY18" fmla="*/ 1924915 h 2226541"/>
                  <a:gd name="connsiteX19" fmla="*/ 492125 w 885825"/>
                  <a:gd name="connsiteY19" fmla="*/ 1975715 h 2226541"/>
                  <a:gd name="connsiteX20" fmla="*/ 628650 w 885825"/>
                  <a:gd name="connsiteY20" fmla="*/ 2023340 h 2226541"/>
                  <a:gd name="connsiteX21" fmla="*/ 749300 w 885825"/>
                  <a:gd name="connsiteY21" fmla="*/ 2013815 h 2226541"/>
                  <a:gd name="connsiteX22" fmla="*/ 885825 w 885825"/>
                  <a:gd name="connsiteY22" fmla="*/ 2226541 h 2226541"/>
                  <a:gd name="connsiteX0" fmla="*/ 352136 w 885825"/>
                  <a:gd name="connsiteY0" fmla="*/ 53508 h 2159977"/>
                  <a:gd name="connsiteX1" fmla="*/ 190500 w 885825"/>
                  <a:gd name="connsiteY1" fmla="*/ 45427 h 2159977"/>
                  <a:gd name="connsiteX2" fmla="*/ 200025 w 885825"/>
                  <a:gd name="connsiteY2" fmla="*/ 108927 h 2159977"/>
                  <a:gd name="connsiteX3" fmla="*/ 215900 w 885825"/>
                  <a:gd name="connsiteY3" fmla="*/ 137502 h 2159977"/>
                  <a:gd name="connsiteX4" fmla="*/ 215900 w 885825"/>
                  <a:gd name="connsiteY4" fmla="*/ 181952 h 2159977"/>
                  <a:gd name="connsiteX5" fmla="*/ 225425 w 885825"/>
                  <a:gd name="connsiteY5" fmla="*/ 258152 h 2159977"/>
                  <a:gd name="connsiteX6" fmla="*/ 193675 w 885825"/>
                  <a:gd name="connsiteY6" fmla="*/ 480401 h 2159977"/>
                  <a:gd name="connsiteX7" fmla="*/ 142875 w 885825"/>
                  <a:gd name="connsiteY7" fmla="*/ 572476 h 2159977"/>
                  <a:gd name="connsiteX8" fmla="*/ 69850 w 885825"/>
                  <a:gd name="connsiteY8" fmla="*/ 718526 h 2159977"/>
                  <a:gd name="connsiteX9" fmla="*/ 31750 w 885825"/>
                  <a:gd name="connsiteY9" fmla="*/ 788376 h 2159977"/>
                  <a:gd name="connsiteX10" fmla="*/ 6350 w 885825"/>
                  <a:gd name="connsiteY10" fmla="*/ 858226 h 2159977"/>
                  <a:gd name="connsiteX11" fmla="*/ 0 w 885825"/>
                  <a:gd name="connsiteY11" fmla="*/ 1045551 h 2159977"/>
                  <a:gd name="connsiteX12" fmla="*/ 28575 w 885825"/>
                  <a:gd name="connsiteY12" fmla="*/ 1137626 h 2159977"/>
                  <a:gd name="connsiteX13" fmla="*/ 41275 w 885825"/>
                  <a:gd name="connsiteY13" fmla="*/ 1270976 h 2159977"/>
                  <a:gd name="connsiteX14" fmla="*/ 79375 w 885825"/>
                  <a:gd name="connsiteY14" fmla="*/ 1337651 h 2159977"/>
                  <a:gd name="connsiteX15" fmla="*/ 101600 w 885825"/>
                  <a:gd name="connsiteY15" fmla="*/ 1464651 h 2159977"/>
                  <a:gd name="connsiteX16" fmla="*/ 190500 w 885825"/>
                  <a:gd name="connsiteY16" fmla="*/ 1547201 h 2159977"/>
                  <a:gd name="connsiteX17" fmla="*/ 247650 w 885825"/>
                  <a:gd name="connsiteY17" fmla="*/ 1563076 h 2159977"/>
                  <a:gd name="connsiteX18" fmla="*/ 371475 w 885825"/>
                  <a:gd name="connsiteY18" fmla="*/ 1858351 h 2159977"/>
                  <a:gd name="connsiteX19" fmla="*/ 492125 w 885825"/>
                  <a:gd name="connsiteY19" fmla="*/ 1909151 h 2159977"/>
                  <a:gd name="connsiteX20" fmla="*/ 628650 w 885825"/>
                  <a:gd name="connsiteY20" fmla="*/ 1956776 h 2159977"/>
                  <a:gd name="connsiteX21" fmla="*/ 749300 w 885825"/>
                  <a:gd name="connsiteY21" fmla="*/ 1947251 h 2159977"/>
                  <a:gd name="connsiteX22" fmla="*/ 885825 w 885825"/>
                  <a:gd name="connsiteY22" fmla="*/ 2159977 h 2159977"/>
                  <a:gd name="connsiteX0" fmla="*/ 352136 w 885825"/>
                  <a:gd name="connsiteY0" fmla="*/ 25122 h 2131591"/>
                  <a:gd name="connsiteX1" fmla="*/ 199737 w 885825"/>
                  <a:gd name="connsiteY1" fmla="*/ 53986 h 2131591"/>
                  <a:gd name="connsiteX2" fmla="*/ 200025 w 885825"/>
                  <a:gd name="connsiteY2" fmla="*/ 80541 h 2131591"/>
                  <a:gd name="connsiteX3" fmla="*/ 215900 w 885825"/>
                  <a:gd name="connsiteY3" fmla="*/ 109116 h 2131591"/>
                  <a:gd name="connsiteX4" fmla="*/ 215900 w 885825"/>
                  <a:gd name="connsiteY4" fmla="*/ 153566 h 2131591"/>
                  <a:gd name="connsiteX5" fmla="*/ 225425 w 885825"/>
                  <a:gd name="connsiteY5" fmla="*/ 229766 h 2131591"/>
                  <a:gd name="connsiteX6" fmla="*/ 193675 w 885825"/>
                  <a:gd name="connsiteY6" fmla="*/ 452015 h 2131591"/>
                  <a:gd name="connsiteX7" fmla="*/ 142875 w 885825"/>
                  <a:gd name="connsiteY7" fmla="*/ 544090 h 2131591"/>
                  <a:gd name="connsiteX8" fmla="*/ 69850 w 885825"/>
                  <a:gd name="connsiteY8" fmla="*/ 690140 h 2131591"/>
                  <a:gd name="connsiteX9" fmla="*/ 31750 w 885825"/>
                  <a:gd name="connsiteY9" fmla="*/ 759990 h 2131591"/>
                  <a:gd name="connsiteX10" fmla="*/ 6350 w 885825"/>
                  <a:gd name="connsiteY10" fmla="*/ 829840 h 2131591"/>
                  <a:gd name="connsiteX11" fmla="*/ 0 w 885825"/>
                  <a:gd name="connsiteY11" fmla="*/ 1017165 h 2131591"/>
                  <a:gd name="connsiteX12" fmla="*/ 28575 w 885825"/>
                  <a:gd name="connsiteY12" fmla="*/ 1109240 h 2131591"/>
                  <a:gd name="connsiteX13" fmla="*/ 41275 w 885825"/>
                  <a:gd name="connsiteY13" fmla="*/ 1242590 h 2131591"/>
                  <a:gd name="connsiteX14" fmla="*/ 79375 w 885825"/>
                  <a:gd name="connsiteY14" fmla="*/ 1309265 h 2131591"/>
                  <a:gd name="connsiteX15" fmla="*/ 101600 w 885825"/>
                  <a:gd name="connsiteY15" fmla="*/ 1436265 h 2131591"/>
                  <a:gd name="connsiteX16" fmla="*/ 190500 w 885825"/>
                  <a:gd name="connsiteY16" fmla="*/ 1518815 h 2131591"/>
                  <a:gd name="connsiteX17" fmla="*/ 247650 w 885825"/>
                  <a:gd name="connsiteY17" fmla="*/ 1534690 h 2131591"/>
                  <a:gd name="connsiteX18" fmla="*/ 371475 w 885825"/>
                  <a:gd name="connsiteY18" fmla="*/ 1829965 h 2131591"/>
                  <a:gd name="connsiteX19" fmla="*/ 492125 w 885825"/>
                  <a:gd name="connsiteY19" fmla="*/ 1880765 h 2131591"/>
                  <a:gd name="connsiteX20" fmla="*/ 628650 w 885825"/>
                  <a:gd name="connsiteY20" fmla="*/ 1928390 h 2131591"/>
                  <a:gd name="connsiteX21" fmla="*/ 749300 w 885825"/>
                  <a:gd name="connsiteY21" fmla="*/ 1918865 h 2131591"/>
                  <a:gd name="connsiteX22" fmla="*/ 885825 w 885825"/>
                  <a:gd name="connsiteY22" fmla="*/ 2131591 h 2131591"/>
                  <a:gd name="connsiteX0" fmla="*/ 379845 w 885825"/>
                  <a:gd name="connsiteY0" fmla="*/ 53508 h 2123031"/>
                  <a:gd name="connsiteX1" fmla="*/ 199737 w 885825"/>
                  <a:gd name="connsiteY1" fmla="*/ 45426 h 2123031"/>
                  <a:gd name="connsiteX2" fmla="*/ 200025 w 885825"/>
                  <a:gd name="connsiteY2" fmla="*/ 71981 h 2123031"/>
                  <a:gd name="connsiteX3" fmla="*/ 215900 w 885825"/>
                  <a:gd name="connsiteY3" fmla="*/ 100556 h 2123031"/>
                  <a:gd name="connsiteX4" fmla="*/ 215900 w 885825"/>
                  <a:gd name="connsiteY4" fmla="*/ 145006 h 2123031"/>
                  <a:gd name="connsiteX5" fmla="*/ 225425 w 885825"/>
                  <a:gd name="connsiteY5" fmla="*/ 221206 h 2123031"/>
                  <a:gd name="connsiteX6" fmla="*/ 193675 w 885825"/>
                  <a:gd name="connsiteY6" fmla="*/ 443455 h 2123031"/>
                  <a:gd name="connsiteX7" fmla="*/ 142875 w 885825"/>
                  <a:gd name="connsiteY7" fmla="*/ 535530 h 2123031"/>
                  <a:gd name="connsiteX8" fmla="*/ 69850 w 885825"/>
                  <a:gd name="connsiteY8" fmla="*/ 681580 h 2123031"/>
                  <a:gd name="connsiteX9" fmla="*/ 31750 w 885825"/>
                  <a:gd name="connsiteY9" fmla="*/ 751430 h 2123031"/>
                  <a:gd name="connsiteX10" fmla="*/ 6350 w 885825"/>
                  <a:gd name="connsiteY10" fmla="*/ 821280 h 2123031"/>
                  <a:gd name="connsiteX11" fmla="*/ 0 w 885825"/>
                  <a:gd name="connsiteY11" fmla="*/ 1008605 h 2123031"/>
                  <a:gd name="connsiteX12" fmla="*/ 28575 w 885825"/>
                  <a:gd name="connsiteY12" fmla="*/ 1100680 h 2123031"/>
                  <a:gd name="connsiteX13" fmla="*/ 41275 w 885825"/>
                  <a:gd name="connsiteY13" fmla="*/ 1234030 h 2123031"/>
                  <a:gd name="connsiteX14" fmla="*/ 79375 w 885825"/>
                  <a:gd name="connsiteY14" fmla="*/ 1300705 h 2123031"/>
                  <a:gd name="connsiteX15" fmla="*/ 101600 w 885825"/>
                  <a:gd name="connsiteY15" fmla="*/ 1427705 h 2123031"/>
                  <a:gd name="connsiteX16" fmla="*/ 190500 w 885825"/>
                  <a:gd name="connsiteY16" fmla="*/ 1510255 h 2123031"/>
                  <a:gd name="connsiteX17" fmla="*/ 247650 w 885825"/>
                  <a:gd name="connsiteY17" fmla="*/ 1526130 h 2123031"/>
                  <a:gd name="connsiteX18" fmla="*/ 371475 w 885825"/>
                  <a:gd name="connsiteY18" fmla="*/ 1821405 h 2123031"/>
                  <a:gd name="connsiteX19" fmla="*/ 492125 w 885825"/>
                  <a:gd name="connsiteY19" fmla="*/ 1872205 h 2123031"/>
                  <a:gd name="connsiteX20" fmla="*/ 628650 w 885825"/>
                  <a:gd name="connsiteY20" fmla="*/ 1919830 h 2123031"/>
                  <a:gd name="connsiteX21" fmla="*/ 749300 w 885825"/>
                  <a:gd name="connsiteY21" fmla="*/ 1910305 h 2123031"/>
                  <a:gd name="connsiteX22" fmla="*/ 885825 w 885825"/>
                  <a:gd name="connsiteY22" fmla="*/ 2123031 h 2123031"/>
                  <a:gd name="connsiteX0" fmla="*/ 379845 w 885825"/>
                  <a:gd name="connsiteY0" fmla="*/ 11589 h 2081112"/>
                  <a:gd name="connsiteX1" fmla="*/ 242060 w 885825"/>
                  <a:gd name="connsiteY1" fmla="*/ 6049 h 2081112"/>
                  <a:gd name="connsiteX2" fmla="*/ 199737 w 885825"/>
                  <a:gd name="connsiteY2" fmla="*/ 3507 h 2081112"/>
                  <a:gd name="connsiteX3" fmla="*/ 200025 w 885825"/>
                  <a:gd name="connsiteY3" fmla="*/ 30062 h 2081112"/>
                  <a:gd name="connsiteX4" fmla="*/ 215900 w 885825"/>
                  <a:gd name="connsiteY4" fmla="*/ 58637 h 2081112"/>
                  <a:gd name="connsiteX5" fmla="*/ 215900 w 885825"/>
                  <a:gd name="connsiteY5" fmla="*/ 103087 h 2081112"/>
                  <a:gd name="connsiteX6" fmla="*/ 225425 w 885825"/>
                  <a:gd name="connsiteY6" fmla="*/ 179287 h 2081112"/>
                  <a:gd name="connsiteX7" fmla="*/ 193675 w 885825"/>
                  <a:gd name="connsiteY7" fmla="*/ 401536 h 2081112"/>
                  <a:gd name="connsiteX8" fmla="*/ 142875 w 885825"/>
                  <a:gd name="connsiteY8" fmla="*/ 493611 h 2081112"/>
                  <a:gd name="connsiteX9" fmla="*/ 69850 w 885825"/>
                  <a:gd name="connsiteY9" fmla="*/ 639661 h 2081112"/>
                  <a:gd name="connsiteX10" fmla="*/ 31750 w 885825"/>
                  <a:gd name="connsiteY10" fmla="*/ 709511 h 2081112"/>
                  <a:gd name="connsiteX11" fmla="*/ 6350 w 885825"/>
                  <a:gd name="connsiteY11" fmla="*/ 779361 h 2081112"/>
                  <a:gd name="connsiteX12" fmla="*/ 0 w 885825"/>
                  <a:gd name="connsiteY12" fmla="*/ 966686 h 2081112"/>
                  <a:gd name="connsiteX13" fmla="*/ 28575 w 885825"/>
                  <a:gd name="connsiteY13" fmla="*/ 1058761 h 2081112"/>
                  <a:gd name="connsiteX14" fmla="*/ 41275 w 885825"/>
                  <a:gd name="connsiteY14" fmla="*/ 1192111 h 2081112"/>
                  <a:gd name="connsiteX15" fmla="*/ 79375 w 885825"/>
                  <a:gd name="connsiteY15" fmla="*/ 1258786 h 2081112"/>
                  <a:gd name="connsiteX16" fmla="*/ 101600 w 885825"/>
                  <a:gd name="connsiteY16" fmla="*/ 1385786 h 2081112"/>
                  <a:gd name="connsiteX17" fmla="*/ 190500 w 885825"/>
                  <a:gd name="connsiteY17" fmla="*/ 1468336 h 2081112"/>
                  <a:gd name="connsiteX18" fmla="*/ 247650 w 885825"/>
                  <a:gd name="connsiteY18" fmla="*/ 1484211 h 2081112"/>
                  <a:gd name="connsiteX19" fmla="*/ 371475 w 885825"/>
                  <a:gd name="connsiteY19" fmla="*/ 1779486 h 2081112"/>
                  <a:gd name="connsiteX20" fmla="*/ 492125 w 885825"/>
                  <a:gd name="connsiteY20" fmla="*/ 1830286 h 2081112"/>
                  <a:gd name="connsiteX21" fmla="*/ 628650 w 885825"/>
                  <a:gd name="connsiteY21" fmla="*/ 1877911 h 2081112"/>
                  <a:gd name="connsiteX22" fmla="*/ 749300 w 885825"/>
                  <a:gd name="connsiteY22" fmla="*/ 1868386 h 2081112"/>
                  <a:gd name="connsiteX23" fmla="*/ 885825 w 885825"/>
                  <a:gd name="connsiteY23" fmla="*/ 2081112 h 2081112"/>
                  <a:gd name="connsiteX0" fmla="*/ 357620 w 885825"/>
                  <a:gd name="connsiteY0" fmla="*/ 756 h 2095679"/>
                  <a:gd name="connsiteX1" fmla="*/ 242060 w 885825"/>
                  <a:gd name="connsiteY1" fmla="*/ 20616 h 2095679"/>
                  <a:gd name="connsiteX2" fmla="*/ 199737 w 885825"/>
                  <a:gd name="connsiteY2" fmla="*/ 18074 h 2095679"/>
                  <a:gd name="connsiteX3" fmla="*/ 200025 w 885825"/>
                  <a:gd name="connsiteY3" fmla="*/ 44629 h 2095679"/>
                  <a:gd name="connsiteX4" fmla="*/ 215900 w 885825"/>
                  <a:gd name="connsiteY4" fmla="*/ 73204 h 2095679"/>
                  <a:gd name="connsiteX5" fmla="*/ 215900 w 885825"/>
                  <a:gd name="connsiteY5" fmla="*/ 117654 h 2095679"/>
                  <a:gd name="connsiteX6" fmla="*/ 225425 w 885825"/>
                  <a:gd name="connsiteY6" fmla="*/ 193854 h 2095679"/>
                  <a:gd name="connsiteX7" fmla="*/ 193675 w 885825"/>
                  <a:gd name="connsiteY7" fmla="*/ 416103 h 2095679"/>
                  <a:gd name="connsiteX8" fmla="*/ 142875 w 885825"/>
                  <a:gd name="connsiteY8" fmla="*/ 508178 h 2095679"/>
                  <a:gd name="connsiteX9" fmla="*/ 69850 w 885825"/>
                  <a:gd name="connsiteY9" fmla="*/ 654228 h 2095679"/>
                  <a:gd name="connsiteX10" fmla="*/ 31750 w 885825"/>
                  <a:gd name="connsiteY10" fmla="*/ 724078 h 2095679"/>
                  <a:gd name="connsiteX11" fmla="*/ 6350 w 885825"/>
                  <a:gd name="connsiteY11" fmla="*/ 793928 h 2095679"/>
                  <a:gd name="connsiteX12" fmla="*/ 0 w 885825"/>
                  <a:gd name="connsiteY12" fmla="*/ 981253 h 2095679"/>
                  <a:gd name="connsiteX13" fmla="*/ 28575 w 885825"/>
                  <a:gd name="connsiteY13" fmla="*/ 1073328 h 2095679"/>
                  <a:gd name="connsiteX14" fmla="*/ 41275 w 885825"/>
                  <a:gd name="connsiteY14" fmla="*/ 1206678 h 2095679"/>
                  <a:gd name="connsiteX15" fmla="*/ 79375 w 885825"/>
                  <a:gd name="connsiteY15" fmla="*/ 1273353 h 2095679"/>
                  <a:gd name="connsiteX16" fmla="*/ 101600 w 885825"/>
                  <a:gd name="connsiteY16" fmla="*/ 1400353 h 2095679"/>
                  <a:gd name="connsiteX17" fmla="*/ 190500 w 885825"/>
                  <a:gd name="connsiteY17" fmla="*/ 1482903 h 2095679"/>
                  <a:gd name="connsiteX18" fmla="*/ 247650 w 885825"/>
                  <a:gd name="connsiteY18" fmla="*/ 1498778 h 2095679"/>
                  <a:gd name="connsiteX19" fmla="*/ 371475 w 885825"/>
                  <a:gd name="connsiteY19" fmla="*/ 1794053 h 2095679"/>
                  <a:gd name="connsiteX20" fmla="*/ 492125 w 885825"/>
                  <a:gd name="connsiteY20" fmla="*/ 1844853 h 2095679"/>
                  <a:gd name="connsiteX21" fmla="*/ 628650 w 885825"/>
                  <a:gd name="connsiteY21" fmla="*/ 1892478 h 2095679"/>
                  <a:gd name="connsiteX22" fmla="*/ 749300 w 885825"/>
                  <a:gd name="connsiteY22" fmla="*/ 1882953 h 2095679"/>
                  <a:gd name="connsiteX23" fmla="*/ 885825 w 885825"/>
                  <a:gd name="connsiteY23" fmla="*/ 2095679 h 2095679"/>
                  <a:gd name="connsiteX0" fmla="*/ 357620 w 885825"/>
                  <a:gd name="connsiteY0" fmla="*/ 0 h 2094923"/>
                  <a:gd name="connsiteX1" fmla="*/ 242060 w 885825"/>
                  <a:gd name="connsiteY1" fmla="*/ 19860 h 2094923"/>
                  <a:gd name="connsiteX2" fmla="*/ 199737 w 885825"/>
                  <a:gd name="connsiteY2" fmla="*/ 17318 h 2094923"/>
                  <a:gd name="connsiteX3" fmla="*/ 200025 w 885825"/>
                  <a:gd name="connsiteY3" fmla="*/ 43873 h 2094923"/>
                  <a:gd name="connsiteX4" fmla="*/ 215900 w 885825"/>
                  <a:gd name="connsiteY4" fmla="*/ 72448 h 2094923"/>
                  <a:gd name="connsiteX5" fmla="*/ 215900 w 885825"/>
                  <a:gd name="connsiteY5" fmla="*/ 116898 h 2094923"/>
                  <a:gd name="connsiteX6" fmla="*/ 225425 w 885825"/>
                  <a:gd name="connsiteY6" fmla="*/ 193098 h 2094923"/>
                  <a:gd name="connsiteX7" fmla="*/ 193675 w 885825"/>
                  <a:gd name="connsiteY7" fmla="*/ 415347 h 2094923"/>
                  <a:gd name="connsiteX8" fmla="*/ 142875 w 885825"/>
                  <a:gd name="connsiteY8" fmla="*/ 507422 h 2094923"/>
                  <a:gd name="connsiteX9" fmla="*/ 69850 w 885825"/>
                  <a:gd name="connsiteY9" fmla="*/ 653472 h 2094923"/>
                  <a:gd name="connsiteX10" fmla="*/ 31750 w 885825"/>
                  <a:gd name="connsiteY10" fmla="*/ 723322 h 2094923"/>
                  <a:gd name="connsiteX11" fmla="*/ 6350 w 885825"/>
                  <a:gd name="connsiteY11" fmla="*/ 793172 h 2094923"/>
                  <a:gd name="connsiteX12" fmla="*/ 0 w 885825"/>
                  <a:gd name="connsiteY12" fmla="*/ 980497 h 2094923"/>
                  <a:gd name="connsiteX13" fmla="*/ 28575 w 885825"/>
                  <a:gd name="connsiteY13" fmla="*/ 1072572 h 2094923"/>
                  <a:gd name="connsiteX14" fmla="*/ 41275 w 885825"/>
                  <a:gd name="connsiteY14" fmla="*/ 1205922 h 2094923"/>
                  <a:gd name="connsiteX15" fmla="*/ 79375 w 885825"/>
                  <a:gd name="connsiteY15" fmla="*/ 1272597 h 2094923"/>
                  <a:gd name="connsiteX16" fmla="*/ 101600 w 885825"/>
                  <a:gd name="connsiteY16" fmla="*/ 1399597 h 2094923"/>
                  <a:gd name="connsiteX17" fmla="*/ 190500 w 885825"/>
                  <a:gd name="connsiteY17" fmla="*/ 1482147 h 2094923"/>
                  <a:gd name="connsiteX18" fmla="*/ 247650 w 885825"/>
                  <a:gd name="connsiteY18" fmla="*/ 1498022 h 2094923"/>
                  <a:gd name="connsiteX19" fmla="*/ 371475 w 885825"/>
                  <a:gd name="connsiteY19" fmla="*/ 1793297 h 2094923"/>
                  <a:gd name="connsiteX20" fmla="*/ 492125 w 885825"/>
                  <a:gd name="connsiteY20" fmla="*/ 1844097 h 2094923"/>
                  <a:gd name="connsiteX21" fmla="*/ 628650 w 885825"/>
                  <a:gd name="connsiteY21" fmla="*/ 1891722 h 2094923"/>
                  <a:gd name="connsiteX22" fmla="*/ 749300 w 885825"/>
                  <a:gd name="connsiteY22" fmla="*/ 1882197 h 2094923"/>
                  <a:gd name="connsiteX23" fmla="*/ 885825 w 885825"/>
                  <a:gd name="connsiteY23" fmla="*/ 2094923 h 2094923"/>
                  <a:gd name="connsiteX0" fmla="*/ 357620 w 885825"/>
                  <a:gd name="connsiteY0" fmla="*/ 0 h 2094923"/>
                  <a:gd name="connsiteX1" fmla="*/ 242060 w 885825"/>
                  <a:gd name="connsiteY1" fmla="*/ 19860 h 2094923"/>
                  <a:gd name="connsiteX2" fmla="*/ 199737 w 885825"/>
                  <a:gd name="connsiteY2" fmla="*/ 17318 h 2094923"/>
                  <a:gd name="connsiteX3" fmla="*/ 200025 w 885825"/>
                  <a:gd name="connsiteY3" fmla="*/ 43873 h 2094923"/>
                  <a:gd name="connsiteX4" fmla="*/ 215900 w 885825"/>
                  <a:gd name="connsiteY4" fmla="*/ 72448 h 2094923"/>
                  <a:gd name="connsiteX5" fmla="*/ 215900 w 885825"/>
                  <a:gd name="connsiteY5" fmla="*/ 116898 h 2094923"/>
                  <a:gd name="connsiteX6" fmla="*/ 225425 w 885825"/>
                  <a:gd name="connsiteY6" fmla="*/ 193098 h 2094923"/>
                  <a:gd name="connsiteX7" fmla="*/ 193675 w 885825"/>
                  <a:gd name="connsiteY7" fmla="*/ 415347 h 2094923"/>
                  <a:gd name="connsiteX8" fmla="*/ 142875 w 885825"/>
                  <a:gd name="connsiteY8" fmla="*/ 507422 h 2094923"/>
                  <a:gd name="connsiteX9" fmla="*/ 146050 w 885825"/>
                  <a:gd name="connsiteY9" fmla="*/ 645852 h 2094923"/>
                  <a:gd name="connsiteX10" fmla="*/ 31750 w 885825"/>
                  <a:gd name="connsiteY10" fmla="*/ 723322 h 2094923"/>
                  <a:gd name="connsiteX11" fmla="*/ 6350 w 885825"/>
                  <a:gd name="connsiteY11" fmla="*/ 793172 h 2094923"/>
                  <a:gd name="connsiteX12" fmla="*/ 0 w 885825"/>
                  <a:gd name="connsiteY12" fmla="*/ 980497 h 2094923"/>
                  <a:gd name="connsiteX13" fmla="*/ 28575 w 885825"/>
                  <a:gd name="connsiteY13" fmla="*/ 1072572 h 2094923"/>
                  <a:gd name="connsiteX14" fmla="*/ 41275 w 885825"/>
                  <a:gd name="connsiteY14" fmla="*/ 1205922 h 2094923"/>
                  <a:gd name="connsiteX15" fmla="*/ 79375 w 885825"/>
                  <a:gd name="connsiteY15" fmla="*/ 1272597 h 2094923"/>
                  <a:gd name="connsiteX16" fmla="*/ 101600 w 885825"/>
                  <a:gd name="connsiteY16" fmla="*/ 1399597 h 2094923"/>
                  <a:gd name="connsiteX17" fmla="*/ 190500 w 885825"/>
                  <a:gd name="connsiteY17" fmla="*/ 1482147 h 2094923"/>
                  <a:gd name="connsiteX18" fmla="*/ 247650 w 885825"/>
                  <a:gd name="connsiteY18" fmla="*/ 1498022 h 2094923"/>
                  <a:gd name="connsiteX19" fmla="*/ 371475 w 885825"/>
                  <a:gd name="connsiteY19" fmla="*/ 1793297 h 2094923"/>
                  <a:gd name="connsiteX20" fmla="*/ 492125 w 885825"/>
                  <a:gd name="connsiteY20" fmla="*/ 1844097 h 2094923"/>
                  <a:gd name="connsiteX21" fmla="*/ 628650 w 885825"/>
                  <a:gd name="connsiteY21" fmla="*/ 1891722 h 2094923"/>
                  <a:gd name="connsiteX22" fmla="*/ 749300 w 885825"/>
                  <a:gd name="connsiteY22" fmla="*/ 1882197 h 2094923"/>
                  <a:gd name="connsiteX23" fmla="*/ 885825 w 885825"/>
                  <a:gd name="connsiteY23" fmla="*/ 2094923 h 2094923"/>
                  <a:gd name="connsiteX0" fmla="*/ 357620 w 885825"/>
                  <a:gd name="connsiteY0" fmla="*/ 0 h 2094923"/>
                  <a:gd name="connsiteX1" fmla="*/ 242060 w 885825"/>
                  <a:gd name="connsiteY1" fmla="*/ 19860 h 2094923"/>
                  <a:gd name="connsiteX2" fmla="*/ 199737 w 885825"/>
                  <a:gd name="connsiteY2" fmla="*/ 17318 h 2094923"/>
                  <a:gd name="connsiteX3" fmla="*/ 200025 w 885825"/>
                  <a:gd name="connsiteY3" fmla="*/ 43873 h 2094923"/>
                  <a:gd name="connsiteX4" fmla="*/ 215900 w 885825"/>
                  <a:gd name="connsiteY4" fmla="*/ 72448 h 2094923"/>
                  <a:gd name="connsiteX5" fmla="*/ 215900 w 885825"/>
                  <a:gd name="connsiteY5" fmla="*/ 116898 h 2094923"/>
                  <a:gd name="connsiteX6" fmla="*/ 225425 w 885825"/>
                  <a:gd name="connsiteY6" fmla="*/ 193098 h 2094923"/>
                  <a:gd name="connsiteX7" fmla="*/ 193675 w 885825"/>
                  <a:gd name="connsiteY7" fmla="*/ 415347 h 2094923"/>
                  <a:gd name="connsiteX8" fmla="*/ 188595 w 885825"/>
                  <a:gd name="connsiteY8" fmla="*/ 499802 h 2094923"/>
                  <a:gd name="connsiteX9" fmla="*/ 146050 w 885825"/>
                  <a:gd name="connsiteY9" fmla="*/ 645852 h 2094923"/>
                  <a:gd name="connsiteX10" fmla="*/ 31750 w 885825"/>
                  <a:gd name="connsiteY10" fmla="*/ 723322 h 2094923"/>
                  <a:gd name="connsiteX11" fmla="*/ 6350 w 885825"/>
                  <a:gd name="connsiteY11" fmla="*/ 793172 h 2094923"/>
                  <a:gd name="connsiteX12" fmla="*/ 0 w 885825"/>
                  <a:gd name="connsiteY12" fmla="*/ 980497 h 2094923"/>
                  <a:gd name="connsiteX13" fmla="*/ 28575 w 885825"/>
                  <a:gd name="connsiteY13" fmla="*/ 1072572 h 2094923"/>
                  <a:gd name="connsiteX14" fmla="*/ 41275 w 885825"/>
                  <a:gd name="connsiteY14" fmla="*/ 1205922 h 2094923"/>
                  <a:gd name="connsiteX15" fmla="*/ 79375 w 885825"/>
                  <a:gd name="connsiteY15" fmla="*/ 1272597 h 2094923"/>
                  <a:gd name="connsiteX16" fmla="*/ 101600 w 885825"/>
                  <a:gd name="connsiteY16" fmla="*/ 1399597 h 2094923"/>
                  <a:gd name="connsiteX17" fmla="*/ 190500 w 885825"/>
                  <a:gd name="connsiteY17" fmla="*/ 1482147 h 2094923"/>
                  <a:gd name="connsiteX18" fmla="*/ 247650 w 885825"/>
                  <a:gd name="connsiteY18" fmla="*/ 1498022 h 2094923"/>
                  <a:gd name="connsiteX19" fmla="*/ 371475 w 885825"/>
                  <a:gd name="connsiteY19" fmla="*/ 1793297 h 2094923"/>
                  <a:gd name="connsiteX20" fmla="*/ 492125 w 885825"/>
                  <a:gd name="connsiteY20" fmla="*/ 1844097 h 2094923"/>
                  <a:gd name="connsiteX21" fmla="*/ 628650 w 885825"/>
                  <a:gd name="connsiteY21" fmla="*/ 1891722 h 2094923"/>
                  <a:gd name="connsiteX22" fmla="*/ 749300 w 885825"/>
                  <a:gd name="connsiteY22" fmla="*/ 1882197 h 2094923"/>
                  <a:gd name="connsiteX23" fmla="*/ 885825 w 885825"/>
                  <a:gd name="connsiteY23" fmla="*/ 2094923 h 2094923"/>
                  <a:gd name="connsiteX0" fmla="*/ 357620 w 885825"/>
                  <a:gd name="connsiteY0" fmla="*/ 0 h 2094923"/>
                  <a:gd name="connsiteX1" fmla="*/ 242060 w 885825"/>
                  <a:gd name="connsiteY1" fmla="*/ 19860 h 2094923"/>
                  <a:gd name="connsiteX2" fmla="*/ 199737 w 885825"/>
                  <a:gd name="connsiteY2" fmla="*/ 17318 h 2094923"/>
                  <a:gd name="connsiteX3" fmla="*/ 200025 w 885825"/>
                  <a:gd name="connsiteY3" fmla="*/ 43873 h 2094923"/>
                  <a:gd name="connsiteX4" fmla="*/ 215900 w 885825"/>
                  <a:gd name="connsiteY4" fmla="*/ 72448 h 2094923"/>
                  <a:gd name="connsiteX5" fmla="*/ 215900 w 885825"/>
                  <a:gd name="connsiteY5" fmla="*/ 116898 h 2094923"/>
                  <a:gd name="connsiteX6" fmla="*/ 225425 w 885825"/>
                  <a:gd name="connsiteY6" fmla="*/ 193098 h 2094923"/>
                  <a:gd name="connsiteX7" fmla="*/ 254635 w 885825"/>
                  <a:gd name="connsiteY7" fmla="*/ 392487 h 2094923"/>
                  <a:gd name="connsiteX8" fmla="*/ 188595 w 885825"/>
                  <a:gd name="connsiteY8" fmla="*/ 499802 h 2094923"/>
                  <a:gd name="connsiteX9" fmla="*/ 146050 w 885825"/>
                  <a:gd name="connsiteY9" fmla="*/ 645852 h 2094923"/>
                  <a:gd name="connsiteX10" fmla="*/ 31750 w 885825"/>
                  <a:gd name="connsiteY10" fmla="*/ 723322 h 2094923"/>
                  <a:gd name="connsiteX11" fmla="*/ 6350 w 885825"/>
                  <a:gd name="connsiteY11" fmla="*/ 793172 h 2094923"/>
                  <a:gd name="connsiteX12" fmla="*/ 0 w 885825"/>
                  <a:gd name="connsiteY12" fmla="*/ 980497 h 2094923"/>
                  <a:gd name="connsiteX13" fmla="*/ 28575 w 885825"/>
                  <a:gd name="connsiteY13" fmla="*/ 1072572 h 2094923"/>
                  <a:gd name="connsiteX14" fmla="*/ 41275 w 885825"/>
                  <a:gd name="connsiteY14" fmla="*/ 1205922 h 2094923"/>
                  <a:gd name="connsiteX15" fmla="*/ 79375 w 885825"/>
                  <a:gd name="connsiteY15" fmla="*/ 1272597 h 2094923"/>
                  <a:gd name="connsiteX16" fmla="*/ 101600 w 885825"/>
                  <a:gd name="connsiteY16" fmla="*/ 1399597 h 2094923"/>
                  <a:gd name="connsiteX17" fmla="*/ 190500 w 885825"/>
                  <a:gd name="connsiteY17" fmla="*/ 1482147 h 2094923"/>
                  <a:gd name="connsiteX18" fmla="*/ 247650 w 885825"/>
                  <a:gd name="connsiteY18" fmla="*/ 1498022 h 2094923"/>
                  <a:gd name="connsiteX19" fmla="*/ 371475 w 885825"/>
                  <a:gd name="connsiteY19" fmla="*/ 1793297 h 2094923"/>
                  <a:gd name="connsiteX20" fmla="*/ 492125 w 885825"/>
                  <a:gd name="connsiteY20" fmla="*/ 1844097 h 2094923"/>
                  <a:gd name="connsiteX21" fmla="*/ 628650 w 885825"/>
                  <a:gd name="connsiteY21" fmla="*/ 1891722 h 2094923"/>
                  <a:gd name="connsiteX22" fmla="*/ 749300 w 885825"/>
                  <a:gd name="connsiteY22" fmla="*/ 1882197 h 2094923"/>
                  <a:gd name="connsiteX23" fmla="*/ 885825 w 885825"/>
                  <a:gd name="connsiteY23" fmla="*/ 2094923 h 2094923"/>
                  <a:gd name="connsiteX0" fmla="*/ 357620 w 885825"/>
                  <a:gd name="connsiteY0" fmla="*/ 0 h 2094923"/>
                  <a:gd name="connsiteX1" fmla="*/ 242060 w 885825"/>
                  <a:gd name="connsiteY1" fmla="*/ 19860 h 2094923"/>
                  <a:gd name="connsiteX2" fmla="*/ 199737 w 885825"/>
                  <a:gd name="connsiteY2" fmla="*/ 17318 h 2094923"/>
                  <a:gd name="connsiteX3" fmla="*/ 200025 w 885825"/>
                  <a:gd name="connsiteY3" fmla="*/ 43873 h 2094923"/>
                  <a:gd name="connsiteX4" fmla="*/ 215900 w 885825"/>
                  <a:gd name="connsiteY4" fmla="*/ 72448 h 2094923"/>
                  <a:gd name="connsiteX5" fmla="*/ 215900 w 885825"/>
                  <a:gd name="connsiteY5" fmla="*/ 116898 h 2094923"/>
                  <a:gd name="connsiteX6" fmla="*/ 225425 w 885825"/>
                  <a:gd name="connsiteY6" fmla="*/ 193098 h 2094923"/>
                  <a:gd name="connsiteX7" fmla="*/ 254635 w 885825"/>
                  <a:gd name="connsiteY7" fmla="*/ 392487 h 2094923"/>
                  <a:gd name="connsiteX8" fmla="*/ 196215 w 885825"/>
                  <a:gd name="connsiteY8" fmla="*/ 545522 h 2094923"/>
                  <a:gd name="connsiteX9" fmla="*/ 146050 w 885825"/>
                  <a:gd name="connsiteY9" fmla="*/ 645852 h 2094923"/>
                  <a:gd name="connsiteX10" fmla="*/ 31750 w 885825"/>
                  <a:gd name="connsiteY10" fmla="*/ 723322 h 2094923"/>
                  <a:gd name="connsiteX11" fmla="*/ 6350 w 885825"/>
                  <a:gd name="connsiteY11" fmla="*/ 793172 h 2094923"/>
                  <a:gd name="connsiteX12" fmla="*/ 0 w 885825"/>
                  <a:gd name="connsiteY12" fmla="*/ 980497 h 2094923"/>
                  <a:gd name="connsiteX13" fmla="*/ 28575 w 885825"/>
                  <a:gd name="connsiteY13" fmla="*/ 1072572 h 2094923"/>
                  <a:gd name="connsiteX14" fmla="*/ 41275 w 885825"/>
                  <a:gd name="connsiteY14" fmla="*/ 1205922 h 2094923"/>
                  <a:gd name="connsiteX15" fmla="*/ 79375 w 885825"/>
                  <a:gd name="connsiteY15" fmla="*/ 1272597 h 2094923"/>
                  <a:gd name="connsiteX16" fmla="*/ 101600 w 885825"/>
                  <a:gd name="connsiteY16" fmla="*/ 1399597 h 2094923"/>
                  <a:gd name="connsiteX17" fmla="*/ 190500 w 885825"/>
                  <a:gd name="connsiteY17" fmla="*/ 1482147 h 2094923"/>
                  <a:gd name="connsiteX18" fmla="*/ 247650 w 885825"/>
                  <a:gd name="connsiteY18" fmla="*/ 1498022 h 2094923"/>
                  <a:gd name="connsiteX19" fmla="*/ 371475 w 885825"/>
                  <a:gd name="connsiteY19" fmla="*/ 1793297 h 2094923"/>
                  <a:gd name="connsiteX20" fmla="*/ 492125 w 885825"/>
                  <a:gd name="connsiteY20" fmla="*/ 1844097 h 2094923"/>
                  <a:gd name="connsiteX21" fmla="*/ 628650 w 885825"/>
                  <a:gd name="connsiteY21" fmla="*/ 1891722 h 2094923"/>
                  <a:gd name="connsiteX22" fmla="*/ 749300 w 885825"/>
                  <a:gd name="connsiteY22" fmla="*/ 1882197 h 2094923"/>
                  <a:gd name="connsiteX23" fmla="*/ 885825 w 885825"/>
                  <a:gd name="connsiteY23" fmla="*/ 2094923 h 2094923"/>
                  <a:gd name="connsiteX0" fmla="*/ 357620 w 885825"/>
                  <a:gd name="connsiteY0" fmla="*/ 0 h 2094923"/>
                  <a:gd name="connsiteX1" fmla="*/ 242060 w 885825"/>
                  <a:gd name="connsiteY1" fmla="*/ 19860 h 2094923"/>
                  <a:gd name="connsiteX2" fmla="*/ 199737 w 885825"/>
                  <a:gd name="connsiteY2" fmla="*/ 17318 h 2094923"/>
                  <a:gd name="connsiteX3" fmla="*/ 200025 w 885825"/>
                  <a:gd name="connsiteY3" fmla="*/ 43873 h 2094923"/>
                  <a:gd name="connsiteX4" fmla="*/ 215900 w 885825"/>
                  <a:gd name="connsiteY4" fmla="*/ 72448 h 2094923"/>
                  <a:gd name="connsiteX5" fmla="*/ 215900 w 885825"/>
                  <a:gd name="connsiteY5" fmla="*/ 116898 h 2094923"/>
                  <a:gd name="connsiteX6" fmla="*/ 225425 w 885825"/>
                  <a:gd name="connsiteY6" fmla="*/ 193098 h 2094923"/>
                  <a:gd name="connsiteX7" fmla="*/ 254635 w 885825"/>
                  <a:gd name="connsiteY7" fmla="*/ 392487 h 2094923"/>
                  <a:gd name="connsiteX8" fmla="*/ 196215 w 885825"/>
                  <a:gd name="connsiteY8" fmla="*/ 545522 h 2094923"/>
                  <a:gd name="connsiteX9" fmla="*/ 146050 w 885825"/>
                  <a:gd name="connsiteY9" fmla="*/ 645852 h 2094923"/>
                  <a:gd name="connsiteX10" fmla="*/ 138430 w 885825"/>
                  <a:gd name="connsiteY10" fmla="*/ 746182 h 2094923"/>
                  <a:gd name="connsiteX11" fmla="*/ 6350 w 885825"/>
                  <a:gd name="connsiteY11" fmla="*/ 793172 h 2094923"/>
                  <a:gd name="connsiteX12" fmla="*/ 0 w 885825"/>
                  <a:gd name="connsiteY12" fmla="*/ 980497 h 2094923"/>
                  <a:gd name="connsiteX13" fmla="*/ 28575 w 885825"/>
                  <a:gd name="connsiteY13" fmla="*/ 1072572 h 2094923"/>
                  <a:gd name="connsiteX14" fmla="*/ 41275 w 885825"/>
                  <a:gd name="connsiteY14" fmla="*/ 1205922 h 2094923"/>
                  <a:gd name="connsiteX15" fmla="*/ 79375 w 885825"/>
                  <a:gd name="connsiteY15" fmla="*/ 1272597 h 2094923"/>
                  <a:gd name="connsiteX16" fmla="*/ 101600 w 885825"/>
                  <a:gd name="connsiteY16" fmla="*/ 1399597 h 2094923"/>
                  <a:gd name="connsiteX17" fmla="*/ 190500 w 885825"/>
                  <a:gd name="connsiteY17" fmla="*/ 1482147 h 2094923"/>
                  <a:gd name="connsiteX18" fmla="*/ 247650 w 885825"/>
                  <a:gd name="connsiteY18" fmla="*/ 1498022 h 2094923"/>
                  <a:gd name="connsiteX19" fmla="*/ 371475 w 885825"/>
                  <a:gd name="connsiteY19" fmla="*/ 1793297 h 2094923"/>
                  <a:gd name="connsiteX20" fmla="*/ 492125 w 885825"/>
                  <a:gd name="connsiteY20" fmla="*/ 1844097 h 2094923"/>
                  <a:gd name="connsiteX21" fmla="*/ 628650 w 885825"/>
                  <a:gd name="connsiteY21" fmla="*/ 1891722 h 2094923"/>
                  <a:gd name="connsiteX22" fmla="*/ 749300 w 885825"/>
                  <a:gd name="connsiteY22" fmla="*/ 1882197 h 2094923"/>
                  <a:gd name="connsiteX23" fmla="*/ 885825 w 885825"/>
                  <a:gd name="connsiteY23" fmla="*/ 2094923 h 2094923"/>
                  <a:gd name="connsiteX0" fmla="*/ 357620 w 885825"/>
                  <a:gd name="connsiteY0" fmla="*/ 0 h 2094923"/>
                  <a:gd name="connsiteX1" fmla="*/ 242060 w 885825"/>
                  <a:gd name="connsiteY1" fmla="*/ 19860 h 2094923"/>
                  <a:gd name="connsiteX2" fmla="*/ 199737 w 885825"/>
                  <a:gd name="connsiteY2" fmla="*/ 17318 h 2094923"/>
                  <a:gd name="connsiteX3" fmla="*/ 200025 w 885825"/>
                  <a:gd name="connsiteY3" fmla="*/ 43873 h 2094923"/>
                  <a:gd name="connsiteX4" fmla="*/ 215900 w 885825"/>
                  <a:gd name="connsiteY4" fmla="*/ 72448 h 2094923"/>
                  <a:gd name="connsiteX5" fmla="*/ 215900 w 885825"/>
                  <a:gd name="connsiteY5" fmla="*/ 116898 h 2094923"/>
                  <a:gd name="connsiteX6" fmla="*/ 225425 w 885825"/>
                  <a:gd name="connsiteY6" fmla="*/ 193098 h 2094923"/>
                  <a:gd name="connsiteX7" fmla="*/ 254635 w 885825"/>
                  <a:gd name="connsiteY7" fmla="*/ 392487 h 2094923"/>
                  <a:gd name="connsiteX8" fmla="*/ 196215 w 885825"/>
                  <a:gd name="connsiteY8" fmla="*/ 545522 h 2094923"/>
                  <a:gd name="connsiteX9" fmla="*/ 146050 w 885825"/>
                  <a:gd name="connsiteY9" fmla="*/ 645852 h 2094923"/>
                  <a:gd name="connsiteX10" fmla="*/ 138430 w 885825"/>
                  <a:gd name="connsiteY10" fmla="*/ 746182 h 2094923"/>
                  <a:gd name="connsiteX11" fmla="*/ 97790 w 885825"/>
                  <a:gd name="connsiteY11" fmla="*/ 854132 h 2094923"/>
                  <a:gd name="connsiteX12" fmla="*/ 0 w 885825"/>
                  <a:gd name="connsiteY12" fmla="*/ 980497 h 2094923"/>
                  <a:gd name="connsiteX13" fmla="*/ 28575 w 885825"/>
                  <a:gd name="connsiteY13" fmla="*/ 1072572 h 2094923"/>
                  <a:gd name="connsiteX14" fmla="*/ 41275 w 885825"/>
                  <a:gd name="connsiteY14" fmla="*/ 1205922 h 2094923"/>
                  <a:gd name="connsiteX15" fmla="*/ 79375 w 885825"/>
                  <a:gd name="connsiteY15" fmla="*/ 1272597 h 2094923"/>
                  <a:gd name="connsiteX16" fmla="*/ 101600 w 885825"/>
                  <a:gd name="connsiteY16" fmla="*/ 1399597 h 2094923"/>
                  <a:gd name="connsiteX17" fmla="*/ 190500 w 885825"/>
                  <a:gd name="connsiteY17" fmla="*/ 1482147 h 2094923"/>
                  <a:gd name="connsiteX18" fmla="*/ 247650 w 885825"/>
                  <a:gd name="connsiteY18" fmla="*/ 1498022 h 2094923"/>
                  <a:gd name="connsiteX19" fmla="*/ 371475 w 885825"/>
                  <a:gd name="connsiteY19" fmla="*/ 1793297 h 2094923"/>
                  <a:gd name="connsiteX20" fmla="*/ 492125 w 885825"/>
                  <a:gd name="connsiteY20" fmla="*/ 1844097 h 2094923"/>
                  <a:gd name="connsiteX21" fmla="*/ 628650 w 885825"/>
                  <a:gd name="connsiteY21" fmla="*/ 1891722 h 2094923"/>
                  <a:gd name="connsiteX22" fmla="*/ 749300 w 885825"/>
                  <a:gd name="connsiteY22" fmla="*/ 1882197 h 2094923"/>
                  <a:gd name="connsiteX23" fmla="*/ 885825 w 885825"/>
                  <a:gd name="connsiteY23" fmla="*/ 2094923 h 2094923"/>
                  <a:gd name="connsiteX0" fmla="*/ 330930 w 859135"/>
                  <a:gd name="connsiteY0" fmla="*/ 0 h 2094923"/>
                  <a:gd name="connsiteX1" fmla="*/ 215370 w 859135"/>
                  <a:gd name="connsiteY1" fmla="*/ 19860 h 2094923"/>
                  <a:gd name="connsiteX2" fmla="*/ 173047 w 859135"/>
                  <a:gd name="connsiteY2" fmla="*/ 17318 h 2094923"/>
                  <a:gd name="connsiteX3" fmla="*/ 173335 w 859135"/>
                  <a:gd name="connsiteY3" fmla="*/ 43873 h 2094923"/>
                  <a:gd name="connsiteX4" fmla="*/ 189210 w 859135"/>
                  <a:gd name="connsiteY4" fmla="*/ 72448 h 2094923"/>
                  <a:gd name="connsiteX5" fmla="*/ 189210 w 859135"/>
                  <a:gd name="connsiteY5" fmla="*/ 116898 h 2094923"/>
                  <a:gd name="connsiteX6" fmla="*/ 198735 w 859135"/>
                  <a:gd name="connsiteY6" fmla="*/ 193098 h 2094923"/>
                  <a:gd name="connsiteX7" fmla="*/ 227945 w 859135"/>
                  <a:gd name="connsiteY7" fmla="*/ 392487 h 2094923"/>
                  <a:gd name="connsiteX8" fmla="*/ 169525 w 859135"/>
                  <a:gd name="connsiteY8" fmla="*/ 545522 h 2094923"/>
                  <a:gd name="connsiteX9" fmla="*/ 119360 w 859135"/>
                  <a:gd name="connsiteY9" fmla="*/ 645852 h 2094923"/>
                  <a:gd name="connsiteX10" fmla="*/ 111740 w 859135"/>
                  <a:gd name="connsiteY10" fmla="*/ 746182 h 2094923"/>
                  <a:gd name="connsiteX11" fmla="*/ 71100 w 859135"/>
                  <a:gd name="connsiteY11" fmla="*/ 854132 h 2094923"/>
                  <a:gd name="connsiteX12" fmla="*/ 19030 w 859135"/>
                  <a:gd name="connsiteY12" fmla="*/ 980497 h 2094923"/>
                  <a:gd name="connsiteX13" fmla="*/ 1885 w 859135"/>
                  <a:gd name="connsiteY13" fmla="*/ 1072572 h 2094923"/>
                  <a:gd name="connsiteX14" fmla="*/ 14585 w 859135"/>
                  <a:gd name="connsiteY14" fmla="*/ 1205922 h 2094923"/>
                  <a:gd name="connsiteX15" fmla="*/ 52685 w 859135"/>
                  <a:gd name="connsiteY15" fmla="*/ 1272597 h 2094923"/>
                  <a:gd name="connsiteX16" fmla="*/ 74910 w 859135"/>
                  <a:gd name="connsiteY16" fmla="*/ 1399597 h 2094923"/>
                  <a:gd name="connsiteX17" fmla="*/ 163810 w 859135"/>
                  <a:gd name="connsiteY17" fmla="*/ 1482147 h 2094923"/>
                  <a:gd name="connsiteX18" fmla="*/ 220960 w 859135"/>
                  <a:gd name="connsiteY18" fmla="*/ 1498022 h 2094923"/>
                  <a:gd name="connsiteX19" fmla="*/ 344785 w 859135"/>
                  <a:gd name="connsiteY19" fmla="*/ 1793297 h 2094923"/>
                  <a:gd name="connsiteX20" fmla="*/ 465435 w 859135"/>
                  <a:gd name="connsiteY20" fmla="*/ 1844097 h 2094923"/>
                  <a:gd name="connsiteX21" fmla="*/ 601960 w 859135"/>
                  <a:gd name="connsiteY21" fmla="*/ 1891722 h 2094923"/>
                  <a:gd name="connsiteX22" fmla="*/ 722610 w 859135"/>
                  <a:gd name="connsiteY22" fmla="*/ 1882197 h 2094923"/>
                  <a:gd name="connsiteX23" fmla="*/ 859135 w 859135"/>
                  <a:gd name="connsiteY23" fmla="*/ 2094923 h 2094923"/>
                  <a:gd name="connsiteX0" fmla="*/ 329049 w 857254"/>
                  <a:gd name="connsiteY0" fmla="*/ 0 h 2094923"/>
                  <a:gd name="connsiteX1" fmla="*/ 213489 w 857254"/>
                  <a:gd name="connsiteY1" fmla="*/ 19860 h 2094923"/>
                  <a:gd name="connsiteX2" fmla="*/ 171166 w 857254"/>
                  <a:gd name="connsiteY2" fmla="*/ 17318 h 2094923"/>
                  <a:gd name="connsiteX3" fmla="*/ 171454 w 857254"/>
                  <a:gd name="connsiteY3" fmla="*/ 43873 h 2094923"/>
                  <a:gd name="connsiteX4" fmla="*/ 187329 w 857254"/>
                  <a:gd name="connsiteY4" fmla="*/ 72448 h 2094923"/>
                  <a:gd name="connsiteX5" fmla="*/ 187329 w 857254"/>
                  <a:gd name="connsiteY5" fmla="*/ 116898 h 2094923"/>
                  <a:gd name="connsiteX6" fmla="*/ 196854 w 857254"/>
                  <a:gd name="connsiteY6" fmla="*/ 193098 h 2094923"/>
                  <a:gd name="connsiteX7" fmla="*/ 226064 w 857254"/>
                  <a:gd name="connsiteY7" fmla="*/ 392487 h 2094923"/>
                  <a:gd name="connsiteX8" fmla="*/ 167644 w 857254"/>
                  <a:gd name="connsiteY8" fmla="*/ 545522 h 2094923"/>
                  <a:gd name="connsiteX9" fmla="*/ 117479 w 857254"/>
                  <a:gd name="connsiteY9" fmla="*/ 645852 h 2094923"/>
                  <a:gd name="connsiteX10" fmla="*/ 109859 w 857254"/>
                  <a:gd name="connsiteY10" fmla="*/ 746182 h 2094923"/>
                  <a:gd name="connsiteX11" fmla="*/ 69219 w 857254"/>
                  <a:gd name="connsiteY11" fmla="*/ 854132 h 2094923"/>
                  <a:gd name="connsiteX12" fmla="*/ 17149 w 857254"/>
                  <a:gd name="connsiteY12" fmla="*/ 980497 h 2094923"/>
                  <a:gd name="connsiteX13" fmla="*/ 4 w 857254"/>
                  <a:gd name="connsiteY13" fmla="*/ 1072572 h 2094923"/>
                  <a:gd name="connsiteX14" fmla="*/ 44925 w 857254"/>
                  <a:gd name="connsiteY14" fmla="*/ 1096358 h 2094923"/>
                  <a:gd name="connsiteX15" fmla="*/ 12704 w 857254"/>
                  <a:gd name="connsiteY15" fmla="*/ 1205922 h 2094923"/>
                  <a:gd name="connsiteX16" fmla="*/ 50804 w 857254"/>
                  <a:gd name="connsiteY16" fmla="*/ 1272597 h 2094923"/>
                  <a:gd name="connsiteX17" fmla="*/ 73029 w 857254"/>
                  <a:gd name="connsiteY17" fmla="*/ 1399597 h 2094923"/>
                  <a:gd name="connsiteX18" fmla="*/ 161929 w 857254"/>
                  <a:gd name="connsiteY18" fmla="*/ 1482147 h 2094923"/>
                  <a:gd name="connsiteX19" fmla="*/ 219079 w 857254"/>
                  <a:gd name="connsiteY19" fmla="*/ 1498022 h 2094923"/>
                  <a:gd name="connsiteX20" fmla="*/ 342904 w 857254"/>
                  <a:gd name="connsiteY20" fmla="*/ 1793297 h 2094923"/>
                  <a:gd name="connsiteX21" fmla="*/ 463554 w 857254"/>
                  <a:gd name="connsiteY21" fmla="*/ 1844097 h 2094923"/>
                  <a:gd name="connsiteX22" fmla="*/ 600079 w 857254"/>
                  <a:gd name="connsiteY22" fmla="*/ 1891722 h 2094923"/>
                  <a:gd name="connsiteX23" fmla="*/ 720729 w 857254"/>
                  <a:gd name="connsiteY23" fmla="*/ 1882197 h 2094923"/>
                  <a:gd name="connsiteX24" fmla="*/ 857254 w 857254"/>
                  <a:gd name="connsiteY24" fmla="*/ 2094923 h 2094923"/>
                  <a:gd name="connsiteX0" fmla="*/ 329048 w 857253"/>
                  <a:gd name="connsiteY0" fmla="*/ 0 h 2094923"/>
                  <a:gd name="connsiteX1" fmla="*/ 213488 w 857253"/>
                  <a:gd name="connsiteY1" fmla="*/ 19860 h 2094923"/>
                  <a:gd name="connsiteX2" fmla="*/ 171165 w 857253"/>
                  <a:gd name="connsiteY2" fmla="*/ 17318 h 2094923"/>
                  <a:gd name="connsiteX3" fmla="*/ 171453 w 857253"/>
                  <a:gd name="connsiteY3" fmla="*/ 43873 h 2094923"/>
                  <a:gd name="connsiteX4" fmla="*/ 187328 w 857253"/>
                  <a:gd name="connsiteY4" fmla="*/ 72448 h 2094923"/>
                  <a:gd name="connsiteX5" fmla="*/ 187328 w 857253"/>
                  <a:gd name="connsiteY5" fmla="*/ 116898 h 2094923"/>
                  <a:gd name="connsiteX6" fmla="*/ 196853 w 857253"/>
                  <a:gd name="connsiteY6" fmla="*/ 193098 h 2094923"/>
                  <a:gd name="connsiteX7" fmla="*/ 226063 w 857253"/>
                  <a:gd name="connsiteY7" fmla="*/ 392487 h 2094923"/>
                  <a:gd name="connsiteX8" fmla="*/ 167643 w 857253"/>
                  <a:gd name="connsiteY8" fmla="*/ 545522 h 2094923"/>
                  <a:gd name="connsiteX9" fmla="*/ 117478 w 857253"/>
                  <a:gd name="connsiteY9" fmla="*/ 645852 h 2094923"/>
                  <a:gd name="connsiteX10" fmla="*/ 109858 w 857253"/>
                  <a:gd name="connsiteY10" fmla="*/ 746182 h 2094923"/>
                  <a:gd name="connsiteX11" fmla="*/ 69218 w 857253"/>
                  <a:gd name="connsiteY11" fmla="*/ 854132 h 2094923"/>
                  <a:gd name="connsiteX12" fmla="*/ 17148 w 857253"/>
                  <a:gd name="connsiteY12" fmla="*/ 980497 h 2094923"/>
                  <a:gd name="connsiteX13" fmla="*/ 3 w 857253"/>
                  <a:gd name="connsiteY13" fmla="*/ 1072572 h 2094923"/>
                  <a:gd name="connsiteX14" fmla="*/ 67784 w 857253"/>
                  <a:gd name="connsiteY14" fmla="*/ 1134458 h 2094923"/>
                  <a:gd name="connsiteX15" fmla="*/ 12703 w 857253"/>
                  <a:gd name="connsiteY15" fmla="*/ 1205922 h 2094923"/>
                  <a:gd name="connsiteX16" fmla="*/ 50803 w 857253"/>
                  <a:gd name="connsiteY16" fmla="*/ 1272597 h 2094923"/>
                  <a:gd name="connsiteX17" fmla="*/ 73028 w 857253"/>
                  <a:gd name="connsiteY17" fmla="*/ 1399597 h 2094923"/>
                  <a:gd name="connsiteX18" fmla="*/ 161928 w 857253"/>
                  <a:gd name="connsiteY18" fmla="*/ 1482147 h 2094923"/>
                  <a:gd name="connsiteX19" fmla="*/ 219078 w 857253"/>
                  <a:gd name="connsiteY19" fmla="*/ 1498022 h 2094923"/>
                  <a:gd name="connsiteX20" fmla="*/ 342903 w 857253"/>
                  <a:gd name="connsiteY20" fmla="*/ 1793297 h 2094923"/>
                  <a:gd name="connsiteX21" fmla="*/ 463553 w 857253"/>
                  <a:gd name="connsiteY21" fmla="*/ 1844097 h 2094923"/>
                  <a:gd name="connsiteX22" fmla="*/ 600078 w 857253"/>
                  <a:gd name="connsiteY22" fmla="*/ 1891722 h 2094923"/>
                  <a:gd name="connsiteX23" fmla="*/ 720728 w 857253"/>
                  <a:gd name="connsiteY23" fmla="*/ 1882197 h 2094923"/>
                  <a:gd name="connsiteX24" fmla="*/ 857253 w 857253"/>
                  <a:gd name="connsiteY24" fmla="*/ 2094923 h 2094923"/>
                  <a:gd name="connsiteX0" fmla="*/ 316755 w 844960"/>
                  <a:gd name="connsiteY0" fmla="*/ 0 h 2094923"/>
                  <a:gd name="connsiteX1" fmla="*/ 201195 w 844960"/>
                  <a:gd name="connsiteY1" fmla="*/ 19860 h 2094923"/>
                  <a:gd name="connsiteX2" fmla="*/ 158872 w 844960"/>
                  <a:gd name="connsiteY2" fmla="*/ 17318 h 2094923"/>
                  <a:gd name="connsiteX3" fmla="*/ 159160 w 844960"/>
                  <a:gd name="connsiteY3" fmla="*/ 43873 h 2094923"/>
                  <a:gd name="connsiteX4" fmla="*/ 175035 w 844960"/>
                  <a:gd name="connsiteY4" fmla="*/ 72448 h 2094923"/>
                  <a:gd name="connsiteX5" fmla="*/ 175035 w 844960"/>
                  <a:gd name="connsiteY5" fmla="*/ 116898 h 2094923"/>
                  <a:gd name="connsiteX6" fmla="*/ 184560 w 844960"/>
                  <a:gd name="connsiteY6" fmla="*/ 193098 h 2094923"/>
                  <a:gd name="connsiteX7" fmla="*/ 213770 w 844960"/>
                  <a:gd name="connsiteY7" fmla="*/ 392487 h 2094923"/>
                  <a:gd name="connsiteX8" fmla="*/ 155350 w 844960"/>
                  <a:gd name="connsiteY8" fmla="*/ 545522 h 2094923"/>
                  <a:gd name="connsiteX9" fmla="*/ 105185 w 844960"/>
                  <a:gd name="connsiteY9" fmla="*/ 645852 h 2094923"/>
                  <a:gd name="connsiteX10" fmla="*/ 97565 w 844960"/>
                  <a:gd name="connsiteY10" fmla="*/ 746182 h 2094923"/>
                  <a:gd name="connsiteX11" fmla="*/ 56925 w 844960"/>
                  <a:gd name="connsiteY11" fmla="*/ 854132 h 2094923"/>
                  <a:gd name="connsiteX12" fmla="*/ 4855 w 844960"/>
                  <a:gd name="connsiteY12" fmla="*/ 980497 h 2094923"/>
                  <a:gd name="connsiteX13" fmla="*/ 18190 w 844960"/>
                  <a:gd name="connsiteY13" fmla="*/ 1072572 h 2094923"/>
                  <a:gd name="connsiteX14" fmla="*/ 55491 w 844960"/>
                  <a:gd name="connsiteY14" fmla="*/ 1134458 h 2094923"/>
                  <a:gd name="connsiteX15" fmla="*/ 410 w 844960"/>
                  <a:gd name="connsiteY15" fmla="*/ 1205922 h 2094923"/>
                  <a:gd name="connsiteX16" fmla="*/ 38510 w 844960"/>
                  <a:gd name="connsiteY16" fmla="*/ 1272597 h 2094923"/>
                  <a:gd name="connsiteX17" fmla="*/ 60735 w 844960"/>
                  <a:gd name="connsiteY17" fmla="*/ 1399597 h 2094923"/>
                  <a:gd name="connsiteX18" fmla="*/ 149635 w 844960"/>
                  <a:gd name="connsiteY18" fmla="*/ 1482147 h 2094923"/>
                  <a:gd name="connsiteX19" fmla="*/ 206785 w 844960"/>
                  <a:gd name="connsiteY19" fmla="*/ 1498022 h 2094923"/>
                  <a:gd name="connsiteX20" fmla="*/ 330610 w 844960"/>
                  <a:gd name="connsiteY20" fmla="*/ 1793297 h 2094923"/>
                  <a:gd name="connsiteX21" fmla="*/ 451260 w 844960"/>
                  <a:gd name="connsiteY21" fmla="*/ 1844097 h 2094923"/>
                  <a:gd name="connsiteX22" fmla="*/ 587785 w 844960"/>
                  <a:gd name="connsiteY22" fmla="*/ 1891722 h 2094923"/>
                  <a:gd name="connsiteX23" fmla="*/ 708435 w 844960"/>
                  <a:gd name="connsiteY23" fmla="*/ 1882197 h 2094923"/>
                  <a:gd name="connsiteX24" fmla="*/ 844960 w 844960"/>
                  <a:gd name="connsiteY24" fmla="*/ 2094923 h 2094923"/>
                  <a:gd name="connsiteX0" fmla="*/ 311900 w 840105"/>
                  <a:gd name="connsiteY0" fmla="*/ 0 h 2094923"/>
                  <a:gd name="connsiteX1" fmla="*/ 196340 w 840105"/>
                  <a:gd name="connsiteY1" fmla="*/ 19860 h 2094923"/>
                  <a:gd name="connsiteX2" fmla="*/ 154017 w 840105"/>
                  <a:gd name="connsiteY2" fmla="*/ 17318 h 2094923"/>
                  <a:gd name="connsiteX3" fmla="*/ 154305 w 840105"/>
                  <a:gd name="connsiteY3" fmla="*/ 43873 h 2094923"/>
                  <a:gd name="connsiteX4" fmla="*/ 170180 w 840105"/>
                  <a:gd name="connsiteY4" fmla="*/ 72448 h 2094923"/>
                  <a:gd name="connsiteX5" fmla="*/ 170180 w 840105"/>
                  <a:gd name="connsiteY5" fmla="*/ 116898 h 2094923"/>
                  <a:gd name="connsiteX6" fmla="*/ 179705 w 840105"/>
                  <a:gd name="connsiteY6" fmla="*/ 193098 h 2094923"/>
                  <a:gd name="connsiteX7" fmla="*/ 208915 w 840105"/>
                  <a:gd name="connsiteY7" fmla="*/ 392487 h 2094923"/>
                  <a:gd name="connsiteX8" fmla="*/ 150495 w 840105"/>
                  <a:gd name="connsiteY8" fmla="*/ 545522 h 2094923"/>
                  <a:gd name="connsiteX9" fmla="*/ 100330 w 840105"/>
                  <a:gd name="connsiteY9" fmla="*/ 645852 h 2094923"/>
                  <a:gd name="connsiteX10" fmla="*/ 92710 w 840105"/>
                  <a:gd name="connsiteY10" fmla="*/ 746182 h 2094923"/>
                  <a:gd name="connsiteX11" fmla="*/ 52070 w 840105"/>
                  <a:gd name="connsiteY11" fmla="*/ 854132 h 2094923"/>
                  <a:gd name="connsiteX12" fmla="*/ 0 w 840105"/>
                  <a:gd name="connsiteY12" fmla="*/ 980497 h 2094923"/>
                  <a:gd name="connsiteX13" fmla="*/ 13335 w 840105"/>
                  <a:gd name="connsiteY13" fmla="*/ 1072572 h 2094923"/>
                  <a:gd name="connsiteX14" fmla="*/ 50636 w 840105"/>
                  <a:gd name="connsiteY14" fmla="*/ 1134458 h 2094923"/>
                  <a:gd name="connsiteX15" fmla="*/ 41275 w 840105"/>
                  <a:gd name="connsiteY15" fmla="*/ 1198302 h 2094923"/>
                  <a:gd name="connsiteX16" fmla="*/ 33655 w 840105"/>
                  <a:gd name="connsiteY16" fmla="*/ 1272597 h 2094923"/>
                  <a:gd name="connsiteX17" fmla="*/ 55880 w 840105"/>
                  <a:gd name="connsiteY17" fmla="*/ 1399597 h 2094923"/>
                  <a:gd name="connsiteX18" fmla="*/ 144780 w 840105"/>
                  <a:gd name="connsiteY18" fmla="*/ 1482147 h 2094923"/>
                  <a:gd name="connsiteX19" fmla="*/ 201930 w 840105"/>
                  <a:gd name="connsiteY19" fmla="*/ 1498022 h 2094923"/>
                  <a:gd name="connsiteX20" fmla="*/ 325755 w 840105"/>
                  <a:gd name="connsiteY20" fmla="*/ 1793297 h 2094923"/>
                  <a:gd name="connsiteX21" fmla="*/ 446405 w 840105"/>
                  <a:gd name="connsiteY21" fmla="*/ 1844097 h 2094923"/>
                  <a:gd name="connsiteX22" fmla="*/ 582930 w 840105"/>
                  <a:gd name="connsiteY22" fmla="*/ 1891722 h 2094923"/>
                  <a:gd name="connsiteX23" fmla="*/ 703580 w 840105"/>
                  <a:gd name="connsiteY23" fmla="*/ 1882197 h 2094923"/>
                  <a:gd name="connsiteX24" fmla="*/ 840105 w 840105"/>
                  <a:gd name="connsiteY24" fmla="*/ 2094923 h 2094923"/>
                  <a:gd name="connsiteX0" fmla="*/ 311900 w 840105"/>
                  <a:gd name="connsiteY0" fmla="*/ 20260 h 2115183"/>
                  <a:gd name="connsiteX1" fmla="*/ 308762 w 840105"/>
                  <a:gd name="connsiteY1" fmla="*/ 288 h 2115183"/>
                  <a:gd name="connsiteX2" fmla="*/ 196340 w 840105"/>
                  <a:gd name="connsiteY2" fmla="*/ 40120 h 2115183"/>
                  <a:gd name="connsiteX3" fmla="*/ 154017 w 840105"/>
                  <a:gd name="connsiteY3" fmla="*/ 37578 h 2115183"/>
                  <a:gd name="connsiteX4" fmla="*/ 154305 w 840105"/>
                  <a:gd name="connsiteY4" fmla="*/ 64133 h 2115183"/>
                  <a:gd name="connsiteX5" fmla="*/ 170180 w 840105"/>
                  <a:gd name="connsiteY5" fmla="*/ 92708 h 2115183"/>
                  <a:gd name="connsiteX6" fmla="*/ 170180 w 840105"/>
                  <a:gd name="connsiteY6" fmla="*/ 137158 h 2115183"/>
                  <a:gd name="connsiteX7" fmla="*/ 179705 w 840105"/>
                  <a:gd name="connsiteY7" fmla="*/ 213358 h 2115183"/>
                  <a:gd name="connsiteX8" fmla="*/ 208915 w 840105"/>
                  <a:gd name="connsiteY8" fmla="*/ 412747 h 2115183"/>
                  <a:gd name="connsiteX9" fmla="*/ 150495 w 840105"/>
                  <a:gd name="connsiteY9" fmla="*/ 565782 h 2115183"/>
                  <a:gd name="connsiteX10" fmla="*/ 100330 w 840105"/>
                  <a:gd name="connsiteY10" fmla="*/ 666112 h 2115183"/>
                  <a:gd name="connsiteX11" fmla="*/ 92710 w 840105"/>
                  <a:gd name="connsiteY11" fmla="*/ 766442 h 2115183"/>
                  <a:gd name="connsiteX12" fmla="*/ 52070 w 840105"/>
                  <a:gd name="connsiteY12" fmla="*/ 874392 h 2115183"/>
                  <a:gd name="connsiteX13" fmla="*/ 0 w 840105"/>
                  <a:gd name="connsiteY13" fmla="*/ 1000757 h 2115183"/>
                  <a:gd name="connsiteX14" fmla="*/ 13335 w 840105"/>
                  <a:gd name="connsiteY14" fmla="*/ 1092832 h 2115183"/>
                  <a:gd name="connsiteX15" fmla="*/ 50636 w 840105"/>
                  <a:gd name="connsiteY15" fmla="*/ 1154718 h 2115183"/>
                  <a:gd name="connsiteX16" fmla="*/ 41275 w 840105"/>
                  <a:gd name="connsiteY16" fmla="*/ 1218562 h 2115183"/>
                  <a:gd name="connsiteX17" fmla="*/ 33655 w 840105"/>
                  <a:gd name="connsiteY17" fmla="*/ 1292857 h 2115183"/>
                  <a:gd name="connsiteX18" fmla="*/ 55880 w 840105"/>
                  <a:gd name="connsiteY18" fmla="*/ 1419857 h 2115183"/>
                  <a:gd name="connsiteX19" fmla="*/ 144780 w 840105"/>
                  <a:gd name="connsiteY19" fmla="*/ 1502407 h 2115183"/>
                  <a:gd name="connsiteX20" fmla="*/ 201930 w 840105"/>
                  <a:gd name="connsiteY20" fmla="*/ 1518282 h 2115183"/>
                  <a:gd name="connsiteX21" fmla="*/ 325755 w 840105"/>
                  <a:gd name="connsiteY21" fmla="*/ 1813557 h 2115183"/>
                  <a:gd name="connsiteX22" fmla="*/ 446405 w 840105"/>
                  <a:gd name="connsiteY22" fmla="*/ 1864357 h 2115183"/>
                  <a:gd name="connsiteX23" fmla="*/ 582930 w 840105"/>
                  <a:gd name="connsiteY23" fmla="*/ 1911982 h 2115183"/>
                  <a:gd name="connsiteX24" fmla="*/ 703580 w 840105"/>
                  <a:gd name="connsiteY24" fmla="*/ 1902457 h 2115183"/>
                  <a:gd name="connsiteX25" fmla="*/ 840105 w 840105"/>
                  <a:gd name="connsiteY25" fmla="*/ 2115183 h 2115183"/>
                  <a:gd name="connsiteX0" fmla="*/ 311900 w 840105"/>
                  <a:gd name="connsiteY0" fmla="*/ 20260 h 2115183"/>
                  <a:gd name="connsiteX1" fmla="*/ 308762 w 840105"/>
                  <a:gd name="connsiteY1" fmla="*/ 288 h 2115183"/>
                  <a:gd name="connsiteX2" fmla="*/ 196340 w 840105"/>
                  <a:gd name="connsiteY2" fmla="*/ 11545 h 2115183"/>
                  <a:gd name="connsiteX3" fmla="*/ 154017 w 840105"/>
                  <a:gd name="connsiteY3" fmla="*/ 37578 h 2115183"/>
                  <a:gd name="connsiteX4" fmla="*/ 154305 w 840105"/>
                  <a:gd name="connsiteY4" fmla="*/ 64133 h 2115183"/>
                  <a:gd name="connsiteX5" fmla="*/ 170180 w 840105"/>
                  <a:gd name="connsiteY5" fmla="*/ 92708 h 2115183"/>
                  <a:gd name="connsiteX6" fmla="*/ 170180 w 840105"/>
                  <a:gd name="connsiteY6" fmla="*/ 137158 h 2115183"/>
                  <a:gd name="connsiteX7" fmla="*/ 179705 w 840105"/>
                  <a:gd name="connsiteY7" fmla="*/ 213358 h 2115183"/>
                  <a:gd name="connsiteX8" fmla="*/ 208915 w 840105"/>
                  <a:gd name="connsiteY8" fmla="*/ 412747 h 2115183"/>
                  <a:gd name="connsiteX9" fmla="*/ 150495 w 840105"/>
                  <a:gd name="connsiteY9" fmla="*/ 565782 h 2115183"/>
                  <a:gd name="connsiteX10" fmla="*/ 100330 w 840105"/>
                  <a:gd name="connsiteY10" fmla="*/ 666112 h 2115183"/>
                  <a:gd name="connsiteX11" fmla="*/ 92710 w 840105"/>
                  <a:gd name="connsiteY11" fmla="*/ 766442 h 2115183"/>
                  <a:gd name="connsiteX12" fmla="*/ 52070 w 840105"/>
                  <a:gd name="connsiteY12" fmla="*/ 874392 h 2115183"/>
                  <a:gd name="connsiteX13" fmla="*/ 0 w 840105"/>
                  <a:gd name="connsiteY13" fmla="*/ 1000757 h 2115183"/>
                  <a:gd name="connsiteX14" fmla="*/ 13335 w 840105"/>
                  <a:gd name="connsiteY14" fmla="*/ 1092832 h 2115183"/>
                  <a:gd name="connsiteX15" fmla="*/ 50636 w 840105"/>
                  <a:gd name="connsiteY15" fmla="*/ 1154718 h 2115183"/>
                  <a:gd name="connsiteX16" fmla="*/ 41275 w 840105"/>
                  <a:gd name="connsiteY16" fmla="*/ 1218562 h 2115183"/>
                  <a:gd name="connsiteX17" fmla="*/ 33655 w 840105"/>
                  <a:gd name="connsiteY17" fmla="*/ 1292857 h 2115183"/>
                  <a:gd name="connsiteX18" fmla="*/ 55880 w 840105"/>
                  <a:gd name="connsiteY18" fmla="*/ 1419857 h 2115183"/>
                  <a:gd name="connsiteX19" fmla="*/ 144780 w 840105"/>
                  <a:gd name="connsiteY19" fmla="*/ 1502407 h 2115183"/>
                  <a:gd name="connsiteX20" fmla="*/ 201930 w 840105"/>
                  <a:gd name="connsiteY20" fmla="*/ 1518282 h 2115183"/>
                  <a:gd name="connsiteX21" fmla="*/ 325755 w 840105"/>
                  <a:gd name="connsiteY21" fmla="*/ 1813557 h 2115183"/>
                  <a:gd name="connsiteX22" fmla="*/ 446405 w 840105"/>
                  <a:gd name="connsiteY22" fmla="*/ 1864357 h 2115183"/>
                  <a:gd name="connsiteX23" fmla="*/ 582930 w 840105"/>
                  <a:gd name="connsiteY23" fmla="*/ 1911982 h 2115183"/>
                  <a:gd name="connsiteX24" fmla="*/ 703580 w 840105"/>
                  <a:gd name="connsiteY24" fmla="*/ 1902457 h 2115183"/>
                  <a:gd name="connsiteX25" fmla="*/ 840105 w 840105"/>
                  <a:gd name="connsiteY25" fmla="*/ 2115183 h 2115183"/>
                  <a:gd name="connsiteX0" fmla="*/ 311900 w 840105"/>
                  <a:gd name="connsiteY0" fmla="*/ 20260 h 2115183"/>
                  <a:gd name="connsiteX1" fmla="*/ 308762 w 840105"/>
                  <a:gd name="connsiteY1" fmla="*/ 288 h 2115183"/>
                  <a:gd name="connsiteX2" fmla="*/ 201102 w 840105"/>
                  <a:gd name="connsiteY2" fmla="*/ 16308 h 2115183"/>
                  <a:gd name="connsiteX3" fmla="*/ 154017 w 840105"/>
                  <a:gd name="connsiteY3" fmla="*/ 37578 h 2115183"/>
                  <a:gd name="connsiteX4" fmla="*/ 154305 w 840105"/>
                  <a:gd name="connsiteY4" fmla="*/ 64133 h 2115183"/>
                  <a:gd name="connsiteX5" fmla="*/ 170180 w 840105"/>
                  <a:gd name="connsiteY5" fmla="*/ 92708 h 2115183"/>
                  <a:gd name="connsiteX6" fmla="*/ 170180 w 840105"/>
                  <a:gd name="connsiteY6" fmla="*/ 137158 h 2115183"/>
                  <a:gd name="connsiteX7" fmla="*/ 179705 w 840105"/>
                  <a:gd name="connsiteY7" fmla="*/ 213358 h 2115183"/>
                  <a:gd name="connsiteX8" fmla="*/ 208915 w 840105"/>
                  <a:gd name="connsiteY8" fmla="*/ 412747 h 2115183"/>
                  <a:gd name="connsiteX9" fmla="*/ 150495 w 840105"/>
                  <a:gd name="connsiteY9" fmla="*/ 565782 h 2115183"/>
                  <a:gd name="connsiteX10" fmla="*/ 100330 w 840105"/>
                  <a:gd name="connsiteY10" fmla="*/ 666112 h 2115183"/>
                  <a:gd name="connsiteX11" fmla="*/ 92710 w 840105"/>
                  <a:gd name="connsiteY11" fmla="*/ 766442 h 2115183"/>
                  <a:gd name="connsiteX12" fmla="*/ 52070 w 840105"/>
                  <a:gd name="connsiteY12" fmla="*/ 874392 h 2115183"/>
                  <a:gd name="connsiteX13" fmla="*/ 0 w 840105"/>
                  <a:gd name="connsiteY13" fmla="*/ 1000757 h 2115183"/>
                  <a:gd name="connsiteX14" fmla="*/ 13335 w 840105"/>
                  <a:gd name="connsiteY14" fmla="*/ 1092832 h 2115183"/>
                  <a:gd name="connsiteX15" fmla="*/ 50636 w 840105"/>
                  <a:gd name="connsiteY15" fmla="*/ 1154718 h 2115183"/>
                  <a:gd name="connsiteX16" fmla="*/ 41275 w 840105"/>
                  <a:gd name="connsiteY16" fmla="*/ 1218562 h 2115183"/>
                  <a:gd name="connsiteX17" fmla="*/ 33655 w 840105"/>
                  <a:gd name="connsiteY17" fmla="*/ 1292857 h 2115183"/>
                  <a:gd name="connsiteX18" fmla="*/ 55880 w 840105"/>
                  <a:gd name="connsiteY18" fmla="*/ 1419857 h 2115183"/>
                  <a:gd name="connsiteX19" fmla="*/ 144780 w 840105"/>
                  <a:gd name="connsiteY19" fmla="*/ 1502407 h 2115183"/>
                  <a:gd name="connsiteX20" fmla="*/ 201930 w 840105"/>
                  <a:gd name="connsiteY20" fmla="*/ 1518282 h 2115183"/>
                  <a:gd name="connsiteX21" fmla="*/ 325755 w 840105"/>
                  <a:gd name="connsiteY21" fmla="*/ 1813557 h 2115183"/>
                  <a:gd name="connsiteX22" fmla="*/ 446405 w 840105"/>
                  <a:gd name="connsiteY22" fmla="*/ 1864357 h 2115183"/>
                  <a:gd name="connsiteX23" fmla="*/ 582930 w 840105"/>
                  <a:gd name="connsiteY23" fmla="*/ 1911982 h 2115183"/>
                  <a:gd name="connsiteX24" fmla="*/ 703580 w 840105"/>
                  <a:gd name="connsiteY24" fmla="*/ 1902457 h 2115183"/>
                  <a:gd name="connsiteX25" fmla="*/ 840105 w 840105"/>
                  <a:gd name="connsiteY25" fmla="*/ 2115183 h 21151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840105" h="2115183">
                    <a:moveTo>
                      <a:pt x="311900" y="20260"/>
                    </a:moveTo>
                    <a:cubicBezTo>
                      <a:pt x="312171" y="23281"/>
                      <a:pt x="328022" y="-3022"/>
                      <a:pt x="308762" y="288"/>
                    </a:cubicBezTo>
                    <a:cubicBezTo>
                      <a:pt x="289502" y="3598"/>
                      <a:pt x="227686" y="16443"/>
                      <a:pt x="201102" y="16308"/>
                    </a:cubicBezTo>
                    <a:cubicBezTo>
                      <a:pt x="174518" y="16173"/>
                      <a:pt x="161023" y="28958"/>
                      <a:pt x="154017" y="37578"/>
                    </a:cubicBezTo>
                    <a:cubicBezTo>
                      <a:pt x="149255" y="68269"/>
                      <a:pt x="148484" y="42966"/>
                      <a:pt x="154305" y="64133"/>
                    </a:cubicBezTo>
                    <a:cubicBezTo>
                      <a:pt x="158009" y="79479"/>
                      <a:pt x="165947" y="82125"/>
                      <a:pt x="170180" y="92708"/>
                    </a:cubicBezTo>
                    <a:cubicBezTo>
                      <a:pt x="174413" y="103291"/>
                      <a:pt x="165947" y="124458"/>
                      <a:pt x="170180" y="137158"/>
                    </a:cubicBezTo>
                    <a:cubicBezTo>
                      <a:pt x="174413" y="149858"/>
                      <a:pt x="185526" y="166792"/>
                      <a:pt x="179705" y="213358"/>
                    </a:cubicBezTo>
                    <a:cubicBezTo>
                      <a:pt x="173884" y="259925"/>
                      <a:pt x="222673" y="360360"/>
                      <a:pt x="208915" y="412747"/>
                    </a:cubicBezTo>
                    <a:cubicBezTo>
                      <a:pt x="195157" y="465134"/>
                      <a:pt x="169016" y="522920"/>
                      <a:pt x="150495" y="565782"/>
                    </a:cubicBezTo>
                    <a:cubicBezTo>
                      <a:pt x="84878" y="643040"/>
                      <a:pt x="122026" y="634891"/>
                      <a:pt x="100330" y="666112"/>
                    </a:cubicBezTo>
                    <a:cubicBezTo>
                      <a:pt x="97684" y="700508"/>
                      <a:pt x="104352" y="717230"/>
                      <a:pt x="92710" y="766442"/>
                    </a:cubicBezTo>
                    <a:cubicBezTo>
                      <a:pt x="86889" y="788667"/>
                      <a:pt x="78528" y="848463"/>
                      <a:pt x="52070" y="874392"/>
                    </a:cubicBezTo>
                    <a:cubicBezTo>
                      <a:pt x="47837" y="913021"/>
                      <a:pt x="0" y="951545"/>
                      <a:pt x="0" y="1000757"/>
                    </a:cubicBezTo>
                    <a:cubicBezTo>
                      <a:pt x="0" y="1049969"/>
                      <a:pt x="13786" y="1073522"/>
                      <a:pt x="13335" y="1092832"/>
                    </a:cubicBezTo>
                    <a:cubicBezTo>
                      <a:pt x="12884" y="1112142"/>
                      <a:pt x="48519" y="1132493"/>
                      <a:pt x="50636" y="1154718"/>
                    </a:cubicBezTo>
                    <a:cubicBezTo>
                      <a:pt x="52753" y="1176943"/>
                      <a:pt x="35215" y="1189189"/>
                      <a:pt x="41275" y="1218562"/>
                    </a:cubicBezTo>
                    <a:cubicBezTo>
                      <a:pt x="47335" y="1247935"/>
                      <a:pt x="25718" y="1257403"/>
                      <a:pt x="33655" y="1292857"/>
                    </a:cubicBezTo>
                    <a:cubicBezTo>
                      <a:pt x="41592" y="1328311"/>
                      <a:pt x="34184" y="1384932"/>
                      <a:pt x="55880" y="1419857"/>
                    </a:cubicBezTo>
                    <a:cubicBezTo>
                      <a:pt x="77576" y="1454782"/>
                      <a:pt x="119909" y="1489707"/>
                      <a:pt x="144780" y="1502407"/>
                    </a:cubicBezTo>
                    <a:cubicBezTo>
                      <a:pt x="169651" y="1515107"/>
                      <a:pt x="192405" y="1506640"/>
                      <a:pt x="201930" y="1518282"/>
                    </a:cubicBezTo>
                    <a:cubicBezTo>
                      <a:pt x="237913" y="1538390"/>
                      <a:pt x="236855" y="1727832"/>
                      <a:pt x="325755" y="1813557"/>
                    </a:cubicBezTo>
                    <a:cubicBezTo>
                      <a:pt x="392959" y="1859065"/>
                      <a:pt x="403543" y="1847953"/>
                      <a:pt x="446405" y="1864357"/>
                    </a:cubicBezTo>
                    <a:cubicBezTo>
                      <a:pt x="489268" y="1880761"/>
                      <a:pt x="535305" y="1909865"/>
                      <a:pt x="582930" y="1911982"/>
                    </a:cubicBezTo>
                    <a:cubicBezTo>
                      <a:pt x="618913" y="1906690"/>
                      <a:pt x="656484" y="1863299"/>
                      <a:pt x="703580" y="1902457"/>
                    </a:cubicBezTo>
                    <a:cubicBezTo>
                      <a:pt x="847513" y="2071261"/>
                      <a:pt x="811530" y="2082904"/>
                      <a:pt x="840105" y="2115183"/>
                    </a:cubicBezTo>
                  </a:path>
                </a:pathLst>
              </a:custGeom>
              <a:noFill/>
              <a:ln w="15875" cmpd="sng">
                <a:solidFill>
                  <a:srgbClr val="9E3422"/>
                </a:solidFill>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49" name="Freeform 48"/>
              <p:cNvSpPr/>
              <p:nvPr/>
            </p:nvSpPr>
            <p:spPr>
              <a:xfrm>
                <a:off x="2138689" y="3729361"/>
                <a:ext cx="298417" cy="1197932"/>
              </a:xfrm>
              <a:custGeom>
                <a:avLst/>
                <a:gdLst>
                  <a:gd name="connsiteX0" fmla="*/ 445812 w 445812"/>
                  <a:gd name="connsiteY0" fmla="*/ 0 h 2095500"/>
                  <a:gd name="connsiteX1" fmla="*/ 407712 w 445812"/>
                  <a:gd name="connsiteY1" fmla="*/ 66675 h 2095500"/>
                  <a:gd name="connsiteX2" fmla="*/ 353737 w 445812"/>
                  <a:gd name="connsiteY2" fmla="*/ 85725 h 2095500"/>
                  <a:gd name="connsiteX3" fmla="*/ 283887 w 445812"/>
                  <a:gd name="connsiteY3" fmla="*/ 98425 h 2095500"/>
                  <a:gd name="connsiteX4" fmla="*/ 223562 w 445812"/>
                  <a:gd name="connsiteY4" fmla="*/ 133350 h 2095500"/>
                  <a:gd name="connsiteX5" fmla="*/ 121962 w 445812"/>
                  <a:gd name="connsiteY5" fmla="*/ 196850 h 2095500"/>
                  <a:gd name="connsiteX6" fmla="*/ 131487 w 445812"/>
                  <a:gd name="connsiteY6" fmla="*/ 247650 h 2095500"/>
                  <a:gd name="connsiteX7" fmla="*/ 172762 w 445812"/>
                  <a:gd name="connsiteY7" fmla="*/ 276225 h 2095500"/>
                  <a:gd name="connsiteX8" fmla="*/ 185462 w 445812"/>
                  <a:gd name="connsiteY8" fmla="*/ 327025 h 2095500"/>
                  <a:gd name="connsiteX9" fmla="*/ 239437 w 445812"/>
                  <a:gd name="connsiteY9" fmla="*/ 368300 h 2095500"/>
                  <a:gd name="connsiteX10" fmla="*/ 239437 w 445812"/>
                  <a:gd name="connsiteY10" fmla="*/ 412750 h 2095500"/>
                  <a:gd name="connsiteX11" fmla="*/ 207687 w 445812"/>
                  <a:gd name="connsiteY11" fmla="*/ 454025 h 2095500"/>
                  <a:gd name="connsiteX12" fmla="*/ 287062 w 445812"/>
                  <a:gd name="connsiteY12" fmla="*/ 479425 h 2095500"/>
                  <a:gd name="connsiteX13" fmla="*/ 302937 w 445812"/>
                  <a:gd name="connsiteY13" fmla="*/ 511175 h 2095500"/>
                  <a:gd name="connsiteX14" fmla="*/ 210862 w 445812"/>
                  <a:gd name="connsiteY14" fmla="*/ 581025 h 2095500"/>
                  <a:gd name="connsiteX15" fmla="*/ 160062 w 445812"/>
                  <a:gd name="connsiteY15" fmla="*/ 638175 h 2095500"/>
                  <a:gd name="connsiteX16" fmla="*/ 160062 w 445812"/>
                  <a:gd name="connsiteY16" fmla="*/ 695325 h 2095500"/>
                  <a:gd name="connsiteX17" fmla="*/ 185462 w 445812"/>
                  <a:gd name="connsiteY17" fmla="*/ 784225 h 2095500"/>
                  <a:gd name="connsiteX18" fmla="*/ 194987 w 445812"/>
                  <a:gd name="connsiteY18" fmla="*/ 835025 h 2095500"/>
                  <a:gd name="connsiteX19" fmla="*/ 204512 w 445812"/>
                  <a:gd name="connsiteY19" fmla="*/ 885825 h 2095500"/>
                  <a:gd name="connsiteX20" fmla="*/ 220387 w 445812"/>
                  <a:gd name="connsiteY20" fmla="*/ 923925 h 2095500"/>
                  <a:gd name="connsiteX21" fmla="*/ 163237 w 445812"/>
                  <a:gd name="connsiteY21" fmla="*/ 1022350 h 2095500"/>
                  <a:gd name="connsiteX22" fmla="*/ 96562 w 445812"/>
                  <a:gd name="connsiteY22" fmla="*/ 1057275 h 2095500"/>
                  <a:gd name="connsiteX23" fmla="*/ 52112 w 445812"/>
                  <a:gd name="connsiteY23" fmla="*/ 1143000 h 2095500"/>
                  <a:gd name="connsiteX24" fmla="*/ 20362 w 445812"/>
                  <a:gd name="connsiteY24" fmla="*/ 1244600 h 2095500"/>
                  <a:gd name="connsiteX25" fmla="*/ 1312 w 445812"/>
                  <a:gd name="connsiteY25" fmla="*/ 1346200 h 2095500"/>
                  <a:gd name="connsiteX26" fmla="*/ 10837 w 445812"/>
                  <a:gd name="connsiteY26" fmla="*/ 1438275 h 2095500"/>
                  <a:gd name="connsiteX27" fmla="*/ 83862 w 445812"/>
                  <a:gd name="connsiteY27" fmla="*/ 1511300 h 2095500"/>
                  <a:gd name="connsiteX28" fmla="*/ 112437 w 445812"/>
                  <a:gd name="connsiteY28" fmla="*/ 1558925 h 2095500"/>
                  <a:gd name="connsiteX29" fmla="*/ 150537 w 445812"/>
                  <a:gd name="connsiteY29" fmla="*/ 1590675 h 2095500"/>
                  <a:gd name="connsiteX30" fmla="*/ 169587 w 445812"/>
                  <a:gd name="connsiteY30" fmla="*/ 1644650 h 2095500"/>
                  <a:gd name="connsiteX31" fmla="*/ 226737 w 445812"/>
                  <a:gd name="connsiteY31" fmla="*/ 1685925 h 2095500"/>
                  <a:gd name="connsiteX32" fmla="*/ 264837 w 445812"/>
                  <a:gd name="connsiteY32" fmla="*/ 1730375 h 2095500"/>
                  <a:gd name="connsiteX33" fmla="*/ 277537 w 445812"/>
                  <a:gd name="connsiteY33" fmla="*/ 1758950 h 2095500"/>
                  <a:gd name="connsiteX34" fmla="*/ 277537 w 445812"/>
                  <a:gd name="connsiteY34" fmla="*/ 1828800 h 2095500"/>
                  <a:gd name="connsiteX35" fmla="*/ 325162 w 445812"/>
                  <a:gd name="connsiteY35" fmla="*/ 1905000 h 2095500"/>
                  <a:gd name="connsiteX36" fmla="*/ 363262 w 445812"/>
                  <a:gd name="connsiteY36" fmla="*/ 1962150 h 2095500"/>
                  <a:gd name="connsiteX37" fmla="*/ 369612 w 445812"/>
                  <a:gd name="connsiteY37" fmla="*/ 2028825 h 2095500"/>
                  <a:gd name="connsiteX38" fmla="*/ 417237 w 445812"/>
                  <a:gd name="connsiteY38" fmla="*/ 2095500 h 2095500"/>
                  <a:gd name="connsiteX0" fmla="*/ 445812 w 445812"/>
                  <a:gd name="connsiteY0" fmla="*/ 0 h 2495550"/>
                  <a:gd name="connsiteX1" fmla="*/ 407712 w 445812"/>
                  <a:gd name="connsiteY1" fmla="*/ 66675 h 2495550"/>
                  <a:gd name="connsiteX2" fmla="*/ 353737 w 445812"/>
                  <a:gd name="connsiteY2" fmla="*/ 85725 h 2495550"/>
                  <a:gd name="connsiteX3" fmla="*/ 283887 w 445812"/>
                  <a:gd name="connsiteY3" fmla="*/ 98425 h 2495550"/>
                  <a:gd name="connsiteX4" fmla="*/ 223562 w 445812"/>
                  <a:gd name="connsiteY4" fmla="*/ 133350 h 2495550"/>
                  <a:gd name="connsiteX5" fmla="*/ 121962 w 445812"/>
                  <a:gd name="connsiteY5" fmla="*/ 196850 h 2495550"/>
                  <a:gd name="connsiteX6" fmla="*/ 131487 w 445812"/>
                  <a:gd name="connsiteY6" fmla="*/ 247650 h 2495550"/>
                  <a:gd name="connsiteX7" fmla="*/ 172762 w 445812"/>
                  <a:gd name="connsiteY7" fmla="*/ 276225 h 2495550"/>
                  <a:gd name="connsiteX8" fmla="*/ 185462 w 445812"/>
                  <a:gd name="connsiteY8" fmla="*/ 327025 h 2495550"/>
                  <a:gd name="connsiteX9" fmla="*/ 239437 w 445812"/>
                  <a:gd name="connsiteY9" fmla="*/ 368300 h 2495550"/>
                  <a:gd name="connsiteX10" fmla="*/ 239437 w 445812"/>
                  <a:gd name="connsiteY10" fmla="*/ 412750 h 2495550"/>
                  <a:gd name="connsiteX11" fmla="*/ 207687 w 445812"/>
                  <a:gd name="connsiteY11" fmla="*/ 454025 h 2495550"/>
                  <a:gd name="connsiteX12" fmla="*/ 287062 w 445812"/>
                  <a:gd name="connsiteY12" fmla="*/ 479425 h 2495550"/>
                  <a:gd name="connsiteX13" fmla="*/ 302937 w 445812"/>
                  <a:gd name="connsiteY13" fmla="*/ 511175 h 2495550"/>
                  <a:gd name="connsiteX14" fmla="*/ 210862 w 445812"/>
                  <a:gd name="connsiteY14" fmla="*/ 581025 h 2495550"/>
                  <a:gd name="connsiteX15" fmla="*/ 160062 w 445812"/>
                  <a:gd name="connsiteY15" fmla="*/ 638175 h 2495550"/>
                  <a:gd name="connsiteX16" fmla="*/ 160062 w 445812"/>
                  <a:gd name="connsiteY16" fmla="*/ 695325 h 2495550"/>
                  <a:gd name="connsiteX17" fmla="*/ 185462 w 445812"/>
                  <a:gd name="connsiteY17" fmla="*/ 784225 h 2495550"/>
                  <a:gd name="connsiteX18" fmla="*/ 194987 w 445812"/>
                  <a:gd name="connsiteY18" fmla="*/ 835025 h 2495550"/>
                  <a:gd name="connsiteX19" fmla="*/ 204512 w 445812"/>
                  <a:gd name="connsiteY19" fmla="*/ 885825 h 2495550"/>
                  <a:gd name="connsiteX20" fmla="*/ 220387 w 445812"/>
                  <a:gd name="connsiteY20" fmla="*/ 923925 h 2495550"/>
                  <a:gd name="connsiteX21" fmla="*/ 163237 w 445812"/>
                  <a:gd name="connsiteY21" fmla="*/ 1022350 h 2495550"/>
                  <a:gd name="connsiteX22" fmla="*/ 96562 w 445812"/>
                  <a:gd name="connsiteY22" fmla="*/ 1057275 h 2495550"/>
                  <a:gd name="connsiteX23" fmla="*/ 52112 w 445812"/>
                  <a:gd name="connsiteY23" fmla="*/ 1143000 h 2495550"/>
                  <a:gd name="connsiteX24" fmla="*/ 20362 w 445812"/>
                  <a:gd name="connsiteY24" fmla="*/ 1244600 h 2495550"/>
                  <a:gd name="connsiteX25" fmla="*/ 1312 w 445812"/>
                  <a:gd name="connsiteY25" fmla="*/ 1346200 h 2495550"/>
                  <a:gd name="connsiteX26" fmla="*/ 10837 w 445812"/>
                  <a:gd name="connsiteY26" fmla="*/ 1438275 h 2495550"/>
                  <a:gd name="connsiteX27" fmla="*/ 83862 w 445812"/>
                  <a:gd name="connsiteY27" fmla="*/ 1511300 h 2495550"/>
                  <a:gd name="connsiteX28" fmla="*/ 112437 w 445812"/>
                  <a:gd name="connsiteY28" fmla="*/ 1558925 h 2495550"/>
                  <a:gd name="connsiteX29" fmla="*/ 150537 w 445812"/>
                  <a:gd name="connsiteY29" fmla="*/ 1590675 h 2495550"/>
                  <a:gd name="connsiteX30" fmla="*/ 169587 w 445812"/>
                  <a:gd name="connsiteY30" fmla="*/ 1644650 h 2495550"/>
                  <a:gd name="connsiteX31" fmla="*/ 226737 w 445812"/>
                  <a:gd name="connsiteY31" fmla="*/ 1685925 h 2495550"/>
                  <a:gd name="connsiteX32" fmla="*/ 264837 w 445812"/>
                  <a:gd name="connsiteY32" fmla="*/ 1730375 h 2495550"/>
                  <a:gd name="connsiteX33" fmla="*/ 277537 w 445812"/>
                  <a:gd name="connsiteY33" fmla="*/ 1758950 h 2495550"/>
                  <a:gd name="connsiteX34" fmla="*/ 277537 w 445812"/>
                  <a:gd name="connsiteY34" fmla="*/ 1828800 h 2495550"/>
                  <a:gd name="connsiteX35" fmla="*/ 325162 w 445812"/>
                  <a:gd name="connsiteY35" fmla="*/ 1905000 h 2495550"/>
                  <a:gd name="connsiteX36" fmla="*/ 363262 w 445812"/>
                  <a:gd name="connsiteY36" fmla="*/ 1962150 h 2495550"/>
                  <a:gd name="connsiteX37" fmla="*/ 369612 w 445812"/>
                  <a:gd name="connsiteY37" fmla="*/ 2028825 h 2495550"/>
                  <a:gd name="connsiteX38" fmla="*/ 226737 w 445812"/>
                  <a:gd name="connsiteY38" fmla="*/ 2495550 h 2495550"/>
                  <a:gd name="connsiteX0" fmla="*/ 445812 w 445812"/>
                  <a:gd name="connsiteY0" fmla="*/ 0 h 2495550"/>
                  <a:gd name="connsiteX1" fmla="*/ 407712 w 445812"/>
                  <a:gd name="connsiteY1" fmla="*/ 66675 h 2495550"/>
                  <a:gd name="connsiteX2" fmla="*/ 353737 w 445812"/>
                  <a:gd name="connsiteY2" fmla="*/ 85725 h 2495550"/>
                  <a:gd name="connsiteX3" fmla="*/ 283887 w 445812"/>
                  <a:gd name="connsiteY3" fmla="*/ 98425 h 2495550"/>
                  <a:gd name="connsiteX4" fmla="*/ 223562 w 445812"/>
                  <a:gd name="connsiteY4" fmla="*/ 133350 h 2495550"/>
                  <a:gd name="connsiteX5" fmla="*/ 121962 w 445812"/>
                  <a:gd name="connsiteY5" fmla="*/ 196850 h 2495550"/>
                  <a:gd name="connsiteX6" fmla="*/ 131487 w 445812"/>
                  <a:gd name="connsiteY6" fmla="*/ 247650 h 2495550"/>
                  <a:gd name="connsiteX7" fmla="*/ 172762 w 445812"/>
                  <a:gd name="connsiteY7" fmla="*/ 276225 h 2495550"/>
                  <a:gd name="connsiteX8" fmla="*/ 185462 w 445812"/>
                  <a:gd name="connsiteY8" fmla="*/ 327025 h 2495550"/>
                  <a:gd name="connsiteX9" fmla="*/ 239437 w 445812"/>
                  <a:gd name="connsiteY9" fmla="*/ 368300 h 2495550"/>
                  <a:gd name="connsiteX10" fmla="*/ 239437 w 445812"/>
                  <a:gd name="connsiteY10" fmla="*/ 412750 h 2495550"/>
                  <a:gd name="connsiteX11" fmla="*/ 207687 w 445812"/>
                  <a:gd name="connsiteY11" fmla="*/ 454025 h 2495550"/>
                  <a:gd name="connsiteX12" fmla="*/ 287062 w 445812"/>
                  <a:gd name="connsiteY12" fmla="*/ 479425 h 2495550"/>
                  <a:gd name="connsiteX13" fmla="*/ 302937 w 445812"/>
                  <a:gd name="connsiteY13" fmla="*/ 511175 h 2495550"/>
                  <a:gd name="connsiteX14" fmla="*/ 210862 w 445812"/>
                  <a:gd name="connsiteY14" fmla="*/ 581025 h 2495550"/>
                  <a:gd name="connsiteX15" fmla="*/ 160062 w 445812"/>
                  <a:gd name="connsiteY15" fmla="*/ 638175 h 2495550"/>
                  <a:gd name="connsiteX16" fmla="*/ 160062 w 445812"/>
                  <a:gd name="connsiteY16" fmla="*/ 695325 h 2495550"/>
                  <a:gd name="connsiteX17" fmla="*/ 185462 w 445812"/>
                  <a:gd name="connsiteY17" fmla="*/ 784225 h 2495550"/>
                  <a:gd name="connsiteX18" fmla="*/ 194987 w 445812"/>
                  <a:gd name="connsiteY18" fmla="*/ 835025 h 2495550"/>
                  <a:gd name="connsiteX19" fmla="*/ 204512 w 445812"/>
                  <a:gd name="connsiteY19" fmla="*/ 885825 h 2495550"/>
                  <a:gd name="connsiteX20" fmla="*/ 220387 w 445812"/>
                  <a:gd name="connsiteY20" fmla="*/ 923925 h 2495550"/>
                  <a:gd name="connsiteX21" fmla="*/ 163237 w 445812"/>
                  <a:gd name="connsiteY21" fmla="*/ 1022350 h 2495550"/>
                  <a:gd name="connsiteX22" fmla="*/ 96562 w 445812"/>
                  <a:gd name="connsiteY22" fmla="*/ 1057275 h 2495550"/>
                  <a:gd name="connsiteX23" fmla="*/ 52112 w 445812"/>
                  <a:gd name="connsiteY23" fmla="*/ 1143000 h 2495550"/>
                  <a:gd name="connsiteX24" fmla="*/ 20362 w 445812"/>
                  <a:gd name="connsiteY24" fmla="*/ 1244600 h 2495550"/>
                  <a:gd name="connsiteX25" fmla="*/ 1312 w 445812"/>
                  <a:gd name="connsiteY25" fmla="*/ 1346200 h 2495550"/>
                  <a:gd name="connsiteX26" fmla="*/ 10837 w 445812"/>
                  <a:gd name="connsiteY26" fmla="*/ 1438275 h 2495550"/>
                  <a:gd name="connsiteX27" fmla="*/ 83862 w 445812"/>
                  <a:gd name="connsiteY27" fmla="*/ 1511300 h 2495550"/>
                  <a:gd name="connsiteX28" fmla="*/ 112437 w 445812"/>
                  <a:gd name="connsiteY28" fmla="*/ 1558925 h 2495550"/>
                  <a:gd name="connsiteX29" fmla="*/ 150537 w 445812"/>
                  <a:gd name="connsiteY29" fmla="*/ 1590675 h 2495550"/>
                  <a:gd name="connsiteX30" fmla="*/ 169587 w 445812"/>
                  <a:gd name="connsiteY30" fmla="*/ 1644650 h 2495550"/>
                  <a:gd name="connsiteX31" fmla="*/ 226737 w 445812"/>
                  <a:gd name="connsiteY31" fmla="*/ 1685925 h 2495550"/>
                  <a:gd name="connsiteX32" fmla="*/ 264837 w 445812"/>
                  <a:gd name="connsiteY32" fmla="*/ 1730375 h 2495550"/>
                  <a:gd name="connsiteX33" fmla="*/ 277537 w 445812"/>
                  <a:gd name="connsiteY33" fmla="*/ 1758950 h 2495550"/>
                  <a:gd name="connsiteX34" fmla="*/ 277537 w 445812"/>
                  <a:gd name="connsiteY34" fmla="*/ 1828800 h 2495550"/>
                  <a:gd name="connsiteX35" fmla="*/ 325162 w 445812"/>
                  <a:gd name="connsiteY35" fmla="*/ 1905000 h 2495550"/>
                  <a:gd name="connsiteX36" fmla="*/ 363262 w 445812"/>
                  <a:gd name="connsiteY36" fmla="*/ 1962150 h 2495550"/>
                  <a:gd name="connsiteX37" fmla="*/ 369612 w 445812"/>
                  <a:gd name="connsiteY37" fmla="*/ 2028825 h 2495550"/>
                  <a:gd name="connsiteX38" fmla="*/ 414062 w 445812"/>
                  <a:gd name="connsiteY38" fmla="*/ 2209800 h 2495550"/>
                  <a:gd name="connsiteX39" fmla="*/ 226737 w 445812"/>
                  <a:gd name="connsiteY39" fmla="*/ 2495550 h 2495550"/>
                  <a:gd name="connsiteX0" fmla="*/ 445812 w 445812"/>
                  <a:gd name="connsiteY0" fmla="*/ 0 h 2495550"/>
                  <a:gd name="connsiteX1" fmla="*/ 407712 w 445812"/>
                  <a:gd name="connsiteY1" fmla="*/ 66675 h 2495550"/>
                  <a:gd name="connsiteX2" fmla="*/ 353737 w 445812"/>
                  <a:gd name="connsiteY2" fmla="*/ 85725 h 2495550"/>
                  <a:gd name="connsiteX3" fmla="*/ 283887 w 445812"/>
                  <a:gd name="connsiteY3" fmla="*/ 98425 h 2495550"/>
                  <a:gd name="connsiteX4" fmla="*/ 223562 w 445812"/>
                  <a:gd name="connsiteY4" fmla="*/ 133350 h 2495550"/>
                  <a:gd name="connsiteX5" fmla="*/ 121962 w 445812"/>
                  <a:gd name="connsiteY5" fmla="*/ 196850 h 2495550"/>
                  <a:gd name="connsiteX6" fmla="*/ 131487 w 445812"/>
                  <a:gd name="connsiteY6" fmla="*/ 247650 h 2495550"/>
                  <a:gd name="connsiteX7" fmla="*/ 172762 w 445812"/>
                  <a:gd name="connsiteY7" fmla="*/ 276225 h 2495550"/>
                  <a:gd name="connsiteX8" fmla="*/ 185462 w 445812"/>
                  <a:gd name="connsiteY8" fmla="*/ 327025 h 2495550"/>
                  <a:gd name="connsiteX9" fmla="*/ 239437 w 445812"/>
                  <a:gd name="connsiteY9" fmla="*/ 368300 h 2495550"/>
                  <a:gd name="connsiteX10" fmla="*/ 239437 w 445812"/>
                  <a:gd name="connsiteY10" fmla="*/ 412750 h 2495550"/>
                  <a:gd name="connsiteX11" fmla="*/ 207687 w 445812"/>
                  <a:gd name="connsiteY11" fmla="*/ 454025 h 2495550"/>
                  <a:gd name="connsiteX12" fmla="*/ 287062 w 445812"/>
                  <a:gd name="connsiteY12" fmla="*/ 479425 h 2495550"/>
                  <a:gd name="connsiteX13" fmla="*/ 302937 w 445812"/>
                  <a:gd name="connsiteY13" fmla="*/ 511175 h 2495550"/>
                  <a:gd name="connsiteX14" fmla="*/ 210862 w 445812"/>
                  <a:gd name="connsiteY14" fmla="*/ 581025 h 2495550"/>
                  <a:gd name="connsiteX15" fmla="*/ 160062 w 445812"/>
                  <a:gd name="connsiteY15" fmla="*/ 638175 h 2495550"/>
                  <a:gd name="connsiteX16" fmla="*/ 160062 w 445812"/>
                  <a:gd name="connsiteY16" fmla="*/ 695325 h 2495550"/>
                  <a:gd name="connsiteX17" fmla="*/ 185462 w 445812"/>
                  <a:gd name="connsiteY17" fmla="*/ 784225 h 2495550"/>
                  <a:gd name="connsiteX18" fmla="*/ 194987 w 445812"/>
                  <a:gd name="connsiteY18" fmla="*/ 835025 h 2495550"/>
                  <a:gd name="connsiteX19" fmla="*/ 204512 w 445812"/>
                  <a:gd name="connsiteY19" fmla="*/ 885825 h 2495550"/>
                  <a:gd name="connsiteX20" fmla="*/ 220387 w 445812"/>
                  <a:gd name="connsiteY20" fmla="*/ 923925 h 2495550"/>
                  <a:gd name="connsiteX21" fmla="*/ 163237 w 445812"/>
                  <a:gd name="connsiteY21" fmla="*/ 1022350 h 2495550"/>
                  <a:gd name="connsiteX22" fmla="*/ 96562 w 445812"/>
                  <a:gd name="connsiteY22" fmla="*/ 1057275 h 2495550"/>
                  <a:gd name="connsiteX23" fmla="*/ 52112 w 445812"/>
                  <a:gd name="connsiteY23" fmla="*/ 1143000 h 2495550"/>
                  <a:gd name="connsiteX24" fmla="*/ 20362 w 445812"/>
                  <a:gd name="connsiteY24" fmla="*/ 1244600 h 2495550"/>
                  <a:gd name="connsiteX25" fmla="*/ 1312 w 445812"/>
                  <a:gd name="connsiteY25" fmla="*/ 1346200 h 2495550"/>
                  <a:gd name="connsiteX26" fmla="*/ 10837 w 445812"/>
                  <a:gd name="connsiteY26" fmla="*/ 1438275 h 2495550"/>
                  <a:gd name="connsiteX27" fmla="*/ 83862 w 445812"/>
                  <a:gd name="connsiteY27" fmla="*/ 1511300 h 2495550"/>
                  <a:gd name="connsiteX28" fmla="*/ 112437 w 445812"/>
                  <a:gd name="connsiteY28" fmla="*/ 1558925 h 2495550"/>
                  <a:gd name="connsiteX29" fmla="*/ 150537 w 445812"/>
                  <a:gd name="connsiteY29" fmla="*/ 1590675 h 2495550"/>
                  <a:gd name="connsiteX30" fmla="*/ 169587 w 445812"/>
                  <a:gd name="connsiteY30" fmla="*/ 1644650 h 2495550"/>
                  <a:gd name="connsiteX31" fmla="*/ 226737 w 445812"/>
                  <a:gd name="connsiteY31" fmla="*/ 1685925 h 2495550"/>
                  <a:gd name="connsiteX32" fmla="*/ 264837 w 445812"/>
                  <a:gd name="connsiteY32" fmla="*/ 1730375 h 2495550"/>
                  <a:gd name="connsiteX33" fmla="*/ 277537 w 445812"/>
                  <a:gd name="connsiteY33" fmla="*/ 1758950 h 2495550"/>
                  <a:gd name="connsiteX34" fmla="*/ 277537 w 445812"/>
                  <a:gd name="connsiteY34" fmla="*/ 1828800 h 2495550"/>
                  <a:gd name="connsiteX35" fmla="*/ 325162 w 445812"/>
                  <a:gd name="connsiteY35" fmla="*/ 1905000 h 2495550"/>
                  <a:gd name="connsiteX36" fmla="*/ 363262 w 445812"/>
                  <a:gd name="connsiteY36" fmla="*/ 1962150 h 2495550"/>
                  <a:gd name="connsiteX37" fmla="*/ 369612 w 445812"/>
                  <a:gd name="connsiteY37" fmla="*/ 2028825 h 2495550"/>
                  <a:gd name="connsiteX38" fmla="*/ 407712 w 445812"/>
                  <a:gd name="connsiteY38" fmla="*/ 2085975 h 2495550"/>
                  <a:gd name="connsiteX39" fmla="*/ 414062 w 445812"/>
                  <a:gd name="connsiteY39" fmla="*/ 2209800 h 2495550"/>
                  <a:gd name="connsiteX40" fmla="*/ 226737 w 445812"/>
                  <a:gd name="connsiteY40" fmla="*/ 2495550 h 2495550"/>
                  <a:gd name="connsiteX0" fmla="*/ 445812 w 445812"/>
                  <a:gd name="connsiteY0" fmla="*/ 0 h 2495550"/>
                  <a:gd name="connsiteX1" fmla="*/ 407712 w 445812"/>
                  <a:gd name="connsiteY1" fmla="*/ 66675 h 2495550"/>
                  <a:gd name="connsiteX2" fmla="*/ 353737 w 445812"/>
                  <a:gd name="connsiteY2" fmla="*/ 85725 h 2495550"/>
                  <a:gd name="connsiteX3" fmla="*/ 283887 w 445812"/>
                  <a:gd name="connsiteY3" fmla="*/ 98425 h 2495550"/>
                  <a:gd name="connsiteX4" fmla="*/ 223562 w 445812"/>
                  <a:gd name="connsiteY4" fmla="*/ 133350 h 2495550"/>
                  <a:gd name="connsiteX5" fmla="*/ 121962 w 445812"/>
                  <a:gd name="connsiteY5" fmla="*/ 196850 h 2495550"/>
                  <a:gd name="connsiteX6" fmla="*/ 131487 w 445812"/>
                  <a:gd name="connsiteY6" fmla="*/ 247650 h 2495550"/>
                  <a:gd name="connsiteX7" fmla="*/ 172762 w 445812"/>
                  <a:gd name="connsiteY7" fmla="*/ 276225 h 2495550"/>
                  <a:gd name="connsiteX8" fmla="*/ 185462 w 445812"/>
                  <a:gd name="connsiteY8" fmla="*/ 327025 h 2495550"/>
                  <a:gd name="connsiteX9" fmla="*/ 239437 w 445812"/>
                  <a:gd name="connsiteY9" fmla="*/ 368300 h 2495550"/>
                  <a:gd name="connsiteX10" fmla="*/ 239437 w 445812"/>
                  <a:gd name="connsiteY10" fmla="*/ 412750 h 2495550"/>
                  <a:gd name="connsiteX11" fmla="*/ 207687 w 445812"/>
                  <a:gd name="connsiteY11" fmla="*/ 454025 h 2495550"/>
                  <a:gd name="connsiteX12" fmla="*/ 287062 w 445812"/>
                  <a:gd name="connsiteY12" fmla="*/ 479425 h 2495550"/>
                  <a:gd name="connsiteX13" fmla="*/ 302937 w 445812"/>
                  <a:gd name="connsiteY13" fmla="*/ 511175 h 2495550"/>
                  <a:gd name="connsiteX14" fmla="*/ 210862 w 445812"/>
                  <a:gd name="connsiteY14" fmla="*/ 581025 h 2495550"/>
                  <a:gd name="connsiteX15" fmla="*/ 160062 w 445812"/>
                  <a:gd name="connsiteY15" fmla="*/ 638175 h 2495550"/>
                  <a:gd name="connsiteX16" fmla="*/ 160062 w 445812"/>
                  <a:gd name="connsiteY16" fmla="*/ 695325 h 2495550"/>
                  <a:gd name="connsiteX17" fmla="*/ 185462 w 445812"/>
                  <a:gd name="connsiteY17" fmla="*/ 784225 h 2495550"/>
                  <a:gd name="connsiteX18" fmla="*/ 194987 w 445812"/>
                  <a:gd name="connsiteY18" fmla="*/ 835025 h 2495550"/>
                  <a:gd name="connsiteX19" fmla="*/ 204512 w 445812"/>
                  <a:gd name="connsiteY19" fmla="*/ 885825 h 2495550"/>
                  <a:gd name="connsiteX20" fmla="*/ 220387 w 445812"/>
                  <a:gd name="connsiteY20" fmla="*/ 923925 h 2495550"/>
                  <a:gd name="connsiteX21" fmla="*/ 163237 w 445812"/>
                  <a:gd name="connsiteY21" fmla="*/ 1022350 h 2495550"/>
                  <a:gd name="connsiteX22" fmla="*/ 96562 w 445812"/>
                  <a:gd name="connsiteY22" fmla="*/ 1057275 h 2495550"/>
                  <a:gd name="connsiteX23" fmla="*/ 52112 w 445812"/>
                  <a:gd name="connsiteY23" fmla="*/ 1143000 h 2495550"/>
                  <a:gd name="connsiteX24" fmla="*/ 20362 w 445812"/>
                  <a:gd name="connsiteY24" fmla="*/ 1244600 h 2495550"/>
                  <a:gd name="connsiteX25" fmla="*/ 1312 w 445812"/>
                  <a:gd name="connsiteY25" fmla="*/ 1346200 h 2495550"/>
                  <a:gd name="connsiteX26" fmla="*/ 10837 w 445812"/>
                  <a:gd name="connsiteY26" fmla="*/ 1438275 h 2495550"/>
                  <a:gd name="connsiteX27" fmla="*/ 83862 w 445812"/>
                  <a:gd name="connsiteY27" fmla="*/ 1511300 h 2495550"/>
                  <a:gd name="connsiteX28" fmla="*/ 112437 w 445812"/>
                  <a:gd name="connsiteY28" fmla="*/ 1558925 h 2495550"/>
                  <a:gd name="connsiteX29" fmla="*/ 150537 w 445812"/>
                  <a:gd name="connsiteY29" fmla="*/ 1590675 h 2495550"/>
                  <a:gd name="connsiteX30" fmla="*/ 169587 w 445812"/>
                  <a:gd name="connsiteY30" fmla="*/ 1644650 h 2495550"/>
                  <a:gd name="connsiteX31" fmla="*/ 226737 w 445812"/>
                  <a:gd name="connsiteY31" fmla="*/ 1685925 h 2495550"/>
                  <a:gd name="connsiteX32" fmla="*/ 264837 w 445812"/>
                  <a:gd name="connsiteY32" fmla="*/ 1730375 h 2495550"/>
                  <a:gd name="connsiteX33" fmla="*/ 277537 w 445812"/>
                  <a:gd name="connsiteY33" fmla="*/ 1758950 h 2495550"/>
                  <a:gd name="connsiteX34" fmla="*/ 277537 w 445812"/>
                  <a:gd name="connsiteY34" fmla="*/ 1828800 h 2495550"/>
                  <a:gd name="connsiteX35" fmla="*/ 325162 w 445812"/>
                  <a:gd name="connsiteY35" fmla="*/ 1905000 h 2495550"/>
                  <a:gd name="connsiteX36" fmla="*/ 363262 w 445812"/>
                  <a:gd name="connsiteY36" fmla="*/ 1962150 h 2495550"/>
                  <a:gd name="connsiteX37" fmla="*/ 369612 w 445812"/>
                  <a:gd name="connsiteY37" fmla="*/ 2028825 h 2495550"/>
                  <a:gd name="connsiteX38" fmla="*/ 407712 w 445812"/>
                  <a:gd name="connsiteY38" fmla="*/ 2085975 h 2495550"/>
                  <a:gd name="connsiteX39" fmla="*/ 414062 w 445812"/>
                  <a:gd name="connsiteY39" fmla="*/ 2209800 h 2495550"/>
                  <a:gd name="connsiteX40" fmla="*/ 252137 w 445812"/>
                  <a:gd name="connsiteY40" fmla="*/ 2251075 h 2495550"/>
                  <a:gd name="connsiteX41" fmla="*/ 226737 w 445812"/>
                  <a:gd name="connsiteY41" fmla="*/ 2495550 h 2495550"/>
                  <a:gd name="connsiteX0" fmla="*/ 445812 w 445812"/>
                  <a:gd name="connsiteY0" fmla="*/ 0 h 2495550"/>
                  <a:gd name="connsiteX1" fmla="*/ 407712 w 445812"/>
                  <a:gd name="connsiteY1" fmla="*/ 66675 h 2495550"/>
                  <a:gd name="connsiteX2" fmla="*/ 353737 w 445812"/>
                  <a:gd name="connsiteY2" fmla="*/ 85725 h 2495550"/>
                  <a:gd name="connsiteX3" fmla="*/ 283887 w 445812"/>
                  <a:gd name="connsiteY3" fmla="*/ 98425 h 2495550"/>
                  <a:gd name="connsiteX4" fmla="*/ 223562 w 445812"/>
                  <a:gd name="connsiteY4" fmla="*/ 133350 h 2495550"/>
                  <a:gd name="connsiteX5" fmla="*/ 121962 w 445812"/>
                  <a:gd name="connsiteY5" fmla="*/ 196850 h 2495550"/>
                  <a:gd name="connsiteX6" fmla="*/ 131487 w 445812"/>
                  <a:gd name="connsiteY6" fmla="*/ 247650 h 2495550"/>
                  <a:gd name="connsiteX7" fmla="*/ 172762 w 445812"/>
                  <a:gd name="connsiteY7" fmla="*/ 276225 h 2495550"/>
                  <a:gd name="connsiteX8" fmla="*/ 185462 w 445812"/>
                  <a:gd name="connsiteY8" fmla="*/ 327025 h 2495550"/>
                  <a:gd name="connsiteX9" fmla="*/ 239437 w 445812"/>
                  <a:gd name="connsiteY9" fmla="*/ 368300 h 2495550"/>
                  <a:gd name="connsiteX10" fmla="*/ 239437 w 445812"/>
                  <a:gd name="connsiteY10" fmla="*/ 412750 h 2495550"/>
                  <a:gd name="connsiteX11" fmla="*/ 207687 w 445812"/>
                  <a:gd name="connsiteY11" fmla="*/ 454025 h 2495550"/>
                  <a:gd name="connsiteX12" fmla="*/ 287062 w 445812"/>
                  <a:gd name="connsiteY12" fmla="*/ 479425 h 2495550"/>
                  <a:gd name="connsiteX13" fmla="*/ 302937 w 445812"/>
                  <a:gd name="connsiteY13" fmla="*/ 511175 h 2495550"/>
                  <a:gd name="connsiteX14" fmla="*/ 210862 w 445812"/>
                  <a:gd name="connsiteY14" fmla="*/ 581025 h 2495550"/>
                  <a:gd name="connsiteX15" fmla="*/ 160062 w 445812"/>
                  <a:gd name="connsiteY15" fmla="*/ 638175 h 2495550"/>
                  <a:gd name="connsiteX16" fmla="*/ 160062 w 445812"/>
                  <a:gd name="connsiteY16" fmla="*/ 695325 h 2495550"/>
                  <a:gd name="connsiteX17" fmla="*/ 185462 w 445812"/>
                  <a:gd name="connsiteY17" fmla="*/ 784225 h 2495550"/>
                  <a:gd name="connsiteX18" fmla="*/ 194987 w 445812"/>
                  <a:gd name="connsiteY18" fmla="*/ 835025 h 2495550"/>
                  <a:gd name="connsiteX19" fmla="*/ 204512 w 445812"/>
                  <a:gd name="connsiteY19" fmla="*/ 885825 h 2495550"/>
                  <a:gd name="connsiteX20" fmla="*/ 220387 w 445812"/>
                  <a:gd name="connsiteY20" fmla="*/ 923925 h 2495550"/>
                  <a:gd name="connsiteX21" fmla="*/ 163237 w 445812"/>
                  <a:gd name="connsiteY21" fmla="*/ 1022350 h 2495550"/>
                  <a:gd name="connsiteX22" fmla="*/ 96562 w 445812"/>
                  <a:gd name="connsiteY22" fmla="*/ 1057275 h 2495550"/>
                  <a:gd name="connsiteX23" fmla="*/ 52112 w 445812"/>
                  <a:gd name="connsiteY23" fmla="*/ 1143000 h 2495550"/>
                  <a:gd name="connsiteX24" fmla="*/ 20362 w 445812"/>
                  <a:gd name="connsiteY24" fmla="*/ 1244600 h 2495550"/>
                  <a:gd name="connsiteX25" fmla="*/ 1312 w 445812"/>
                  <a:gd name="connsiteY25" fmla="*/ 1346200 h 2495550"/>
                  <a:gd name="connsiteX26" fmla="*/ 10837 w 445812"/>
                  <a:gd name="connsiteY26" fmla="*/ 1438275 h 2495550"/>
                  <a:gd name="connsiteX27" fmla="*/ 83862 w 445812"/>
                  <a:gd name="connsiteY27" fmla="*/ 1511300 h 2495550"/>
                  <a:gd name="connsiteX28" fmla="*/ 112437 w 445812"/>
                  <a:gd name="connsiteY28" fmla="*/ 1558925 h 2495550"/>
                  <a:gd name="connsiteX29" fmla="*/ 150537 w 445812"/>
                  <a:gd name="connsiteY29" fmla="*/ 1590675 h 2495550"/>
                  <a:gd name="connsiteX30" fmla="*/ 169587 w 445812"/>
                  <a:gd name="connsiteY30" fmla="*/ 1644650 h 2495550"/>
                  <a:gd name="connsiteX31" fmla="*/ 226737 w 445812"/>
                  <a:gd name="connsiteY31" fmla="*/ 1685925 h 2495550"/>
                  <a:gd name="connsiteX32" fmla="*/ 264837 w 445812"/>
                  <a:gd name="connsiteY32" fmla="*/ 1730375 h 2495550"/>
                  <a:gd name="connsiteX33" fmla="*/ 277537 w 445812"/>
                  <a:gd name="connsiteY33" fmla="*/ 1758950 h 2495550"/>
                  <a:gd name="connsiteX34" fmla="*/ 277537 w 445812"/>
                  <a:gd name="connsiteY34" fmla="*/ 1828800 h 2495550"/>
                  <a:gd name="connsiteX35" fmla="*/ 325162 w 445812"/>
                  <a:gd name="connsiteY35" fmla="*/ 1905000 h 2495550"/>
                  <a:gd name="connsiteX36" fmla="*/ 363262 w 445812"/>
                  <a:gd name="connsiteY36" fmla="*/ 1962150 h 2495550"/>
                  <a:gd name="connsiteX37" fmla="*/ 369612 w 445812"/>
                  <a:gd name="connsiteY37" fmla="*/ 2028825 h 2495550"/>
                  <a:gd name="connsiteX38" fmla="*/ 407712 w 445812"/>
                  <a:gd name="connsiteY38" fmla="*/ 2085975 h 2495550"/>
                  <a:gd name="connsiteX39" fmla="*/ 414062 w 445812"/>
                  <a:gd name="connsiteY39" fmla="*/ 2209800 h 2495550"/>
                  <a:gd name="connsiteX40" fmla="*/ 252137 w 445812"/>
                  <a:gd name="connsiteY40" fmla="*/ 2251075 h 2495550"/>
                  <a:gd name="connsiteX41" fmla="*/ 226737 w 445812"/>
                  <a:gd name="connsiteY41" fmla="*/ 2495550 h 2495550"/>
                  <a:gd name="connsiteX0" fmla="*/ 445812 w 445812"/>
                  <a:gd name="connsiteY0" fmla="*/ 0 h 2968625"/>
                  <a:gd name="connsiteX1" fmla="*/ 407712 w 445812"/>
                  <a:gd name="connsiteY1" fmla="*/ 66675 h 2968625"/>
                  <a:gd name="connsiteX2" fmla="*/ 353737 w 445812"/>
                  <a:gd name="connsiteY2" fmla="*/ 85725 h 2968625"/>
                  <a:gd name="connsiteX3" fmla="*/ 283887 w 445812"/>
                  <a:gd name="connsiteY3" fmla="*/ 98425 h 2968625"/>
                  <a:gd name="connsiteX4" fmla="*/ 223562 w 445812"/>
                  <a:gd name="connsiteY4" fmla="*/ 133350 h 2968625"/>
                  <a:gd name="connsiteX5" fmla="*/ 121962 w 445812"/>
                  <a:gd name="connsiteY5" fmla="*/ 196850 h 2968625"/>
                  <a:gd name="connsiteX6" fmla="*/ 131487 w 445812"/>
                  <a:gd name="connsiteY6" fmla="*/ 247650 h 2968625"/>
                  <a:gd name="connsiteX7" fmla="*/ 172762 w 445812"/>
                  <a:gd name="connsiteY7" fmla="*/ 276225 h 2968625"/>
                  <a:gd name="connsiteX8" fmla="*/ 185462 w 445812"/>
                  <a:gd name="connsiteY8" fmla="*/ 327025 h 2968625"/>
                  <a:gd name="connsiteX9" fmla="*/ 239437 w 445812"/>
                  <a:gd name="connsiteY9" fmla="*/ 368300 h 2968625"/>
                  <a:gd name="connsiteX10" fmla="*/ 239437 w 445812"/>
                  <a:gd name="connsiteY10" fmla="*/ 412750 h 2968625"/>
                  <a:gd name="connsiteX11" fmla="*/ 207687 w 445812"/>
                  <a:gd name="connsiteY11" fmla="*/ 454025 h 2968625"/>
                  <a:gd name="connsiteX12" fmla="*/ 287062 w 445812"/>
                  <a:gd name="connsiteY12" fmla="*/ 479425 h 2968625"/>
                  <a:gd name="connsiteX13" fmla="*/ 302937 w 445812"/>
                  <a:gd name="connsiteY13" fmla="*/ 511175 h 2968625"/>
                  <a:gd name="connsiteX14" fmla="*/ 210862 w 445812"/>
                  <a:gd name="connsiteY14" fmla="*/ 581025 h 2968625"/>
                  <a:gd name="connsiteX15" fmla="*/ 160062 w 445812"/>
                  <a:gd name="connsiteY15" fmla="*/ 638175 h 2968625"/>
                  <a:gd name="connsiteX16" fmla="*/ 160062 w 445812"/>
                  <a:gd name="connsiteY16" fmla="*/ 695325 h 2968625"/>
                  <a:gd name="connsiteX17" fmla="*/ 185462 w 445812"/>
                  <a:gd name="connsiteY17" fmla="*/ 784225 h 2968625"/>
                  <a:gd name="connsiteX18" fmla="*/ 194987 w 445812"/>
                  <a:gd name="connsiteY18" fmla="*/ 835025 h 2968625"/>
                  <a:gd name="connsiteX19" fmla="*/ 204512 w 445812"/>
                  <a:gd name="connsiteY19" fmla="*/ 885825 h 2968625"/>
                  <a:gd name="connsiteX20" fmla="*/ 220387 w 445812"/>
                  <a:gd name="connsiteY20" fmla="*/ 923925 h 2968625"/>
                  <a:gd name="connsiteX21" fmla="*/ 163237 w 445812"/>
                  <a:gd name="connsiteY21" fmla="*/ 1022350 h 2968625"/>
                  <a:gd name="connsiteX22" fmla="*/ 96562 w 445812"/>
                  <a:gd name="connsiteY22" fmla="*/ 1057275 h 2968625"/>
                  <a:gd name="connsiteX23" fmla="*/ 52112 w 445812"/>
                  <a:gd name="connsiteY23" fmla="*/ 1143000 h 2968625"/>
                  <a:gd name="connsiteX24" fmla="*/ 20362 w 445812"/>
                  <a:gd name="connsiteY24" fmla="*/ 1244600 h 2968625"/>
                  <a:gd name="connsiteX25" fmla="*/ 1312 w 445812"/>
                  <a:gd name="connsiteY25" fmla="*/ 1346200 h 2968625"/>
                  <a:gd name="connsiteX26" fmla="*/ 10837 w 445812"/>
                  <a:gd name="connsiteY26" fmla="*/ 1438275 h 2968625"/>
                  <a:gd name="connsiteX27" fmla="*/ 83862 w 445812"/>
                  <a:gd name="connsiteY27" fmla="*/ 1511300 h 2968625"/>
                  <a:gd name="connsiteX28" fmla="*/ 112437 w 445812"/>
                  <a:gd name="connsiteY28" fmla="*/ 1558925 h 2968625"/>
                  <a:gd name="connsiteX29" fmla="*/ 150537 w 445812"/>
                  <a:gd name="connsiteY29" fmla="*/ 1590675 h 2968625"/>
                  <a:gd name="connsiteX30" fmla="*/ 169587 w 445812"/>
                  <a:gd name="connsiteY30" fmla="*/ 1644650 h 2968625"/>
                  <a:gd name="connsiteX31" fmla="*/ 226737 w 445812"/>
                  <a:gd name="connsiteY31" fmla="*/ 1685925 h 2968625"/>
                  <a:gd name="connsiteX32" fmla="*/ 264837 w 445812"/>
                  <a:gd name="connsiteY32" fmla="*/ 1730375 h 2968625"/>
                  <a:gd name="connsiteX33" fmla="*/ 277537 w 445812"/>
                  <a:gd name="connsiteY33" fmla="*/ 1758950 h 2968625"/>
                  <a:gd name="connsiteX34" fmla="*/ 277537 w 445812"/>
                  <a:gd name="connsiteY34" fmla="*/ 1828800 h 2968625"/>
                  <a:gd name="connsiteX35" fmla="*/ 325162 w 445812"/>
                  <a:gd name="connsiteY35" fmla="*/ 1905000 h 2968625"/>
                  <a:gd name="connsiteX36" fmla="*/ 363262 w 445812"/>
                  <a:gd name="connsiteY36" fmla="*/ 1962150 h 2968625"/>
                  <a:gd name="connsiteX37" fmla="*/ 369612 w 445812"/>
                  <a:gd name="connsiteY37" fmla="*/ 2028825 h 2968625"/>
                  <a:gd name="connsiteX38" fmla="*/ 407712 w 445812"/>
                  <a:gd name="connsiteY38" fmla="*/ 2085975 h 2968625"/>
                  <a:gd name="connsiteX39" fmla="*/ 414062 w 445812"/>
                  <a:gd name="connsiteY39" fmla="*/ 2209800 h 2968625"/>
                  <a:gd name="connsiteX40" fmla="*/ 252137 w 445812"/>
                  <a:gd name="connsiteY40" fmla="*/ 2251075 h 2968625"/>
                  <a:gd name="connsiteX41" fmla="*/ 134662 w 445812"/>
                  <a:gd name="connsiteY41" fmla="*/ 2968625 h 2968625"/>
                  <a:gd name="connsiteX0" fmla="*/ 445812 w 445812"/>
                  <a:gd name="connsiteY0" fmla="*/ 0 h 2968625"/>
                  <a:gd name="connsiteX1" fmla="*/ 407712 w 445812"/>
                  <a:gd name="connsiteY1" fmla="*/ 66675 h 2968625"/>
                  <a:gd name="connsiteX2" fmla="*/ 353737 w 445812"/>
                  <a:gd name="connsiteY2" fmla="*/ 85725 h 2968625"/>
                  <a:gd name="connsiteX3" fmla="*/ 283887 w 445812"/>
                  <a:gd name="connsiteY3" fmla="*/ 98425 h 2968625"/>
                  <a:gd name="connsiteX4" fmla="*/ 223562 w 445812"/>
                  <a:gd name="connsiteY4" fmla="*/ 133350 h 2968625"/>
                  <a:gd name="connsiteX5" fmla="*/ 121962 w 445812"/>
                  <a:gd name="connsiteY5" fmla="*/ 196850 h 2968625"/>
                  <a:gd name="connsiteX6" fmla="*/ 131487 w 445812"/>
                  <a:gd name="connsiteY6" fmla="*/ 247650 h 2968625"/>
                  <a:gd name="connsiteX7" fmla="*/ 172762 w 445812"/>
                  <a:gd name="connsiteY7" fmla="*/ 276225 h 2968625"/>
                  <a:gd name="connsiteX8" fmla="*/ 185462 w 445812"/>
                  <a:gd name="connsiteY8" fmla="*/ 327025 h 2968625"/>
                  <a:gd name="connsiteX9" fmla="*/ 239437 w 445812"/>
                  <a:gd name="connsiteY9" fmla="*/ 368300 h 2968625"/>
                  <a:gd name="connsiteX10" fmla="*/ 239437 w 445812"/>
                  <a:gd name="connsiteY10" fmla="*/ 412750 h 2968625"/>
                  <a:gd name="connsiteX11" fmla="*/ 207687 w 445812"/>
                  <a:gd name="connsiteY11" fmla="*/ 454025 h 2968625"/>
                  <a:gd name="connsiteX12" fmla="*/ 287062 w 445812"/>
                  <a:gd name="connsiteY12" fmla="*/ 479425 h 2968625"/>
                  <a:gd name="connsiteX13" fmla="*/ 302937 w 445812"/>
                  <a:gd name="connsiteY13" fmla="*/ 511175 h 2968625"/>
                  <a:gd name="connsiteX14" fmla="*/ 210862 w 445812"/>
                  <a:gd name="connsiteY14" fmla="*/ 581025 h 2968625"/>
                  <a:gd name="connsiteX15" fmla="*/ 160062 w 445812"/>
                  <a:gd name="connsiteY15" fmla="*/ 638175 h 2968625"/>
                  <a:gd name="connsiteX16" fmla="*/ 160062 w 445812"/>
                  <a:gd name="connsiteY16" fmla="*/ 695325 h 2968625"/>
                  <a:gd name="connsiteX17" fmla="*/ 185462 w 445812"/>
                  <a:gd name="connsiteY17" fmla="*/ 784225 h 2968625"/>
                  <a:gd name="connsiteX18" fmla="*/ 194987 w 445812"/>
                  <a:gd name="connsiteY18" fmla="*/ 835025 h 2968625"/>
                  <a:gd name="connsiteX19" fmla="*/ 204512 w 445812"/>
                  <a:gd name="connsiteY19" fmla="*/ 885825 h 2968625"/>
                  <a:gd name="connsiteX20" fmla="*/ 220387 w 445812"/>
                  <a:gd name="connsiteY20" fmla="*/ 923925 h 2968625"/>
                  <a:gd name="connsiteX21" fmla="*/ 163237 w 445812"/>
                  <a:gd name="connsiteY21" fmla="*/ 1022350 h 2968625"/>
                  <a:gd name="connsiteX22" fmla="*/ 96562 w 445812"/>
                  <a:gd name="connsiteY22" fmla="*/ 1057275 h 2968625"/>
                  <a:gd name="connsiteX23" fmla="*/ 52112 w 445812"/>
                  <a:gd name="connsiteY23" fmla="*/ 1143000 h 2968625"/>
                  <a:gd name="connsiteX24" fmla="*/ 20362 w 445812"/>
                  <a:gd name="connsiteY24" fmla="*/ 1244600 h 2968625"/>
                  <a:gd name="connsiteX25" fmla="*/ 1312 w 445812"/>
                  <a:gd name="connsiteY25" fmla="*/ 1346200 h 2968625"/>
                  <a:gd name="connsiteX26" fmla="*/ 10837 w 445812"/>
                  <a:gd name="connsiteY26" fmla="*/ 1438275 h 2968625"/>
                  <a:gd name="connsiteX27" fmla="*/ 83862 w 445812"/>
                  <a:gd name="connsiteY27" fmla="*/ 1511300 h 2968625"/>
                  <a:gd name="connsiteX28" fmla="*/ 112437 w 445812"/>
                  <a:gd name="connsiteY28" fmla="*/ 1558925 h 2968625"/>
                  <a:gd name="connsiteX29" fmla="*/ 150537 w 445812"/>
                  <a:gd name="connsiteY29" fmla="*/ 1590675 h 2968625"/>
                  <a:gd name="connsiteX30" fmla="*/ 169587 w 445812"/>
                  <a:gd name="connsiteY30" fmla="*/ 1644650 h 2968625"/>
                  <a:gd name="connsiteX31" fmla="*/ 226737 w 445812"/>
                  <a:gd name="connsiteY31" fmla="*/ 1685925 h 2968625"/>
                  <a:gd name="connsiteX32" fmla="*/ 264837 w 445812"/>
                  <a:gd name="connsiteY32" fmla="*/ 1730375 h 2968625"/>
                  <a:gd name="connsiteX33" fmla="*/ 277537 w 445812"/>
                  <a:gd name="connsiteY33" fmla="*/ 1758950 h 2968625"/>
                  <a:gd name="connsiteX34" fmla="*/ 277537 w 445812"/>
                  <a:gd name="connsiteY34" fmla="*/ 1828800 h 2968625"/>
                  <a:gd name="connsiteX35" fmla="*/ 325162 w 445812"/>
                  <a:gd name="connsiteY35" fmla="*/ 1905000 h 2968625"/>
                  <a:gd name="connsiteX36" fmla="*/ 363262 w 445812"/>
                  <a:gd name="connsiteY36" fmla="*/ 1962150 h 2968625"/>
                  <a:gd name="connsiteX37" fmla="*/ 369612 w 445812"/>
                  <a:gd name="connsiteY37" fmla="*/ 2028825 h 2968625"/>
                  <a:gd name="connsiteX38" fmla="*/ 407712 w 445812"/>
                  <a:gd name="connsiteY38" fmla="*/ 2085975 h 2968625"/>
                  <a:gd name="connsiteX39" fmla="*/ 414062 w 445812"/>
                  <a:gd name="connsiteY39" fmla="*/ 2209800 h 2968625"/>
                  <a:gd name="connsiteX40" fmla="*/ 252137 w 445812"/>
                  <a:gd name="connsiteY40" fmla="*/ 2251075 h 2968625"/>
                  <a:gd name="connsiteX41" fmla="*/ 201337 w 445812"/>
                  <a:gd name="connsiteY41" fmla="*/ 2390775 h 2968625"/>
                  <a:gd name="connsiteX42" fmla="*/ 134662 w 445812"/>
                  <a:gd name="connsiteY42" fmla="*/ 2968625 h 2968625"/>
                  <a:gd name="connsiteX0" fmla="*/ 445812 w 445812"/>
                  <a:gd name="connsiteY0" fmla="*/ 0 h 2968625"/>
                  <a:gd name="connsiteX1" fmla="*/ 407712 w 445812"/>
                  <a:gd name="connsiteY1" fmla="*/ 66675 h 2968625"/>
                  <a:gd name="connsiteX2" fmla="*/ 353737 w 445812"/>
                  <a:gd name="connsiteY2" fmla="*/ 85725 h 2968625"/>
                  <a:gd name="connsiteX3" fmla="*/ 283887 w 445812"/>
                  <a:gd name="connsiteY3" fmla="*/ 98425 h 2968625"/>
                  <a:gd name="connsiteX4" fmla="*/ 223562 w 445812"/>
                  <a:gd name="connsiteY4" fmla="*/ 133350 h 2968625"/>
                  <a:gd name="connsiteX5" fmla="*/ 121962 w 445812"/>
                  <a:gd name="connsiteY5" fmla="*/ 196850 h 2968625"/>
                  <a:gd name="connsiteX6" fmla="*/ 131487 w 445812"/>
                  <a:gd name="connsiteY6" fmla="*/ 247650 h 2968625"/>
                  <a:gd name="connsiteX7" fmla="*/ 172762 w 445812"/>
                  <a:gd name="connsiteY7" fmla="*/ 276225 h 2968625"/>
                  <a:gd name="connsiteX8" fmla="*/ 185462 w 445812"/>
                  <a:gd name="connsiteY8" fmla="*/ 327025 h 2968625"/>
                  <a:gd name="connsiteX9" fmla="*/ 239437 w 445812"/>
                  <a:gd name="connsiteY9" fmla="*/ 368300 h 2968625"/>
                  <a:gd name="connsiteX10" fmla="*/ 239437 w 445812"/>
                  <a:gd name="connsiteY10" fmla="*/ 412750 h 2968625"/>
                  <a:gd name="connsiteX11" fmla="*/ 207687 w 445812"/>
                  <a:gd name="connsiteY11" fmla="*/ 454025 h 2968625"/>
                  <a:gd name="connsiteX12" fmla="*/ 287062 w 445812"/>
                  <a:gd name="connsiteY12" fmla="*/ 479425 h 2968625"/>
                  <a:gd name="connsiteX13" fmla="*/ 302937 w 445812"/>
                  <a:gd name="connsiteY13" fmla="*/ 511175 h 2968625"/>
                  <a:gd name="connsiteX14" fmla="*/ 210862 w 445812"/>
                  <a:gd name="connsiteY14" fmla="*/ 581025 h 2968625"/>
                  <a:gd name="connsiteX15" fmla="*/ 160062 w 445812"/>
                  <a:gd name="connsiteY15" fmla="*/ 638175 h 2968625"/>
                  <a:gd name="connsiteX16" fmla="*/ 160062 w 445812"/>
                  <a:gd name="connsiteY16" fmla="*/ 695325 h 2968625"/>
                  <a:gd name="connsiteX17" fmla="*/ 185462 w 445812"/>
                  <a:gd name="connsiteY17" fmla="*/ 784225 h 2968625"/>
                  <a:gd name="connsiteX18" fmla="*/ 194987 w 445812"/>
                  <a:gd name="connsiteY18" fmla="*/ 835025 h 2968625"/>
                  <a:gd name="connsiteX19" fmla="*/ 204512 w 445812"/>
                  <a:gd name="connsiteY19" fmla="*/ 885825 h 2968625"/>
                  <a:gd name="connsiteX20" fmla="*/ 220387 w 445812"/>
                  <a:gd name="connsiteY20" fmla="*/ 923925 h 2968625"/>
                  <a:gd name="connsiteX21" fmla="*/ 163237 w 445812"/>
                  <a:gd name="connsiteY21" fmla="*/ 1022350 h 2968625"/>
                  <a:gd name="connsiteX22" fmla="*/ 96562 w 445812"/>
                  <a:gd name="connsiteY22" fmla="*/ 1057275 h 2968625"/>
                  <a:gd name="connsiteX23" fmla="*/ 52112 w 445812"/>
                  <a:gd name="connsiteY23" fmla="*/ 1143000 h 2968625"/>
                  <a:gd name="connsiteX24" fmla="*/ 20362 w 445812"/>
                  <a:gd name="connsiteY24" fmla="*/ 1244600 h 2968625"/>
                  <a:gd name="connsiteX25" fmla="*/ 1312 w 445812"/>
                  <a:gd name="connsiteY25" fmla="*/ 1346200 h 2968625"/>
                  <a:gd name="connsiteX26" fmla="*/ 10837 w 445812"/>
                  <a:gd name="connsiteY26" fmla="*/ 1438275 h 2968625"/>
                  <a:gd name="connsiteX27" fmla="*/ 83862 w 445812"/>
                  <a:gd name="connsiteY27" fmla="*/ 1511300 h 2968625"/>
                  <a:gd name="connsiteX28" fmla="*/ 112437 w 445812"/>
                  <a:gd name="connsiteY28" fmla="*/ 1558925 h 2968625"/>
                  <a:gd name="connsiteX29" fmla="*/ 150537 w 445812"/>
                  <a:gd name="connsiteY29" fmla="*/ 1590675 h 2968625"/>
                  <a:gd name="connsiteX30" fmla="*/ 169587 w 445812"/>
                  <a:gd name="connsiteY30" fmla="*/ 1644650 h 2968625"/>
                  <a:gd name="connsiteX31" fmla="*/ 226737 w 445812"/>
                  <a:gd name="connsiteY31" fmla="*/ 1685925 h 2968625"/>
                  <a:gd name="connsiteX32" fmla="*/ 264837 w 445812"/>
                  <a:gd name="connsiteY32" fmla="*/ 1730375 h 2968625"/>
                  <a:gd name="connsiteX33" fmla="*/ 277537 w 445812"/>
                  <a:gd name="connsiteY33" fmla="*/ 1758950 h 2968625"/>
                  <a:gd name="connsiteX34" fmla="*/ 277537 w 445812"/>
                  <a:gd name="connsiteY34" fmla="*/ 1828800 h 2968625"/>
                  <a:gd name="connsiteX35" fmla="*/ 325162 w 445812"/>
                  <a:gd name="connsiteY35" fmla="*/ 1905000 h 2968625"/>
                  <a:gd name="connsiteX36" fmla="*/ 363262 w 445812"/>
                  <a:gd name="connsiteY36" fmla="*/ 1962150 h 2968625"/>
                  <a:gd name="connsiteX37" fmla="*/ 369612 w 445812"/>
                  <a:gd name="connsiteY37" fmla="*/ 2028825 h 2968625"/>
                  <a:gd name="connsiteX38" fmla="*/ 407712 w 445812"/>
                  <a:gd name="connsiteY38" fmla="*/ 2085975 h 2968625"/>
                  <a:gd name="connsiteX39" fmla="*/ 414062 w 445812"/>
                  <a:gd name="connsiteY39" fmla="*/ 2209800 h 2968625"/>
                  <a:gd name="connsiteX40" fmla="*/ 252137 w 445812"/>
                  <a:gd name="connsiteY40" fmla="*/ 2251075 h 2968625"/>
                  <a:gd name="connsiteX41" fmla="*/ 201337 w 445812"/>
                  <a:gd name="connsiteY41" fmla="*/ 2390775 h 2968625"/>
                  <a:gd name="connsiteX42" fmla="*/ 134662 w 445812"/>
                  <a:gd name="connsiteY42" fmla="*/ 2968625 h 2968625"/>
                  <a:gd name="connsiteX0" fmla="*/ 445812 w 445812"/>
                  <a:gd name="connsiteY0" fmla="*/ 0 h 2968625"/>
                  <a:gd name="connsiteX1" fmla="*/ 407712 w 445812"/>
                  <a:gd name="connsiteY1" fmla="*/ 66675 h 2968625"/>
                  <a:gd name="connsiteX2" fmla="*/ 353737 w 445812"/>
                  <a:gd name="connsiteY2" fmla="*/ 85725 h 2968625"/>
                  <a:gd name="connsiteX3" fmla="*/ 283887 w 445812"/>
                  <a:gd name="connsiteY3" fmla="*/ 98425 h 2968625"/>
                  <a:gd name="connsiteX4" fmla="*/ 223562 w 445812"/>
                  <a:gd name="connsiteY4" fmla="*/ 133350 h 2968625"/>
                  <a:gd name="connsiteX5" fmla="*/ 121962 w 445812"/>
                  <a:gd name="connsiteY5" fmla="*/ 196850 h 2968625"/>
                  <a:gd name="connsiteX6" fmla="*/ 131487 w 445812"/>
                  <a:gd name="connsiteY6" fmla="*/ 247650 h 2968625"/>
                  <a:gd name="connsiteX7" fmla="*/ 172762 w 445812"/>
                  <a:gd name="connsiteY7" fmla="*/ 276225 h 2968625"/>
                  <a:gd name="connsiteX8" fmla="*/ 185462 w 445812"/>
                  <a:gd name="connsiteY8" fmla="*/ 327025 h 2968625"/>
                  <a:gd name="connsiteX9" fmla="*/ 239437 w 445812"/>
                  <a:gd name="connsiteY9" fmla="*/ 368300 h 2968625"/>
                  <a:gd name="connsiteX10" fmla="*/ 239437 w 445812"/>
                  <a:gd name="connsiteY10" fmla="*/ 412750 h 2968625"/>
                  <a:gd name="connsiteX11" fmla="*/ 207687 w 445812"/>
                  <a:gd name="connsiteY11" fmla="*/ 454025 h 2968625"/>
                  <a:gd name="connsiteX12" fmla="*/ 287062 w 445812"/>
                  <a:gd name="connsiteY12" fmla="*/ 479425 h 2968625"/>
                  <a:gd name="connsiteX13" fmla="*/ 302937 w 445812"/>
                  <a:gd name="connsiteY13" fmla="*/ 511175 h 2968625"/>
                  <a:gd name="connsiteX14" fmla="*/ 210862 w 445812"/>
                  <a:gd name="connsiteY14" fmla="*/ 581025 h 2968625"/>
                  <a:gd name="connsiteX15" fmla="*/ 160062 w 445812"/>
                  <a:gd name="connsiteY15" fmla="*/ 638175 h 2968625"/>
                  <a:gd name="connsiteX16" fmla="*/ 160062 w 445812"/>
                  <a:gd name="connsiteY16" fmla="*/ 695325 h 2968625"/>
                  <a:gd name="connsiteX17" fmla="*/ 185462 w 445812"/>
                  <a:gd name="connsiteY17" fmla="*/ 784225 h 2968625"/>
                  <a:gd name="connsiteX18" fmla="*/ 194987 w 445812"/>
                  <a:gd name="connsiteY18" fmla="*/ 835025 h 2968625"/>
                  <a:gd name="connsiteX19" fmla="*/ 204512 w 445812"/>
                  <a:gd name="connsiteY19" fmla="*/ 885825 h 2968625"/>
                  <a:gd name="connsiteX20" fmla="*/ 220387 w 445812"/>
                  <a:gd name="connsiteY20" fmla="*/ 923925 h 2968625"/>
                  <a:gd name="connsiteX21" fmla="*/ 163237 w 445812"/>
                  <a:gd name="connsiteY21" fmla="*/ 1022350 h 2968625"/>
                  <a:gd name="connsiteX22" fmla="*/ 96562 w 445812"/>
                  <a:gd name="connsiteY22" fmla="*/ 1057275 h 2968625"/>
                  <a:gd name="connsiteX23" fmla="*/ 52112 w 445812"/>
                  <a:gd name="connsiteY23" fmla="*/ 1143000 h 2968625"/>
                  <a:gd name="connsiteX24" fmla="*/ 20362 w 445812"/>
                  <a:gd name="connsiteY24" fmla="*/ 1244600 h 2968625"/>
                  <a:gd name="connsiteX25" fmla="*/ 1312 w 445812"/>
                  <a:gd name="connsiteY25" fmla="*/ 1346200 h 2968625"/>
                  <a:gd name="connsiteX26" fmla="*/ 10837 w 445812"/>
                  <a:gd name="connsiteY26" fmla="*/ 1438275 h 2968625"/>
                  <a:gd name="connsiteX27" fmla="*/ 83862 w 445812"/>
                  <a:gd name="connsiteY27" fmla="*/ 1511300 h 2968625"/>
                  <a:gd name="connsiteX28" fmla="*/ 112437 w 445812"/>
                  <a:gd name="connsiteY28" fmla="*/ 1558925 h 2968625"/>
                  <a:gd name="connsiteX29" fmla="*/ 150537 w 445812"/>
                  <a:gd name="connsiteY29" fmla="*/ 1590675 h 2968625"/>
                  <a:gd name="connsiteX30" fmla="*/ 169587 w 445812"/>
                  <a:gd name="connsiteY30" fmla="*/ 1644650 h 2968625"/>
                  <a:gd name="connsiteX31" fmla="*/ 226737 w 445812"/>
                  <a:gd name="connsiteY31" fmla="*/ 1685925 h 2968625"/>
                  <a:gd name="connsiteX32" fmla="*/ 264837 w 445812"/>
                  <a:gd name="connsiteY32" fmla="*/ 1730375 h 2968625"/>
                  <a:gd name="connsiteX33" fmla="*/ 277537 w 445812"/>
                  <a:gd name="connsiteY33" fmla="*/ 1758950 h 2968625"/>
                  <a:gd name="connsiteX34" fmla="*/ 277537 w 445812"/>
                  <a:gd name="connsiteY34" fmla="*/ 1828800 h 2968625"/>
                  <a:gd name="connsiteX35" fmla="*/ 325162 w 445812"/>
                  <a:gd name="connsiteY35" fmla="*/ 1905000 h 2968625"/>
                  <a:gd name="connsiteX36" fmla="*/ 363262 w 445812"/>
                  <a:gd name="connsiteY36" fmla="*/ 1962150 h 2968625"/>
                  <a:gd name="connsiteX37" fmla="*/ 369612 w 445812"/>
                  <a:gd name="connsiteY37" fmla="*/ 2028825 h 2968625"/>
                  <a:gd name="connsiteX38" fmla="*/ 407712 w 445812"/>
                  <a:gd name="connsiteY38" fmla="*/ 2085975 h 2968625"/>
                  <a:gd name="connsiteX39" fmla="*/ 414062 w 445812"/>
                  <a:gd name="connsiteY39" fmla="*/ 2209800 h 2968625"/>
                  <a:gd name="connsiteX40" fmla="*/ 252137 w 445812"/>
                  <a:gd name="connsiteY40" fmla="*/ 2251075 h 2968625"/>
                  <a:gd name="connsiteX41" fmla="*/ 201337 w 445812"/>
                  <a:gd name="connsiteY41" fmla="*/ 2390775 h 2968625"/>
                  <a:gd name="connsiteX42" fmla="*/ 236262 w 445812"/>
                  <a:gd name="connsiteY42" fmla="*/ 2517775 h 2968625"/>
                  <a:gd name="connsiteX43" fmla="*/ 134662 w 445812"/>
                  <a:gd name="connsiteY43" fmla="*/ 2968625 h 2968625"/>
                  <a:gd name="connsiteX0" fmla="*/ 445812 w 445812"/>
                  <a:gd name="connsiteY0" fmla="*/ 0 h 2968625"/>
                  <a:gd name="connsiteX1" fmla="*/ 407712 w 445812"/>
                  <a:gd name="connsiteY1" fmla="*/ 66675 h 2968625"/>
                  <a:gd name="connsiteX2" fmla="*/ 353737 w 445812"/>
                  <a:gd name="connsiteY2" fmla="*/ 85725 h 2968625"/>
                  <a:gd name="connsiteX3" fmla="*/ 283887 w 445812"/>
                  <a:gd name="connsiteY3" fmla="*/ 98425 h 2968625"/>
                  <a:gd name="connsiteX4" fmla="*/ 223562 w 445812"/>
                  <a:gd name="connsiteY4" fmla="*/ 133350 h 2968625"/>
                  <a:gd name="connsiteX5" fmla="*/ 121962 w 445812"/>
                  <a:gd name="connsiteY5" fmla="*/ 196850 h 2968625"/>
                  <a:gd name="connsiteX6" fmla="*/ 131487 w 445812"/>
                  <a:gd name="connsiteY6" fmla="*/ 247650 h 2968625"/>
                  <a:gd name="connsiteX7" fmla="*/ 172762 w 445812"/>
                  <a:gd name="connsiteY7" fmla="*/ 276225 h 2968625"/>
                  <a:gd name="connsiteX8" fmla="*/ 185462 w 445812"/>
                  <a:gd name="connsiteY8" fmla="*/ 327025 h 2968625"/>
                  <a:gd name="connsiteX9" fmla="*/ 239437 w 445812"/>
                  <a:gd name="connsiteY9" fmla="*/ 368300 h 2968625"/>
                  <a:gd name="connsiteX10" fmla="*/ 239437 w 445812"/>
                  <a:gd name="connsiteY10" fmla="*/ 412750 h 2968625"/>
                  <a:gd name="connsiteX11" fmla="*/ 207687 w 445812"/>
                  <a:gd name="connsiteY11" fmla="*/ 454025 h 2968625"/>
                  <a:gd name="connsiteX12" fmla="*/ 287062 w 445812"/>
                  <a:gd name="connsiteY12" fmla="*/ 479425 h 2968625"/>
                  <a:gd name="connsiteX13" fmla="*/ 302937 w 445812"/>
                  <a:gd name="connsiteY13" fmla="*/ 511175 h 2968625"/>
                  <a:gd name="connsiteX14" fmla="*/ 210862 w 445812"/>
                  <a:gd name="connsiteY14" fmla="*/ 581025 h 2968625"/>
                  <a:gd name="connsiteX15" fmla="*/ 160062 w 445812"/>
                  <a:gd name="connsiteY15" fmla="*/ 638175 h 2968625"/>
                  <a:gd name="connsiteX16" fmla="*/ 160062 w 445812"/>
                  <a:gd name="connsiteY16" fmla="*/ 695325 h 2968625"/>
                  <a:gd name="connsiteX17" fmla="*/ 185462 w 445812"/>
                  <a:gd name="connsiteY17" fmla="*/ 784225 h 2968625"/>
                  <a:gd name="connsiteX18" fmla="*/ 194987 w 445812"/>
                  <a:gd name="connsiteY18" fmla="*/ 835025 h 2968625"/>
                  <a:gd name="connsiteX19" fmla="*/ 204512 w 445812"/>
                  <a:gd name="connsiteY19" fmla="*/ 885825 h 2968625"/>
                  <a:gd name="connsiteX20" fmla="*/ 220387 w 445812"/>
                  <a:gd name="connsiteY20" fmla="*/ 923925 h 2968625"/>
                  <a:gd name="connsiteX21" fmla="*/ 163237 w 445812"/>
                  <a:gd name="connsiteY21" fmla="*/ 1022350 h 2968625"/>
                  <a:gd name="connsiteX22" fmla="*/ 96562 w 445812"/>
                  <a:gd name="connsiteY22" fmla="*/ 1057275 h 2968625"/>
                  <a:gd name="connsiteX23" fmla="*/ 52112 w 445812"/>
                  <a:gd name="connsiteY23" fmla="*/ 1143000 h 2968625"/>
                  <a:gd name="connsiteX24" fmla="*/ 20362 w 445812"/>
                  <a:gd name="connsiteY24" fmla="*/ 1244600 h 2968625"/>
                  <a:gd name="connsiteX25" fmla="*/ 1312 w 445812"/>
                  <a:gd name="connsiteY25" fmla="*/ 1346200 h 2968625"/>
                  <a:gd name="connsiteX26" fmla="*/ 10837 w 445812"/>
                  <a:gd name="connsiteY26" fmla="*/ 1438275 h 2968625"/>
                  <a:gd name="connsiteX27" fmla="*/ 83862 w 445812"/>
                  <a:gd name="connsiteY27" fmla="*/ 1511300 h 2968625"/>
                  <a:gd name="connsiteX28" fmla="*/ 112437 w 445812"/>
                  <a:gd name="connsiteY28" fmla="*/ 1558925 h 2968625"/>
                  <a:gd name="connsiteX29" fmla="*/ 150537 w 445812"/>
                  <a:gd name="connsiteY29" fmla="*/ 1590675 h 2968625"/>
                  <a:gd name="connsiteX30" fmla="*/ 169587 w 445812"/>
                  <a:gd name="connsiteY30" fmla="*/ 1644650 h 2968625"/>
                  <a:gd name="connsiteX31" fmla="*/ 226737 w 445812"/>
                  <a:gd name="connsiteY31" fmla="*/ 1685925 h 2968625"/>
                  <a:gd name="connsiteX32" fmla="*/ 264837 w 445812"/>
                  <a:gd name="connsiteY32" fmla="*/ 1730375 h 2968625"/>
                  <a:gd name="connsiteX33" fmla="*/ 277537 w 445812"/>
                  <a:gd name="connsiteY33" fmla="*/ 1758950 h 2968625"/>
                  <a:gd name="connsiteX34" fmla="*/ 277537 w 445812"/>
                  <a:gd name="connsiteY34" fmla="*/ 1828800 h 2968625"/>
                  <a:gd name="connsiteX35" fmla="*/ 325162 w 445812"/>
                  <a:gd name="connsiteY35" fmla="*/ 1905000 h 2968625"/>
                  <a:gd name="connsiteX36" fmla="*/ 363262 w 445812"/>
                  <a:gd name="connsiteY36" fmla="*/ 1962150 h 2968625"/>
                  <a:gd name="connsiteX37" fmla="*/ 369612 w 445812"/>
                  <a:gd name="connsiteY37" fmla="*/ 2028825 h 2968625"/>
                  <a:gd name="connsiteX38" fmla="*/ 407712 w 445812"/>
                  <a:gd name="connsiteY38" fmla="*/ 2085975 h 2968625"/>
                  <a:gd name="connsiteX39" fmla="*/ 414062 w 445812"/>
                  <a:gd name="connsiteY39" fmla="*/ 2209800 h 2968625"/>
                  <a:gd name="connsiteX40" fmla="*/ 252137 w 445812"/>
                  <a:gd name="connsiteY40" fmla="*/ 2251075 h 2968625"/>
                  <a:gd name="connsiteX41" fmla="*/ 201337 w 445812"/>
                  <a:gd name="connsiteY41" fmla="*/ 2390775 h 2968625"/>
                  <a:gd name="connsiteX42" fmla="*/ 210862 w 445812"/>
                  <a:gd name="connsiteY42" fmla="*/ 2454275 h 2968625"/>
                  <a:gd name="connsiteX43" fmla="*/ 236262 w 445812"/>
                  <a:gd name="connsiteY43" fmla="*/ 2517775 h 2968625"/>
                  <a:gd name="connsiteX44" fmla="*/ 134662 w 445812"/>
                  <a:gd name="connsiteY44" fmla="*/ 2968625 h 2968625"/>
                  <a:gd name="connsiteX0" fmla="*/ 445812 w 445812"/>
                  <a:gd name="connsiteY0" fmla="*/ 0 h 2968625"/>
                  <a:gd name="connsiteX1" fmla="*/ 407712 w 445812"/>
                  <a:gd name="connsiteY1" fmla="*/ 66675 h 2968625"/>
                  <a:gd name="connsiteX2" fmla="*/ 353737 w 445812"/>
                  <a:gd name="connsiteY2" fmla="*/ 85725 h 2968625"/>
                  <a:gd name="connsiteX3" fmla="*/ 283887 w 445812"/>
                  <a:gd name="connsiteY3" fmla="*/ 98425 h 2968625"/>
                  <a:gd name="connsiteX4" fmla="*/ 223562 w 445812"/>
                  <a:gd name="connsiteY4" fmla="*/ 133350 h 2968625"/>
                  <a:gd name="connsiteX5" fmla="*/ 121962 w 445812"/>
                  <a:gd name="connsiteY5" fmla="*/ 196850 h 2968625"/>
                  <a:gd name="connsiteX6" fmla="*/ 131487 w 445812"/>
                  <a:gd name="connsiteY6" fmla="*/ 247650 h 2968625"/>
                  <a:gd name="connsiteX7" fmla="*/ 172762 w 445812"/>
                  <a:gd name="connsiteY7" fmla="*/ 276225 h 2968625"/>
                  <a:gd name="connsiteX8" fmla="*/ 185462 w 445812"/>
                  <a:gd name="connsiteY8" fmla="*/ 327025 h 2968625"/>
                  <a:gd name="connsiteX9" fmla="*/ 239437 w 445812"/>
                  <a:gd name="connsiteY9" fmla="*/ 368300 h 2968625"/>
                  <a:gd name="connsiteX10" fmla="*/ 239437 w 445812"/>
                  <a:gd name="connsiteY10" fmla="*/ 412750 h 2968625"/>
                  <a:gd name="connsiteX11" fmla="*/ 207687 w 445812"/>
                  <a:gd name="connsiteY11" fmla="*/ 454025 h 2968625"/>
                  <a:gd name="connsiteX12" fmla="*/ 287062 w 445812"/>
                  <a:gd name="connsiteY12" fmla="*/ 479425 h 2968625"/>
                  <a:gd name="connsiteX13" fmla="*/ 302937 w 445812"/>
                  <a:gd name="connsiteY13" fmla="*/ 511175 h 2968625"/>
                  <a:gd name="connsiteX14" fmla="*/ 210862 w 445812"/>
                  <a:gd name="connsiteY14" fmla="*/ 581025 h 2968625"/>
                  <a:gd name="connsiteX15" fmla="*/ 160062 w 445812"/>
                  <a:gd name="connsiteY15" fmla="*/ 638175 h 2968625"/>
                  <a:gd name="connsiteX16" fmla="*/ 160062 w 445812"/>
                  <a:gd name="connsiteY16" fmla="*/ 695325 h 2968625"/>
                  <a:gd name="connsiteX17" fmla="*/ 185462 w 445812"/>
                  <a:gd name="connsiteY17" fmla="*/ 784225 h 2968625"/>
                  <a:gd name="connsiteX18" fmla="*/ 194987 w 445812"/>
                  <a:gd name="connsiteY18" fmla="*/ 835025 h 2968625"/>
                  <a:gd name="connsiteX19" fmla="*/ 204512 w 445812"/>
                  <a:gd name="connsiteY19" fmla="*/ 885825 h 2968625"/>
                  <a:gd name="connsiteX20" fmla="*/ 220387 w 445812"/>
                  <a:gd name="connsiteY20" fmla="*/ 923925 h 2968625"/>
                  <a:gd name="connsiteX21" fmla="*/ 163237 w 445812"/>
                  <a:gd name="connsiteY21" fmla="*/ 1022350 h 2968625"/>
                  <a:gd name="connsiteX22" fmla="*/ 96562 w 445812"/>
                  <a:gd name="connsiteY22" fmla="*/ 1057275 h 2968625"/>
                  <a:gd name="connsiteX23" fmla="*/ 52112 w 445812"/>
                  <a:gd name="connsiteY23" fmla="*/ 1143000 h 2968625"/>
                  <a:gd name="connsiteX24" fmla="*/ 20362 w 445812"/>
                  <a:gd name="connsiteY24" fmla="*/ 1244600 h 2968625"/>
                  <a:gd name="connsiteX25" fmla="*/ 1312 w 445812"/>
                  <a:gd name="connsiteY25" fmla="*/ 1346200 h 2968625"/>
                  <a:gd name="connsiteX26" fmla="*/ 10837 w 445812"/>
                  <a:gd name="connsiteY26" fmla="*/ 1438275 h 2968625"/>
                  <a:gd name="connsiteX27" fmla="*/ 83862 w 445812"/>
                  <a:gd name="connsiteY27" fmla="*/ 1511300 h 2968625"/>
                  <a:gd name="connsiteX28" fmla="*/ 112437 w 445812"/>
                  <a:gd name="connsiteY28" fmla="*/ 1558925 h 2968625"/>
                  <a:gd name="connsiteX29" fmla="*/ 150537 w 445812"/>
                  <a:gd name="connsiteY29" fmla="*/ 1590675 h 2968625"/>
                  <a:gd name="connsiteX30" fmla="*/ 169587 w 445812"/>
                  <a:gd name="connsiteY30" fmla="*/ 1644650 h 2968625"/>
                  <a:gd name="connsiteX31" fmla="*/ 226737 w 445812"/>
                  <a:gd name="connsiteY31" fmla="*/ 1685925 h 2968625"/>
                  <a:gd name="connsiteX32" fmla="*/ 264837 w 445812"/>
                  <a:gd name="connsiteY32" fmla="*/ 1730375 h 2968625"/>
                  <a:gd name="connsiteX33" fmla="*/ 277537 w 445812"/>
                  <a:gd name="connsiteY33" fmla="*/ 1758950 h 2968625"/>
                  <a:gd name="connsiteX34" fmla="*/ 277537 w 445812"/>
                  <a:gd name="connsiteY34" fmla="*/ 1828800 h 2968625"/>
                  <a:gd name="connsiteX35" fmla="*/ 325162 w 445812"/>
                  <a:gd name="connsiteY35" fmla="*/ 1905000 h 2968625"/>
                  <a:gd name="connsiteX36" fmla="*/ 363262 w 445812"/>
                  <a:gd name="connsiteY36" fmla="*/ 1962150 h 2968625"/>
                  <a:gd name="connsiteX37" fmla="*/ 369612 w 445812"/>
                  <a:gd name="connsiteY37" fmla="*/ 2028825 h 2968625"/>
                  <a:gd name="connsiteX38" fmla="*/ 407712 w 445812"/>
                  <a:gd name="connsiteY38" fmla="*/ 2085975 h 2968625"/>
                  <a:gd name="connsiteX39" fmla="*/ 414062 w 445812"/>
                  <a:gd name="connsiteY39" fmla="*/ 2209800 h 2968625"/>
                  <a:gd name="connsiteX40" fmla="*/ 252137 w 445812"/>
                  <a:gd name="connsiteY40" fmla="*/ 2251075 h 2968625"/>
                  <a:gd name="connsiteX41" fmla="*/ 201337 w 445812"/>
                  <a:gd name="connsiteY41" fmla="*/ 2390775 h 2968625"/>
                  <a:gd name="connsiteX42" fmla="*/ 210862 w 445812"/>
                  <a:gd name="connsiteY42" fmla="*/ 2454275 h 2968625"/>
                  <a:gd name="connsiteX43" fmla="*/ 236262 w 445812"/>
                  <a:gd name="connsiteY43" fmla="*/ 2517775 h 2968625"/>
                  <a:gd name="connsiteX44" fmla="*/ 248962 w 445812"/>
                  <a:gd name="connsiteY44" fmla="*/ 2559050 h 2968625"/>
                  <a:gd name="connsiteX45" fmla="*/ 134662 w 445812"/>
                  <a:gd name="connsiteY45" fmla="*/ 2968625 h 2968625"/>
                  <a:gd name="connsiteX0" fmla="*/ 445812 w 445812"/>
                  <a:gd name="connsiteY0" fmla="*/ 0 h 2968625"/>
                  <a:gd name="connsiteX1" fmla="*/ 407712 w 445812"/>
                  <a:gd name="connsiteY1" fmla="*/ 66675 h 2968625"/>
                  <a:gd name="connsiteX2" fmla="*/ 353737 w 445812"/>
                  <a:gd name="connsiteY2" fmla="*/ 85725 h 2968625"/>
                  <a:gd name="connsiteX3" fmla="*/ 283887 w 445812"/>
                  <a:gd name="connsiteY3" fmla="*/ 98425 h 2968625"/>
                  <a:gd name="connsiteX4" fmla="*/ 223562 w 445812"/>
                  <a:gd name="connsiteY4" fmla="*/ 133350 h 2968625"/>
                  <a:gd name="connsiteX5" fmla="*/ 121962 w 445812"/>
                  <a:gd name="connsiteY5" fmla="*/ 196850 h 2968625"/>
                  <a:gd name="connsiteX6" fmla="*/ 131487 w 445812"/>
                  <a:gd name="connsiteY6" fmla="*/ 247650 h 2968625"/>
                  <a:gd name="connsiteX7" fmla="*/ 172762 w 445812"/>
                  <a:gd name="connsiteY7" fmla="*/ 276225 h 2968625"/>
                  <a:gd name="connsiteX8" fmla="*/ 185462 w 445812"/>
                  <a:gd name="connsiteY8" fmla="*/ 327025 h 2968625"/>
                  <a:gd name="connsiteX9" fmla="*/ 239437 w 445812"/>
                  <a:gd name="connsiteY9" fmla="*/ 368300 h 2968625"/>
                  <a:gd name="connsiteX10" fmla="*/ 239437 w 445812"/>
                  <a:gd name="connsiteY10" fmla="*/ 412750 h 2968625"/>
                  <a:gd name="connsiteX11" fmla="*/ 207687 w 445812"/>
                  <a:gd name="connsiteY11" fmla="*/ 454025 h 2968625"/>
                  <a:gd name="connsiteX12" fmla="*/ 287062 w 445812"/>
                  <a:gd name="connsiteY12" fmla="*/ 479425 h 2968625"/>
                  <a:gd name="connsiteX13" fmla="*/ 302937 w 445812"/>
                  <a:gd name="connsiteY13" fmla="*/ 511175 h 2968625"/>
                  <a:gd name="connsiteX14" fmla="*/ 210862 w 445812"/>
                  <a:gd name="connsiteY14" fmla="*/ 581025 h 2968625"/>
                  <a:gd name="connsiteX15" fmla="*/ 160062 w 445812"/>
                  <a:gd name="connsiteY15" fmla="*/ 638175 h 2968625"/>
                  <a:gd name="connsiteX16" fmla="*/ 160062 w 445812"/>
                  <a:gd name="connsiteY16" fmla="*/ 695325 h 2968625"/>
                  <a:gd name="connsiteX17" fmla="*/ 185462 w 445812"/>
                  <a:gd name="connsiteY17" fmla="*/ 784225 h 2968625"/>
                  <a:gd name="connsiteX18" fmla="*/ 194987 w 445812"/>
                  <a:gd name="connsiteY18" fmla="*/ 835025 h 2968625"/>
                  <a:gd name="connsiteX19" fmla="*/ 204512 w 445812"/>
                  <a:gd name="connsiteY19" fmla="*/ 885825 h 2968625"/>
                  <a:gd name="connsiteX20" fmla="*/ 220387 w 445812"/>
                  <a:gd name="connsiteY20" fmla="*/ 923925 h 2968625"/>
                  <a:gd name="connsiteX21" fmla="*/ 163237 w 445812"/>
                  <a:gd name="connsiteY21" fmla="*/ 1022350 h 2968625"/>
                  <a:gd name="connsiteX22" fmla="*/ 96562 w 445812"/>
                  <a:gd name="connsiteY22" fmla="*/ 1057275 h 2968625"/>
                  <a:gd name="connsiteX23" fmla="*/ 52112 w 445812"/>
                  <a:gd name="connsiteY23" fmla="*/ 1143000 h 2968625"/>
                  <a:gd name="connsiteX24" fmla="*/ 20362 w 445812"/>
                  <a:gd name="connsiteY24" fmla="*/ 1244600 h 2968625"/>
                  <a:gd name="connsiteX25" fmla="*/ 1312 w 445812"/>
                  <a:gd name="connsiteY25" fmla="*/ 1346200 h 2968625"/>
                  <a:gd name="connsiteX26" fmla="*/ 10837 w 445812"/>
                  <a:gd name="connsiteY26" fmla="*/ 1438275 h 2968625"/>
                  <a:gd name="connsiteX27" fmla="*/ 83862 w 445812"/>
                  <a:gd name="connsiteY27" fmla="*/ 1511300 h 2968625"/>
                  <a:gd name="connsiteX28" fmla="*/ 112437 w 445812"/>
                  <a:gd name="connsiteY28" fmla="*/ 1558925 h 2968625"/>
                  <a:gd name="connsiteX29" fmla="*/ 150537 w 445812"/>
                  <a:gd name="connsiteY29" fmla="*/ 1590675 h 2968625"/>
                  <a:gd name="connsiteX30" fmla="*/ 169587 w 445812"/>
                  <a:gd name="connsiteY30" fmla="*/ 1644650 h 2968625"/>
                  <a:gd name="connsiteX31" fmla="*/ 226737 w 445812"/>
                  <a:gd name="connsiteY31" fmla="*/ 1685925 h 2968625"/>
                  <a:gd name="connsiteX32" fmla="*/ 264837 w 445812"/>
                  <a:gd name="connsiteY32" fmla="*/ 1730375 h 2968625"/>
                  <a:gd name="connsiteX33" fmla="*/ 277537 w 445812"/>
                  <a:gd name="connsiteY33" fmla="*/ 1758950 h 2968625"/>
                  <a:gd name="connsiteX34" fmla="*/ 277537 w 445812"/>
                  <a:gd name="connsiteY34" fmla="*/ 1828800 h 2968625"/>
                  <a:gd name="connsiteX35" fmla="*/ 325162 w 445812"/>
                  <a:gd name="connsiteY35" fmla="*/ 1905000 h 2968625"/>
                  <a:gd name="connsiteX36" fmla="*/ 363262 w 445812"/>
                  <a:gd name="connsiteY36" fmla="*/ 1962150 h 2968625"/>
                  <a:gd name="connsiteX37" fmla="*/ 369612 w 445812"/>
                  <a:gd name="connsiteY37" fmla="*/ 2028825 h 2968625"/>
                  <a:gd name="connsiteX38" fmla="*/ 407712 w 445812"/>
                  <a:gd name="connsiteY38" fmla="*/ 2085975 h 2968625"/>
                  <a:gd name="connsiteX39" fmla="*/ 414062 w 445812"/>
                  <a:gd name="connsiteY39" fmla="*/ 2209800 h 2968625"/>
                  <a:gd name="connsiteX40" fmla="*/ 252137 w 445812"/>
                  <a:gd name="connsiteY40" fmla="*/ 2251075 h 2968625"/>
                  <a:gd name="connsiteX41" fmla="*/ 201337 w 445812"/>
                  <a:gd name="connsiteY41" fmla="*/ 2390775 h 2968625"/>
                  <a:gd name="connsiteX42" fmla="*/ 210862 w 445812"/>
                  <a:gd name="connsiteY42" fmla="*/ 2454275 h 2968625"/>
                  <a:gd name="connsiteX43" fmla="*/ 242612 w 445812"/>
                  <a:gd name="connsiteY43" fmla="*/ 2470150 h 2968625"/>
                  <a:gd name="connsiteX44" fmla="*/ 236262 w 445812"/>
                  <a:gd name="connsiteY44" fmla="*/ 2517775 h 2968625"/>
                  <a:gd name="connsiteX45" fmla="*/ 248962 w 445812"/>
                  <a:gd name="connsiteY45" fmla="*/ 2559050 h 2968625"/>
                  <a:gd name="connsiteX46" fmla="*/ 134662 w 445812"/>
                  <a:gd name="connsiteY46" fmla="*/ 2968625 h 2968625"/>
                  <a:gd name="connsiteX0" fmla="*/ 445812 w 445812"/>
                  <a:gd name="connsiteY0" fmla="*/ 0 h 2968625"/>
                  <a:gd name="connsiteX1" fmla="*/ 407712 w 445812"/>
                  <a:gd name="connsiteY1" fmla="*/ 66675 h 2968625"/>
                  <a:gd name="connsiteX2" fmla="*/ 353737 w 445812"/>
                  <a:gd name="connsiteY2" fmla="*/ 85725 h 2968625"/>
                  <a:gd name="connsiteX3" fmla="*/ 283887 w 445812"/>
                  <a:gd name="connsiteY3" fmla="*/ 98425 h 2968625"/>
                  <a:gd name="connsiteX4" fmla="*/ 223562 w 445812"/>
                  <a:gd name="connsiteY4" fmla="*/ 133350 h 2968625"/>
                  <a:gd name="connsiteX5" fmla="*/ 121962 w 445812"/>
                  <a:gd name="connsiteY5" fmla="*/ 196850 h 2968625"/>
                  <a:gd name="connsiteX6" fmla="*/ 131487 w 445812"/>
                  <a:gd name="connsiteY6" fmla="*/ 247650 h 2968625"/>
                  <a:gd name="connsiteX7" fmla="*/ 172762 w 445812"/>
                  <a:gd name="connsiteY7" fmla="*/ 276225 h 2968625"/>
                  <a:gd name="connsiteX8" fmla="*/ 185462 w 445812"/>
                  <a:gd name="connsiteY8" fmla="*/ 327025 h 2968625"/>
                  <a:gd name="connsiteX9" fmla="*/ 239437 w 445812"/>
                  <a:gd name="connsiteY9" fmla="*/ 368300 h 2968625"/>
                  <a:gd name="connsiteX10" fmla="*/ 239437 w 445812"/>
                  <a:gd name="connsiteY10" fmla="*/ 412750 h 2968625"/>
                  <a:gd name="connsiteX11" fmla="*/ 207687 w 445812"/>
                  <a:gd name="connsiteY11" fmla="*/ 454025 h 2968625"/>
                  <a:gd name="connsiteX12" fmla="*/ 287062 w 445812"/>
                  <a:gd name="connsiteY12" fmla="*/ 479425 h 2968625"/>
                  <a:gd name="connsiteX13" fmla="*/ 302937 w 445812"/>
                  <a:gd name="connsiteY13" fmla="*/ 511175 h 2968625"/>
                  <a:gd name="connsiteX14" fmla="*/ 210862 w 445812"/>
                  <a:gd name="connsiteY14" fmla="*/ 581025 h 2968625"/>
                  <a:gd name="connsiteX15" fmla="*/ 160062 w 445812"/>
                  <a:gd name="connsiteY15" fmla="*/ 638175 h 2968625"/>
                  <a:gd name="connsiteX16" fmla="*/ 160062 w 445812"/>
                  <a:gd name="connsiteY16" fmla="*/ 695325 h 2968625"/>
                  <a:gd name="connsiteX17" fmla="*/ 185462 w 445812"/>
                  <a:gd name="connsiteY17" fmla="*/ 784225 h 2968625"/>
                  <a:gd name="connsiteX18" fmla="*/ 194987 w 445812"/>
                  <a:gd name="connsiteY18" fmla="*/ 835025 h 2968625"/>
                  <a:gd name="connsiteX19" fmla="*/ 204512 w 445812"/>
                  <a:gd name="connsiteY19" fmla="*/ 885825 h 2968625"/>
                  <a:gd name="connsiteX20" fmla="*/ 220387 w 445812"/>
                  <a:gd name="connsiteY20" fmla="*/ 923925 h 2968625"/>
                  <a:gd name="connsiteX21" fmla="*/ 163237 w 445812"/>
                  <a:gd name="connsiteY21" fmla="*/ 1022350 h 2968625"/>
                  <a:gd name="connsiteX22" fmla="*/ 96562 w 445812"/>
                  <a:gd name="connsiteY22" fmla="*/ 1057275 h 2968625"/>
                  <a:gd name="connsiteX23" fmla="*/ 52112 w 445812"/>
                  <a:gd name="connsiteY23" fmla="*/ 1143000 h 2968625"/>
                  <a:gd name="connsiteX24" fmla="*/ 20362 w 445812"/>
                  <a:gd name="connsiteY24" fmla="*/ 1244600 h 2968625"/>
                  <a:gd name="connsiteX25" fmla="*/ 1312 w 445812"/>
                  <a:gd name="connsiteY25" fmla="*/ 1346200 h 2968625"/>
                  <a:gd name="connsiteX26" fmla="*/ 10837 w 445812"/>
                  <a:gd name="connsiteY26" fmla="*/ 1438275 h 2968625"/>
                  <a:gd name="connsiteX27" fmla="*/ 83862 w 445812"/>
                  <a:gd name="connsiteY27" fmla="*/ 1511300 h 2968625"/>
                  <a:gd name="connsiteX28" fmla="*/ 112437 w 445812"/>
                  <a:gd name="connsiteY28" fmla="*/ 1558925 h 2968625"/>
                  <a:gd name="connsiteX29" fmla="*/ 150537 w 445812"/>
                  <a:gd name="connsiteY29" fmla="*/ 1590675 h 2968625"/>
                  <a:gd name="connsiteX30" fmla="*/ 169587 w 445812"/>
                  <a:gd name="connsiteY30" fmla="*/ 1644650 h 2968625"/>
                  <a:gd name="connsiteX31" fmla="*/ 226737 w 445812"/>
                  <a:gd name="connsiteY31" fmla="*/ 1685925 h 2968625"/>
                  <a:gd name="connsiteX32" fmla="*/ 264837 w 445812"/>
                  <a:gd name="connsiteY32" fmla="*/ 1730375 h 2968625"/>
                  <a:gd name="connsiteX33" fmla="*/ 277537 w 445812"/>
                  <a:gd name="connsiteY33" fmla="*/ 1758950 h 2968625"/>
                  <a:gd name="connsiteX34" fmla="*/ 277537 w 445812"/>
                  <a:gd name="connsiteY34" fmla="*/ 1828800 h 2968625"/>
                  <a:gd name="connsiteX35" fmla="*/ 325162 w 445812"/>
                  <a:gd name="connsiteY35" fmla="*/ 1905000 h 2968625"/>
                  <a:gd name="connsiteX36" fmla="*/ 363262 w 445812"/>
                  <a:gd name="connsiteY36" fmla="*/ 1962150 h 2968625"/>
                  <a:gd name="connsiteX37" fmla="*/ 369612 w 445812"/>
                  <a:gd name="connsiteY37" fmla="*/ 2028825 h 2968625"/>
                  <a:gd name="connsiteX38" fmla="*/ 407712 w 445812"/>
                  <a:gd name="connsiteY38" fmla="*/ 2085975 h 2968625"/>
                  <a:gd name="connsiteX39" fmla="*/ 414062 w 445812"/>
                  <a:gd name="connsiteY39" fmla="*/ 2209800 h 2968625"/>
                  <a:gd name="connsiteX40" fmla="*/ 252137 w 445812"/>
                  <a:gd name="connsiteY40" fmla="*/ 2251075 h 2968625"/>
                  <a:gd name="connsiteX41" fmla="*/ 201337 w 445812"/>
                  <a:gd name="connsiteY41" fmla="*/ 2390775 h 2968625"/>
                  <a:gd name="connsiteX42" fmla="*/ 210862 w 445812"/>
                  <a:gd name="connsiteY42" fmla="*/ 2454275 h 2968625"/>
                  <a:gd name="connsiteX43" fmla="*/ 242612 w 445812"/>
                  <a:gd name="connsiteY43" fmla="*/ 2470150 h 2968625"/>
                  <a:gd name="connsiteX44" fmla="*/ 226737 w 445812"/>
                  <a:gd name="connsiteY44" fmla="*/ 2527300 h 2968625"/>
                  <a:gd name="connsiteX45" fmla="*/ 248962 w 445812"/>
                  <a:gd name="connsiteY45" fmla="*/ 2559050 h 2968625"/>
                  <a:gd name="connsiteX46" fmla="*/ 134662 w 445812"/>
                  <a:gd name="connsiteY46" fmla="*/ 2968625 h 2968625"/>
                  <a:gd name="connsiteX0" fmla="*/ 445812 w 445812"/>
                  <a:gd name="connsiteY0" fmla="*/ 0 h 2968625"/>
                  <a:gd name="connsiteX1" fmla="*/ 407712 w 445812"/>
                  <a:gd name="connsiteY1" fmla="*/ 66675 h 2968625"/>
                  <a:gd name="connsiteX2" fmla="*/ 353737 w 445812"/>
                  <a:gd name="connsiteY2" fmla="*/ 85725 h 2968625"/>
                  <a:gd name="connsiteX3" fmla="*/ 283887 w 445812"/>
                  <a:gd name="connsiteY3" fmla="*/ 98425 h 2968625"/>
                  <a:gd name="connsiteX4" fmla="*/ 223562 w 445812"/>
                  <a:gd name="connsiteY4" fmla="*/ 133350 h 2968625"/>
                  <a:gd name="connsiteX5" fmla="*/ 121962 w 445812"/>
                  <a:gd name="connsiteY5" fmla="*/ 196850 h 2968625"/>
                  <a:gd name="connsiteX6" fmla="*/ 131487 w 445812"/>
                  <a:gd name="connsiteY6" fmla="*/ 247650 h 2968625"/>
                  <a:gd name="connsiteX7" fmla="*/ 172762 w 445812"/>
                  <a:gd name="connsiteY7" fmla="*/ 276225 h 2968625"/>
                  <a:gd name="connsiteX8" fmla="*/ 185462 w 445812"/>
                  <a:gd name="connsiteY8" fmla="*/ 327025 h 2968625"/>
                  <a:gd name="connsiteX9" fmla="*/ 239437 w 445812"/>
                  <a:gd name="connsiteY9" fmla="*/ 368300 h 2968625"/>
                  <a:gd name="connsiteX10" fmla="*/ 239437 w 445812"/>
                  <a:gd name="connsiteY10" fmla="*/ 412750 h 2968625"/>
                  <a:gd name="connsiteX11" fmla="*/ 207687 w 445812"/>
                  <a:gd name="connsiteY11" fmla="*/ 454025 h 2968625"/>
                  <a:gd name="connsiteX12" fmla="*/ 287062 w 445812"/>
                  <a:gd name="connsiteY12" fmla="*/ 479425 h 2968625"/>
                  <a:gd name="connsiteX13" fmla="*/ 302937 w 445812"/>
                  <a:gd name="connsiteY13" fmla="*/ 511175 h 2968625"/>
                  <a:gd name="connsiteX14" fmla="*/ 210862 w 445812"/>
                  <a:gd name="connsiteY14" fmla="*/ 581025 h 2968625"/>
                  <a:gd name="connsiteX15" fmla="*/ 160062 w 445812"/>
                  <a:gd name="connsiteY15" fmla="*/ 638175 h 2968625"/>
                  <a:gd name="connsiteX16" fmla="*/ 160062 w 445812"/>
                  <a:gd name="connsiteY16" fmla="*/ 695325 h 2968625"/>
                  <a:gd name="connsiteX17" fmla="*/ 185462 w 445812"/>
                  <a:gd name="connsiteY17" fmla="*/ 784225 h 2968625"/>
                  <a:gd name="connsiteX18" fmla="*/ 194987 w 445812"/>
                  <a:gd name="connsiteY18" fmla="*/ 835025 h 2968625"/>
                  <a:gd name="connsiteX19" fmla="*/ 204512 w 445812"/>
                  <a:gd name="connsiteY19" fmla="*/ 885825 h 2968625"/>
                  <a:gd name="connsiteX20" fmla="*/ 220387 w 445812"/>
                  <a:gd name="connsiteY20" fmla="*/ 923925 h 2968625"/>
                  <a:gd name="connsiteX21" fmla="*/ 163237 w 445812"/>
                  <a:gd name="connsiteY21" fmla="*/ 1022350 h 2968625"/>
                  <a:gd name="connsiteX22" fmla="*/ 96562 w 445812"/>
                  <a:gd name="connsiteY22" fmla="*/ 1057275 h 2968625"/>
                  <a:gd name="connsiteX23" fmla="*/ 52112 w 445812"/>
                  <a:gd name="connsiteY23" fmla="*/ 1143000 h 2968625"/>
                  <a:gd name="connsiteX24" fmla="*/ 20362 w 445812"/>
                  <a:gd name="connsiteY24" fmla="*/ 1244600 h 2968625"/>
                  <a:gd name="connsiteX25" fmla="*/ 1312 w 445812"/>
                  <a:gd name="connsiteY25" fmla="*/ 1346200 h 2968625"/>
                  <a:gd name="connsiteX26" fmla="*/ 10837 w 445812"/>
                  <a:gd name="connsiteY26" fmla="*/ 1438275 h 2968625"/>
                  <a:gd name="connsiteX27" fmla="*/ 83862 w 445812"/>
                  <a:gd name="connsiteY27" fmla="*/ 1511300 h 2968625"/>
                  <a:gd name="connsiteX28" fmla="*/ 112437 w 445812"/>
                  <a:gd name="connsiteY28" fmla="*/ 1558925 h 2968625"/>
                  <a:gd name="connsiteX29" fmla="*/ 150537 w 445812"/>
                  <a:gd name="connsiteY29" fmla="*/ 1590675 h 2968625"/>
                  <a:gd name="connsiteX30" fmla="*/ 169587 w 445812"/>
                  <a:gd name="connsiteY30" fmla="*/ 1644650 h 2968625"/>
                  <a:gd name="connsiteX31" fmla="*/ 226737 w 445812"/>
                  <a:gd name="connsiteY31" fmla="*/ 1685925 h 2968625"/>
                  <a:gd name="connsiteX32" fmla="*/ 264837 w 445812"/>
                  <a:gd name="connsiteY32" fmla="*/ 1730375 h 2968625"/>
                  <a:gd name="connsiteX33" fmla="*/ 277537 w 445812"/>
                  <a:gd name="connsiteY33" fmla="*/ 1758950 h 2968625"/>
                  <a:gd name="connsiteX34" fmla="*/ 277537 w 445812"/>
                  <a:gd name="connsiteY34" fmla="*/ 1828800 h 2968625"/>
                  <a:gd name="connsiteX35" fmla="*/ 325162 w 445812"/>
                  <a:gd name="connsiteY35" fmla="*/ 1905000 h 2968625"/>
                  <a:gd name="connsiteX36" fmla="*/ 363262 w 445812"/>
                  <a:gd name="connsiteY36" fmla="*/ 1962150 h 2968625"/>
                  <a:gd name="connsiteX37" fmla="*/ 369612 w 445812"/>
                  <a:gd name="connsiteY37" fmla="*/ 2028825 h 2968625"/>
                  <a:gd name="connsiteX38" fmla="*/ 407712 w 445812"/>
                  <a:gd name="connsiteY38" fmla="*/ 2085975 h 2968625"/>
                  <a:gd name="connsiteX39" fmla="*/ 414062 w 445812"/>
                  <a:gd name="connsiteY39" fmla="*/ 2209800 h 2968625"/>
                  <a:gd name="connsiteX40" fmla="*/ 252137 w 445812"/>
                  <a:gd name="connsiteY40" fmla="*/ 2251075 h 2968625"/>
                  <a:gd name="connsiteX41" fmla="*/ 201337 w 445812"/>
                  <a:gd name="connsiteY41" fmla="*/ 2390775 h 2968625"/>
                  <a:gd name="connsiteX42" fmla="*/ 210862 w 445812"/>
                  <a:gd name="connsiteY42" fmla="*/ 2454275 h 2968625"/>
                  <a:gd name="connsiteX43" fmla="*/ 226737 w 445812"/>
                  <a:gd name="connsiteY43" fmla="*/ 2482850 h 2968625"/>
                  <a:gd name="connsiteX44" fmla="*/ 226737 w 445812"/>
                  <a:gd name="connsiteY44" fmla="*/ 2527300 h 2968625"/>
                  <a:gd name="connsiteX45" fmla="*/ 248962 w 445812"/>
                  <a:gd name="connsiteY45" fmla="*/ 2559050 h 2968625"/>
                  <a:gd name="connsiteX46" fmla="*/ 134662 w 445812"/>
                  <a:gd name="connsiteY46" fmla="*/ 2968625 h 2968625"/>
                  <a:gd name="connsiteX0" fmla="*/ 445812 w 445812"/>
                  <a:gd name="connsiteY0" fmla="*/ 0 h 2968625"/>
                  <a:gd name="connsiteX1" fmla="*/ 407712 w 445812"/>
                  <a:gd name="connsiteY1" fmla="*/ 66675 h 2968625"/>
                  <a:gd name="connsiteX2" fmla="*/ 353737 w 445812"/>
                  <a:gd name="connsiteY2" fmla="*/ 85725 h 2968625"/>
                  <a:gd name="connsiteX3" fmla="*/ 283887 w 445812"/>
                  <a:gd name="connsiteY3" fmla="*/ 98425 h 2968625"/>
                  <a:gd name="connsiteX4" fmla="*/ 223562 w 445812"/>
                  <a:gd name="connsiteY4" fmla="*/ 133350 h 2968625"/>
                  <a:gd name="connsiteX5" fmla="*/ 121962 w 445812"/>
                  <a:gd name="connsiteY5" fmla="*/ 196850 h 2968625"/>
                  <a:gd name="connsiteX6" fmla="*/ 131487 w 445812"/>
                  <a:gd name="connsiteY6" fmla="*/ 247650 h 2968625"/>
                  <a:gd name="connsiteX7" fmla="*/ 172762 w 445812"/>
                  <a:gd name="connsiteY7" fmla="*/ 276225 h 2968625"/>
                  <a:gd name="connsiteX8" fmla="*/ 185462 w 445812"/>
                  <a:gd name="connsiteY8" fmla="*/ 327025 h 2968625"/>
                  <a:gd name="connsiteX9" fmla="*/ 239437 w 445812"/>
                  <a:gd name="connsiteY9" fmla="*/ 368300 h 2968625"/>
                  <a:gd name="connsiteX10" fmla="*/ 239437 w 445812"/>
                  <a:gd name="connsiteY10" fmla="*/ 412750 h 2968625"/>
                  <a:gd name="connsiteX11" fmla="*/ 207687 w 445812"/>
                  <a:gd name="connsiteY11" fmla="*/ 454025 h 2968625"/>
                  <a:gd name="connsiteX12" fmla="*/ 287062 w 445812"/>
                  <a:gd name="connsiteY12" fmla="*/ 479425 h 2968625"/>
                  <a:gd name="connsiteX13" fmla="*/ 302937 w 445812"/>
                  <a:gd name="connsiteY13" fmla="*/ 511175 h 2968625"/>
                  <a:gd name="connsiteX14" fmla="*/ 210862 w 445812"/>
                  <a:gd name="connsiteY14" fmla="*/ 581025 h 2968625"/>
                  <a:gd name="connsiteX15" fmla="*/ 160062 w 445812"/>
                  <a:gd name="connsiteY15" fmla="*/ 638175 h 2968625"/>
                  <a:gd name="connsiteX16" fmla="*/ 160062 w 445812"/>
                  <a:gd name="connsiteY16" fmla="*/ 695325 h 2968625"/>
                  <a:gd name="connsiteX17" fmla="*/ 185462 w 445812"/>
                  <a:gd name="connsiteY17" fmla="*/ 784225 h 2968625"/>
                  <a:gd name="connsiteX18" fmla="*/ 194987 w 445812"/>
                  <a:gd name="connsiteY18" fmla="*/ 835025 h 2968625"/>
                  <a:gd name="connsiteX19" fmla="*/ 204512 w 445812"/>
                  <a:gd name="connsiteY19" fmla="*/ 885825 h 2968625"/>
                  <a:gd name="connsiteX20" fmla="*/ 220387 w 445812"/>
                  <a:gd name="connsiteY20" fmla="*/ 923925 h 2968625"/>
                  <a:gd name="connsiteX21" fmla="*/ 163237 w 445812"/>
                  <a:gd name="connsiteY21" fmla="*/ 1022350 h 2968625"/>
                  <a:gd name="connsiteX22" fmla="*/ 96562 w 445812"/>
                  <a:gd name="connsiteY22" fmla="*/ 1057275 h 2968625"/>
                  <a:gd name="connsiteX23" fmla="*/ 52112 w 445812"/>
                  <a:gd name="connsiteY23" fmla="*/ 1143000 h 2968625"/>
                  <a:gd name="connsiteX24" fmla="*/ 20362 w 445812"/>
                  <a:gd name="connsiteY24" fmla="*/ 1244600 h 2968625"/>
                  <a:gd name="connsiteX25" fmla="*/ 1312 w 445812"/>
                  <a:gd name="connsiteY25" fmla="*/ 1346200 h 2968625"/>
                  <a:gd name="connsiteX26" fmla="*/ 10837 w 445812"/>
                  <a:gd name="connsiteY26" fmla="*/ 1438275 h 2968625"/>
                  <a:gd name="connsiteX27" fmla="*/ 83862 w 445812"/>
                  <a:gd name="connsiteY27" fmla="*/ 1511300 h 2968625"/>
                  <a:gd name="connsiteX28" fmla="*/ 112437 w 445812"/>
                  <a:gd name="connsiteY28" fmla="*/ 1558925 h 2968625"/>
                  <a:gd name="connsiteX29" fmla="*/ 150537 w 445812"/>
                  <a:gd name="connsiteY29" fmla="*/ 1590675 h 2968625"/>
                  <a:gd name="connsiteX30" fmla="*/ 169587 w 445812"/>
                  <a:gd name="connsiteY30" fmla="*/ 1644650 h 2968625"/>
                  <a:gd name="connsiteX31" fmla="*/ 226737 w 445812"/>
                  <a:gd name="connsiteY31" fmla="*/ 1685925 h 2968625"/>
                  <a:gd name="connsiteX32" fmla="*/ 264837 w 445812"/>
                  <a:gd name="connsiteY32" fmla="*/ 1730375 h 2968625"/>
                  <a:gd name="connsiteX33" fmla="*/ 277537 w 445812"/>
                  <a:gd name="connsiteY33" fmla="*/ 1758950 h 2968625"/>
                  <a:gd name="connsiteX34" fmla="*/ 277537 w 445812"/>
                  <a:gd name="connsiteY34" fmla="*/ 1828800 h 2968625"/>
                  <a:gd name="connsiteX35" fmla="*/ 325162 w 445812"/>
                  <a:gd name="connsiteY35" fmla="*/ 1905000 h 2968625"/>
                  <a:gd name="connsiteX36" fmla="*/ 363262 w 445812"/>
                  <a:gd name="connsiteY36" fmla="*/ 1962150 h 2968625"/>
                  <a:gd name="connsiteX37" fmla="*/ 369612 w 445812"/>
                  <a:gd name="connsiteY37" fmla="*/ 2028825 h 2968625"/>
                  <a:gd name="connsiteX38" fmla="*/ 407712 w 445812"/>
                  <a:gd name="connsiteY38" fmla="*/ 2085975 h 2968625"/>
                  <a:gd name="connsiteX39" fmla="*/ 414062 w 445812"/>
                  <a:gd name="connsiteY39" fmla="*/ 2209800 h 2968625"/>
                  <a:gd name="connsiteX40" fmla="*/ 252137 w 445812"/>
                  <a:gd name="connsiteY40" fmla="*/ 2251075 h 2968625"/>
                  <a:gd name="connsiteX41" fmla="*/ 201337 w 445812"/>
                  <a:gd name="connsiteY41" fmla="*/ 2390775 h 2968625"/>
                  <a:gd name="connsiteX42" fmla="*/ 210862 w 445812"/>
                  <a:gd name="connsiteY42" fmla="*/ 2454275 h 2968625"/>
                  <a:gd name="connsiteX43" fmla="*/ 226737 w 445812"/>
                  <a:gd name="connsiteY43" fmla="*/ 2482850 h 2968625"/>
                  <a:gd name="connsiteX44" fmla="*/ 226737 w 445812"/>
                  <a:gd name="connsiteY44" fmla="*/ 2527300 h 2968625"/>
                  <a:gd name="connsiteX45" fmla="*/ 236262 w 445812"/>
                  <a:gd name="connsiteY45" fmla="*/ 2603500 h 2968625"/>
                  <a:gd name="connsiteX46" fmla="*/ 134662 w 445812"/>
                  <a:gd name="connsiteY46" fmla="*/ 2968625 h 2968625"/>
                  <a:gd name="connsiteX0" fmla="*/ 445812 w 445812"/>
                  <a:gd name="connsiteY0" fmla="*/ 0 h 2968625"/>
                  <a:gd name="connsiteX1" fmla="*/ 407712 w 445812"/>
                  <a:gd name="connsiteY1" fmla="*/ 66675 h 2968625"/>
                  <a:gd name="connsiteX2" fmla="*/ 353737 w 445812"/>
                  <a:gd name="connsiteY2" fmla="*/ 85725 h 2968625"/>
                  <a:gd name="connsiteX3" fmla="*/ 283887 w 445812"/>
                  <a:gd name="connsiteY3" fmla="*/ 98425 h 2968625"/>
                  <a:gd name="connsiteX4" fmla="*/ 223562 w 445812"/>
                  <a:gd name="connsiteY4" fmla="*/ 133350 h 2968625"/>
                  <a:gd name="connsiteX5" fmla="*/ 121962 w 445812"/>
                  <a:gd name="connsiteY5" fmla="*/ 196850 h 2968625"/>
                  <a:gd name="connsiteX6" fmla="*/ 131487 w 445812"/>
                  <a:gd name="connsiteY6" fmla="*/ 247650 h 2968625"/>
                  <a:gd name="connsiteX7" fmla="*/ 172762 w 445812"/>
                  <a:gd name="connsiteY7" fmla="*/ 276225 h 2968625"/>
                  <a:gd name="connsiteX8" fmla="*/ 185462 w 445812"/>
                  <a:gd name="connsiteY8" fmla="*/ 327025 h 2968625"/>
                  <a:gd name="connsiteX9" fmla="*/ 239437 w 445812"/>
                  <a:gd name="connsiteY9" fmla="*/ 368300 h 2968625"/>
                  <a:gd name="connsiteX10" fmla="*/ 239437 w 445812"/>
                  <a:gd name="connsiteY10" fmla="*/ 412750 h 2968625"/>
                  <a:gd name="connsiteX11" fmla="*/ 207687 w 445812"/>
                  <a:gd name="connsiteY11" fmla="*/ 454025 h 2968625"/>
                  <a:gd name="connsiteX12" fmla="*/ 287062 w 445812"/>
                  <a:gd name="connsiteY12" fmla="*/ 479425 h 2968625"/>
                  <a:gd name="connsiteX13" fmla="*/ 302937 w 445812"/>
                  <a:gd name="connsiteY13" fmla="*/ 511175 h 2968625"/>
                  <a:gd name="connsiteX14" fmla="*/ 210862 w 445812"/>
                  <a:gd name="connsiteY14" fmla="*/ 581025 h 2968625"/>
                  <a:gd name="connsiteX15" fmla="*/ 160062 w 445812"/>
                  <a:gd name="connsiteY15" fmla="*/ 638175 h 2968625"/>
                  <a:gd name="connsiteX16" fmla="*/ 160062 w 445812"/>
                  <a:gd name="connsiteY16" fmla="*/ 695325 h 2968625"/>
                  <a:gd name="connsiteX17" fmla="*/ 185462 w 445812"/>
                  <a:gd name="connsiteY17" fmla="*/ 784225 h 2968625"/>
                  <a:gd name="connsiteX18" fmla="*/ 194987 w 445812"/>
                  <a:gd name="connsiteY18" fmla="*/ 835025 h 2968625"/>
                  <a:gd name="connsiteX19" fmla="*/ 204512 w 445812"/>
                  <a:gd name="connsiteY19" fmla="*/ 885825 h 2968625"/>
                  <a:gd name="connsiteX20" fmla="*/ 220387 w 445812"/>
                  <a:gd name="connsiteY20" fmla="*/ 923925 h 2968625"/>
                  <a:gd name="connsiteX21" fmla="*/ 163237 w 445812"/>
                  <a:gd name="connsiteY21" fmla="*/ 1022350 h 2968625"/>
                  <a:gd name="connsiteX22" fmla="*/ 96562 w 445812"/>
                  <a:gd name="connsiteY22" fmla="*/ 1057275 h 2968625"/>
                  <a:gd name="connsiteX23" fmla="*/ 52112 w 445812"/>
                  <a:gd name="connsiteY23" fmla="*/ 1143000 h 2968625"/>
                  <a:gd name="connsiteX24" fmla="*/ 20362 w 445812"/>
                  <a:gd name="connsiteY24" fmla="*/ 1244600 h 2968625"/>
                  <a:gd name="connsiteX25" fmla="*/ 1312 w 445812"/>
                  <a:gd name="connsiteY25" fmla="*/ 1346200 h 2968625"/>
                  <a:gd name="connsiteX26" fmla="*/ 10837 w 445812"/>
                  <a:gd name="connsiteY26" fmla="*/ 1438275 h 2968625"/>
                  <a:gd name="connsiteX27" fmla="*/ 83862 w 445812"/>
                  <a:gd name="connsiteY27" fmla="*/ 1511300 h 2968625"/>
                  <a:gd name="connsiteX28" fmla="*/ 112437 w 445812"/>
                  <a:gd name="connsiteY28" fmla="*/ 1558925 h 2968625"/>
                  <a:gd name="connsiteX29" fmla="*/ 150537 w 445812"/>
                  <a:gd name="connsiteY29" fmla="*/ 1590675 h 2968625"/>
                  <a:gd name="connsiteX30" fmla="*/ 169587 w 445812"/>
                  <a:gd name="connsiteY30" fmla="*/ 1644650 h 2968625"/>
                  <a:gd name="connsiteX31" fmla="*/ 226737 w 445812"/>
                  <a:gd name="connsiteY31" fmla="*/ 1685925 h 2968625"/>
                  <a:gd name="connsiteX32" fmla="*/ 264837 w 445812"/>
                  <a:gd name="connsiteY32" fmla="*/ 1730375 h 2968625"/>
                  <a:gd name="connsiteX33" fmla="*/ 277537 w 445812"/>
                  <a:gd name="connsiteY33" fmla="*/ 1758950 h 2968625"/>
                  <a:gd name="connsiteX34" fmla="*/ 277537 w 445812"/>
                  <a:gd name="connsiteY34" fmla="*/ 1828800 h 2968625"/>
                  <a:gd name="connsiteX35" fmla="*/ 325162 w 445812"/>
                  <a:gd name="connsiteY35" fmla="*/ 1905000 h 2968625"/>
                  <a:gd name="connsiteX36" fmla="*/ 363262 w 445812"/>
                  <a:gd name="connsiteY36" fmla="*/ 1962150 h 2968625"/>
                  <a:gd name="connsiteX37" fmla="*/ 369612 w 445812"/>
                  <a:gd name="connsiteY37" fmla="*/ 2028825 h 2968625"/>
                  <a:gd name="connsiteX38" fmla="*/ 407712 w 445812"/>
                  <a:gd name="connsiteY38" fmla="*/ 2085975 h 2968625"/>
                  <a:gd name="connsiteX39" fmla="*/ 414062 w 445812"/>
                  <a:gd name="connsiteY39" fmla="*/ 2209800 h 2968625"/>
                  <a:gd name="connsiteX40" fmla="*/ 252137 w 445812"/>
                  <a:gd name="connsiteY40" fmla="*/ 2251075 h 2968625"/>
                  <a:gd name="connsiteX41" fmla="*/ 201337 w 445812"/>
                  <a:gd name="connsiteY41" fmla="*/ 2390775 h 2968625"/>
                  <a:gd name="connsiteX42" fmla="*/ 210862 w 445812"/>
                  <a:gd name="connsiteY42" fmla="*/ 2454275 h 2968625"/>
                  <a:gd name="connsiteX43" fmla="*/ 226737 w 445812"/>
                  <a:gd name="connsiteY43" fmla="*/ 2482850 h 2968625"/>
                  <a:gd name="connsiteX44" fmla="*/ 226737 w 445812"/>
                  <a:gd name="connsiteY44" fmla="*/ 2527300 h 2968625"/>
                  <a:gd name="connsiteX45" fmla="*/ 236262 w 445812"/>
                  <a:gd name="connsiteY45" fmla="*/ 2603500 h 2968625"/>
                  <a:gd name="connsiteX46" fmla="*/ 134662 w 445812"/>
                  <a:gd name="connsiteY46" fmla="*/ 2968625 h 2968625"/>
                  <a:gd name="connsiteX0" fmla="*/ 445812 w 445812"/>
                  <a:gd name="connsiteY0" fmla="*/ 0 h 3657600"/>
                  <a:gd name="connsiteX1" fmla="*/ 407712 w 445812"/>
                  <a:gd name="connsiteY1" fmla="*/ 66675 h 3657600"/>
                  <a:gd name="connsiteX2" fmla="*/ 353737 w 445812"/>
                  <a:gd name="connsiteY2" fmla="*/ 85725 h 3657600"/>
                  <a:gd name="connsiteX3" fmla="*/ 283887 w 445812"/>
                  <a:gd name="connsiteY3" fmla="*/ 98425 h 3657600"/>
                  <a:gd name="connsiteX4" fmla="*/ 223562 w 445812"/>
                  <a:gd name="connsiteY4" fmla="*/ 133350 h 3657600"/>
                  <a:gd name="connsiteX5" fmla="*/ 121962 w 445812"/>
                  <a:gd name="connsiteY5" fmla="*/ 196850 h 3657600"/>
                  <a:gd name="connsiteX6" fmla="*/ 131487 w 445812"/>
                  <a:gd name="connsiteY6" fmla="*/ 247650 h 3657600"/>
                  <a:gd name="connsiteX7" fmla="*/ 172762 w 445812"/>
                  <a:gd name="connsiteY7" fmla="*/ 276225 h 3657600"/>
                  <a:gd name="connsiteX8" fmla="*/ 185462 w 445812"/>
                  <a:gd name="connsiteY8" fmla="*/ 327025 h 3657600"/>
                  <a:gd name="connsiteX9" fmla="*/ 239437 w 445812"/>
                  <a:gd name="connsiteY9" fmla="*/ 368300 h 3657600"/>
                  <a:gd name="connsiteX10" fmla="*/ 239437 w 445812"/>
                  <a:gd name="connsiteY10" fmla="*/ 412750 h 3657600"/>
                  <a:gd name="connsiteX11" fmla="*/ 207687 w 445812"/>
                  <a:gd name="connsiteY11" fmla="*/ 454025 h 3657600"/>
                  <a:gd name="connsiteX12" fmla="*/ 287062 w 445812"/>
                  <a:gd name="connsiteY12" fmla="*/ 479425 h 3657600"/>
                  <a:gd name="connsiteX13" fmla="*/ 302937 w 445812"/>
                  <a:gd name="connsiteY13" fmla="*/ 511175 h 3657600"/>
                  <a:gd name="connsiteX14" fmla="*/ 210862 w 445812"/>
                  <a:gd name="connsiteY14" fmla="*/ 581025 h 3657600"/>
                  <a:gd name="connsiteX15" fmla="*/ 160062 w 445812"/>
                  <a:gd name="connsiteY15" fmla="*/ 638175 h 3657600"/>
                  <a:gd name="connsiteX16" fmla="*/ 160062 w 445812"/>
                  <a:gd name="connsiteY16" fmla="*/ 695325 h 3657600"/>
                  <a:gd name="connsiteX17" fmla="*/ 185462 w 445812"/>
                  <a:gd name="connsiteY17" fmla="*/ 784225 h 3657600"/>
                  <a:gd name="connsiteX18" fmla="*/ 194987 w 445812"/>
                  <a:gd name="connsiteY18" fmla="*/ 835025 h 3657600"/>
                  <a:gd name="connsiteX19" fmla="*/ 204512 w 445812"/>
                  <a:gd name="connsiteY19" fmla="*/ 885825 h 3657600"/>
                  <a:gd name="connsiteX20" fmla="*/ 220387 w 445812"/>
                  <a:gd name="connsiteY20" fmla="*/ 923925 h 3657600"/>
                  <a:gd name="connsiteX21" fmla="*/ 163237 w 445812"/>
                  <a:gd name="connsiteY21" fmla="*/ 1022350 h 3657600"/>
                  <a:gd name="connsiteX22" fmla="*/ 96562 w 445812"/>
                  <a:gd name="connsiteY22" fmla="*/ 1057275 h 3657600"/>
                  <a:gd name="connsiteX23" fmla="*/ 52112 w 445812"/>
                  <a:gd name="connsiteY23" fmla="*/ 1143000 h 3657600"/>
                  <a:gd name="connsiteX24" fmla="*/ 20362 w 445812"/>
                  <a:gd name="connsiteY24" fmla="*/ 1244600 h 3657600"/>
                  <a:gd name="connsiteX25" fmla="*/ 1312 w 445812"/>
                  <a:gd name="connsiteY25" fmla="*/ 1346200 h 3657600"/>
                  <a:gd name="connsiteX26" fmla="*/ 10837 w 445812"/>
                  <a:gd name="connsiteY26" fmla="*/ 1438275 h 3657600"/>
                  <a:gd name="connsiteX27" fmla="*/ 83862 w 445812"/>
                  <a:gd name="connsiteY27" fmla="*/ 1511300 h 3657600"/>
                  <a:gd name="connsiteX28" fmla="*/ 112437 w 445812"/>
                  <a:gd name="connsiteY28" fmla="*/ 1558925 h 3657600"/>
                  <a:gd name="connsiteX29" fmla="*/ 150537 w 445812"/>
                  <a:gd name="connsiteY29" fmla="*/ 1590675 h 3657600"/>
                  <a:gd name="connsiteX30" fmla="*/ 169587 w 445812"/>
                  <a:gd name="connsiteY30" fmla="*/ 1644650 h 3657600"/>
                  <a:gd name="connsiteX31" fmla="*/ 226737 w 445812"/>
                  <a:gd name="connsiteY31" fmla="*/ 1685925 h 3657600"/>
                  <a:gd name="connsiteX32" fmla="*/ 264837 w 445812"/>
                  <a:gd name="connsiteY32" fmla="*/ 1730375 h 3657600"/>
                  <a:gd name="connsiteX33" fmla="*/ 277537 w 445812"/>
                  <a:gd name="connsiteY33" fmla="*/ 1758950 h 3657600"/>
                  <a:gd name="connsiteX34" fmla="*/ 277537 w 445812"/>
                  <a:gd name="connsiteY34" fmla="*/ 1828800 h 3657600"/>
                  <a:gd name="connsiteX35" fmla="*/ 325162 w 445812"/>
                  <a:gd name="connsiteY35" fmla="*/ 1905000 h 3657600"/>
                  <a:gd name="connsiteX36" fmla="*/ 363262 w 445812"/>
                  <a:gd name="connsiteY36" fmla="*/ 1962150 h 3657600"/>
                  <a:gd name="connsiteX37" fmla="*/ 369612 w 445812"/>
                  <a:gd name="connsiteY37" fmla="*/ 2028825 h 3657600"/>
                  <a:gd name="connsiteX38" fmla="*/ 407712 w 445812"/>
                  <a:gd name="connsiteY38" fmla="*/ 2085975 h 3657600"/>
                  <a:gd name="connsiteX39" fmla="*/ 414062 w 445812"/>
                  <a:gd name="connsiteY39" fmla="*/ 2209800 h 3657600"/>
                  <a:gd name="connsiteX40" fmla="*/ 252137 w 445812"/>
                  <a:gd name="connsiteY40" fmla="*/ 2251075 h 3657600"/>
                  <a:gd name="connsiteX41" fmla="*/ 201337 w 445812"/>
                  <a:gd name="connsiteY41" fmla="*/ 2390775 h 3657600"/>
                  <a:gd name="connsiteX42" fmla="*/ 210862 w 445812"/>
                  <a:gd name="connsiteY42" fmla="*/ 2454275 h 3657600"/>
                  <a:gd name="connsiteX43" fmla="*/ 226737 w 445812"/>
                  <a:gd name="connsiteY43" fmla="*/ 2482850 h 3657600"/>
                  <a:gd name="connsiteX44" fmla="*/ 226737 w 445812"/>
                  <a:gd name="connsiteY44" fmla="*/ 2527300 h 3657600"/>
                  <a:gd name="connsiteX45" fmla="*/ 236262 w 445812"/>
                  <a:gd name="connsiteY45" fmla="*/ 2603500 h 3657600"/>
                  <a:gd name="connsiteX46" fmla="*/ 58462 w 445812"/>
                  <a:gd name="connsiteY46" fmla="*/ 3657600 h 3657600"/>
                  <a:gd name="connsiteX0" fmla="*/ 445812 w 445812"/>
                  <a:gd name="connsiteY0" fmla="*/ 0 h 3657600"/>
                  <a:gd name="connsiteX1" fmla="*/ 407712 w 445812"/>
                  <a:gd name="connsiteY1" fmla="*/ 66675 h 3657600"/>
                  <a:gd name="connsiteX2" fmla="*/ 353737 w 445812"/>
                  <a:gd name="connsiteY2" fmla="*/ 85725 h 3657600"/>
                  <a:gd name="connsiteX3" fmla="*/ 283887 w 445812"/>
                  <a:gd name="connsiteY3" fmla="*/ 98425 h 3657600"/>
                  <a:gd name="connsiteX4" fmla="*/ 223562 w 445812"/>
                  <a:gd name="connsiteY4" fmla="*/ 133350 h 3657600"/>
                  <a:gd name="connsiteX5" fmla="*/ 121962 w 445812"/>
                  <a:gd name="connsiteY5" fmla="*/ 196850 h 3657600"/>
                  <a:gd name="connsiteX6" fmla="*/ 131487 w 445812"/>
                  <a:gd name="connsiteY6" fmla="*/ 247650 h 3657600"/>
                  <a:gd name="connsiteX7" fmla="*/ 172762 w 445812"/>
                  <a:gd name="connsiteY7" fmla="*/ 276225 h 3657600"/>
                  <a:gd name="connsiteX8" fmla="*/ 185462 w 445812"/>
                  <a:gd name="connsiteY8" fmla="*/ 327025 h 3657600"/>
                  <a:gd name="connsiteX9" fmla="*/ 239437 w 445812"/>
                  <a:gd name="connsiteY9" fmla="*/ 368300 h 3657600"/>
                  <a:gd name="connsiteX10" fmla="*/ 239437 w 445812"/>
                  <a:gd name="connsiteY10" fmla="*/ 412750 h 3657600"/>
                  <a:gd name="connsiteX11" fmla="*/ 207687 w 445812"/>
                  <a:gd name="connsiteY11" fmla="*/ 454025 h 3657600"/>
                  <a:gd name="connsiteX12" fmla="*/ 287062 w 445812"/>
                  <a:gd name="connsiteY12" fmla="*/ 479425 h 3657600"/>
                  <a:gd name="connsiteX13" fmla="*/ 302937 w 445812"/>
                  <a:gd name="connsiteY13" fmla="*/ 511175 h 3657600"/>
                  <a:gd name="connsiteX14" fmla="*/ 210862 w 445812"/>
                  <a:gd name="connsiteY14" fmla="*/ 581025 h 3657600"/>
                  <a:gd name="connsiteX15" fmla="*/ 160062 w 445812"/>
                  <a:gd name="connsiteY15" fmla="*/ 638175 h 3657600"/>
                  <a:gd name="connsiteX16" fmla="*/ 160062 w 445812"/>
                  <a:gd name="connsiteY16" fmla="*/ 695325 h 3657600"/>
                  <a:gd name="connsiteX17" fmla="*/ 185462 w 445812"/>
                  <a:gd name="connsiteY17" fmla="*/ 784225 h 3657600"/>
                  <a:gd name="connsiteX18" fmla="*/ 194987 w 445812"/>
                  <a:gd name="connsiteY18" fmla="*/ 835025 h 3657600"/>
                  <a:gd name="connsiteX19" fmla="*/ 204512 w 445812"/>
                  <a:gd name="connsiteY19" fmla="*/ 885825 h 3657600"/>
                  <a:gd name="connsiteX20" fmla="*/ 220387 w 445812"/>
                  <a:gd name="connsiteY20" fmla="*/ 923925 h 3657600"/>
                  <a:gd name="connsiteX21" fmla="*/ 163237 w 445812"/>
                  <a:gd name="connsiteY21" fmla="*/ 1022350 h 3657600"/>
                  <a:gd name="connsiteX22" fmla="*/ 96562 w 445812"/>
                  <a:gd name="connsiteY22" fmla="*/ 1057275 h 3657600"/>
                  <a:gd name="connsiteX23" fmla="*/ 52112 w 445812"/>
                  <a:gd name="connsiteY23" fmla="*/ 1143000 h 3657600"/>
                  <a:gd name="connsiteX24" fmla="*/ 20362 w 445812"/>
                  <a:gd name="connsiteY24" fmla="*/ 1244600 h 3657600"/>
                  <a:gd name="connsiteX25" fmla="*/ 1312 w 445812"/>
                  <a:gd name="connsiteY25" fmla="*/ 1346200 h 3657600"/>
                  <a:gd name="connsiteX26" fmla="*/ 10837 w 445812"/>
                  <a:gd name="connsiteY26" fmla="*/ 1438275 h 3657600"/>
                  <a:gd name="connsiteX27" fmla="*/ 83862 w 445812"/>
                  <a:gd name="connsiteY27" fmla="*/ 1511300 h 3657600"/>
                  <a:gd name="connsiteX28" fmla="*/ 112437 w 445812"/>
                  <a:gd name="connsiteY28" fmla="*/ 1558925 h 3657600"/>
                  <a:gd name="connsiteX29" fmla="*/ 150537 w 445812"/>
                  <a:gd name="connsiteY29" fmla="*/ 1590675 h 3657600"/>
                  <a:gd name="connsiteX30" fmla="*/ 169587 w 445812"/>
                  <a:gd name="connsiteY30" fmla="*/ 1644650 h 3657600"/>
                  <a:gd name="connsiteX31" fmla="*/ 226737 w 445812"/>
                  <a:gd name="connsiteY31" fmla="*/ 1685925 h 3657600"/>
                  <a:gd name="connsiteX32" fmla="*/ 264837 w 445812"/>
                  <a:gd name="connsiteY32" fmla="*/ 1730375 h 3657600"/>
                  <a:gd name="connsiteX33" fmla="*/ 277537 w 445812"/>
                  <a:gd name="connsiteY33" fmla="*/ 1758950 h 3657600"/>
                  <a:gd name="connsiteX34" fmla="*/ 277537 w 445812"/>
                  <a:gd name="connsiteY34" fmla="*/ 1828800 h 3657600"/>
                  <a:gd name="connsiteX35" fmla="*/ 325162 w 445812"/>
                  <a:gd name="connsiteY35" fmla="*/ 1905000 h 3657600"/>
                  <a:gd name="connsiteX36" fmla="*/ 363262 w 445812"/>
                  <a:gd name="connsiteY36" fmla="*/ 1962150 h 3657600"/>
                  <a:gd name="connsiteX37" fmla="*/ 369612 w 445812"/>
                  <a:gd name="connsiteY37" fmla="*/ 2028825 h 3657600"/>
                  <a:gd name="connsiteX38" fmla="*/ 407712 w 445812"/>
                  <a:gd name="connsiteY38" fmla="*/ 2085975 h 3657600"/>
                  <a:gd name="connsiteX39" fmla="*/ 414062 w 445812"/>
                  <a:gd name="connsiteY39" fmla="*/ 2209800 h 3657600"/>
                  <a:gd name="connsiteX40" fmla="*/ 252137 w 445812"/>
                  <a:gd name="connsiteY40" fmla="*/ 2251075 h 3657600"/>
                  <a:gd name="connsiteX41" fmla="*/ 201337 w 445812"/>
                  <a:gd name="connsiteY41" fmla="*/ 2390775 h 3657600"/>
                  <a:gd name="connsiteX42" fmla="*/ 210862 w 445812"/>
                  <a:gd name="connsiteY42" fmla="*/ 2454275 h 3657600"/>
                  <a:gd name="connsiteX43" fmla="*/ 226737 w 445812"/>
                  <a:gd name="connsiteY43" fmla="*/ 2482850 h 3657600"/>
                  <a:gd name="connsiteX44" fmla="*/ 226737 w 445812"/>
                  <a:gd name="connsiteY44" fmla="*/ 2527300 h 3657600"/>
                  <a:gd name="connsiteX45" fmla="*/ 236262 w 445812"/>
                  <a:gd name="connsiteY45" fmla="*/ 2603500 h 3657600"/>
                  <a:gd name="connsiteX46" fmla="*/ 96562 w 445812"/>
                  <a:gd name="connsiteY46" fmla="*/ 3028949 h 3657600"/>
                  <a:gd name="connsiteX47" fmla="*/ 58462 w 445812"/>
                  <a:gd name="connsiteY47" fmla="*/ 3657600 h 3657600"/>
                  <a:gd name="connsiteX0" fmla="*/ 445812 w 445812"/>
                  <a:gd name="connsiteY0" fmla="*/ 0 h 3657600"/>
                  <a:gd name="connsiteX1" fmla="*/ 407712 w 445812"/>
                  <a:gd name="connsiteY1" fmla="*/ 66675 h 3657600"/>
                  <a:gd name="connsiteX2" fmla="*/ 353737 w 445812"/>
                  <a:gd name="connsiteY2" fmla="*/ 85725 h 3657600"/>
                  <a:gd name="connsiteX3" fmla="*/ 283887 w 445812"/>
                  <a:gd name="connsiteY3" fmla="*/ 98425 h 3657600"/>
                  <a:gd name="connsiteX4" fmla="*/ 223562 w 445812"/>
                  <a:gd name="connsiteY4" fmla="*/ 133350 h 3657600"/>
                  <a:gd name="connsiteX5" fmla="*/ 121962 w 445812"/>
                  <a:gd name="connsiteY5" fmla="*/ 196850 h 3657600"/>
                  <a:gd name="connsiteX6" fmla="*/ 131487 w 445812"/>
                  <a:gd name="connsiteY6" fmla="*/ 247650 h 3657600"/>
                  <a:gd name="connsiteX7" fmla="*/ 172762 w 445812"/>
                  <a:gd name="connsiteY7" fmla="*/ 276225 h 3657600"/>
                  <a:gd name="connsiteX8" fmla="*/ 185462 w 445812"/>
                  <a:gd name="connsiteY8" fmla="*/ 327025 h 3657600"/>
                  <a:gd name="connsiteX9" fmla="*/ 239437 w 445812"/>
                  <a:gd name="connsiteY9" fmla="*/ 368300 h 3657600"/>
                  <a:gd name="connsiteX10" fmla="*/ 239437 w 445812"/>
                  <a:gd name="connsiteY10" fmla="*/ 412750 h 3657600"/>
                  <a:gd name="connsiteX11" fmla="*/ 207687 w 445812"/>
                  <a:gd name="connsiteY11" fmla="*/ 454025 h 3657600"/>
                  <a:gd name="connsiteX12" fmla="*/ 287062 w 445812"/>
                  <a:gd name="connsiteY12" fmla="*/ 479425 h 3657600"/>
                  <a:gd name="connsiteX13" fmla="*/ 302937 w 445812"/>
                  <a:gd name="connsiteY13" fmla="*/ 511175 h 3657600"/>
                  <a:gd name="connsiteX14" fmla="*/ 210862 w 445812"/>
                  <a:gd name="connsiteY14" fmla="*/ 581025 h 3657600"/>
                  <a:gd name="connsiteX15" fmla="*/ 160062 w 445812"/>
                  <a:gd name="connsiteY15" fmla="*/ 638175 h 3657600"/>
                  <a:gd name="connsiteX16" fmla="*/ 160062 w 445812"/>
                  <a:gd name="connsiteY16" fmla="*/ 695325 h 3657600"/>
                  <a:gd name="connsiteX17" fmla="*/ 185462 w 445812"/>
                  <a:gd name="connsiteY17" fmla="*/ 784225 h 3657600"/>
                  <a:gd name="connsiteX18" fmla="*/ 194987 w 445812"/>
                  <a:gd name="connsiteY18" fmla="*/ 835025 h 3657600"/>
                  <a:gd name="connsiteX19" fmla="*/ 204512 w 445812"/>
                  <a:gd name="connsiteY19" fmla="*/ 885825 h 3657600"/>
                  <a:gd name="connsiteX20" fmla="*/ 220387 w 445812"/>
                  <a:gd name="connsiteY20" fmla="*/ 923925 h 3657600"/>
                  <a:gd name="connsiteX21" fmla="*/ 163237 w 445812"/>
                  <a:gd name="connsiteY21" fmla="*/ 1022350 h 3657600"/>
                  <a:gd name="connsiteX22" fmla="*/ 96562 w 445812"/>
                  <a:gd name="connsiteY22" fmla="*/ 1057275 h 3657600"/>
                  <a:gd name="connsiteX23" fmla="*/ 52112 w 445812"/>
                  <a:gd name="connsiteY23" fmla="*/ 1143000 h 3657600"/>
                  <a:gd name="connsiteX24" fmla="*/ 20362 w 445812"/>
                  <a:gd name="connsiteY24" fmla="*/ 1244600 h 3657600"/>
                  <a:gd name="connsiteX25" fmla="*/ 1312 w 445812"/>
                  <a:gd name="connsiteY25" fmla="*/ 1346200 h 3657600"/>
                  <a:gd name="connsiteX26" fmla="*/ 10837 w 445812"/>
                  <a:gd name="connsiteY26" fmla="*/ 1438275 h 3657600"/>
                  <a:gd name="connsiteX27" fmla="*/ 83862 w 445812"/>
                  <a:gd name="connsiteY27" fmla="*/ 1511300 h 3657600"/>
                  <a:gd name="connsiteX28" fmla="*/ 112437 w 445812"/>
                  <a:gd name="connsiteY28" fmla="*/ 1558925 h 3657600"/>
                  <a:gd name="connsiteX29" fmla="*/ 150537 w 445812"/>
                  <a:gd name="connsiteY29" fmla="*/ 1590675 h 3657600"/>
                  <a:gd name="connsiteX30" fmla="*/ 169587 w 445812"/>
                  <a:gd name="connsiteY30" fmla="*/ 1644650 h 3657600"/>
                  <a:gd name="connsiteX31" fmla="*/ 226737 w 445812"/>
                  <a:gd name="connsiteY31" fmla="*/ 1685925 h 3657600"/>
                  <a:gd name="connsiteX32" fmla="*/ 264837 w 445812"/>
                  <a:gd name="connsiteY32" fmla="*/ 1730375 h 3657600"/>
                  <a:gd name="connsiteX33" fmla="*/ 277537 w 445812"/>
                  <a:gd name="connsiteY33" fmla="*/ 1758950 h 3657600"/>
                  <a:gd name="connsiteX34" fmla="*/ 277537 w 445812"/>
                  <a:gd name="connsiteY34" fmla="*/ 1828800 h 3657600"/>
                  <a:gd name="connsiteX35" fmla="*/ 325162 w 445812"/>
                  <a:gd name="connsiteY35" fmla="*/ 1905000 h 3657600"/>
                  <a:gd name="connsiteX36" fmla="*/ 363262 w 445812"/>
                  <a:gd name="connsiteY36" fmla="*/ 1962150 h 3657600"/>
                  <a:gd name="connsiteX37" fmla="*/ 369612 w 445812"/>
                  <a:gd name="connsiteY37" fmla="*/ 2028825 h 3657600"/>
                  <a:gd name="connsiteX38" fmla="*/ 407712 w 445812"/>
                  <a:gd name="connsiteY38" fmla="*/ 2085975 h 3657600"/>
                  <a:gd name="connsiteX39" fmla="*/ 414062 w 445812"/>
                  <a:gd name="connsiteY39" fmla="*/ 2209800 h 3657600"/>
                  <a:gd name="connsiteX40" fmla="*/ 252137 w 445812"/>
                  <a:gd name="connsiteY40" fmla="*/ 2251075 h 3657600"/>
                  <a:gd name="connsiteX41" fmla="*/ 201337 w 445812"/>
                  <a:gd name="connsiteY41" fmla="*/ 2390775 h 3657600"/>
                  <a:gd name="connsiteX42" fmla="*/ 210862 w 445812"/>
                  <a:gd name="connsiteY42" fmla="*/ 2454275 h 3657600"/>
                  <a:gd name="connsiteX43" fmla="*/ 226737 w 445812"/>
                  <a:gd name="connsiteY43" fmla="*/ 2482850 h 3657600"/>
                  <a:gd name="connsiteX44" fmla="*/ 226737 w 445812"/>
                  <a:gd name="connsiteY44" fmla="*/ 2527300 h 3657600"/>
                  <a:gd name="connsiteX45" fmla="*/ 236262 w 445812"/>
                  <a:gd name="connsiteY45" fmla="*/ 2603500 h 3657600"/>
                  <a:gd name="connsiteX46" fmla="*/ 96562 w 445812"/>
                  <a:gd name="connsiteY46" fmla="*/ 3028949 h 3657600"/>
                  <a:gd name="connsiteX47" fmla="*/ 58462 w 445812"/>
                  <a:gd name="connsiteY47" fmla="*/ 3657600 h 3657600"/>
                  <a:gd name="connsiteX0" fmla="*/ 445812 w 445812"/>
                  <a:gd name="connsiteY0" fmla="*/ 0 h 3657600"/>
                  <a:gd name="connsiteX1" fmla="*/ 407712 w 445812"/>
                  <a:gd name="connsiteY1" fmla="*/ 66675 h 3657600"/>
                  <a:gd name="connsiteX2" fmla="*/ 353737 w 445812"/>
                  <a:gd name="connsiteY2" fmla="*/ 85725 h 3657600"/>
                  <a:gd name="connsiteX3" fmla="*/ 283887 w 445812"/>
                  <a:gd name="connsiteY3" fmla="*/ 98425 h 3657600"/>
                  <a:gd name="connsiteX4" fmla="*/ 223562 w 445812"/>
                  <a:gd name="connsiteY4" fmla="*/ 133350 h 3657600"/>
                  <a:gd name="connsiteX5" fmla="*/ 121962 w 445812"/>
                  <a:gd name="connsiteY5" fmla="*/ 196850 h 3657600"/>
                  <a:gd name="connsiteX6" fmla="*/ 131487 w 445812"/>
                  <a:gd name="connsiteY6" fmla="*/ 247650 h 3657600"/>
                  <a:gd name="connsiteX7" fmla="*/ 172762 w 445812"/>
                  <a:gd name="connsiteY7" fmla="*/ 276225 h 3657600"/>
                  <a:gd name="connsiteX8" fmla="*/ 185462 w 445812"/>
                  <a:gd name="connsiteY8" fmla="*/ 327025 h 3657600"/>
                  <a:gd name="connsiteX9" fmla="*/ 239437 w 445812"/>
                  <a:gd name="connsiteY9" fmla="*/ 368300 h 3657600"/>
                  <a:gd name="connsiteX10" fmla="*/ 239437 w 445812"/>
                  <a:gd name="connsiteY10" fmla="*/ 412750 h 3657600"/>
                  <a:gd name="connsiteX11" fmla="*/ 207687 w 445812"/>
                  <a:gd name="connsiteY11" fmla="*/ 454025 h 3657600"/>
                  <a:gd name="connsiteX12" fmla="*/ 287062 w 445812"/>
                  <a:gd name="connsiteY12" fmla="*/ 479425 h 3657600"/>
                  <a:gd name="connsiteX13" fmla="*/ 302937 w 445812"/>
                  <a:gd name="connsiteY13" fmla="*/ 511175 h 3657600"/>
                  <a:gd name="connsiteX14" fmla="*/ 210862 w 445812"/>
                  <a:gd name="connsiteY14" fmla="*/ 581025 h 3657600"/>
                  <a:gd name="connsiteX15" fmla="*/ 160062 w 445812"/>
                  <a:gd name="connsiteY15" fmla="*/ 638175 h 3657600"/>
                  <a:gd name="connsiteX16" fmla="*/ 160062 w 445812"/>
                  <a:gd name="connsiteY16" fmla="*/ 695325 h 3657600"/>
                  <a:gd name="connsiteX17" fmla="*/ 185462 w 445812"/>
                  <a:gd name="connsiteY17" fmla="*/ 784225 h 3657600"/>
                  <a:gd name="connsiteX18" fmla="*/ 194987 w 445812"/>
                  <a:gd name="connsiteY18" fmla="*/ 835025 h 3657600"/>
                  <a:gd name="connsiteX19" fmla="*/ 204512 w 445812"/>
                  <a:gd name="connsiteY19" fmla="*/ 885825 h 3657600"/>
                  <a:gd name="connsiteX20" fmla="*/ 220387 w 445812"/>
                  <a:gd name="connsiteY20" fmla="*/ 923925 h 3657600"/>
                  <a:gd name="connsiteX21" fmla="*/ 163237 w 445812"/>
                  <a:gd name="connsiteY21" fmla="*/ 1022350 h 3657600"/>
                  <a:gd name="connsiteX22" fmla="*/ 96562 w 445812"/>
                  <a:gd name="connsiteY22" fmla="*/ 1057275 h 3657600"/>
                  <a:gd name="connsiteX23" fmla="*/ 52112 w 445812"/>
                  <a:gd name="connsiteY23" fmla="*/ 1143000 h 3657600"/>
                  <a:gd name="connsiteX24" fmla="*/ 20362 w 445812"/>
                  <a:gd name="connsiteY24" fmla="*/ 1244600 h 3657600"/>
                  <a:gd name="connsiteX25" fmla="*/ 1312 w 445812"/>
                  <a:gd name="connsiteY25" fmla="*/ 1346200 h 3657600"/>
                  <a:gd name="connsiteX26" fmla="*/ 10837 w 445812"/>
                  <a:gd name="connsiteY26" fmla="*/ 1438275 h 3657600"/>
                  <a:gd name="connsiteX27" fmla="*/ 83862 w 445812"/>
                  <a:gd name="connsiteY27" fmla="*/ 1511300 h 3657600"/>
                  <a:gd name="connsiteX28" fmla="*/ 112437 w 445812"/>
                  <a:gd name="connsiteY28" fmla="*/ 1558925 h 3657600"/>
                  <a:gd name="connsiteX29" fmla="*/ 150537 w 445812"/>
                  <a:gd name="connsiteY29" fmla="*/ 1590675 h 3657600"/>
                  <a:gd name="connsiteX30" fmla="*/ 169587 w 445812"/>
                  <a:gd name="connsiteY30" fmla="*/ 1644650 h 3657600"/>
                  <a:gd name="connsiteX31" fmla="*/ 226737 w 445812"/>
                  <a:gd name="connsiteY31" fmla="*/ 1685925 h 3657600"/>
                  <a:gd name="connsiteX32" fmla="*/ 264837 w 445812"/>
                  <a:gd name="connsiteY32" fmla="*/ 1730375 h 3657600"/>
                  <a:gd name="connsiteX33" fmla="*/ 277537 w 445812"/>
                  <a:gd name="connsiteY33" fmla="*/ 1758950 h 3657600"/>
                  <a:gd name="connsiteX34" fmla="*/ 277537 w 445812"/>
                  <a:gd name="connsiteY34" fmla="*/ 1828800 h 3657600"/>
                  <a:gd name="connsiteX35" fmla="*/ 325162 w 445812"/>
                  <a:gd name="connsiteY35" fmla="*/ 1905000 h 3657600"/>
                  <a:gd name="connsiteX36" fmla="*/ 363262 w 445812"/>
                  <a:gd name="connsiteY36" fmla="*/ 1962150 h 3657600"/>
                  <a:gd name="connsiteX37" fmla="*/ 369612 w 445812"/>
                  <a:gd name="connsiteY37" fmla="*/ 2028825 h 3657600"/>
                  <a:gd name="connsiteX38" fmla="*/ 407712 w 445812"/>
                  <a:gd name="connsiteY38" fmla="*/ 2085975 h 3657600"/>
                  <a:gd name="connsiteX39" fmla="*/ 414062 w 445812"/>
                  <a:gd name="connsiteY39" fmla="*/ 2209800 h 3657600"/>
                  <a:gd name="connsiteX40" fmla="*/ 252137 w 445812"/>
                  <a:gd name="connsiteY40" fmla="*/ 2251075 h 3657600"/>
                  <a:gd name="connsiteX41" fmla="*/ 201337 w 445812"/>
                  <a:gd name="connsiteY41" fmla="*/ 2390775 h 3657600"/>
                  <a:gd name="connsiteX42" fmla="*/ 210862 w 445812"/>
                  <a:gd name="connsiteY42" fmla="*/ 2454275 h 3657600"/>
                  <a:gd name="connsiteX43" fmla="*/ 226737 w 445812"/>
                  <a:gd name="connsiteY43" fmla="*/ 2482850 h 3657600"/>
                  <a:gd name="connsiteX44" fmla="*/ 226737 w 445812"/>
                  <a:gd name="connsiteY44" fmla="*/ 2527300 h 3657600"/>
                  <a:gd name="connsiteX45" fmla="*/ 236262 w 445812"/>
                  <a:gd name="connsiteY45" fmla="*/ 2603500 h 3657600"/>
                  <a:gd name="connsiteX46" fmla="*/ 83862 w 445812"/>
                  <a:gd name="connsiteY46" fmla="*/ 3028949 h 3657600"/>
                  <a:gd name="connsiteX47" fmla="*/ 58462 w 445812"/>
                  <a:gd name="connsiteY47" fmla="*/ 3657600 h 3657600"/>
                  <a:gd name="connsiteX0" fmla="*/ 445812 w 445812"/>
                  <a:gd name="connsiteY0" fmla="*/ 0 h 3657600"/>
                  <a:gd name="connsiteX1" fmla="*/ 407712 w 445812"/>
                  <a:gd name="connsiteY1" fmla="*/ 66675 h 3657600"/>
                  <a:gd name="connsiteX2" fmla="*/ 353737 w 445812"/>
                  <a:gd name="connsiteY2" fmla="*/ 85725 h 3657600"/>
                  <a:gd name="connsiteX3" fmla="*/ 283887 w 445812"/>
                  <a:gd name="connsiteY3" fmla="*/ 98425 h 3657600"/>
                  <a:gd name="connsiteX4" fmla="*/ 223562 w 445812"/>
                  <a:gd name="connsiteY4" fmla="*/ 133350 h 3657600"/>
                  <a:gd name="connsiteX5" fmla="*/ 121962 w 445812"/>
                  <a:gd name="connsiteY5" fmla="*/ 196850 h 3657600"/>
                  <a:gd name="connsiteX6" fmla="*/ 131487 w 445812"/>
                  <a:gd name="connsiteY6" fmla="*/ 247650 h 3657600"/>
                  <a:gd name="connsiteX7" fmla="*/ 172762 w 445812"/>
                  <a:gd name="connsiteY7" fmla="*/ 276225 h 3657600"/>
                  <a:gd name="connsiteX8" fmla="*/ 185462 w 445812"/>
                  <a:gd name="connsiteY8" fmla="*/ 327025 h 3657600"/>
                  <a:gd name="connsiteX9" fmla="*/ 239437 w 445812"/>
                  <a:gd name="connsiteY9" fmla="*/ 368300 h 3657600"/>
                  <a:gd name="connsiteX10" fmla="*/ 239437 w 445812"/>
                  <a:gd name="connsiteY10" fmla="*/ 412750 h 3657600"/>
                  <a:gd name="connsiteX11" fmla="*/ 207687 w 445812"/>
                  <a:gd name="connsiteY11" fmla="*/ 454025 h 3657600"/>
                  <a:gd name="connsiteX12" fmla="*/ 287062 w 445812"/>
                  <a:gd name="connsiteY12" fmla="*/ 479425 h 3657600"/>
                  <a:gd name="connsiteX13" fmla="*/ 302937 w 445812"/>
                  <a:gd name="connsiteY13" fmla="*/ 511175 h 3657600"/>
                  <a:gd name="connsiteX14" fmla="*/ 210862 w 445812"/>
                  <a:gd name="connsiteY14" fmla="*/ 581025 h 3657600"/>
                  <a:gd name="connsiteX15" fmla="*/ 160062 w 445812"/>
                  <a:gd name="connsiteY15" fmla="*/ 638175 h 3657600"/>
                  <a:gd name="connsiteX16" fmla="*/ 160062 w 445812"/>
                  <a:gd name="connsiteY16" fmla="*/ 695325 h 3657600"/>
                  <a:gd name="connsiteX17" fmla="*/ 185462 w 445812"/>
                  <a:gd name="connsiteY17" fmla="*/ 784225 h 3657600"/>
                  <a:gd name="connsiteX18" fmla="*/ 194987 w 445812"/>
                  <a:gd name="connsiteY18" fmla="*/ 835025 h 3657600"/>
                  <a:gd name="connsiteX19" fmla="*/ 204512 w 445812"/>
                  <a:gd name="connsiteY19" fmla="*/ 885825 h 3657600"/>
                  <a:gd name="connsiteX20" fmla="*/ 220387 w 445812"/>
                  <a:gd name="connsiteY20" fmla="*/ 923925 h 3657600"/>
                  <a:gd name="connsiteX21" fmla="*/ 163237 w 445812"/>
                  <a:gd name="connsiteY21" fmla="*/ 1022350 h 3657600"/>
                  <a:gd name="connsiteX22" fmla="*/ 96562 w 445812"/>
                  <a:gd name="connsiteY22" fmla="*/ 1057275 h 3657600"/>
                  <a:gd name="connsiteX23" fmla="*/ 52112 w 445812"/>
                  <a:gd name="connsiteY23" fmla="*/ 1143000 h 3657600"/>
                  <a:gd name="connsiteX24" fmla="*/ 20362 w 445812"/>
                  <a:gd name="connsiteY24" fmla="*/ 1244600 h 3657600"/>
                  <a:gd name="connsiteX25" fmla="*/ 1312 w 445812"/>
                  <a:gd name="connsiteY25" fmla="*/ 1346200 h 3657600"/>
                  <a:gd name="connsiteX26" fmla="*/ 10837 w 445812"/>
                  <a:gd name="connsiteY26" fmla="*/ 1438275 h 3657600"/>
                  <a:gd name="connsiteX27" fmla="*/ 83862 w 445812"/>
                  <a:gd name="connsiteY27" fmla="*/ 1511300 h 3657600"/>
                  <a:gd name="connsiteX28" fmla="*/ 112437 w 445812"/>
                  <a:gd name="connsiteY28" fmla="*/ 1558925 h 3657600"/>
                  <a:gd name="connsiteX29" fmla="*/ 150537 w 445812"/>
                  <a:gd name="connsiteY29" fmla="*/ 1590675 h 3657600"/>
                  <a:gd name="connsiteX30" fmla="*/ 169587 w 445812"/>
                  <a:gd name="connsiteY30" fmla="*/ 1644650 h 3657600"/>
                  <a:gd name="connsiteX31" fmla="*/ 226737 w 445812"/>
                  <a:gd name="connsiteY31" fmla="*/ 1685925 h 3657600"/>
                  <a:gd name="connsiteX32" fmla="*/ 264837 w 445812"/>
                  <a:gd name="connsiteY32" fmla="*/ 1730375 h 3657600"/>
                  <a:gd name="connsiteX33" fmla="*/ 277537 w 445812"/>
                  <a:gd name="connsiteY33" fmla="*/ 1758950 h 3657600"/>
                  <a:gd name="connsiteX34" fmla="*/ 277537 w 445812"/>
                  <a:gd name="connsiteY34" fmla="*/ 1828800 h 3657600"/>
                  <a:gd name="connsiteX35" fmla="*/ 325162 w 445812"/>
                  <a:gd name="connsiteY35" fmla="*/ 1905000 h 3657600"/>
                  <a:gd name="connsiteX36" fmla="*/ 363262 w 445812"/>
                  <a:gd name="connsiteY36" fmla="*/ 1962150 h 3657600"/>
                  <a:gd name="connsiteX37" fmla="*/ 369612 w 445812"/>
                  <a:gd name="connsiteY37" fmla="*/ 2028825 h 3657600"/>
                  <a:gd name="connsiteX38" fmla="*/ 407712 w 445812"/>
                  <a:gd name="connsiteY38" fmla="*/ 2085975 h 3657600"/>
                  <a:gd name="connsiteX39" fmla="*/ 414062 w 445812"/>
                  <a:gd name="connsiteY39" fmla="*/ 2209800 h 3657600"/>
                  <a:gd name="connsiteX40" fmla="*/ 252137 w 445812"/>
                  <a:gd name="connsiteY40" fmla="*/ 2251075 h 3657600"/>
                  <a:gd name="connsiteX41" fmla="*/ 201337 w 445812"/>
                  <a:gd name="connsiteY41" fmla="*/ 2390775 h 3657600"/>
                  <a:gd name="connsiteX42" fmla="*/ 210862 w 445812"/>
                  <a:gd name="connsiteY42" fmla="*/ 2454275 h 3657600"/>
                  <a:gd name="connsiteX43" fmla="*/ 226737 w 445812"/>
                  <a:gd name="connsiteY43" fmla="*/ 2482850 h 3657600"/>
                  <a:gd name="connsiteX44" fmla="*/ 226737 w 445812"/>
                  <a:gd name="connsiteY44" fmla="*/ 2527300 h 3657600"/>
                  <a:gd name="connsiteX45" fmla="*/ 236262 w 445812"/>
                  <a:gd name="connsiteY45" fmla="*/ 2603500 h 3657600"/>
                  <a:gd name="connsiteX46" fmla="*/ 83862 w 445812"/>
                  <a:gd name="connsiteY46" fmla="*/ 3028949 h 3657600"/>
                  <a:gd name="connsiteX47" fmla="*/ 17187 w 445812"/>
                  <a:gd name="connsiteY47" fmla="*/ 3365499 h 3657600"/>
                  <a:gd name="connsiteX48" fmla="*/ 58462 w 445812"/>
                  <a:gd name="connsiteY48" fmla="*/ 3657600 h 3657600"/>
                  <a:gd name="connsiteX0" fmla="*/ 445812 w 445812"/>
                  <a:gd name="connsiteY0" fmla="*/ 0 h 3657600"/>
                  <a:gd name="connsiteX1" fmla="*/ 407712 w 445812"/>
                  <a:gd name="connsiteY1" fmla="*/ 66675 h 3657600"/>
                  <a:gd name="connsiteX2" fmla="*/ 353737 w 445812"/>
                  <a:gd name="connsiteY2" fmla="*/ 85725 h 3657600"/>
                  <a:gd name="connsiteX3" fmla="*/ 283887 w 445812"/>
                  <a:gd name="connsiteY3" fmla="*/ 98425 h 3657600"/>
                  <a:gd name="connsiteX4" fmla="*/ 223562 w 445812"/>
                  <a:gd name="connsiteY4" fmla="*/ 133350 h 3657600"/>
                  <a:gd name="connsiteX5" fmla="*/ 121962 w 445812"/>
                  <a:gd name="connsiteY5" fmla="*/ 196850 h 3657600"/>
                  <a:gd name="connsiteX6" fmla="*/ 131487 w 445812"/>
                  <a:gd name="connsiteY6" fmla="*/ 247650 h 3657600"/>
                  <a:gd name="connsiteX7" fmla="*/ 172762 w 445812"/>
                  <a:gd name="connsiteY7" fmla="*/ 276225 h 3657600"/>
                  <a:gd name="connsiteX8" fmla="*/ 185462 w 445812"/>
                  <a:gd name="connsiteY8" fmla="*/ 327025 h 3657600"/>
                  <a:gd name="connsiteX9" fmla="*/ 239437 w 445812"/>
                  <a:gd name="connsiteY9" fmla="*/ 368300 h 3657600"/>
                  <a:gd name="connsiteX10" fmla="*/ 239437 w 445812"/>
                  <a:gd name="connsiteY10" fmla="*/ 412750 h 3657600"/>
                  <a:gd name="connsiteX11" fmla="*/ 207687 w 445812"/>
                  <a:gd name="connsiteY11" fmla="*/ 454025 h 3657600"/>
                  <a:gd name="connsiteX12" fmla="*/ 287062 w 445812"/>
                  <a:gd name="connsiteY12" fmla="*/ 479425 h 3657600"/>
                  <a:gd name="connsiteX13" fmla="*/ 302937 w 445812"/>
                  <a:gd name="connsiteY13" fmla="*/ 511175 h 3657600"/>
                  <a:gd name="connsiteX14" fmla="*/ 210862 w 445812"/>
                  <a:gd name="connsiteY14" fmla="*/ 581025 h 3657600"/>
                  <a:gd name="connsiteX15" fmla="*/ 160062 w 445812"/>
                  <a:gd name="connsiteY15" fmla="*/ 638175 h 3657600"/>
                  <a:gd name="connsiteX16" fmla="*/ 160062 w 445812"/>
                  <a:gd name="connsiteY16" fmla="*/ 695325 h 3657600"/>
                  <a:gd name="connsiteX17" fmla="*/ 185462 w 445812"/>
                  <a:gd name="connsiteY17" fmla="*/ 784225 h 3657600"/>
                  <a:gd name="connsiteX18" fmla="*/ 194987 w 445812"/>
                  <a:gd name="connsiteY18" fmla="*/ 835025 h 3657600"/>
                  <a:gd name="connsiteX19" fmla="*/ 204512 w 445812"/>
                  <a:gd name="connsiteY19" fmla="*/ 885825 h 3657600"/>
                  <a:gd name="connsiteX20" fmla="*/ 220387 w 445812"/>
                  <a:gd name="connsiteY20" fmla="*/ 923925 h 3657600"/>
                  <a:gd name="connsiteX21" fmla="*/ 163237 w 445812"/>
                  <a:gd name="connsiteY21" fmla="*/ 1022350 h 3657600"/>
                  <a:gd name="connsiteX22" fmla="*/ 96562 w 445812"/>
                  <a:gd name="connsiteY22" fmla="*/ 1057275 h 3657600"/>
                  <a:gd name="connsiteX23" fmla="*/ 52112 w 445812"/>
                  <a:gd name="connsiteY23" fmla="*/ 1143000 h 3657600"/>
                  <a:gd name="connsiteX24" fmla="*/ 20362 w 445812"/>
                  <a:gd name="connsiteY24" fmla="*/ 1244600 h 3657600"/>
                  <a:gd name="connsiteX25" fmla="*/ 1312 w 445812"/>
                  <a:gd name="connsiteY25" fmla="*/ 1346200 h 3657600"/>
                  <a:gd name="connsiteX26" fmla="*/ 10837 w 445812"/>
                  <a:gd name="connsiteY26" fmla="*/ 1438275 h 3657600"/>
                  <a:gd name="connsiteX27" fmla="*/ 83862 w 445812"/>
                  <a:gd name="connsiteY27" fmla="*/ 1511300 h 3657600"/>
                  <a:gd name="connsiteX28" fmla="*/ 112437 w 445812"/>
                  <a:gd name="connsiteY28" fmla="*/ 1558925 h 3657600"/>
                  <a:gd name="connsiteX29" fmla="*/ 150537 w 445812"/>
                  <a:gd name="connsiteY29" fmla="*/ 1590675 h 3657600"/>
                  <a:gd name="connsiteX30" fmla="*/ 169587 w 445812"/>
                  <a:gd name="connsiteY30" fmla="*/ 1644650 h 3657600"/>
                  <a:gd name="connsiteX31" fmla="*/ 226737 w 445812"/>
                  <a:gd name="connsiteY31" fmla="*/ 1685925 h 3657600"/>
                  <a:gd name="connsiteX32" fmla="*/ 264837 w 445812"/>
                  <a:gd name="connsiteY32" fmla="*/ 1730375 h 3657600"/>
                  <a:gd name="connsiteX33" fmla="*/ 277537 w 445812"/>
                  <a:gd name="connsiteY33" fmla="*/ 1758950 h 3657600"/>
                  <a:gd name="connsiteX34" fmla="*/ 277537 w 445812"/>
                  <a:gd name="connsiteY34" fmla="*/ 1828800 h 3657600"/>
                  <a:gd name="connsiteX35" fmla="*/ 325162 w 445812"/>
                  <a:gd name="connsiteY35" fmla="*/ 1905000 h 3657600"/>
                  <a:gd name="connsiteX36" fmla="*/ 363262 w 445812"/>
                  <a:gd name="connsiteY36" fmla="*/ 1962150 h 3657600"/>
                  <a:gd name="connsiteX37" fmla="*/ 369612 w 445812"/>
                  <a:gd name="connsiteY37" fmla="*/ 2028825 h 3657600"/>
                  <a:gd name="connsiteX38" fmla="*/ 407712 w 445812"/>
                  <a:gd name="connsiteY38" fmla="*/ 2085975 h 3657600"/>
                  <a:gd name="connsiteX39" fmla="*/ 414062 w 445812"/>
                  <a:gd name="connsiteY39" fmla="*/ 2209800 h 3657600"/>
                  <a:gd name="connsiteX40" fmla="*/ 252137 w 445812"/>
                  <a:gd name="connsiteY40" fmla="*/ 2251075 h 3657600"/>
                  <a:gd name="connsiteX41" fmla="*/ 201337 w 445812"/>
                  <a:gd name="connsiteY41" fmla="*/ 2390775 h 3657600"/>
                  <a:gd name="connsiteX42" fmla="*/ 210862 w 445812"/>
                  <a:gd name="connsiteY42" fmla="*/ 2454275 h 3657600"/>
                  <a:gd name="connsiteX43" fmla="*/ 226737 w 445812"/>
                  <a:gd name="connsiteY43" fmla="*/ 2482850 h 3657600"/>
                  <a:gd name="connsiteX44" fmla="*/ 226737 w 445812"/>
                  <a:gd name="connsiteY44" fmla="*/ 2527300 h 3657600"/>
                  <a:gd name="connsiteX45" fmla="*/ 236262 w 445812"/>
                  <a:gd name="connsiteY45" fmla="*/ 2603500 h 3657600"/>
                  <a:gd name="connsiteX46" fmla="*/ 83862 w 445812"/>
                  <a:gd name="connsiteY46" fmla="*/ 3028949 h 3657600"/>
                  <a:gd name="connsiteX47" fmla="*/ 17187 w 445812"/>
                  <a:gd name="connsiteY47" fmla="*/ 3365499 h 3657600"/>
                  <a:gd name="connsiteX48" fmla="*/ 45762 w 445812"/>
                  <a:gd name="connsiteY48" fmla="*/ 3492499 h 3657600"/>
                  <a:gd name="connsiteX49" fmla="*/ 58462 w 445812"/>
                  <a:gd name="connsiteY49" fmla="*/ 3657600 h 3657600"/>
                  <a:gd name="connsiteX0" fmla="*/ 445812 w 445812"/>
                  <a:gd name="connsiteY0" fmla="*/ 0 h 3657600"/>
                  <a:gd name="connsiteX1" fmla="*/ 407712 w 445812"/>
                  <a:gd name="connsiteY1" fmla="*/ 66675 h 3657600"/>
                  <a:gd name="connsiteX2" fmla="*/ 353737 w 445812"/>
                  <a:gd name="connsiteY2" fmla="*/ 85725 h 3657600"/>
                  <a:gd name="connsiteX3" fmla="*/ 283887 w 445812"/>
                  <a:gd name="connsiteY3" fmla="*/ 98425 h 3657600"/>
                  <a:gd name="connsiteX4" fmla="*/ 223562 w 445812"/>
                  <a:gd name="connsiteY4" fmla="*/ 133350 h 3657600"/>
                  <a:gd name="connsiteX5" fmla="*/ 121962 w 445812"/>
                  <a:gd name="connsiteY5" fmla="*/ 196850 h 3657600"/>
                  <a:gd name="connsiteX6" fmla="*/ 131487 w 445812"/>
                  <a:gd name="connsiteY6" fmla="*/ 247650 h 3657600"/>
                  <a:gd name="connsiteX7" fmla="*/ 172762 w 445812"/>
                  <a:gd name="connsiteY7" fmla="*/ 276225 h 3657600"/>
                  <a:gd name="connsiteX8" fmla="*/ 185462 w 445812"/>
                  <a:gd name="connsiteY8" fmla="*/ 327025 h 3657600"/>
                  <a:gd name="connsiteX9" fmla="*/ 239437 w 445812"/>
                  <a:gd name="connsiteY9" fmla="*/ 368300 h 3657600"/>
                  <a:gd name="connsiteX10" fmla="*/ 239437 w 445812"/>
                  <a:gd name="connsiteY10" fmla="*/ 412750 h 3657600"/>
                  <a:gd name="connsiteX11" fmla="*/ 207687 w 445812"/>
                  <a:gd name="connsiteY11" fmla="*/ 454025 h 3657600"/>
                  <a:gd name="connsiteX12" fmla="*/ 287062 w 445812"/>
                  <a:gd name="connsiteY12" fmla="*/ 479425 h 3657600"/>
                  <a:gd name="connsiteX13" fmla="*/ 302937 w 445812"/>
                  <a:gd name="connsiteY13" fmla="*/ 511175 h 3657600"/>
                  <a:gd name="connsiteX14" fmla="*/ 210862 w 445812"/>
                  <a:gd name="connsiteY14" fmla="*/ 581025 h 3657600"/>
                  <a:gd name="connsiteX15" fmla="*/ 160062 w 445812"/>
                  <a:gd name="connsiteY15" fmla="*/ 638175 h 3657600"/>
                  <a:gd name="connsiteX16" fmla="*/ 160062 w 445812"/>
                  <a:gd name="connsiteY16" fmla="*/ 695325 h 3657600"/>
                  <a:gd name="connsiteX17" fmla="*/ 185462 w 445812"/>
                  <a:gd name="connsiteY17" fmla="*/ 784225 h 3657600"/>
                  <a:gd name="connsiteX18" fmla="*/ 194987 w 445812"/>
                  <a:gd name="connsiteY18" fmla="*/ 835025 h 3657600"/>
                  <a:gd name="connsiteX19" fmla="*/ 204512 w 445812"/>
                  <a:gd name="connsiteY19" fmla="*/ 885825 h 3657600"/>
                  <a:gd name="connsiteX20" fmla="*/ 220387 w 445812"/>
                  <a:gd name="connsiteY20" fmla="*/ 923925 h 3657600"/>
                  <a:gd name="connsiteX21" fmla="*/ 163237 w 445812"/>
                  <a:gd name="connsiteY21" fmla="*/ 1022350 h 3657600"/>
                  <a:gd name="connsiteX22" fmla="*/ 96562 w 445812"/>
                  <a:gd name="connsiteY22" fmla="*/ 1057275 h 3657600"/>
                  <a:gd name="connsiteX23" fmla="*/ 52112 w 445812"/>
                  <a:gd name="connsiteY23" fmla="*/ 1143000 h 3657600"/>
                  <a:gd name="connsiteX24" fmla="*/ 20362 w 445812"/>
                  <a:gd name="connsiteY24" fmla="*/ 1244600 h 3657600"/>
                  <a:gd name="connsiteX25" fmla="*/ 1312 w 445812"/>
                  <a:gd name="connsiteY25" fmla="*/ 1346200 h 3657600"/>
                  <a:gd name="connsiteX26" fmla="*/ 10837 w 445812"/>
                  <a:gd name="connsiteY26" fmla="*/ 1438275 h 3657600"/>
                  <a:gd name="connsiteX27" fmla="*/ 83862 w 445812"/>
                  <a:gd name="connsiteY27" fmla="*/ 1511300 h 3657600"/>
                  <a:gd name="connsiteX28" fmla="*/ 112437 w 445812"/>
                  <a:gd name="connsiteY28" fmla="*/ 1558925 h 3657600"/>
                  <a:gd name="connsiteX29" fmla="*/ 150537 w 445812"/>
                  <a:gd name="connsiteY29" fmla="*/ 1590675 h 3657600"/>
                  <a:gd name="connsiteX30" fmla="*/ 169587 w 445812"/>
                  <a:gd name="connsiteY30" fmla="*/ 1644650 h 3657600"/>
                  <a:gd name="connsiteX31" fmla="*/ 226737 w 445812"/>
                  <a:gd name="connsiteY31" fmla="*/ 1685925 h 3657600"/>
                  <a:gd name="connsiteX32" fmla="*/ 264837 w 445812"/>
                  <a:gd name="connsiteY32" fmla="*/ 1730375 h 3657600"/>
                  <a:gd name="connsiteX33" fmla="*/ 277537 w 445812"/>
                  <a:gd name="connsiteY33" fmla="*/ 1758950 h 3657600"/>
                  <a:gd name="connsiteX34" fmla="*/ 277537 w 445812"/>
                  <a:gd name="connsiteY34" fmla="*/ 1828800 h 3657600"/>
                  <a:gd name="connsiteX35" fmla="*/ 325162 w 445812"/>
                  <a:gd name="connsiteY35" fmla="*/ 1905000 h 3657600"/>
                  <a:gd name="connsiteX36" fmla="*/ 363262 w 445812"/>
                  <a:gd name="connsiteY36" fmla="*/ 1962150 h 3657600"/>
                  <a:gd name="connsiteX37" fmla="*/ 369612 w 445812"/>
                  <a:gd name="connsiteY37" fmla="*/ 2028825 h 3657600"/>
                  <a:gd name="connsiteX38" fmla="*/ 407712 w 445812"/>
                  <a:gd name="connsiteY38" fmla="*/ 2085975 h 3657600"/>
                  <a:gd name="connsiteX39" fmla="*/ 414062 w 445812"/>
                  <a:gd name="connsiteY39" fmla="*/ 2209800 h 3657600"/>
                  <a:gd name="connsiteX40" fmla="*/ 252137 w 445812"/>
                  <a:gd name="connsiteY40" fmla="*/ 2251075 h 3657600"/>
                  <a:gd name="connsiteX41" fmla="*/ 201337 w 445812"/>
                  <a:gd name="connsiteY41" fmla="*/ 2390775 h 3657600"/>
                  <a:gd name="connsiteX42" fmla="*/ 210862 w 445812"/>
                  <a:gd name="connsiteY42" fmla="*/ 2454275 h 3657600"/>
                  <a:gd name="connsiteX43" fmla="*/ 226737 w 445812"/>
                  <a:gd name="connsiteY43" fmla="*/ 2482850 h 3657600"/>
                  <a:gd name="connsiteX44" fmla="*/ 226737 w 445812"/>
                  <a:gd name="connsiteY44" fmla="*/ 2527300 h 3657600"/>
                  <a:gd name="connsiteX45" fmla="*/ 236262 w 445812"/>
                  <a:gd name="connsiteY45" fmla="*/ 2603500 h 3657600"/>
                  <a:gd name="connsiteX46" fmla="*/ 83862 w 445812"/>
                  <a:gd name="connsiteY46" fmla="*/ 3028949 h 3657600"/>
                  <a:gd name="connsiteX47" fmla="*/ 87037 w 445812"/>
                  <a:gd name="connsiteY47" fmla="*/ 3070224 h 3657600"/>
                  <a:gd name="connsiteX48" fmla="*/ 17187 w 445812"/>
                  <a:gd name="connsiteY48" fmla="*/ 3365499 h 3657600"/>
                  <a:gd name="connsiteX49" fmla="*/ 45762 w 445812"/>
                  <a:gd name="connsiteY49" fmla="*/ 3492499 h 3657600"/>
                  <a:gd name="connsiteX50" fmla="*/ 58462 w 445812"/>
                  <a:gd name="connsiteY50" fmla="*/ 3657600 h 3657600"/>
                  <a:gd name="connsiteX0" fmla="*/ 445812 w 445812"/>
                  <a:gd name="connsiteY0" fmla="*/ 0 h 3657600"/>
                  <a:gd name="connsiteX1" fmla="*/ 407712 w 445812"/>
                  <a:gd name="connsiteY1" fmla="*/ 66675 h 3657600"/>
                  <a:gd name="connsiteX2" fmla="*/ 353737 w 445812"/>
                  <a:gd name="connsiteY2" fmla="*/ 85725 h 3657600"/>
                  <a:gd name="connsiteX3" fmla="*/ 283887 w 445812"/>
                  <a:gd name="connsiteY3" fmla="*/ 98425 h 3657600"/>
                  <a:gd name="connsiteX4" fmla="*/ 223562 w 445812"/>
                  <a:gd name="connsiteY4" fmla="*/ 133350 h 3657600"/>
                  <a:gd name="connsiteX5" fmla="*/ 121962 w 445812"/>
                  <a:gd name="connsiteY5" fmla="*/ 196850 h 3657600"/>
                  <a:gd name="connsiteX6" fmla="*/ 131487 w 445812"/>
                  <a:gd name="connsiteY6" fmla="*/ 247650 h 3657600"/>
                  <a:gd name="connsiteX7" fmla="*/ 172762 w 445812"/>
                  <a:gd name="connsiteY7" fmla="*/ 276225 h 3657600"/>
                  <a:gd name="connsiteX8" fmla="*/ 185462 w 445812"/>
                  <a:gd name="connsiteY8" fmla="*/ 327025 h 3657600"/>
                  <a:gd name="connsiteX9" fmla="*/ 239437 w 445812"/>
                  <a:gd name="connsiteY9" fmla="*/ 368300 h 3657600"/>
                  <a:gd name="connsiteX10" fmla="*/ 239437 w 445812"/>
                  <a:gd name="connsiteY10" fmla="*/ 412750 h 3657600"/>
                  <a:gd name="connsiteX11" fmla="*/ 207687 w 445812"/>
                  <a:gd name="connsiteY11" fmla="*/ 454025 h 3657600"/>
                  <a:gd name="connsiteX12" fmla="*/ 287062 w 445812"/>
                  <a:gd name="connsiteY12" fmla="*/ 479425 h 3657600"/>
                  <a:gd name="connsiteX13" fmla="*/ 302937 w 445812"/>
                  <a:gd name="connsiteY13" fmla="*/ 511175 h 3657600"/>
                  <a:gd name="connsiteX14" fmla="*/ 210862 w 445812"/>
                  <a:gd name="connsiteY14" fmla="*/ 581025 h 3657600"/>
                  <a:gd name="connsiteX15" fmla="*/ 160062 w 445812"/>
                  <a:gd name="connsiteY15" fmla="*/ 638175 h 3657600"/>
                  <a:gd name="connsiteX16" fmla="*/ 160062 w 445812"/>
                  <a:gd name="connsiteY16" fmla="*/ 695325 h 3657600"/>
                  <a:gd name="connsiteX17" fmla="*/ 185462 w 445812"/>
                  <a:gd name="connsiteY17" fmla="*/ 784225 h 3657600"/>
                  <a:gd name="connsiteX18" fmla="*/ 194987 w 445812"/>
                  <a:gd name="connsiteY18" fmla="*/ 835025 h 3657600"/>
                  <a:gd name="connsiteX19" fmla="*/ 204512 w 445812"/>
                  <a:gd name="connsiteY19" fmla="*/ 885825 h 3657600"/>
                  <a:gd name="connsiteX20" fmla="*/ 220387 w 445812"/>
                  <a:gd name="connsiteY20" fmla="*/ 923925 h 3657600"/>
                  <a:gd name="connsiteX21" fmla="*/ 163237 w 445812"/>
                  <a:gd name="connsiteY21" fmla="*/ 1022350 h 3657600"/>
                  <a:gd name="connsiteX22" fmla="*/ 96562 w 445812"/>
                  <a:gd name="connsiteY22" fmla="*/ 1057275 h 3657600"/>
                  <a:gd name="connsiteX23" fmla="*/ 52112 w 445812"/>
                  <a:gd name="connsiteY23" fmla="*/ 1143000 h 3657600"/>
                  <a:gd name="connsiteX24" fmla="*/ 20362 w 445812"/>
                  <a:gd name="connsiteY24" fmla="*/ 1244600 h 3657600"/>
                  <a:gd name="connsiteX25" fmla="*/ 1312 w 445812"/>
                  <a:gd name="connsiteY25" fmla="*/ 1346200 h 3657600"/>
                  <a:gd name="connsiteX26" fmla="*/ 10837 w 445812"/>
                  <a:gd name="connsiteY26" fmla="*/ 1438275 h 3657600"/>
                  <a:gd name="connsiteX27" fmla="*/ 83862 w 445812"/>
                  <a:gd name="connsiteY27" fmla="*/ 1511300 h 3657600"/>
                  <a:gd name="connsiteX28" fmla="*/ 112437 w 445812"/>
                  <a:gd name="connsiteY28" fmla="*/ 1558925 h 3657600"/>
                  <a:gd name="connsiteX29" fmla="*/ 150537 w 445812"/>
                  <a:gd name="connsiteY29" fmla="*/ 1590675 h 3657600"/>
                  <a:gd name="connsiteX30" fmla="*/ 169587 w 445812"/>
                  <a:gd name="connsiteY30" fmla="*/ 1644650 h 3657600"/>
                  <a:gd name="connsiteX31" fmla="*/ 226737 w 445812"/>
                  <a:gd name="connsiteY31" fmla="*/ 1685925 h 3657600"/>
                  <a:gd name="connsiteX32" fmla="*/ 264837 w 445812"/>
                  <a:gd name="connsiteY32" fmla="*/ 1730375 h 3657600"/>
                  <a:gd name="connsiteX33" fmla="*/ 277537 w 445812"/>
                  <a:gd name="connsiteY33" fmla="*/ 1758950 h 3657600"/>
                  <a:gd name="connsiteX34" fmla="*/ 277537 w 445812"/>
                  <a:gd name="connsiteY34" fmla="*/ 1828800 h 3657600"/>
                  <a:gd name="connsiteX35" fmla="*/ 325162 w 445812"/>
                  <a:gd name="connsiteY35" fmla="*/ 1905000 h 3657600"/>
                  <a:gd name="connsiteX36" fmla="*/ 363262 w 445812"/>
                  <a:gd name="connsiteY36" fmla="*/ 1962150 h 3657600"/>
                  <a:gd name="connsiteX37" fmla="*/ 369612 w 445812"/>
                  <a:gd name="connsiteY37" fmla="*/ 2028825 h 3657600"/>
                  <a:gd name="connsiteX38" fmla="*/ 407712 w 445812"/>
                  <a:gd name="connsiteY38" fmla="*/ 2085975 h 3657600"/>
                  <a:gd name="connsiteX39" fmla="*/ 414062 w 445812"/>
                  <a:gd name="connsiteY39" fmla="*/ 2209800 h 3657600"/>
                  <a:gd name="connsiteX40" fmla="*/ 252137 w 445812"/>
                  <a:gd name="connsiteY40" fmla="*/ 2251075 h 3657600"/>
                  <a:gd name="connsiteX41" fmla="*/ 201337 w 445812"/>
                  <a:gd name="connsiteY41" fmla="*/ 2390775 h 3657600"/>
                  <a:gd name="connsiteX42" fmla="*/ 210862 w 445812"/>
                  <a:gd name="connsiteY42" fmla="*/ 2454275 h 3657600"/>
                  <a:gd name="connsiteX43" fmla="*/ 226737 w 445812"/>
                  <a:gd name="connsiteY43" fmla="*/ 2482850 h 3657600"/>
                  <a:gd name="connsiteX44" fmla="*/ 226737 w 445812"/>
                  <a:gd name="connsiteY44" fmla="*/ 2527300 h 3657600"/>
                  <a:gd name="connsiteX45" fmla="*/ 236262 w 445812"/>
                  <a:gd name="connsiteY45" fmla="*/ 2603500 h 3657600"/>
                  <a:gd name="connsiteX46" fmla="*/ 83862 w 445812"/>
                  <a:gd name="connsiteY46" fmla="*/ 3028949 h 3657600"/>
                  <a:gd name="connsiteX47" fmla="*/ 87037 w 445812"/>
                  <a:gd name="connsiteY47" fmla="*/ 3070224 h 3657600"/>
                  <a:gd name="connsiteX48" fmla="*/ 42587 w 445812"/>
                  <a:gd name="connsiteY48" fmla="*/ 3159124 h 3657600"/>
                  <a:gd name="connsiteX49" fmla="*/ 17187 w 445812"/>
                  <a:gd name="connsiteY49" fmla="*/ 3365499 h 3657600"/>
                  <a:gd name="connsiteX50" fmla="*/ 45762 w 445812"/>
                  <a:gd name="connsiteY50" fmla="*/ 3492499 h 3657600"/>
                  <a:gd name="connsiteX51" fmla="*/ 58462 w 445812"/>
                  <a:gd name="connsiteY51" fmla="*/ 3657600 h 3657600"/>
                  <a:gd name="connsiteX0" fmla="*/ 445812 w 445812"/>
                  <a:gd name="connsiteY0" fmla="*/ 0 h 3657600"/>
                  <a:gd name="connsiteX1" fmla="*/ 407712 w 445812"/>
                  <a:gd name="connsiteY1" fmla="*/ 66675 h 3657600"/>
                  <a:gd name="connsiteX2" fmla="*/ 353737 w 445812"/>
                  <a:gd name="connsiteY2" fmla="*/ 85725 h 3657600"/>
                  <a:gd name="connsiteX3" fmla="*/ 283887 w 445812"/>
                  <a:gd name="connsiteY3" fmla="*/ 98425 h 3657600"/>
                  <a:gd name="connsiteX4" fmla="*/ 223562 w 445812"/>
                  <a:gd name="connsiteY4" fmla="*/ 133350 h 3657600"/>
                  <a:gd name="connsiteX5" fmla="*/ 121962 w 445812"/>
                  <a:gd name="connsiteY5" fmla="*/ 196850 h 3657600"/>
                  <a:gd name="connsiteX6" fmla="*/ 131487 w 445812"/>
                  <a:gd name="connsiteY6" fmla="*/ 247650 h 3657600"/>
                  <a:gd name="connsiteX7" fmla="*/ 172762 w 445812"/>
                  <a:gd name="connsiteY7" fmla="*/ 276225 h 3657600"/>
                  <a:gd name="connsiteX8" fmla="*/ 185462 w 445812"/>
                  <a:gd name="connsiteY8" fmla="*/ 327025 h 3657600"/>
                  <a:gd name="connsiteX9" fmla="*/ 239437 w 445812"/>
                  <a:gd name="connsiteY9" fmla="*/ 368300 h 3657600"/>
                  <a:gd name="connsiteX10" fmla="*/ 239437 w 445812"/>
                  <a:gd name="connsiteY10" fmla="*/ 412750 h 3657600"/>
                  <a:gd name="connsiteX11" fmla="*/ 207687 w 445812"/>
                  <a:gd name="connsiteY11" fmla="*/ 454025 h 3657600"/>
                  <a:gd name="connsiteX12" fmla="*/ 287062 w 445812"/>
                  <a:gd name="connsiteY12" fmla="*/ 479425 h 3657600"/>
                  <a:gd name="connsiteX13" fmla="*/ 302937 w 445812"/>
                  <a:gd name="connsiteY13" fmla="*/ 511175 h 3657600"/>
                  <a:gd name="connsiteX14" fmla="*/ 210862 w 445812"/>
                  <a:gd name="connsiteY14" fmla="*/ 581025 h 3657600"/>
                  <a:gd name="connsiteX15" fmla="*/ 160062 w 445812"/>
                  <a:gd name="connsiteY15" fmla="*/ 638175 h 3657600"/>
                  <a:gd name="connsiteX16" fmla="*/ 160062 w 445812"/>
                  <a:gd name="connsiteY16" fmla="*/ 695325 h 3657600"/>
                  <a:gd name="connsiteX17" fmla="*/ 185462 w 445812"/>
                  <a:gd name="connsiteY17" fmla="*/ 784225 h 3657600"/>
                  <a:gd name="connsiteX18" fmla="*/ 194987 w 445812"/>
                  <a:gd name="connsiteY18" fmla="*/ 835025 h 3657600"/>
                  <a:gd name="connsiteX19" fmla="*/ 204512 w 445812"/>
                  <a:gd name="connsiteY19" fmla="*/ 885825 h 3657600"/>
                  <a:gd name="connsiteX20" fmla="*/ 220387 w 445812"/>
                  <a:gd name="connsiteY20" fmla="*/ 923925 h 3657600"/>
                  <a:gd name="connsiteX21" fmla="*/ 163237 w 445812"/>
                  <a:gd name="connsiteY21" fmla="*/ 1022350 h 3657600"/>
                  <a:gd name="connsiteX22" fmla="*/ 96562 w 445812"/>
                  <a:gd name="connsiteY22" fmla="*/ 1057275 h 3657600"/>
                  <a:gd name="connsiteX23" fmla="*/ 52112 w 445812"/>
                  <a:gd name="connsiteY23" fmla="*/ 1143000 h 3657600"/>
                  <a:gd name="connsiteX24" fmla="*/ 20362 w 445812"/>
                  <a:gd name="connsiteY24" fmla="*/ 1244600 h 3657600"/>
                  <a:gd name="connsiteX25" fmla="*/ 1312 w 445812"/>
                  <a:gd name="connsiteY25" fmla="*/ 1346200 h 3657600"/>
                  <a:gd name="connsiteX26" fmla="*/ 10837 w 445812"/>
                  <a:gd name="connsiteY26" fmla="*/ 1438275 h 3657600"/>
                  <a:gd name="connsiteX27" fmla="*/ 83862 w 445812"/>
                  <a:gd name="connsiteY27" fmla="*/ 1511300 h 3657600"/>
                  <a:gd name="connsiteX28" fmla="*/ 112437 w 445812"/>
                  <a:gd name="connsiteY28" fmla="*/ 1558925 h 3657600"/>
                  <a:gd name="connsiteX29" fmla="*/ 150537 w 445812"/>
                  <a:gd name="connsiteY29" fmla="*/ 1590675 h 3657600"/>
                  <a:gd name="connsiteX30" fmla="*/ 169587 w 445812"/>
                  <a:gd name="connsiteY30" fmla="*/ 1644650 h 3657600"/>
                  <a:gd name="connsiteX31" fmla="*/ 226737 w 445812"/>
                  <a:gd name="connsiteY31" fmla="*/ 1685925 h 3657600"/>
                  <a:gd name="connsiteX32" fmla="*/ 264837 w 445812"/>
                  <a:gd name="connsiteY32" fmla="*/ 1730375 h 3657600"/>
                  <a:gd name="connsiteX33" fmla="*/ 277537 w 445812"/>
                  <a:gd name="connsiteY33" fmla="*/ 1758950 h 3657600"/>
                  <a:gd name="connsiteX34" fmla="*/ 277537 w 445812"/>
                  <a:gd name="connsiteY34" fmla="*/ 1828800 h 3657600"/>
                  <a:gd name="connsiteX35" fmla="*/ 325162 w 445812"/>
                  <a:gd name="connsiteY35" fmla="*/ 1905000 h 3657600"/>
                  <a:gd name="connsiteX36" fmla="*/ 363262 w 445812"/>
                  <a:gd name="connsiteY36" fmla="*/ 1962150 h 3657600"/>
                  <a:gd name="connsiteX37" fmla="*/ 369612 w 445812"/>
                  <a:gd name="connsiteY37" fmla="*/ 2028825 h 3657600"/>
                  <a:gd name="connsiteX38" fmla="*/ 407712 w 445812"/>
                  <a:gd name="connsiteY38" fmla="*/ 2085975 h 3657600"/>
                  <a:gd name="connsiteX39" fmla="*/ 414062 w 445812"/>
                  <a:gd name="connsiteY39" fmla="*/ 2209800 h 3657600"/>
                  <a:gd name="connsiteX40" fmla="*/ 252137 w 445812"/>
                  <a:gd name="connsiteY40" fmla="*/ 2251075 h 3657600"/>
                  <a:gd name="connsiteX41" fmla="*/ 201337 w 445812"/>
                  <a:gd name="connsiteY41" fmla="*/ 2390775 h 3657600"/>
                  <a:gd name="connsiteX42" fmla="*/ 210862 w 445812"/>
                  <a:gd name="connsiteY42" fmla="*/ 2454275 h 3657600"/>
                  <a:gd name="connsiteX43" fmla="*/ 226737 w 445812"/>
                  <a:gd name="connsiteY43" fmla="*/ 2482850 h 3657600"/>
                  <a:gd name="connsiteX44" fmla="*/ 226737 w 445812"/>
                  <a:gd name="connsiteY44" fmla="*/ 2527300 h 3657600"/>
                  <a:gd name="connsiteX45" fmla="*/ 236262 w 445812"/>
                  <a:gd name="connsiteY45" fmla="*/ 2603500 h 3657600"/>
                  <a:gd name="connsiteX46" fmla="*/ 115612 w 445812"/>
                  <a:gd name="connsiteY46" fmla="*/ 2997199 h 3657600"/>
                  <a:gd name="connsiteX47" fmla="*/ 87037 w 445812"/>
                  <a:gd name="connsiteY47" fmla="*/ 3070224 h 3657600"/>
                  <a:gd name="connsiteX48" fmla="*/ 42587 w 445812"/>
                  <a:gd name="connsiteY48" fmla="*/ 3159124 h 3657600"/>
                  <a:gd name="connsiteX49" fmla="*/ 17187 w 445812"/>
                  <a:gd name="connsiteY49" fmla="*/ 3365499 h 3657600"/>
                  <a:gd name="connsiteX50" fmla="*/ 45762 w 445812"/>
                  <a:gd name="connsiteY50" fmla="*/ 3492499 h 3657600"/>
                  <a:gd name="connsiteX51" fmla="*/ 58462 w 445812"/>
                  <a:gd name="connsiteY51" fmla="*/ 3657600 h 3657600"/>
                  <a:gd name="connsiteX0" fmla="*/ 445812 w 445812"/>
                  <a:gd name="connsiteY0" fmla="*/ 0 h 3657600"/>
                  <a:gd name="connsiteX1" fmla="*/ 407712 w 445812"/>
                  <a:gd name="connsiteY1" fmla="*/ 66675 h 3657600"/>
                  <a:gd name="connsiteX2" fmla="*/ 353737 w 445812"/>
                  <a:gd name="connsiteY2" fmla="*/ 85725 h 3657600"/>
                  <a:gd name="connsiteX3" fmla="*/ 283887 w 445812"/>
                  <a:gd name="connsiteY3" fmla="*/ 98425 h 3657600"/>
                  <a:gd name="connsiteX4" fmla="*/ 223562 w 445812"/>
                  <a:gd name="connsiteY4" fmla="*/ 133350 h 3657600"/>
                  <a:gd name="connsiteX5" fmla="*/ 121962 w 445812"/>
                  <a:gd name="connsiteY5" fmla="*/ 196850 h 3657600"/>
                  <a:gd name="connsiteX6" fmla="*/ 131487 w 445812"/>
                  <a:gd name="connsiteY6" fmla="*/ 247650 h 3657600"/>
                  <a:gd name="connsiteX7" fmla="*/ 172762 w 445812"/>
                  <a:gd name="connsiteY7" fmla="*/ 276225 h 3657600"/>
                  <a:gd name="connsiteX8" fmla="*/ 185462 w 445812"/>
                  <a:gd name="connsiteY8" fmla="*/ 327025 h 3657600"/>
                  <a:gd name="connsiteX9" fmla="*/ 239437 w 445812"/>
                  <a:gd name="connsiteY9" fmla="*/ 368300 h 3657600"/>
                  <a:gd name="connsiteX10" fmla="*/ 239437 w 445812"/>
                  <a:gd name="connsiteY10" fmla="*/ 412750 h 3657600"/>
                  <a:gd name="connsiteX11" fmla="*/ 207687 w 445812"/>
                  <a:gd name="connsiteY11" fmla="*/ 454025 h 3657600"/>
                  <a:gd name="connsiteX12" fmla="*/ 287062 w 445812"/>
                  <a:gd name="connsiteY12" fmla="*/ 479425 h 3657600"/>
                  <a:gd name="connsiteX13" fmla="*/ 302937 w 445812"/>
                  <a:gd name="connsiteY13" fmla="*/ 511175 h 3657600"/>
                  <a:gd name="connsiteX14" fmla="*/ 210862 w 445812"/>
                  <a:gd name="connsiteY14" fmla="*/ 581025 h 3657600"/>
                  <a:gd name="connsiteX15" fmla="*/ 160062 w 445812"/>
                  <a:gd name="connsiteY15" fmla="*/ 638175 h 3657600"/>
                  <a:gd name="connsiteX16" fmla="*/ 160062 w 445812"/>
                  <a:gd name="connsiteY16" fmla="*/ 695325 h 3657600"/>
                  <a:gd name="connsiteX17" fmla="*/ 185462 w 445812"/>
                  <a:gd name="connsiteY17" fmla="*/ 784225 h 3657600"/>
                  <a:gd name="connsiteX18" fmla="*/ 194987 w 445812"/>
                  <a:gd name="connsiteY18" fmla="*/ 835025 h 3657600"/>
                  <a:gd name="connsiteX19" fmla="*/ 204512 w 445812"/>
                  <a:gd name="connsiteY19" fmla="*/ 885825 h 3657600"/>
                  <a:gd name="connsiteX20" fmla="*/ 220387 w 445812"/>
                  <a:gd name="connsiteY20" fmla="*/ 923925 h 3657600"/>
                  <a:gd name="connsiteX21" fmla="*/ 163237 w 445812"/>
                  <a:gd name="connsiteY21" fmla="*/ 1022350 h 3657600"/>
                  <a:gd name="connsiteX22" fmla="*/ 96562 w 445812"/>
                  <a:gd name="connsiteY22" fmla="*/ 1057275 h 3657600"/>
                  <a:gd name="connsiteX23" fmla="*/ 52112 w 445812"/>
                  <a:gd name="connsiteY23" fmla="*/ 1143000 h 3657600"/>
                  <a:gd name="connsiteX24" fmla="*/ 20362 w 445812"/>
                  <a:gd name="connsiteY24" fmla="*/ 1244600 h 3657600"/>
                  <a:gd name="connsiteX25" fmla="*/ 1312 w 445812"/>
                  <a:gd name="connsiteY25" fmla="*/ 1346200 h 3657600"/>
                  <a:gd name="connsiteX26" fmla="*/ 10837 w 445812"/>
                  <a:gd name="connsiteY26" fmla="*/ 1438275 h 3657600"/>
                  <a:gd name="connsiteX27" fmla="*/ 83862 w 445812"/>
                  <a:gd name="connsiteY27" fmla="*/ 1511300 h 3657600"/>
                  <a:gd name="connsiteX28" fmla="*/ 112437 w 445812"/>
                  <a:gd name="connsiteY28" fmla="*/ 1558925 h 3657600"/>
                  <a:gd name="connsiteX29" fmla="*/ 150537 w 445812"/>
                  <a:gd name="connsiteY29" fmla="*/ 1590675 h 3657600"/>
                  <a:gd name="connsiteX30" fmla="*/ 169587 w 445812"/>
                  <a:gd name="connsiteY30" fmla="*/ 1644650 h 3657600"/>
                  <a:gd name="connsiteX31" fmla="*/ 226737 w 445812"/>
                  <a:gd name="connsiteY31" fmla="*/ 1685925 h 3657600"/>
                  <a:gd name="connsiteX32" fmla="*/ 264837 w 445812"/>
                  <a:gd name="connsiteY32" fmla="*/ 1730375 h 3657600"/>
                  <a:gd name="connsiteX33" fmla="*/ 277537 w 445812"/>
                  <a:gd name="connsiteY33" fmla="*/ 1758950 h 3657600"/>
                  <a:gd name="connsiteX34" fmla="*/ 277537 w 445812"/>
                  <a:gd name="connsiteY34" fmla="*/ 1828800 h 3657600"/>
                  <a:gd name="connsiteX35" fmla="*/ 325162 w 445812"/>
                  <a:gd name="connsiteY35" fmla="*/ 1905000 h 3657600"/>
                  <a:gd name="connsiteX36" fmla="*/ 363262 w 445812"/>
                  <a:gd name="connsiteY36" fmla="*/ 1962150 h 3657600"/>
                  <a:gd name="connsiteX37" fmla="*/ 369612 w 445812"/>
                  <a:gd name="connsiteY37" fmla="*/ 2028825 h 3657600"/>
                  <a:gd name="connsiteX38" fmla="*/ 407712 w 445812"/>
                  <a:gd name="connsiteY38" fmla="*/ 2085975 h 3657600"/>
                  <a:gd name="connsiteX39" fmla="*/ 414062 w 445812"/>
                  <a:gd name="connsiteY39" fmla="*/ 2209800 h 3657600"/>
                  <a:gd name="connsiteX40" fmla="*/ 252137 w 445812"/>
                  <a:gd name="connsiteY40" fmla="*/ 2251075 h 3657600"/>
                  <a:gd name="connsiteX41" fmla="*/ 201337 w 445812"/>
                  <a:gd name="connsiteY41" fmla="*/ 2390775 h 3657600"/>
                  <a:gd name="connsiteX42" fmla="*/ 210862 w 445812"/>
                  <a:gd name="connsiteY42" fmla="*/ 2454275 h 3657600"/>
                  <a:gd name="connsiteX43" fmla="*/ 226737 w 445812"/>
                  <a:gd name="connsiteY43" fmla="*/ 2482850 h 3657600"/>
                  <a:gd name="connsiteX44" fmla="*/ 226737 w 445812"/>
                  <a:gd name="connsiteY44" fmla="*/ 2527300 h 3657600"/>
                  <a:gd name="connsiteX45" fmla="*/ 236262 w 445812"/>
                  <a:gd name="connsiteY45" fmla="*/ 2603500 h 3657600"/>
                  <a:gd name="connsiteX46" fmla="*/ 153712 w 445812"/>
                  <a:gd name="connsiteY46" fmla="*/ 2917824 h 3657600"/>
                  <a:gd name="connsiteX47" fmla="*/ 87037 w 445812"/>
                  <a:gd name="connsiteY47" fmla="*/ 3070224 h 3657600"/>
                  <a:gd name="connsiteX48" fmla="*/ 42587 w 445812"/>
                  <a:gd name="connsiteY48" fmla="*/ 3159124 h 3657600"/>
                  <a:gd name="connsiteX49" fmla="*/ 17187 w 445812"/>
                  <a:gd name="connsiteY49" fmla="*/ 3365499 h 3657600"/>
                  <a:gd name="connsiteX50" fmla="*/ 45762 w 445812"/>
                  <a:gd name="connsiteY50" fmla="*/ 3492499 h 3657600"/>
                  <a:gd name="connsiteX51" fmla="*/ 58462 w 445812"/>
                  <a:gd name="connsiteY51" fmla="*/ 3657600 h 3657600"/>
                  <a:gd name="connsiteX0" fmla="*/ 445812 w 445812"/>
                  <a:gd name="connsiteY0" fmla="*/ 0 h 3657600"/>
                  <a:gd name="connsiteX1" fmla="*/ 407712 w 445812"/>
                  <a:gd name="connsiteY1" fmla="*/ 66675 h 3657600"/>
                  <a:gd name="connsiteX2" fmla="*/ 353737 w 445812"/>
                  <a:gd name="connsiteY2" fmla="*/ 85725 h 3657600"/>
                  <a:gd name="connsiteX3" fmla="*/ 283887 w 445812"/>
                  <a:gd name="connsiteY3" fmla="*/ 98425 h 3657600"/>
                  <a:gd name="connsiteX4" fmla="*/ 223562 w 445812"/>
                  <a:gd name="connsiteY4" fmla="*/ 133350 h 3657600"/>
                  <a:gd name="connsiteX5" fmla="*/ 121962 w 445812"/>
                  <a:gd name="connsiteY5" fmla="*/ 196850 h 3657600"/>
                  <a:gd name="connsiteX6" fmla="*/ 131487 w 445812"/>
                  <a:gd name="connsiteY6" fmla="*/ 247650 h 3657600"/>
                  <a:gd name="connsiteX7" fmla="*/ 172762 w 445812"/>
                  <a:gd name="connsiteY7" fmla="*/ 276225 h 3657600"/>
                  <a:gd name="connsiteX8" fmla="*/ 185462 w 445812"/>
                  <a:gd name="connsiteY8" fmla="*/ 327025 h 3657600"/>
                  <a:gd name="connsiteX9" fmla="*/ 239437 w 445812"/>
                  <a:gd name="connsiteY9" fmla="*/ 368300 h 3657600"/>
                  <a:gd name="connsiteX10" fmla="*/ 239437 w 445812"/>
                  <a:gd name="connsiteY10" fmla="*/ 412750 h 3657600"/>
                  <a:gd name="connsiteX11" fmla="*/ 207687 w 445812"/>
                  <a:gd name="connsiteY11" fmla="*/ 454025 h 3657600"/>
                  <a:gd name="connsiteX12" fmla="*/ 287062 w 445812"/>
                  <a:gd name="connsiteY12" fmla="*/ 479425 h 3657600"/>
                  <a:gd name="connsiteX13" fmla="*/ 302937 w 445812"/>
                  <a:gd name="connsiteY13" fmla="*/ 511175 h 3657600"/>
                  <a:gd name="connsiteX14" fmla="*/ 210862 w 445812"/>
                  <a:gd name="connsiteY14" fmla="*/ 581025 h 3657600"/>
                  <a:gd name="connsiteX15" fmla="*/ 160062 w 445812"/>
                  <a:gd name="connsiteY15" fmla="*/ 638175 h 3657600"/>
                  <a:gd name="connsiteX16" fmla="*/ 160062 w 445812"/>
                  <a:gd name="connsiteY16" fmla="*/ 695325 h 3657600"/>
                  <a:gd name="connsiteX17" fmla="*/ 185462 w 445812"/>
                  <a:gd name="connsiteY17" fmla="*/ 784225 h 3657600"/>
                  <a:gd name="connsiteX18" fmla="*/ 194987 w 445812"/>
                  <a:gd name="connsiteY18" fmla="*/ 835025 h 3657600"/>
                  <a:gd name="connsiteX19" fmla="*/ 204512 w 445812"/>
                  <a:gd name="connsiteY19" fmla="*/ 885825 h 3657600"/>
                  <a:gd name="connsiteX20" fmla="*/ 220387 w 445812"/>
                  <a:gd name="connsiteY20" fmla="*/ 923925 h 3657600"/>
                  <a:gd name="connsiteX21" fmla="*/ 163237 w 445812"/>
                  <a:gd name="connsiteY21" fmla="*/ 1022350 h 3657600"/>
                  <a:gd name="connsiteX22" fmla="*/ 96562 w 445812"/>
                  <a:gd name="connsiteY22" fmla="*/ 1057275 h 3657600"/>
                  <a:gd name="connsiteX23" fmla="*/ 52112 w 445812"/>
                  <a:gd name="connsiteY23" fmla="*/ 1143000 h 3657600"/>
                  <a:gd name="connsiteX24" fmla="*/ 20362 w 445812"/>
                  <a:gd name="connsiteY24" fmla="*/ 1244600 h 3657600"/>
                  <a:gd name="connsiteX25" fmla="*/ 1312 w 445812"/>
                  <a:gd name="connsiteY25" fmla="*/ 1346200 h 3657600"/>
                  <a:gd name="connsiteX26" fmla="*/ 10837 w 445812"/>
                  <a:gd name="connsiteY26" fmla="*/ 1438275 h 3657600"/>
                  <a:gd name="connsiteX27" fmla="*/ 83862 w 445812"/>
                  <a:gd name="connsiteY27" fmla="*/ 1511300 h 3657600"/>
                  <a:gd name="connsiteX28" fmla="*/ 112437 w 445812"/>
                  <a:gd name="connsiteY28" fmla="*/ 1558925 h 3657600"/>
                  <a:gd name="connsiteX29" fmla="*/ 150537 w 445812"/>
                  <a:gd name="connsiteY29" fmla="*/ 1590675 h 3657600"/>
                  <a:gd name="connsiteX30" fmla="*/ 169587 w 445812"/>
                  <a:gd name="connsiteY30" fmla="*/ 1644650 h 3657600"/>
                  <a:gd name="connsiteX31" fmla="*/ 226737 w 445812"/>
                  <a:gd name="connsiteY31" fmla="*/ 1685925 h 3657600"/>
                  <a:gd name="connsiteX32" fmla="*/ 264837 w 445812"/>
                  <a:gd name="connsiteY32" fmla="*/ 1730375 h 3657600"/>
                  <a:gd name="connsiteX33" fmla="*/ 277537 w 445812"/>
                  <a:gd name="connsiteY33" fmla="*/ 1758950 h 3657600"/>
                  <a:gd name="connsiteX34" fmla="*/ 277537 w 445812"/>
                  <a:gd name="connsiteY34" fmla="*/ 1828800 h 3657600"/>
                  <a:gd name="connsiteX35" fmla="*/ 325162 w 445812"/>
                  <a:gd name="connsiteY35" fmla="*/ 1905000 h 3657600"/>
                  <a:gd name="connsiteX36" fmla="*/ 363262 w 445812"/>
                  <a:gd name="connsiteY36" fmla="*/ 1962150 h 3657600"/>
                  <a:gd name="connsiteX37" fmla="*/ 369612 w 445812"/>
                  <a:gd name="connsiteY37" fmla="*/ 2028825 h 3657600"/>
                  <a:gd name="connsiteX38" fmla="*/ 407712 w 445812"/>
                  <a:gd name="connsiteY38" fmla="*/ 2085975 h 3657600"/>
                  <a:gd name="connsiteX39" fmla="*/ 414062 w 445812"/>
                  <a:gd name="connsiteY39" fmla="*/ 2209800 h 3657600"/>
                  <a:gd name="connsiteX40" fmla="*/ 252137 w 445812"/>
                  <a:gd name="connsiteY40" fmla="*/ 2251075 h 3657600"/>
                  <a:gd name="connsiteX41" fmla="*/ 201337 w 445812"/>
                  <a:gd name="connsiteY41" fmla="*/ 2390775 h 3657600"/>
                  <a:gd name="connsiteX42" fmla="*/ 210862 w 445812"/>
                  <a:gd name="connsiteY42" fmla="*/ 2454275 h 3657600"/>
                  <a:gd name="connsiteX43" fmla="*/ 226737 w 445812"/>
                  <a:gd name="connsiteY43" fmla="*/ 2482850 h 3657600"/>
                  <a:gd name="connsiteX44" fmla="*/ 226737 w 445812"/>
                  <a:gd name="connsiteY44" fmla="*/ 2527300 h 3657600"/>
                  <a:gd name="connsiteX45" fmla="*/ 236262 w 445812"/>
                  <a:gd name="connsiteY45" fmla="*/ 2603500 h 3657600"/>
                  <a:gd name="connsiteX46" fmla="*/ 153712 w 445812"/>
                  <a:gd name="connsiteY46" fmla="*/ 2917824 h 3657600"/>
                  <a:gd name="connsiteX47" fmla="*/ 87037 w 445812"/>
                  <a:gd name="connsiteY47" fmla="*/ 3070224 h 3657600"/>
                  <a:gd name="connsiteX48" fmla="*/ 42587 w 445812"/>
                  <a:gd name="connsiteY48" fmla="*/ 3159124 h 3657600"/>
                  <a:gd name="connsiteX49" fmla="*/ 17187 w 445812"/>
                  <a:gd name="connsiteY49" fmla="*/ 3365499 h 3657600"/>
                  <a:gd name="connsiteX50" fmla="*/ 45762 w 445812"/>
                  <a:gd name="connsiteY50" fmla="*/ 3492499 h 3657600"/>
                  <a:gd name="connsiteX51" fmla="*/ 58462 w 445812"/>
                  <a:gd name="connsiteY51" fmla="*/ 3657600 h 3657600"/>
                  <a:gd name="connsiteX0" fmla="*/ 445812 w 445812"/>
                  <a:gd name="connsiteY0" fmla="*/ 0 h 3657600"/>
                  <a:gd name="connsiteX1" fmla="*/ 407712 w 445812"/>
                  <a:gd name="connsiteY1" fmla="*/ 66675 h 3657600"/>
                  <a:gd name="connsiteX2" fmla="*/ 353737 w 445812"/>
                  <a:gd name="connsiteY2" fmla="*/ 85725 h 3657600"/>
                  <a:gd name="connsiteX3" fmla="*/ 283887 w 445812"/>
                  <a:gd name="connsiteY3" fmla="*/ 98425 h 3657600"/>
                  <a:gd name="connsiteX4" fmla="*/ 223562 w 445812"/>
                  <a:gd name="connsiteY4" fmla="*/ 133350 h 3657600"/>
                  <a:gd name="connsiteX5" fmla="*/ 121962 w 445812"/>
                  <a:gd name="connsiteY5" fmla="*/ 196850 h 3657600"/>
                  <a:gd name="connsiteX6" fmla="*/ 131487 w 445812"/>
                  <a:gd name="connsiteY6" fmla="*/ 247650 h 3657600"/>
                  <a:gd name="connsiteX7" fmla="*/ 172762 w 445812"/>
                  <a:gd name="connsiteY7" fmla="*/ 276225 h 3657600"/>
                  <a:gd name="connsiteX8" fmla="*/ 185462 w 445812"/>
                  <a:gd name="connsiteY8" fmla="*/ 327025 h 3657600"/>
                  <a:gd name="connsiteX9" fmla="*/ 239437 w 445812"/>
                  <a:gd name="connsiteY9" fmla="*/ 368300 h 3657600"/>
                  <a:gd name="connsiteX10" fmla="*/ 239437 w 445812"/>
                  <a:gd name="connsiteY10" fmla="*/ 412750 h 3657600"/>
                  <a:gd name="connsiteX11" fmla="*/ 207687 w 445812"/>
                  <a:gd name="connsiteY11" fmla="*/ 454025 h 3657600"/>
                  <a:gd name="connsiteX12" fmla="*/ 287062 w 445812"/>
                  <a:gd name="connsiteY12" fmla="*/ 479425 h 3657600"/>
                  <a:gd name="connsiteX13" fmla="*/ 302937 w 445812"/>
                  <a:gd name="connsiteY13" fmla="*/ 511175 h 3657600"/>
                  <a:gd name="connsiteX14" fmla="*/ 210862 w 445812"/>
                  <a:gd name="connsiteY14" fmla="*/ 581025 h 3657600"/>
                  <a:gd name="connsiteX15" fmla="*/ 160062 w 445812"/>
                  <a:gd name="connsiteY15" fmla="*/ 638175 h 3657600"/>
                  <a:gd name="connsiteX16" fmla="*/ 160062 w 445812"/>
                  <a:gd name="connsiteY16" fmla="*/ 695325 h 3657600"/>
                  <a:gd name="connsiteX17" fmla="*/ 185462 w 445812"/>
                  <a:gd name="connsiteY17" fmla="*/ 784225 h 3657600"/>
                  <a:gd name="connsiteX18" fmla="*/ 194987 w 445812"/>
                  <a:gd name="connsiteY18" fmla="*/ 835025 h 3657600"/>
                  <a:gd name="connsiteX19" fmla="*/ 204512 w 445812"/>
                  <a:gd name="connsiteY19" fmla="*/ 885825 h 3657600"/>
                  <a:gd name="connsiteX20" fmla="*/ 220387 w 445812"/>
                  <a:gd name="connsiteY20" fmla="*/ 923925 h 3657600"/>
                  <a:gd name="connsiteX21" fmla="*/ 163237 w 445812"/>
                  <a:gd name="connsiteY21" fmla="*/ 1022350 h 3657600"/>
                  <a:gd name="connsiteX22" fmla="*/ 96562 w 445812"/>
                  <a:gd name="connsiteY22" fmla="*/ 1057275 h 3657600"/>
                  <a:gd name="connsiteX23" fmla="*/ 52112 w 445812"/>
                  <a:gd name="connsiteY23" fmla="*/ 1143000 h 3657600"/>
                  <a:gd name="connsiteX24" fmla="*/ 20362 w 445812"/>
                  <a:gd name="connsiteY24" fmla="*/ 1244600 h 3657600"/>
                  <a:gd name="connsiteX25" fmla="*/ 1312 w 445812"/>
                  <a:gd name="connsiteY25" fmla="*/ 1346200 h 3657600"/>
                  <a:gd name="connsiteX26" fmla="*/ 10837 w 445812"/>
                  <a:gd name="connsiteY26" fmla="*/ 1438275 h 3657600"/>
                  <a:gd name="connsiteX27" fmla="*/ 83862 w 445812"/>
                  <a:gd name="connsiteY27" fmla="*/ 1511300 h 3657600"/>
                  <a:gd name="connsiteX28" fmla="*/ 112437 w 445812"/>
                  <a:gd name="connsiteY28" fmla="*/ 1558925 h 3657600"/>
                  <a:gd name="connsiteX29" fmla="*/ 150537 w 445812"/>
                  <a:gd name="connsiteY29" fmla="*/ 1590675 h 3657600"/>
                  <a:gd name="connsiteX30" fmla="*/ 169587 w 445812"/>
                  <a:gd name="connsiteY30" fmla="*/ 1644650 h 3657600"/>
                  <a:gd name="connsiteX31" fmla="*/ 226737 w 445812"/>
                  <a:gd name="connsiteY31" fmla="*/ 1685925 h 3657600"/>
                  <a:gd name="connsiteX32" fmla="*/ 264837 w 445812"/>
                  <a:gd name="connsiteY32" fmla="*/ 1730375 h 3657600"/>
                  <a:gd name="connsiteX33" fmla="*/ 277537 w 445812"/>
                  <a:gd name="connsiteY33" fmla="*/ 1758950 h 3657600"/>
                  <a:gd name="connsiteX34" fmla="*/ 277537 w 445812"/>
                  <a:gd name="connsiteY34" fmla="*/ 1828800 h 3657600"/>
                  <a:gd name="connsiteX35" fmla="*/ 325162 w 445812"/>
                  <a:gd name="connsiteY35" fmla="*/ 1905000 h 3657600"/>
                  <a:gd name="connsiteX36" fmla="*/ 363262 w 445812"/>
                  <a:gd name="connsiteY36" fmla="*/ 1962150 h 3657600"/>
                  <a:gd name="connsiteX37" fmla="*/ 369612 w 445812"/>
                  <a:gd name="connsiteY37" fmla="*/ 2028825 h 3657600"/>
                  <a:gd name="connsiteX38" fmla="*/ 407712 w 445812"/>
                  <a:gd name="connsiteY38" fmla="*/ 2085975 h 3657600"/>
                  <a:gd name="connsiteX39" fmla="*/ 414062 w 445812"/>
                  <a:gd name="connsiteY39" fmla="*/ 2209800 h 3657600"/>
                  <a:gd name="connsiteX40" fmla="*/ 252137 w 445812"/>
                  <a:gd name="connsiteY40" fmla="*/ 2251075 h 3657600"/>
                  <a:gd name="connsiteX41" fmla="*/ 201337 w 445812"/>
                  <a:gd name="connsiteY41" fmla="*/ 2390775 h 3657600"/>
                  <a:gd name="connsiteX42" fmla="*/ 210862 w 445812"/>
                  <a:gd name="connsiteY42" fmla="*/ 2454275 h 3657600"/>
                  <a:gd name="connsiteX43" fmla="*/ 226737 w 445812"/>
                  <a:gd name="connsiteY43" fmla="*/ 2482850 h 3657600"/>
                  <a:gd name="connsiteX44" fmla="*/ 226737 w 445812"/>
                  <a:gd name="connsiteY44" fmla="*/ 2527300 h 3657600"/>
                  <a:gd name="connsiteX45" fmla="*/ 236262 w 445812"/>
                  <a:gd name="connsiteY45" fmla="*/ 2603500 h 3657600"/>
                  <a:gd name="connsiteX46" fmla="*/ 153712 w 445812"/>
                  <a:gd name="connsiteY46" fmla="*/ 2917824 h 3657600"/>
                  <a:gd name="connsiteX47" fmla="*/ 87037 w 445812"/>
                  <a:gd name="connsiteY47" fmla="*/ 3070224 h 3657600"/>
                  <a:gd name="connsiteX48" fmla="*/ 42587 w 445812"/>
                  <a:gd name="connsiteY48" fmla="*/ 3159124 h 3657600"/>
                  <a:gd name="connsiteX49" fmla="*/ 17187 w 445812"/>
                  <a:gd name="connsiteY49" fmla="*/ 3365499 h 3657600"/>
                  <a:gd name="connsiteX50" fmla="*/ 45762 w 445812"/>
                  <a:gd name="connsiteY50" fmla="*/ 3492499 h 3657600"/>
                  <a:gd name="connsiteX51" fmla="*/ 58462 w 445812"/>
                  <a:gd name="connsiteY51" fmla="*/ 3657600 h 3657600"/>
                  <a:gd name="connsiteX0" fmla="*/ 445812 w 445812"/>
                  <a:gd name="connsiteY0" fmla="*/ 0 h 3657600"/>
                  <a:gd name="connsiteX1" fmla="*/ 407712 w 445812"/>
                  <a:gd name="connsiteY1" fmla="*/ 66675 h 3657600"/>
                  <a:gd name="connsiteX2" fmla="*/ 353737 w 445812"/>
                  <a:gd name="connsiteY2" fmla="*/ 85725 h 3657600"/>
                  <a:gd name="connsiteX3" fmla="*/ 283887 w 445812"/>
                  <a:gd name="connsiteY3" fmla="*/ 98425 h 3657600"/>
                  <a:gd name="connsiteX4" fmla="*/ 223562 w 445812"/>
                  <a:gd name="connsiteY4" fmla="*/ 133350 h 3657600"/>
                  <a:gd name="connsiteX5" fmla="*/ 121962 w 445812"/>
                  <a:gd name="connsiteY5" fmla="*/ 196850 h 3657600"/>
                  <a:gd name="connsiteX6" fmla="*/ 131487 w 445812"/>
                  <a:gd name="connsiteY6" fmla="*/ 247650 h 3657600"/>
                  <a:gd name="connsiteX7" fmla="*/ 172762 w 445812"/>
                  <a:gd name="connsiteY7" fmla="*/ 276225 h 3657600"/>
                  <a:gd name="connsiteX8" fmla="*/ 185462 w 445812"/>
                  <a:gd name="connsiteY8" fmla="*/ 327025 h 3657600"/>
                  <a:gd name="connsiteX9" fmla="*/ 239437 w 445812"/>
                  <a:gd name="connsiteY9" fmla="*/ 368300 h 3657600"/>
                  <a:gd name="connsiteX10" fmla="*/ 239437 w 445812"/>
                  <a:gd name="connsiteY10" fmla="*/ 412750 h 3657600"/>
                  <a:gd name="connsiteX11" fmla="*/ 207687 w 445812"/>
                  <a:gd name="connsiteY11" fmla="*/ 454025 h 3657600"/>
                  <a:gd name="connsiteX12" fmla="*/ 287062 w 445812"/>
                  <a:gd name="connsiteY12" fmla="*/ 479425 h 3657600"/>
                  <a:gd name="connsiteX13" fmla="*/ 302937 w 445812"/>
                  <a:gd name="connsiteY13" fmla="*/ 511175 h 3657600"/>
                  <a:gd name="connsiteX14" fmla="*/ 210862 w 445812"/>
                  <a:gd name="connsiteY14" fmla="*/ 581025 h 3657600"/>
                  <a:gd name="connsiteX15" fmla="*/ 160062 w 445812"/>
                  <a:gd name="connsiteY15" fmla="*/ 638175 h 3657600"/>
                  <a:gd name="connsiteX16" fmla="*/ 160062 w 445812"/>
                  <a:gd name="connsiteY16" fmla="*/ 695325 h 3657600"/>
                  <a:gd name="connsiteX17" fmla="*/ 185462 w 445812"/>
                  <a:gd name="connsiteY17" fmla="*/ 784225 h 3657600"/>
                  <a:gd name="connsiteX18" fmla="*/ 194987 w 445812"/>
                  <a:gd name="connsiteY18" fmla="*/ 835025 h 3657600"/>
                  <a:gd name="connsiteX19" fmla="*/ 204512 w 445812"/>
                  <a:gd name="connsiteY19" fmla="*/ 885825 h 3657600"/>
                  <a:gd name="connsiteX20" fmla="*/ 220387 w 445812"/>
                  <a:gd name="connsiteY20" fmla="*/ 923925 h 3657600"/>
                  <a:gd name="connsiteX21" fmla="*/ 163237 w 445812"/>
                  <a:gd name="connsiteY21" fmla="*/ 1022350 h 3657600"/>
                  <a:gd name="connsiteX22" fmla="*/ 96562 w 445812"/>
                  <a:gd name="connsiteY22" fmla="*/ 1057275 h 3657600"/>
                  <a:gd name="connsiteX23" fmla="*/ 52112 w 445812"/>
                  <a:gd name="connsiteY23" fmla="*/ 1143000 h 3657600"/>
                  <a:gd name="connsiteX24" fmla="*/ 20362 w 445812"/>
                  <a:gd name="connsiteY24" fmla="*/ 1244600 h 3657600"/>
                  <a:gd name="connsiteX25" fmla="*/ 1312 w 445812"/>
                  <a:gd name="connsiteY25" fmla="*/ 1346200 h 3657600"/>
                  <a:gd name="connsiteX26" fmla="*/ 10837 w 445812"/>
                  <a:gd name="connsiteY26" fmla="*/ 1438275 h 3657600"/>
                  <a:gd name="connsiteX27" fmla="*/ 83862 w 445812"/>
                  <a:gd name="connsiteY27" fmla="*/ 1511300 h 3657600"/>
                  <a:gd name="connsiteX28" fmla="*/ 112437 w 445812"/>
                  <a:gd name="connsiteY28" fmla="*/ 1558925 h 3657600"/>
                  <a:gd name="connsiteX29" fmla="*/ 150537 w 445812"/>
                  <a:gd name="connsiteY29" fmla="*/ 1590675 h 3657600"/>
                  <a:gd name="connsiteX30" fmla="*/ 169587 w 445812"/>
                  <a:gd name="connsiteY30" fmla="*/ 1644650 h 3657600"/>
                  <a:gd name="connsiteX31" fmla="*/ 226737 w 445812"/>
                  <a:gd name="connsiteY31" fmla="*/ 1685925 h 3657600"/>
                  <a:gd name="connsiteX32" fmla="*/ 264837 w 445812"/>
                  <a:gd name="connsiteY32" fmla="*/ 1730375 h 3657600"/>
                  <a:gd name="connsiteX33" fmla="*/ 277537 w 445812"/>
                  <a:gd name="connsiteY33" fmla="*/ 1758950 h 3657600"/>
                  <a:gd name="connsiteX34" fmla="*/ 277537 w 445812"/>
                  <a:gd name="connsiteY34" fmla="*/ 1828800 h 3657600"/>
                  <a:gd name="connsiteX35" fmla="*/ 325162 w 445812"/>
                  <a:gd name="connsiteY35" fmla="*/ 1905000 h 3657600"/>
                  <a:gd name="connsiteX36" fmla="*/ 363262 w 445812"/>
                  <a:gd name="connsiteY36" fmla="*/ 1962150 h 3657600"/>
                  <a:gd name="connsiteX37" fmla="*/ 369612 w 445812"/>
                  <a:gd name="connsiteY37" fmla="*/ 2028825 h 3657600"/>
                  <a:gd name="connsiteX38" fmla="*/ 407712 w 445812"/>
                  <a:gd name="connsiteY38" fmla="*/ 2085975 h 3657600"/>
                  <a:gd name="connsiteX39" fmla="*/ 414062 w 445812"/>
                  <a:gd name="connsiteY39" fmla="*/ 2209800 h 3657600"/>
                  <a:gd name="connsiteX40" fmla="*/ 252137 w 445812"/>
                  <a:gd name="connsiteY40" fmla="*/ 2251075 h 3657600"/>
                  <a:gd name="connsiteX41" fmla="*/ 201337 w 445812"/>
                  <a:gd name="connsiteY41" fmla="*/ 2390775 h 3657600"/>
                  <a:gd name="connsiteX42" fmla="*/ 210862 w 445812"/>
                  <a:gd name="connsiteY42" fmla="*/ 2454275 h 3657600"/>
                  <a:gd name="connsiteX43" fmla="*/ 226737 w 445812"/>
                  <a:gd name="connsiteY43" fmla="*/ 2482850 h 3657600"/>
                  <a:gd name="connsiteX44" fmla="*/ 226737 w 445812"/>
                  <a:gd name="connsiteY44" fmla="*/ 2527300 h 3657600"/>
                  <a:gd name="connsiteX45" fmla="*/ 236262 w 445812"/>
                  <a:gd name="connsiteY45" fmla="*/ 2603500 h 3657600"/>
                  <a:gd name="connsiteX46" fmla="*/ 153712 w 445812"/>
                  <a:gd name="connsiteY46" fmla="*/ 2917824 h 3657600"/>
                  <a:gd name="connsiteX47" fmla="*/ 87037 w 445812"/>
                  <a:gd name="connsiteY47" fmla="*/ 3070224 h 3657600"/>
                  <a:gd name="connsiteX48" fmla="*/ 42587 w 445812"/>
                  <a:gd name="connsiteY48" fmla="*/ 3159124 h 3657600"/>
                  <a:gd name="connsiteX49" fmla="*/ 17187 w 445812"/>
                  <a:gd name="connsiteY49" fmla="*/ 3365499 h 3657600"/>
                  <a:gd name="connsiteX50" fmla="*/ 45762 w 445812"/>
                  <a:gd name="connsiteY50" fmla="*/ 3492499 h 3657600"/>
                  <a:gd name="connsiteX51" fmla="*/ 58462 w 445812"/>
                  <a:gd name="connsiteY51" fmla="*/ 3657600 h 3657600"/>
                  <a:gd name="connsiteX0" fmla="*/ 445812 w 445812"/>
                  <a:gd name="connsiteY0" fmla="*/ 0 h 3657600"/>
                  <a:gd name="connsiteX1" fmla="*/ 407712 w 445812"/>
                  <a:gd name="connsiteY1" fmla="*/ 66675 h 3657600"/>
                  <a:gd name="connsiteX2" fmla="*/ 353737 w 445812"/>
                  <a:gd name="connsiteY2" fmla="*/ 85725 h 3657600"/>
                  <a:gd name="connsiteX3" fmla="*/ 283887 w 445812"/>
                  <a:gd name="connsiteY3" fmla="*/ 98425 h 3657600"/>
                  <a:gd name="connsiteX4" fmla="*/ 223562 w 445812"/>
                  <a:gd name="connsiteY4" fmla="*/ 133350 h 3657600"/>
                  <a:gd name="connsiteX5" fmla="*/ 121962 w 445812"/>
                  <a:gd name="connsiteY5" fmla="*/ 196850 h 3657600"/>
                  <a:gd name="connsiteX6" fmla="*/ 131487 w 445812"/>
                  <a:gd name="connsiteY6" fmla="*/ 247650 h 3657600"/>
                  <a:gd name="connsiteX7" fmla="*/ 172762 w 445812"/>
                  <a:gd name="connsiteY7" fmla="*/ 276225 h 3657600"/>
                  <a:gd name="connsiteX8" fmla="*/ 185462 w 445812"/>
                  <a:gd name="connsiteY8" fmla="*/ 327025 h 3657600"/>
                  <a:gd name="connsiteX9" fmla="*/ 239437 w 445812"/>
                  <a:gd name="connsiteY9" fmla="*/ 368300 h 3657600"/>
                  <a:gd name="connsiteX10" fmla="*/ 239437 w 445812"/>
                  <a:gd name="connsiteY10" fmla="*/ 412750 h 3657600"/>
                  <a:gd name="connsiteX11" fmla="*/ 207687 w 445812"/>
                  <a:gd name="connsiteY11" fmla="*/ 454025 h 3657600"/>
                  <a:gd name="connsiteX12" fmla="*/ 287062 w 445812"/>
                  <a:gd name="connsiteY12" fmla="*/ 479425 h 3657600"/>
                  <a:gd name="connsiteX13" fmla="*/ 302937 w 445812"/>
                  <a:gd name="connsiteY13" fmla="*/ 511175 h 3657600"/>
                  <a:gd name="connsiteX14" fmla="*/ 210862 w 445812"/>
                  <a:gd name="connsiteY14" fmla="*/ 581025 h 3657600"/>
                  <a:gd name="connsiteX15" fmla="*/ 160062 w 445812"/>
                  <a:gd name="connsiteY15" fmla="*/ 638175 h 3657600"/>
                  <a:gd name="connsiteX16" fmla="*/ 160062 w 445812"/>
                  <a:gd name="connsiteY16" fmla="*/ 695325 h 3657600"/>
                  <a:gd name="connsiteX17" fmla="*/ 185462 w 445812"/>
                  <a:gd name="connsiteY17" fmla="*/ 784225 h 3657600"/>
                  <a:gd name="connsiteX18" fmla="*/ 194987 w 445812"/>
                  <a:gd name="connsiteY18" fmla="*/ 835025 h 3657600"/>
                  <a:gd name="connsiteX19" fmla="*/ 204512 w 445812"/>
                  <a:gd name="connsiteY19" fmla="*/ 885825 h 3657600"/>
                  <a:gd name="connsiteX20" fmla="*/ 220387 w 445812"/>
                  <a:gd name="connsiteY20" fmla="*/ 923925 h 3657600"/>
                  <a:gd name="connsiteX21" fmla="*/ 163237 w 445812"/>
                  <a:gd name="connsiteY21" fmla="*/ 1022350 h 3657600"/>
                  <a:gd name="connsiteX22" fmla="*/ 96562 w 445812"/>
                  <a:gd name="connsiteY22" fmla="*/ 1057275 h 3657600"/>
                  <a:gd name="connsiteX23" fmla="*/ 52112 w 445812"/>
                  <a:gd name="connsiteY23" fmla="*/ 1143000 h 3657600"/>
                  <a:gd name="connsiteX24" fmla="*/ 20362 w 445812"/>
                  <a:gd name="connsiteY24" fmla="*/ 1244600 h 3657600"/>
                  <a:gd name="connsiteX25" fmla="*/ 1312 w 445812"/>
                  <a:gd name="connsiteY25" fmla="*/ 1346200 h 3657600"/>
                  <a:gd name="connsiteX26" fmla="*/ 10837 w 445812"/>
                  <a:gd name="connsiteY26" fmla="*/ 1438275 h 3657600"/>
                  <a:gd name="connsiteX27" fmla="*/ 83862 w 445812"/>
                  <a:gd name="connsiteY27" fmla="*/ 1511300 h 3657600"/>
                  <a:gd name="connsiteX28" fmla="*/ 112437 w 445812"/>
                  <a:gd name="connsiteY28" fmla="*/ 1558925 h 3657600"/>
                  <a:gd name="connsiteX29" fmla="*/ 150537 w 445812"/>
                  <a:gd name="connsiteY29" fmla="*/ 1590675 h 3657600"/>
                  <a:gd name="connsiteX30" fmla="*/ 169587 w 445812"/>
                  <a:gd name="connsiteY30" fmla="*/ 1644650 h 3657600"/>
                  <a:gd name="connsiteX31" fmla="*/ 226737 w 445812"/>
                  <a:gd name="connsiteY31" fmla="*/ 1685925 h 3657600"/>
                  <a:gd name="connsiteX32" fmla="*/ 264837 w 445812"/>
                  <a:gd name="connsiteY32" fmla="*/ 1730375 h 3657600"/>
                  <a:gd name="connsiteX33" fmla="*/ 277537 w 445812"/>
                  <a:gd name="connsiteY33" fmla="*/ 1758950 h 3657600"/>
                  <a:gd name="connsiteX34" fmla="*/ 277537 w 445812"/>
                  <a:gd name="connsiteY34" fmla="*/ 1828800 h 3657600"/>
                  <a:gd name="connsiteX35" fmla="*/ 325162 w 445812"/>
                  <a:gd name="connsiteY35" fmla="*/ 1905000 h 3657600"/>
                  <a:gd name="connsiteX36" fmla="*/ 363262 w 445812"/>
                  <a:gd name="connsiteY36" fmla="*/ 1962150 h 3657600"/>
                  <a:gd name="connsiteX37" fmla="*/ 369612 w 445812"/>
                  <a:gd name="connsiteY37" fmla="*/ 2028825 h 3657600"/>
                  <a:gd name="connsiteX38" fmla="*/ 407712 w 445812"/>
                  <a:gd name="connsiteY38" fmla="*/ 2085975 h 3657600"/>
                  <a:gd name="connsiteX39" fmla="*/ 414062 w 445812"/>
                  <a:gd name="connsiteY39" fmla="*/ 2209800 h 3657600"/>
                  <a:gd name="connsiteX40" fmla="*/ 252137 w 445812"/>
                  <a:gd name="connsiteY40" fmla="*/ 2251075 h 3657600"/>
                  <a:gd name="connsiteX41" fmla="*/ 201337 w 445812"/>
                  <a:gd name="connsiteY41" fmla="*/ 2390775 h 3657600"/>
                  <a:gd name="connsiteX42" fmla="*/ 210862 w 445812"/>
                  <a:gd name="connsiteY42" fmla="*/ 2454275 h 3657600"/>
                  <a:gd name="connsiteX43" fmla="*/ 226737 w 445812"/>
                  <a:gd name="connsiteY43" fmla="*/ 2482850 h 3657600"/>
                  <a:gd name="connsiteX44" fmla="*/ 226737 w 445812"/>
                  <a:gd name="connsiteY44" fmla="*/ 2527300 h 3657600"/>
                  <a:gd name="connsiteX45" fmla="*/ 236262 w 445812"/>
                  <a:gd name="connsiteY45" fmla="*/ 2603500 h 3657600"/>
                  <a:gd name="connsiteX46" fmla="*/ 153712 w 445812"/>
                  <a:gd name="connsiteY46" fmla="*/ 2917824 h 3657600"/>
                  <a:gd name="connsiteX47" fmla="*/ 77512 w 445812"/>
                  <a:gd name="connsiteY47" fmla="*/ 3070224 h 3657600"/>
                  <a:gd name="connsiteX48" fmla="*/ 42587 w 445812"/>
                  <a:gd name="connsiteY48" fmla="*/ 3159124 h 3657600"/>
                  <a:gd name="connsiteX49" fmla="*/ 17187 w 445812"/>
                  <a:gd name="connsiteY49" fmla="*/ 3365499 h 3657600"/>
                  <a:gd name="connsiteX50" fmla="*/ 45762 w 445812"/>
                  <a:gd name="connsiteY50" fmla="*/ 3492499 h 3657600"/>
                  <a:gd name="connsiteX51" fmla="*/ 58462 w 445812"/>
                  <a:gd name="connsiteY51" fmla="*/ 3657600 h 3657600"/>
                  <a:gd name="connsiteX0" fmla="*/ 445812 w 445812"/>
                  <a:gd name="connsiteY0" fmla="*/ 0 h 3657600"/>
                  <a:gd name="connsiteX1" fmla="*/ 407712 w 445812"/>
                  <a:gd name="connsiteY1" fmla="*/ 66675 h 3657600"/>
                  <a:gd name="connsiteX2" fmla="*/ 353737 w 445812"/>
                  <a:gd name="connsiteY2" fmla="*/ 85725 h 3657600"/>
                  <a:gd name="connsiteX3" fmla="*/ 283887 w 445812"/>
                  <a:gd name="connsiteY3" fmla="*/ 98425 h 3657600"/>
                  <a:gd name="connsiteX4" fmla="*/ 223562 w 445812"/>
                  <a:gd name="connsiteY4" fmla="*/ 133350 h 3657600"/>
                  <a:gd name="connsiteX5" fmla="*/ 121962 w 445812"/>
                  <a:gd name="connsiteY5" fmla="*/ 196850 h 3657600"/>
                  <a:gd name="connsiteX6" fmla="*/ 131487 w 445812"/>
                  <a:gd name="connsiteY6" fmla="*/ 247650 h 3657600"/>
                  <a:gd name="connsiteX7" fmla="*/ 172762 w 445812"/>
                  <a:gd name="connsiteY7" fmla="*/ 276225 h 3657600"/>
                  <a:gd name="connsiteX8" fmla="*/ 185462 w 445812"/>
                  <a:gd name="connsiteY8" fmla="*/ 327025 h 3657600"/>
                  <a:gd name="connsiteX9" fmla="*/ 239437 w 445812"/>
                  <a:gd name="connsiteY9" fmla="*/ 368300 h 3657600"/>
                  <a:gd name="connsiteX10" fmla="*/ 239437 w 445812"/>
                  <a:gd name="connsiteY10" fmla="*/ 412750 h 3657600"/>
                  <a:gd name="connsiteX11" fmla="*/ 207687 w 445812"/>
                  <a:gd name="connsiteY11" fmla="*/ 454025 h 3657600"/>
                  <a:gd name="connsiteX12" fmla="*/ 287062 w 445812"/>
                  <a:gd name="connsiteY12" fmla="*/ 479425 h 3657600"/>
                  <a:gd name="connsiteX13" fmla="*/ 302937 w 445812"/>
                  <a:gd name="connsiteY13" fmla="*/ 511175 h 3657600"/>
                  <a:gd name="connsiteX14" fmla="*/ 210862 w 445812"/>
                  <a:gd name="connsiteY14" fmla="*/ 581025 h 3657600"/>
                  <a:gd name="connsiteX15" fmla="*/ 160062 w 445812"/>
                  <a:gd name="connsiteY15" fmla="*/ 638175 h 3657600"/>
                  <a:gd name="connsiteX16" fmla="*/ 160062 w 445812"/>
                  <a:gd name="connsiteY16" fmla="*/ 695325 h 3657600"/>
                  <a:gd name="connsiteX17" fmla="*/ 185462 w 445812"/>
                  <a:gd name="connsiteY17" fmla="*/ 784225 h 3657600"/>
                  <a:gd name="connsiteX18" fmla="*/ 194987 w 445812"/>
                  <a:gd name="connsiteY18" fmla="*/ 835025 h 3657600"/>
                  <a:gd name="connsiteX19" fmla="*/ 204512 w 445812"/>
                  <a:gd name="connsiteY19" fmla="*/ 885825 h 3657600"/>
                  <a:gd name="connsiteX20" fmla="*/ 220387 w 445812"/>
                  <a:gd name="connsiteY20" fmla="*/ 923925 h 3657600"/>
                  <a:gd name="connsiteX21" fmla="*/ 163237 w 445812"/>
                  <a:gd name="connsiteY21" fmla="*/ 1022350 h 3657600"/>
                  <a:gd name="connsiteX22" fmla="*/ 96562 w 445812"/>
                  <a:gd name="connsiteY22" fmla="*/ 1057275 h 3657600"/>
                  <a:gd name="connsiteX23" fmla="*/ 52112 w 445812"/>
                  <a:gd name="connsiteY23" fmla="*/ 1143000 h 3657600"/>
                  <a:gd name="connsiteX24" fmla="*/ 20362 w 445812"/>
                  <a:gd name="connsiteY24" fmla="*/ 1244600 h 3657600"/>
                  <a:gd name="connsiteX25" fmla="*/ 1312 w 445812"/>
                  <a:gd name="connsiteY25" fmla="*/ 1346200 h 3657600"/>
                  <a:gd name="connsiteX26" fmla="*/ 10837 w 445812"/>
                  <a:gd name="connsiteY26" fmla="*/ 1438275 h 3657600"/>
                  <a:gd name="connsiteX27" fmla="*/ 83862 w 445812"/>
                  <a:gd name="connsiteY27" fmla="*/ 1511300 h 3657600"/>
                  <a:gd name="connsiteX28" fmla="*/ 112437 w 445812"/>
                  <a:gd name="connsiteY28" fmla="*/ 1558925 h 3657600"/>
                  <a:gd name="connsiteX29" fmla="*/ 150537 w 445812"/>
                  <a:gd name="connsiteY29" fmla="*/ 1590675 h 3657600"/>
                  <a:gd name="connsiteX30" fmla="*/ 169587 w 445812"/>
                  <a:gd name="connsiteY30" fmla="*/ 1644650 h 3657600"/>
                  <a:gd name="connsiteX31" fmla="*/ 226737 w 445812"/>
                  <a:gd name="connsiteY31" fmla="*/ 1685925 h 3657600"/>
                  <a:gd name="connsiteX32" fmla="*/ 264837 w 445812"/>
                  <a:gd name="connsiteY32" fmla="*/ 1730375 h 3657600"/>
                  <a:gd name="connsiteX33" fmla="*/ 277537 w 445812"/>
                  <a:gd name="connsiteY33" fmla="*/ 1758950 h 3657600"/>
                  <a:gd name="connsiteX34" fmla="*/ 277537 w 445812"/>
                  <a:gd name="connsiteY34" fmla="*/ 1828800 h 3657600"/>
                  <a:gd name="connsiteX35" fmla="*/ 325162 w 445812"/>
                  <a:gd name="connsiteY35" fmla="*/ 1905000 h 3657600"/>
                  <a:gd name="connsiteX36" fmla="*/ 363262 w 445812"/>
                  <a:gd name="connsiteY36" fmla="*/ 1962150 h 3657600"/>
                  <a:gd name="connsiteX37" fmla="*/ 369612 w 445812"/>
                  <a:gd name="connsiteY37" fmla="*/ 2028825 h 3657600"/>
                  <a:gd name="connsiteX38" fmla="*/ 407712 w 445812"/>
                  <a:gd name="connsiteY38" fmla="*/ 2085975 h 3657600"/>
                  <a:gd name="connsiteX39" fmla="*/ 414062 w 445812"/>
                  <a:gd name="connsiteY39" fmla="*/ 2209800 h 3657600"/>
                  <a:gd name="connsiteX40" fmla="*/ 252137 w 445812"/>
                  <a:gd name="connsiteY40" fmla="*/ 2251075 h 3657600"/>
                  <a:gd name="connsiteX41" fmla="*/ 201337 w 445812"/>
                  <a:gd name="connsiteY41" fmla="*/ 2390775 h 3657600"/>
                  <a:gd name="connsiteX42" fmla="*/ 210862 w 445812"/>
                  <a:gd name="connsiteY42" fmla="*/ 2454275 h 3657600"/>
                  <a:gd name="connsiteX43" fmla="*/ 226737 w 445812"/>
                  <a:gd name="connsiteY43" fmla="*/ 2482850 h 3657600"/>
                  <a:gd name="connsiteX44" fmla="*/ 226737 w 445812"/>
                  <a:gd name="connsiteY44" fmla="*/ 2527300 h 3657600"/>
                  <a:gd name="connsiteX45" fmla="*/ 236262 w 445812"/>
                  <a:gd name="connsiteY45" fmla="*/ 2603500 h 3657600"/>
                  <a:gd name="connsiteX46" fmla="*/ 153712 w 445812"/>
                  <a:gd name="connsiteY46" fmla="*/ 2917824 h 3657600"/>
                  <a:gd name="connsiteX47" fmla="*/ 80687 w 445812"/>
                  <a:gd name="connsiteY47" fmla="*/ 3063874 h 3657600"/>
                  <a:gd name="connsiteX48" fmla="*/ 42587 w 445812"/>
                  <a:gd name="connsiteY48" fmla="*/ 3159124 h 3657600"/>
                  <a:gd name="connsiteX49" fmla="*/ 17187 w 445812"/>
                  <a:gd name="connsiteY49" fmla="*/ 3365499 h 3657600"/>
                  <a:gd name="connsiteX50" fmla="*/ 45762 w 445812"/>
                  <a:gd name="connsiteY50" fmla="*/ 3492499 h 3657600"/>
                  <a:gd name="connsiteX51" fmla="*/ 58462 w 445812"/>
                  <a:gd name="connsiteY51" fmla="*/ 3657600 h 3657600"/>
                  <a:gd name="connsiteX0" fmla="*/ 445812 w 445812"/>
                  <a:gd name="connsiteY0" fmla="*/ 0 h 3657600"/>
                  <a:gd name="connsiteX1" fmla="*/ 407712 w 445812"/>
                  <a:gd name="connsiteY1" fmla="*/ 66675 h 3657600"/>
                  <a:gd name="connsiteX2" fmla="*/ 353737 w 445812"/>
                  <a:gd name="connsiteY2" fmla="*/ 85725 h 3657600"/>
                  <a:gd name="connsiteX3" fmla="*/ 283887 w 445812"/>
                  <a:gd name="connsiteY3" fmla="*/ 98425 h 3657600"/>
                  <a:gd name="connsiteX4" fmla="*/ 223562 w 445812"/>
                  <a:gd name="connsiteY4" fmla="*/ 133350 h 3657600"/>
                  <a:gd name="connsiteX5" fmla="*/ 121962 w 445812"/>
                  <a:gd name="connsiteY5" fmla="*/ 196850 h 3657600"/>
                  <a:gd name="connsiteX6" fmla="*/ 131487 w 445812"/>
                  <a:gd name="connsiteY6" fmla="*/ 247650 h 3657600"/>
                  <a:gd name="connsiteX7" fmla="*/ 172762 w 445812"/>
                  <a:gd name="connsiteY7" fmla="*/ 276225 h 3657600"/>
                  <a:gd name="connsiteX8" fmla="*/ 185462 w 445812"/>
                  <a:gd name="connsiteY8" fmla="*/ 327025 h 3657600"/>
                  <a:gd name="connsiteX9" fmla="*/ 239437 w 445812"/>
                  <a:gd name="connsiteY9" fmla="*/ 368300 h 3657600"/>
                  <a:gd name="connsiteX10" fmla="*/ 239437 w 445812"/>
                  <a:gd name="connsiteY10" fmla="*/ 412750 h 3657600"/>
                  <a:gd name="connsiteX11" fmla="*/ 207687 w 445812"/>
                  <a:gd name="connsiteY11" fmla="*/ 454025 h 3657600"/>
                  <a:gd name="connsiteX12" fmla="*/ 287062 w 445812"/>
                  <a:gd name="connsiteY12" fmla="*/ 479425 h 3657600"/>
                  <a:gd name="connsiteX13" fmla="*/ 302937 w 445812"/>
                  <a:gd name="connsiteY13" fmla="*/ 511175 h 3657600"/>
                  <a:gd name="connsiteX14" fmla="*/ 210862 w 445812"/>
                  <a:gd name="connsiteY14" fmla="*/ 581025 h 3657600"/>
                  <a:gd name="connsiteX15" fmla="*/ 160062 w 445812"/>
                  <a:gd name="connsiteY15" fmla="*/ 638175 h 3657600"/>
                  <a:gd name="connsiteX16" fmla="*/ 160062 w 445812"/>
                  <a:gd name="connsiteY16" fmla="*/ 695325 h 3657600"/>
                  <a:gd name="connsiteX17" fmla="*/ 185462 w 445812"/>
                  <a:gd name="connsiteY17" fmla="*/ 784225 h 3657600"/>
                  <a:gd name="connsiteX18" fmla="*/ 194987 w 445812"/>
                  <a:gd name="connsiteY18" fmla="*/ 835025 h 3657600"/>
                  <a:gd name="connsiteX19" fmla="*/ 204512 w 445812"/>
                  <a:gd name="connsiteY19" fmla="*/ 885825 h 3657600"/>
                  <a:gd name="connsiteX20" fmla="*/ 220387 w 445812"/>
                  <a:gd name="connsiteY20" fmla="*/ 923925 h 3657600"/>
                  <a:gd name="connsiteX21" fmla="*/ 163237 w 445812"/>
                  <a:gd name="connsiteY21" fmla="*/ 1022350 h 3657600"/>
                  <a:gd name="connsiteX22" fmla="*/ 96562 w 445812"/>
                  <a:gd name="connsiteY22" fmla="*/ 1057275 h 3657600"/>
                  <a:gd name="connsiteX23" fmla="*/ 52112 w 445812"/>
                  <a:gd name="connsiteY23" fmla="*/ 1143000 h 3657600"/>
                  <a:gd name="connsiteX24" fmla="*/ 20362 w 445812"/>
                  <a:gd name="connsiteY24" fmla="*/ 1244600 h 3657600"/>
                  <a:gd name="connsiteX25" fmla="*/ 1312 w 445812"/>
                  <a:gd name="connsiteY25" fmla="*/ 1346200 h 3657600"/>
                  <a:gd name="connsiteX26" fmla="*/ 10837 w 445812"/>
                  <a:gd name="connsiteY26" fmla="*/ 1438275 h 3657600"/>
                  <a:gd name="connsiteX27" fmla="*/ 83862 w 445812"/>
                  <a:gd name="connsiteY27" fmla="*/ 1511300 h 3657600"/>
                  <a:gd name="connsiteX28" fmla="*/ 112437 w 445812"/>
                  <a:gd name="connsiteY28" fmla="*/ 1558925 h 3657600"/>
                  <a:gd name="connsiteX29" fmla="*/ 150537 w 445812"/>
                  <a:gd name="connsiteY29" fmla="*/ 1590675 h 3657600"/>
                  <a:gd name="connsiteX30" fmla="*/ 169587 w 445812"/>
                  <a:gd name="connsiteY30" fmla="*/ 1644650 h 3657600"/>
                  <a:gd name="connsiteX31" fmla="*/ 226737 w 445812"/>
                  <a:gd name="connsiteY31" fmla="*/ 1685925 h 3657600"/>
                  <a:gd name="connsiteX32" fmla="*/ 264837 w 445812"/>
                  <a:gd name="connsiteY32" fmla="*/ 1730375 h 3657600"/>
                  <a:gd name="connsiteX33" fmla="*/ 277537 w 445812"/>
                  <a:gd name="connsiteY33" fmla="*/ 1758950 h 3657600"/>
                  <a:gd name="connsiteX34" fmla="*/ 277537 w 445812"/>
                  <a:gd name="connsiteY34" fmla="*/ 1828800 h 3657600"/>
                  <a:gd name="connsiteX35" fmla="*/ 325162 w 445812"/>
                  <a:gd name="connsiteY35" fmla="*/ 1905000 h 3657600"/>
                  <a:gd name="connsiteX36" fmla="*/ 363262 w 445812"/>
                  <a:gd name="connsiteY36" fmla="*/ 1962150 h 3657600"/>
                  <a:gd name="connsiteX37" fmla="*/ 369612 w 445812"/>
                  <a:gd name="connsiteY37" fmla="*/ 2028825 h 3657600"/>
                  <a:gd name="connsiteX38" fmla="*/ 407712 w 445812"/>
                  <a:gd name="connsiteY38" fmla="*/ 2085975 h 3657600"/>
                  <a:gd name="connsiteX39" fmla="*/ 414062 w 445812"/>
                  <a:gd name="connsiteY39" fmla="*/ 2209800 h 3657600"/>
                  <a:gd name="connsiteX40" fmla="*/ 252137 w 445812"/>
                  <a:gd name="connsiteY40" fmla="*/ 2251075 h 3657600"/>
                  <a:gd name="connsiteX41" fmla="*/ 201337 w 445812"/>
                  <a:gd name="connsiteY41" fmla="*/ 2390775 h 3657600"/>
                  <a:gd name="connsiteX42" fmla="*/ 210862 w 445812"/>
                  <a:gd name="connsiteY42" fmla="*/ 2454275 h 3657600"/>
                  <a:gd name="connsiteX43" fmla="*/ 226737 w 445812"/>
                  <a:gd name="connsiteY43" fmla="*/ 2482850 h 3657600"/>
                  <a:gd name="connsiteX44" fmla="*/ 226737 w 445812"/>
                  <a:gd name="connsiteY44" fmla="*/ 2527300 h 3657600"/>
                  <a:gd name="connsiteX45" fmla="*/ 236262 w 445812"/>
                  <a:gd name="connsiteY45" fmla="*/ 2603500 h 3657600"/>
                  <a:gd name="connsiteX46" fmla="*/ 153712 w 445812"/>
                  <a:gd name="connsiteY46" fmla="*/ 2917824 h 3657600"/>
                  <a:gd name="connsiteX47" fmla="*/ 80687 w 445812"/>
                  <a:gd name="connsiteY47" fmla="*/ 3063874 h 3657600"/>
                  <a:gd name="connsiteX48" fmla="*/ 42587 w 445812"/>
                  <a:gd name="connsiteY48" fmla="*/ 3133724 h 3657600"/>
                  <a:gd name="connsiteX49" fmla="*/ 17187 w 445812"/>
                  <a:gd name="connsiteY49" fmla="*/ 3365499 h 3657600"/>
                  <a:gd name="connsiteX50" fmla="*/ 45762 w 445812"/>
                  <a:gd name="connsiteY50" fmla="*/ 3492499 h 3657600"/>
                  <a:gd name="connsiteX51" fmla="*/ 58462 w 445812"/>
                  <a:gd name="connsiteY51" fmla="*/ 3657600 h 3657600"/>
                  <a:gd name="connsiteX0" fmla="*/ 445812 w 445812"/>
                  <a:gd name="connsiteY0" fmla="*/ 0 h 3657600"/>
                  <a:gd name="connsiteX1" fmla="*/ 407712 w 445812"/>
                  <a:gd name="connsiteY1" fmla="*/ 66675 h 3657600"/>
                  <a:gd name="connsiteX2" fmla="*/ 353737 w 445812"/>
                  <a:gd name="connsiteY2" fmla="*/ 85725 h 3657600"/>
                  <a:gd name="connsiteX3" fmla="*/ 283887 w 445812"/>
                  <a:gd name="connsiteY3" fmla="*/ 98425 h 3657600"/>
                  <a:gd name="connsiteX4" fmla="*/ 223562 w 445812"/>
                  <a:gd name="connsiteY4" fmla="*/ 133350 h 3657600"/>
                  <a:gd name="connsiteX5" fmla="*/ 121962 w 445812"/>
                  <a:gd name="connsiteY5" fmla="*/ 196850 h 3657600"/>
                  <a:gd name="connsiteX6" fmla="*/ 131487 w 445812"/>
                  <a:gd name="connsiteY6" fmla="*/ 247650 h 3657600"/>
                  <a:gd name="connsiteX7" fmla="*/ 172762 w 445812"/>
                  <a:gd name="connsiteY7" fmla="*/ 276225 h 3657600"/>
                  <a:gd name="connsiteX8" fmla="*/ 185462 w 445812"/>
                  <a:gd name="connsiteY8" fmla="*/ 327025 h 3657600"/>
                  <a:gd name="connsiteX9" fmla="*/ 239437 w 445812"/>
                  <a:gd name="connsiteY9" fmla="*/ 368300 h 3657600"/>
                  <a:gd name="connsiteX10" fmla="*/ 239437 w 445812"/>
                  <a:gd name="connsiteY10" fmla="*/ 412750 h 3657600"/>
                  <a:gd name="connsiteX11" fmla="*/ 207687 w 445812"/>
                  <a:gd name="connsiteY11" fmla="*/ 454025 h 3657600"/>
                  <a:gd name="connsiteX12" fmla="*/ 287062 w 445812"/>
                  <a:gd name="connsiteY12" fmla="*/ 479425 h 3657600"/>
                  <a:gd name="connsiteX13" fmla="*/ 302937 w 445812"/>
                  <a:gd name="connsiteY13" fmla="*/ 511175 h 3657600"/>
                  <a:gd name="connsiteX14" fmla="*/ 210862 w 445812"/>
                  <a:gd name="connsiteY14" fmla="*/ 581025 h 3657600"/>
                  <a:gd name="connsiteX15" fmla="*/ 160062 w 445812"/>
                  <a:gd name="connsiteY15" fmla="*/ 638175 h 3657600"/>
                  <a:gd name="connsiteX16" fmla="*/ 160062 w 445812"/>
                  <a:gd name="connsiteY16" fmla="*/ 695325 h 3657600"/>
                  <a:gd name="connsiteX17" fmla="*/ 185462 w 445812"/>
                  <a:gd name="connsiteY17" fmla="*/ 784225 h 3657600"/>
                  <a:gd name="connsiteX18" fmla="*/ 194987 w 445812"/>
                  <a:gd name="connsiteY18" fmla="*/ 835025 h 3657600"/>
                  <a:gd name="connsiteX19" fmla="*/ 204512 w 445812"/>
                  <a:gd name="connsiteY19" fmla="*/ 885825 h 3657600"/>
                  <a:gd name="connsiteX20" fmla="*/ 220387 w 445812"/>
                  <a:gd name="connsiteY20" fmla="*/ 923925 h 3657600"/>
                  <a:gd name="connsiteX21" fmla="*/ 163237 w 445812"/>
                  <a:gd name="connsiteY21" fmla="*/ 1022350 h 3657600"/>
                  <a:gd name="connsiteX22" fmla="*/ 96562 w 445812"/>
                  <a:gd name="connsiteY22" fmla="*/ 1057275 h 3657600"/>
                  <a:gd name="connsiteX23" fmla="*/ 52112 w 445812"/>
                  <a:gd name="connsiteY23" fmla="*/ 1143000 h 3657600"/>
                  <a:gd name="connsiteX24" fmla="*/ 20362 w 445812"/>
                  <a:gd name="connsiteY24" fmla="*/ 1244600 h 3657600"/>
                  <a:gd name="connsiteX25" fmla="*/ 1312 w 445812"/>
                  <a:gd name="connsiteY25" fmla="*/ 1346200 h 3657600"/>
                  <a:gd name="connsiteX26" fmla="*/ 10837 w 445812"/>
                  <a:gd name="connsiteY26" fmla="*/ 1438275 h 3657600"/>
                  <a:gd name="connsiteX27" fmla="*/ 83862 w 445812"/>
                  <a:gd name="connsiteY27" fmla="*/ 1511300 h 3657600"/>
                  <a:gd name="connsiteX28" fmla="*/ 112437 w 445812"/>
                  <a:gd name="connsiteY28" fmla="*/ 1558925 h 3657600"/>
                  <a:gd name="connsiteX29" fmla="*/ 150537 w 445812"/>
                  <a:gd name="connsiteY29" fmla="*/ 1590675 h 3657600"/>
                  <a:gd name="connsiteX30" fmla="*/ 169587 w 445812"/>
                  <a:gd name="connsiteY30" fmla="*/ 1644650 h 3657600"/>
                  <a:gd name="connsiteX31" fmla="*/ 226737 w 445812"/>
                  <a:gd name="connsiteY31" fmla="*/ 1685925 h 3657600"/>
                  <a:gd name="connsiteX32" fmla="*/ 264837 w 445812"/>
                  <a:gd name="connsiteY32" fmla="*/ 1730375 h 3657600"/>
                  <a:gd name="connsiteX33" fmla="*/ 277537 w 445812"/>
                  <a:gd name="connsiteY33" fmla="*/ 1758950 h 3657600"/>
                  <a:gd name="connsiteX34" fmla="*/ 277537 w 445812"/>
                  <a:gd name="connsiteY34" fmla="*/ 1828800 h 3657600"/>
                  <a:gd name="connsiteX35" fmla="*/ 325162 w 445812"/>
                  <a:gd name="connsiteY35" fmla="*/ 1905000 h 3657600"/>
                  <a:gd name="connsiteX36" fmla="*/ 363262 w 445812"/>
                  <a:gd name="connsiteY36" fmla="*/ 1962150 h 3657600"/>
                  <a:gd name="connsiteX37" fmla="*/ 369612 w 445812"/>
                  <a:gd name="connsiteY37" fmla="*/ 2028825 h 3657600"/>
                  <a:gd name="connsiteX38" fmla="*/ 407712 w 445812"/>
                  <a:gd name="connsiteY38" fmla="*/ 2085975 h 3657600"/>
                  <a:gd name="connsiteX39" fmla="*/ 414062 w 445812"/>
                  <a:gd name="connsiteY39" fmla="*/ 2209800 h 3657600"/>
                  <a:gd name="connsiteX40" fmla="*/ 252137 w 445812"/>
                  <a:gd name="connsiteY40" fmla="*/ 2251075 h 3657600"/>
                  <a:gd name="connsiteX41" fmla="*/ 201337 w 445812"/>
                  <a:gd name="connsiteY41" fmla="*/ 2390775 h 3657600"/>
                  <a:gd name="connsiteX42" fmla="*/ 210862 w 445812"/>
                  <a:gd name="connsiteY42" fmla="*/ 2454275 h 3657600"/>
                  <a:gd name="connsiteX43" fmla="*/ 226737 w 445812"/>
                  <a:gd name="connsiteY43" fmla="*/ 2482850 h 3657600"/>
                  <a:gd name="connsiteX44" fmla="*/ 226737 w 445812"/>
                  <a:gd name="connsiteY44" fmla="*/ 2527300 h 3657600"/>
                  <a:gd name="connsiteX45" fmla="*/ 236262 w 445812"/>
                  <a:gd name="connsiteY45" fmla="*/ 2603500 h 3657600"/>
                  <a:gd name="connsiteX46" fmla="*/ 153712 w 445812"/>
                  <a:gd name="connsiteY46" fmla="*/ 2917824 h 3657600"/>
                  <a:gd name="connsiteX47" fmla="*/ 80687 w 445812"/>
                  <a:gd name="connsiteY47" fmla="*/ 3063874 h 3657600"/>
                  <a:gd name="connsiteX48" fmla="*/ 42587 w 445812"/>
                  <a:gd name="connsiteY48" fmla="*/ 3133724 h 3657600"/>
                  <a:gd name="connsiteX49" fmla="*/ 17187 w 445812"/>
                  <a:gd name="connsiteY49" fmla="*/ 3365499 h 3657600"/>
                  <a:gd name="connsiteX50" fmla="*/ 45762 w 445812"/>
                  <a:gd name="connsiteY50" fmla="*/ 3492499 h 3657600"/>
                  <a:gd name="connsiteX51" fmla="*/ 58462 w 445812"/>
                  <a:gd name="connsiteY51" fmla="*/ 3657600 h 3657600"/>
                  <a:gd name="connsiteX0" fmla="*/ 445812 w 445812"/>
                  <a:gd name="connsiteY0" fmla="*/ 0 h 3657600"/>
                  <a:gd name="connsiteX1" fmla="*/ 407712 w 445812"/>
                  <a:gd name="connsiteY1" fmla="*/ 66675 h 3657600"/>
                  <a:gd name="connsiteX2" fmla="*/ 353737 w 445812"/>
                  <a:gd name="connsiteY2" fmla="*/ 85725 h 3657600"/>
                  <a:gd name="connsiteX3" fmla="*/ 283887 w 445812"/>
                  <a:gd name="connsiteY3" fmla="*/ 98425 h 3657600"/>
                  <a:gd name="connsiteX4" fmla="*/ 223562 w 445812"/>
                  <a:gd name="connsiteY4" fmla="*/ 133350 h 3657600"/>
                  <a:gd name="connsiteX5" fmla="*/ 121962 w 445812"/>
                  <a:gd name="connsiteY5" fmla="*/ 196850 h 3657600"/>
                  <a:gd name="connsiteX6" fmla="*/ 131487 w 445812"/>
                  <a:gd name="connsiteY6" fmla="*/ 247650 h 3657600"/>
                  <a:gd name="connsiteX7" fmla="*/ 172762 w 445812"/>
                  <a:gd name="connsiteY7" fmla="*/ 276225 h 3657600"/>
                  <a:gd name="connsiteX8" fmla="*/ 185462 w 445812"/>
                  <a:gd name="connsiteY8" fmla="*/ 327025 h 3657600"/>
                  <a:gd name="connsiteX9" fmla="*/ 239437 w 445812"/>
                  <a:gd name="connsiteY9" fmla="*/ 368300 h 3657600"/>
                  <a:gd name="connsiteX10" fmla="*/ 239437 w 445812"/>
                  <a:gd name="connsiteY10" fmla="*/ 412750 h 3657600"/>
                  <a:gd name="connsiteX11" fmla="*/ 207687 w 445812"/>
                  <a:gd name="connsiteY11" fmla="*/ 454025 h 3657600"/>
                  <a:gd name="connsiteX12" fmla="*/ 287062 w 445812"/>
                  <a:gd name="connsiteY12" fmla="*/ 479425 h 3657600"/>
                  <a:gd name="connsiteX13" fmla="*/ 302937 w 445812"/>
                  <a:gd name="connsiteY13" fmla="*/ 511175 h 3657600"/>
                  <a:gd name="connsiteX14" fmla="*/ 210862 w 445812"/>
                  <a:gd name="connsiteY14" fmla="*/ 581025 h 3657600"/>
                  <a:gd name="connsiteX15" fmla="*/ 160062 w 445812"/>
                  <a:gd name="connsiteY15" fmla="*/ 638175 h 3657600"/>
                  <a:gd name="connsiteX16" fmla="*/ 160062 w 445812"/>
                  <a:gd name="connsiteY16" fmla="*/ 695325 h 3657600"/>
                  <a:gd name="connsiteX17" fmla="*/ 185462 w 445812"/>
                  <a:gd name="connsiteY17" fmla="*/ 784225 h 3657600"/>
                  <a:gd name="connsiteX18" fmla="*/ 194987 w 445812"/>
                  <a:gd name="connsiteY18" fmla="*/ 835025 h 3657600"/>
                  <a:gd name="connsiteX19" fmla="*/ 204512 w 445812"/>
                  <a:gd name="connsiteY19" fmla="*/ 885825 h 3657600"/>
                  <a:gd name="connsiteX20" fmla="*/ 220387 w 445812"/>
                  <a:gd name="connsiteY20" fmla="*/ 923925 h 3657600"/>
                  <a:gd name="connsiteX21" fmla="*/ 163237 w 445812"/>
                  <a:gd name="connsiteY21" fmla="*/ 1022350 h 3657600"/>
                  <a:gd name="connsiteX22" fmla="*/ 96562 w 445812"/>
                  <a:gd name="connsiteY22" fmla="*/ 1057275 h 3657600"/>
                  <a:gd name="connsiteX23" fmla="*/ 52112 w 445812"/>
                  <a:gd name="connsiteY23" fmla="*/ 1143000 h 3657600"/>
                  <a:gd name="connsiteX24" fmla="*/ 20362 w 445812"/>
                  <a:gd name="connsiteY24" fmla="*/ 1244600 h 3657600"/>
                  <a:gd name="connsiteX25" fmla="*/ 1312 w 445812"/>
                  <a:gd name="connsiteY25" fmla="*/ 1346200 h 3657600"/>
                  <a:gd name="connsiteX26" fmla="*/ 10837 w 445812"/>
                  <a:gd name="connsiteY26" fmla="*/ 1438275 h 3657600"/>
                  <a:gd name="connsiteX27" fmla="*/ 83862 w 445812"/>
                  <a:gd name="connsiteY27" fmla="*/ 1511300 h 3657600"/>
                  <a:gd name="connsiteX28" fmla="*/ 112437 w 445812"/>
                  <a:gd name="connsiteY28" fmla="*/ 1558925 h 3657600"/>
                  <a:gd name="connsiteX29" fmla="*/ 150537 w 445812"/>
                  <a:gd name="connsiteY29" fmla="*/ 1590675 h 3657600"/>
                  <a:gd name="connsiteX30" fmla="*/ 169587 w 445812"/>
                  <a:gd name="connsiteY30" fmla="*/ 1644650 h 3657600"/>
                  <a:gd name="connsiteX31" fmla="*/ 226737 w 445812"/>
                  <a:gd name="connsiteY31" fmla="*/ 1685925 h 3657600"/>
                  <a:gd name="connsiteX32" fmla="*/ 264837 w 445812"/>
                  <a:gd name="connsiteY32" fmla="*/ 1730375 h 3657600"/>
                  <a:gd name="connsiteX33" fmla="*/ 277537 w 445812"/>
                  <a:gd name="connsiteY33" fmla="*/ 1758950 h 3657600"/>
                  <a:gd name="connsiteX34" fmla="*/ 277537 w 445812"/>
                  <a:gd name="connsiteY34" fmla="*/ 1828800 h 3657600"/>
                  <a:gd name="connsiteX35" fmla="*/ 325162 w 445812"/>
                  <a:gd name="connsiteY35" fmla="*/ 1905000 h 3657600"/>
                  <a:gd name="connsiteX36" fmla="*/ 363262 w 445812"/>
                  <a:gd name="connsiteY36" fmla="*/ 1962150 h 3657600"/>
                  <a:gd name="connsiteX37" fmla="*/ 369612 w 445812"/>
                  <a:gd name="connsiteY37" fmla="*/ 2028825 h 3657600"/>
                  <a:gd name="connsiteX38" fmla="*/ 407712 w 445812"/>
                  <a:gd name="connsiteY38" fmla="*/ 2085975 h 3657600"/>
                  <a:gd name="connsiteX39" fmla="*/ 414062 w 445812"/>
                  <a:gd name="connsiteY39" fmla="*/ 2209800 h 3657600"/>
                  <a:gd name="connsiteX40" fmla="*/ 252137 w 445812"/>
                  <a:gd name="connsiteY40" fmla="*/ 2251075 h 3657600"/>
                  <a:gd name="connsiteX41" fmla="*/ 201337 w 445812"/>
                  <a:gd name="connsiteY41" fmla="*/ 2390775 h 3657600"/>
                  <a:gd name="connsiteX42" fmla="*/ 210862 w 445812"/>
                  <a:gd name="connsiteY42" fmla="*/ 2454275 h 3657600"/>
                  <a:gd name="connsiteX43" fmla="*/ 226737 w 445812"/>
                  <a:gd name="connsiteY43" fmla="*/ 2482850 h 3657600"/>
                  <a:gd name="connsiteX44" fmla="*/ 226737 w 445812"/>
                  <a:gd name="connsiteY44" fmla="*/ 2527300 h 3657600"/>
                  <a:gd name="connsiteX45" fmla="*/ 236262 w 445812"/>
                  <a:gd name="connsiteY45" fmla="*/ 2603500 h 3657600"/>
                  <a:gd name="connsiteX46" fmla="*/ 153712 w 445812"/>
                  <a:gd name="connsiteY46" fmla="*/ 2917824 h 3657600"/>
                  <a:gd name="connsiteX47" fmla="*/ 80687 w 445812"/>
                  <a:gd name="connsiteY47" fmla="*/ 3063874 h 3657600"/>
                  <a:gd name="connsiteX48" fmla="*/ 42587 w 445812"/>
                  <a:gd name="connsiteY48" fmla="*/ 3133724 h 3657600"/>
                  <a:gd name="connsiteX49" fmla="*/ 17187 w 445812"/>
                  <a:gd name="connsiteY49" fmla="*/ 3203574 h 3657600"/>
                  <a:gd name="connsiteX50" fmla="*/ 17187 w 445812"/>
                  <a:gd name="connsiteY50" fmla="*/ 3365499 h 3657600"/>
                  <a:gd name="connsiteX51" fmla="*/ 45762 w 445812"/>
                  <a:gd name="connsiteY51" fmla="*/ 3492499 h 3657600"/>
                  <a:gd name="connsiteX52" fmla="*/ 58462 w 445812"/>
                  <a:gd name="connsiteY52" fmla="*/ 3657600 h 3657600"/>
                  <a:gd name="connsiteX0" fmla="*/ 445812 w 445812"/>
                  <a:gd name="connsiteY0" fmla="*/ 0 h 3657600"/>
                  <a:gd name="connsiteX1" fmla="*/ 407712 w 445812"/>
                  <a:gd name="connsiteY1" fmla="*/ 66675 h 3657600"/>
                  <a:gd name="connsiteX2" fmla="*/ 353737 w 445812"/>
                  <a:gd name="connsiteY2" fmla="*/ 85725 h 3657600"/>
                  <a:gd name="connsiteX3" fmla="*/ 283887 w 445812"/>
                  <a:gd name="connsiteY3" fmla="*/ 98425 h 3657600"/>
                  <a:gd name="connsiteX4" fmla="*/ 223562 w 445812"/>
                  <a:gd name="connsiteY4" fmla="*/ 133350 h 3657600"/>
                  <a:gd name="connsiteX5" fmla="*/ 121962 w 445812"/>
                  <a:gd name="connsiteY5" fmla="*/ 196850 h 3657600"/>
                  <a:gd name="connsiteX6" fmla="*/ 131487 w 445812"/>
                  <a:gd name="connsiteY6" fmla="*/ 247650 h 3657600"/>
                  <a:gd name="connsiteX7" fmla="*/ 172762 w 445812"/>
                  <a:gd name="connsiteY7" fmla="*/ 276225 h 3657600"/>
                  <a:gd name="connsiteX8" fmla="*/ 185462 w 445812"/>
                  <a:gd name="connsiteY8" fmla="*/ 327025 h 3657600"/>
                  <a:gd name="connsiteX9" fmla="*/ 239437 w 445812"/>
                  <a:gd name="connsiteY9" fmla="*/ 368300 h 3657600"/>
                  <a:gd name="connsiteX10" fmla="*/ 239437 w 445812"/>
                  <a:gd name="connsiteY10" fmla="*/ 412750 h 3657600"/>
                  <a:gd name="connsiteX11" fmla="*/ 207687 w 445812"/>
                  <a:gd name="connsiteY11" fmla="*/ 454025 h 3657600"/>
                  <a:gd name="connsiteX12" fmla="*/ 287062 w 445812"/>
                  <a:gd name="connsiteY12" fmla="*/ 479425 h 3657600"/>
                  <a:gd name="connsiteX13" fmla="*/ 302937 w 445812"/>
                  <a:gd name="connsiteY13" fmla="*/ 511175 h 3657600"/>
                  <a:gd name="connsiteX14" fmla="*/ 210862 w 445812"/>
                  <a:gd name="connsiteY14" fmla="*/ 581025 h 3657600"/>
                  <a:gd name="connsiteX15" fmla="*/ 160062 w 445812"/>
                  <a:gd name="connsiteY15" fmla="*/ 638175 h 3657600"/>
                  <a:gd name="connsiteX16" fmla="*/ 160062 w 445812"/>
                  <a:gd name="connsiteY16" fmla="*/ 695325 h 3657600"/>
                  <a:gd name="connsiteX17" fmla="*/ 185462 w 445812"/>
                  <a:gd name="connsiteY17" fmla="*/ 784225 h 3657600"/>
                  <a:gd name="connsiteX18" fmla="*/ 194987 w 445812"/>
                  <a:gd name="connsiteY18" fmla="*/ 835025 h 3657600"/>
                  <a:gd name="connsiteX19" fmla="*/ 204512 w 445812"/>
                  <a:gd name="connsiteY19" fmla="*/ 885825 h 3657600"/>
                  <a:gd name="connsiteX20" fmla="*/ 220387 w 445812"/>
                  <a:gd name="connsiteY20" fmla="*/ 923925 h 3657600"/>
                  <a:gd name="connsiteX21" fmla="*/ 163237 w 445812"/>
                  <a:gd name="connsiteY21" fmla="*/ 1022350 h 3657600"/>
                  <a:gd name="connsiteX22" fmla="*/ 96562 w 445812"/>
                  <a:gd name="connsiteY22" fmla="*/ 1057275 h 3657600"/>
                  <a:gd name="connsiteX23" fmla="*/ 52112 w 445812"/>
                  <a:gd name="connsiteY23" fmla="*/ 1143000 h 3657600"/>
                  <a:gd name="connsiteX24" fmla="*/ 20362 w 445812"/>
                  <a:gd name="connsiteY24" fmla="*/ 1244600 h 3657600"/>
                  <a:gd name="connsiteX25" fmla="*/ 1312 w 445812"/>
                  <a:gd name="connsiteY25" fmla="*/ 1346200 h 3657600"/>
                  <a:gd name="connsiteX26" fmla="*/ 10837 w 445812"/>
                  <a:gd name="connsiteY26" fmla="*/ 1438275 h 3657600"/>
                  <a:gd name="connsiteX27" fmla="*/ 83862 w 445812"/>
                  <a:gd name="connsiteY27" fmla="*/ 1511300 h 3657600"/>
                  <a:gd name="connsiteX28" fmla="*/ 112437 w 445812"/>
                  <a:gd name="connsiteY28" fmla="*/ 1558925 h 3657600"/>
                  <a:gd name="connsiteX29" fmla="*/ 150537 w 445812"/>
                  <a:gd name="connsiteY29" fmla="*/ 1590675 h 3657600"/>
                  <a:gd name="connsiteX30" fmla="*/ 169587 w 445812"/>
                  <a:gd name="connsiteY30" fmla="*/ 1644650 h 3657600"/>
                  <a:gd name="connsiteX31" fmla="*/ 226737 w 445812"/>
                  <a:gd name="connsiteY31" fmla="*/ 1685925 h 3657600"/>
                  <a:gd name="connsiteX32" fmla="*/ 264837 w 445812"/>
                  <a:gd name="connsiteY32" fmla="*/ 1730375 h 3657600"/>
                  <a:gd name="connsiteX33" fmla="*/ 277537 w 445812"/>
                  <a:gd name="connsiteY33" fmla="*/ 1758950 h 3657600"/>
                  <a:gd name="connsiteX34" fmla="*/ 277537 w 445812"/>
                  <a:gd name="connsiteY34" fmla="*/ 1828800 h 3657600"/>
                  <a:gd name="connsiteX35" fmla="*/ 325162 w 445812"/>
                  <a:gd name="connsiteY35" fmla="*/ 1905000 h 3657600"/>
                  <a:gd name="connsiteX36" fmla="*/ 363262 w 445812"/>
                  <a:gd name="connsiteY36" fmla="*/ 1962150 h 3657600"/>
                  <a:gd name="connsiteX37" fmla="*/ 369612 w 445812"/>
                  <a:gd name="connsiteY37" fmla="*/ 2028825 h 3657600"/>
                  <a:gd name="connsiteX38" fmla="*/ 407712 w 445812"/>
                  <a:gd name="connsiteY38" fmla="*/ 2085975 h 3657600"/>
                  <a:gd name="connsiteX39" fmla="*/ 414062 w 445812"/>
                  <a:gd name="connsiteY39" fmla="*/ 2209800 h 3657600"/>
                  <a:gd name="connsiteX40" fmla="*/ 252137 w 445812"/>
                  <a:gd name="connsiteY40" fmla="*/ 2251075 h 3657600"/>
                  <a:gd name="connsiteX41" fmla="*/ 201337 w 445812"/>
                  <a:gd name="connsiteY41" fmla="*/ 2390775 h 3657600"/>
                  <a:gd name="connsiteX42" fmla="*/ 210862 w 445812"/>
                  <a:gd name="connsiteY42" fmla="*/ 2454275 h 3657600"/>
                  <a:gd name="connsiteX43" fmla="*/ 226737 w 445812"/>
                  <a:gd name="connsiteY43" fmla="*/ 2482850 h 3657600"/>
                  <a:gd name="connsiteX44" fmla="*/ 226737 w 445812"/>
                  <a:gd name="connsiteY44" fmla="*/ 2527300 h 3657600"/>
                  <a:gd name="connsiteX45" fmla="*/ 236262 w 445812"/>
                  <a:gd name="connsiteY45" fmla="*/ 2603500 h 3657600"/>
                  <a:gd name="connsiteX46" fmla="*/ 153712 w 445812"/>
                  <a:gd name="connsiteY46" fmla="*/ 2917824 h 3657600"/>
                  <a:gd name="connsiteX47" fmla="*/ 80687 w 445812"/>
                  <a:gd name="connsiteY47" fmla="*/ 3063874 h 3657600"/>
                  <a:gd name="connsiteX48" fmla="*/ 42587 w 445812"/>
                  <a:gd name="connsiteY48" fmla="*/ 3133724 h 3657600"/>
                  <a:gd name="connsiteX49" fmla="*/ 17187 w 445812"/>
                  <a:gd name="connsiteY49" fmla="*/ 3203574 h 3657600"/>
                  <a:gd name="connsiteX50" fmla="*/ 17187 w 445812"/>
                  <a:gd name="connsiteY50" fmla="*/ 3365499 h 3657600"/>
                  <a:gd name="connsiteX51" fmla="*/ 45762 w 445812"/>
                  <a:gd name="connsiteY51" fmla="*/ 3492499 h 3657600"/>
                  <a:gd name="connsiteX52" fmla="*/ 58462 w 445812"/>
                  <a:gd name="connsiteY52" fmla="*/ 3657600 h 3657600"/>
                  <a:gd name="connsiteX0" fmla="*/ 445812 w 445812"/>
                  <a:gd name="connsiteY0" fmla="*/ 0 h 3657600"/>
                  <a:gd name="connsiteX1" fmla="*/ 407712 w 445812"/>
                  <a:gd name="connsiteY1" fmla="*/ 66675 h 3657600"/>
                  <a:gd name="connsiteX2" fmla="*/ 353737 w 445812"/>
                  <a:gd name="connsiteY2" fmla="*/ 85725 h 3657600"/>
                  <a:gd name="connsiteX3" fmla="*/ 283887 w 445812"/>
                  <a:gd name="connsiteY3" fmla="*/ 98425 h 3657600"/>
                  <a:gd name="connsiteX4" fmla="*/ 223562 w 445812"/>
                  <a:gd name="connsiteY4" fmla="*/ 133350 h 3657600"/>
                  <a:gd name="connsiteX5" fmla="*/ 121962 w 445812"/>
                  <a:gd name="connsiteY5" fmla="*/ 196850 h 3657600"/>
                  <a:gd name="connsiteX6" fmla="*/ 131487 w 445812"/>
                  <a:gd name="connsiteY6" fmla="*/ 247650 h 3657600"/>
                  <a:gd name="connsiteX7" fmla="*/ 172762 w 445812"/>
                  <a:gd name="connsiteY7" fmla="*/ 276225 h 3657600"/>
                  <a:gd name="connsiteX8" fmla="*/ 185462 w 445812"/>
                  <a:gd name="connsiteY8" fmla="*/ 327025 h 3657600"/>
                  <a:gd name="connsiteX9" fmla="*/ 239437 w 445812"/>
                  <a:gd name="connsiteY9" fmla="*/ 368300 h 3657600"/>
                  <a:gd name="connsiteX10" fmla="*/ 239437 w 445812"/>
                  <a:gd name="connsiteY10" fmla="*/ 412750 h 3657600"/>
                  <a:gd name="connsiteX11" fmla="*/ 207687 w 445812"/>
                  <a:gd name="connsiteY11" fmla="*/ 454025 h 3657600"/>
                  <a:gd name="connsiteX12" fmla="*/ 287062 w 445812"/>
                  <a:gd name="connsiteY12" fmla="*/ 479425 h 3657600"/>
                  <a:gd name="connsiteX13" fmla="*/ 302937 w 445812"/>
                  <a:gd name="connsiteY13" fmla="*/ 511175 h 3657600"/>
                  <a:gd name="connsiteX14" fmla="*/ 210862 w 445812"/>
                  <a:gd name="connsiteY14" fmla="*/ 581025 h 3657600"/>
                  <a:gd name="connsiteX15" fmla="*/ 160062 w 445812"/>
                  <a:gd name="connsiteY15" fmla="*/ 638175 h 3657600"/>
                  <a:gd name="connsiteX16" fmla="*/ 160062 w 445812"/>
                  <a:gd name="connsiteY16" fmla="*/ 695325 h 3657600"/>
                  <a:gd name="connsiteX17" fmla="*/ 185462 w 445812"/>
                  <a:gd name="connsiteY17" fmla="*/ 784225 h 3657600"/>
                  <a:gd name="connsiteX18" fmla="*/ 194987 w 445812"/>
                  <a:gd name="connsiteY18" fmla="*/ 835025 h 3657600"/>
                  <a:gd name="connsiteX19" fmla="*/ 204512 w 445812"/>
                  <a:gd name="connsiteY19" fmla="*/ 885825 h 3657600"/>
                  <a:gd name="connsiteX20" fmla="*/ 220387 w 445812"/>
                  <a:gd name="connsiteY20" fmla="*/ 923925 h 3657600"/>
                  <a:gd name="connsiteX21" fmla="*/ 163237 w 445812"/>
                  <a:gd name="connsiteY21" fmla="*/ 1022350 h 3657600"/>
                  <a:gd name="connsiteX22" fmla="*/ 96562 w 445812"/>
                  <a:gd name="connsiteY22" fmla="*/ 1057275 h 3657600"/>
                  <a:gd name="connsiteX23" fmla="*/ 52112 w 445812"/>
                  <a:gd name="connsiteY23" fmla="*/ 1143000 h 3657600"/>
                  <a:gd name="connsiteX24" fmla="*/ 20362 w 445812"/>
                  <a:gd name="connsiteY24" fmla="*/ 1244600 h 3657600"/>
                  <a:gd name="connsiteX25" fmla="*/ 1312 w 445812"/>
                  <a:gd name="connsiteY25" fmla="*/ 1346200 h 3657600"/>
                  <a:gd name="connsiteX26" fmla="*/ 10837 w 445812"/>
                  <a:gd name="connsiteY26" fmla="*/ 1438275 h 3657600"/>
                  <a:gd name="connsiteX27" fmla="*/ 83862 w 445812"/>
                  <a:gd name="connsiteY27" fmla="*/ 1511300 h 3657600"/>
                  <a:gd name="connsiteX28" fmla="*/ 112437 w 445812"/>
                  <a:gd name="connsiteY28" fmla="*/ 1558925 h 3657600"/>
                  <a:gd name="connsiteX29" fmla="*/ 150537 w 445812"/>
                  <a:gd name="connsiteY29" fmla="*/ 1590675 h 3657600"/>
                  <a:gd name="connsiteX30" fmla="*/ 169587 w 445812"/>
                  <a:gd name="connsiteY30" fmla="*/ 1644650 h 3657600"/>
                  <a:gd name="connsiteX31" fmla="*/ 226737 w 445812"/>
                  <a:gd name="connsiteY31" fmla="*/ 1685925 h 3657600"/>
                  <a:gd name="connsiteX32" fmla="*/ 264837 w 445812"/>
                  <a:gd name="connsiteY32" fmla="*/ 1730375 h 3657600"/>
                  <a:gd name="connsiteX33" fmla="*/ 277537 w 445812"/>
                  <a:gd name="connsiteY33" fmla="*/ 1758950 h 3657600"/>
                  <a:gd name="connsiteX34" fmla="*/ 277537 w 445812"/>
                  <a:gd name="connsiteY34" fmla="*/ 1828800 h 3657600"/>
                  <a:gd name="connsiteX35" fmla="*/ 325162 w 445812"/>
                  <a:gd name="connsiteY35" fmla="*/ 1905000 h 3657600"/>
                  <a:gd name="connsiteX36" fmla="*/ 363262 w 445812"/>
                  <a:gd name="connsiteY36" fmla="*/ 1962150 h 3657600"/>
                  <a:gd name="connsiteX37" fmla="*/ 369612 w 445812"/>
                  <a:gd name="connsiteY37" fmla="*/ 2028825 h 3657600"/>
                  <a:gd name="connsiteX38" fmla="*/ 407712 w 445812"/>
                  <a:gd name="connsiteY38" fmla="*/ 2085975 h 3657600"/>
                  <a:gd name="connsiteX39" fmla="*/ 414062 w 445812"/>
                  <a:gd name="connsiteY39" fmla="*/ 2209800 h 3657600"/>
                  <a:gd name="connsiteX40" fmla="*/ 252137 w 445812"/>
                  <a:gd name="connsiteY40" fmla="*/ 2251075 h 3657600"/>
                  <a:gd name="connsiteX41" fmla="*/ 201337 w 445812"/>
                  <a:gd name="connsiteY41" fmla="*/ 2390775 h 3657600"/>
                  <a:gd name="connsiteX42" fmla="*/ 210862 w 445812"/>
                  <a:gd name="connsiteY42" fmla="*/ 2454275 h 3657600"/>
                  <a:gd name="connsiteX43" fmla="*/ 226737 w 445812"/>
                  <a:gd name="connsiteY43" fmla="*/ 2482850 h 3657600"/>
                  <a:gd name="connsiteX44" fmla="*/ 226737 w 445812"/>
                  <a:gd name="connsiteY44" fmla="*/ 2527300 h 3657600"/>
                  <a:gd name="connsiteX45" fmla="*/ 236262 w 445812"/>
                  <a:gd name="connsiteY45" fmla="*/ 2603500 h 3657600"/>
                  <a:gd name="connsiteX46" fmla="*/ 153712 w 445812"/>
                  <a:gd name="connsiteY46" fmla="*/ 2917824 h 3657600"/>
                  <a:gd name="connsiteX47" fmla="*/ 80687 w 445812"/>
                  <a:gd name="connsiteY47" fmla="*/ 3063874 h 3657600"/>
                  <a:gd name="connsiteX48" fmla="*/ 42587 w 445812"/>
                  <a:gd name="connsiteY48" fmla="*/ 3133724 h 3657600"/>
                  <a:gd name="connsiteX49" fmla="*/ 17187 w 445812"/>
                  <a:gd name="connsiteY49" fmla="*/ 3203574 h 3657600"/>
                  <a:gd name="connsiteX50" fmla="*/ 10837 w 445812"/>
                  <a:gd name="connsiteY50" fmla="*/ 3390899 h 3657600"/>
                  <a:gd name="connsiteX51" fmla="*/ 45762 w 445812"/>
                  <a:gd name="connsiteY51" fmla="*/ 3492499 h 3657600"/>
                  <a:gd name="connsiteX52" fmla="*/ 58462 w 445812"/>
                  <a:gd name="connsiteY52" fmla="*/ 3657600 h 3657600"/>
                  <a:gd name="connsiteX0" fmla="*/ 445812 w 445812"/>
                  <a:gd name="connsiteY0" fmla="*/ 0 h 3657600"/>
                  <a:gd name="connsiteX1" fmla="*/ 407712 w 445812"/>
                  <a:gd name="connsiteY1" fmla="*/ 66675 h 3657600"/>
                  <a:gd name="connsiteX2" fmla="*/ 353737 w 445812"/>
                  <a:gd name="connsiteY2" fmla="*/ 85725 h 3657600"/>
                  <a:gd name="connsiteX3" fmla="*/ 283887 w 445812"/>
                  <a:gd name="connsiteY3" fmla="*/ 98425 h 3657600"/>
                  <a:gd name="connsiteX4" fmla="*/ 223562 w 445812"/>
                  <a:gd name="connsiteY4" fmla="*/ 133350 h 3657600"/>
                  <a:gd name="connsiteX5" fmla="*/ 121962 w 445812"/>
                  <a:gd name="connsiteY5" fmla="*/ 196850 h 3657600"/>
                  <a:gd name="connsiteX6" fmla="*/ 131487 w 445812"/>
                  <a:gd name="connsiteY6" fmla="*/ 247650 h 3657600"/>
                  <a:gd name="connsiteX7" fmla="*/ 172762 w 445812"/>
                  <a:gd name="connsiteY7" fmla="*/ 276225 h 3657600"/>
                  <a:gd name="connsiteX8" fmla="*/ 185462 w 445812"/>
                  <a:gd name="connsiteY8" fmla="*/ 327025 h 3657600"/>
                  <a:gd name="connsiteX9" fmla="*/ 239437 w 445812"/>
                  <a:gd name="connsiteY9" fmla="*/ 368300 h 3657600"/>
                  <a:gd name="connsiteX10" fmla="*/ 239437 w 445812"/>
                  <a:gd name="connsiteY10" fmla="*/ 412750 h 3657600"/>
                  <a:gd name="connsiteX11" fmla="*/ 207687 w 445812"/>
                  <a:gd name="connsiteY11" fmla="*/ 454025 h 3657600"/>
                  <a:gd name="connsiteX12" fmla="*/ 287062 w 445812"/>
                  <a:gd name="connsiteY12" fmla="*/ 479425 h 3657600"/>
                  <a:gd name="connsiteX13" fmla="*/ 302937 w 445812"/>
                  <a:gd name="connsiteY13" fmla="*/ 511175 h 3657600"/>
                  <a:gd name="connsiteX14" fmla="*/ 210862 w 445812"/>
                  <a:gd name="connsiteY14" fmla="*/ 581025 h 3657600"/>
                  <a:gd name="connsiteX15" fmla="*/ 160062 w 445812"/>
                  <a:gd name="connsiteY15" fmla="*/ 638175 h 3657600"/>
                  <a:gd name="connsiteX16" fmla="*/ 160062 w 445812"/>
                  <a:gd name="connsiteY16" fmla="*/ 695325 h 3657600"/>
                  <a:gd name="connsiteX17" fmla="*/ 185462 w 445812"/>
                  <a:gd name="connsiteY17" fmla="*/ 784225 h 3657600"/>
                  <a:gd name="connsiteX18" fmla="*/ 194987 w 445812"/>
                  <a:gd name="connsiteY18" fmla="*/ 835025 h 3657600"/>
                  <a:gd name="connsiteX19" fmla="*/ 204512 w 445812"/>
                  <a:gd name="connsiteY19" fmla="*/ 885825 h 3657600"/>
                  <a:gd name="connsiteX20" fmla="*/ 220387 w 445812"/>
                  <a:gd name="connsiteY20" fmla="*/ 923925 h 3657600"/>
                  <a:gd name="connsiteX21" fmla="*/ 163237 w 445812"/>
                  <a:gd name="connsiteY21" fmla="*/ 1022350 h 3657600"/>
                  <a:gd name="connsiteX22" fmla="*/ 96562 w 445812"/>
                  <a:gd name="connsiteY22" fmla="*/ 1057275 h 3657600"/>
                  <a:gd name="connsiteX23" fmla="*/ 52112 w 445812"/>
                  <a:gd name="connsiteY23" fmla="*/ 1143000 h 3657600"/>
                  <a:gd name="connsiteX24" fmla="*/ 20362 w 445812"/>
                  <a:gd name="connsiteY24" fmla="*/ 1244600 h 3657600"/>
                  <a:gd name="connsiteX25" fmla="*/ 1312 w 445812"/>
                  <a:gd name="connsiteY25" fmla="*/ 1346200 h 3657600"/>
                  <a:gd name="connsiteX26" fmla="*/ 10837 w 445812"/>
                  <a:gd name="connsiteY26" fmla="*/ 1438275 h 3657600"/>
                  <a:gd name="connsiteX27" fmla="*/ 83862 w 445812"/>
                  <a:gd name="connsiteY27" fmla="*/ 1511300 h 3657600"/>
                  <a:gd name="connsiteX28" fmla="*/ 112437 w 445812"/>
                  <a:gd name="connsiteY28" fmla="*/ 1558925 h 3657600"/>
                  <a:gd name="connsiteX29" fmla="*/ 150537 w 445812"/>
                  <a:gd name="connsiteY29" fmla="*/ 1590675 h 3657600"/>
                  <a:gd name="connsiteX30" fmla="*/ 169587 w 445812"/>
                  <a:gd name="connsiteY30" fmla="*/ 1644650 h 3657600"/>
                  <a:gd name="connsiteX31" fmla="*/ 226737 w 445812"/>
                  <a:gd name="connsiteY31" fmla="*/ 1685925 h 3657600"/>
                  <a:gd name="connsiteX32" fmla="*/ 264837 w 445812"/>
                  <a:gd name="connsiteY32" fmla="*/ 1730375 h 3657600"/>
                  <a:gd name="connsiteX33" fmla="*/ 277537 w 445812"/>
                  <a:gd name="connsiteY33" fmla="*/ 1758950 h 3657600"/>
                  <a:gd name="connsiteX34" fmla="*/ 277537 w 445812"/>
                  <a:gd name="connsiteY34" fmla="*/ 1828800 h 3657600"/>
                  <a:gd name="connsiteX35" fmla="*/ 325162 w 445812"/>
                  <a:gd name="connsiteY35" fmla="*/ 1905000 h 3657600"/>
                  <a:gd name="connsiteX36" fmla="*/ 363262 w 445812"/>
                  <a:gd name="connsiteY36" fmla="*/ 1962150 h 3657600"/>
                  <a:gd name="connsiteX37" fmla="*/ 369612 w 445812"/>
                  <a:gd name="connsiteY37" fmla="*/ 2028825 h 3657600"/>
                  <a:gd name="connsiteX38" fmla="*/ 407712 w 445812"/>
                  <a:gd name="connsiteY38" fmla="*/ 2085975 h 3657600"/>
                  <a:gd name="connsiteX39" fmla="*/ 414062 w 445812"/>
                  <a:gd name="connsiteY39" fmla="*/ 2209800 h 3657600"/>
                  <a:gd name="connsiteX40" fmla="*/ 252137 w 445812"/>
                  <a:gd name="connsiteY40" fmla="*/ 2251075 h 3657600"/>
                  <a:gd name="connsiteX41" fmla="*/ 201337 w 445812"/>
                  <a:gd name="connsiteY41" fmla="*/ 2390775 h 3657600"/>
                  <a:gd name="connsiteX42" fmla="*/ 210862 w 445812"/>
                  <a:gd name="connsiteY42" fmla="*/ 2454275 h 3657600"/>
                  <a:gd name="connsiteX43" fmla="*/ 226737 w 445812"/>
                  <a:gd name="connsiteY43" fmla="*/ 2482850 h 3657600"/>
                  <a:gd name="connsiteX44" fmla="*/ 226737 w 445812"/>
                  <a:gd name="connsiteY44" fmla="*/ 2527300 h 3657600"/>
                  <a:gd name="connsiteX45" fmla="*/ 236262 w 445812"/>
                  <a:gd name="connsiteY45" fmla="*/ 2603500 h 3657600"/>
                  <a:gd name="connsiteX46" fmla="*/ 153712 w 445812"/>
                  <a:gd name="connsiteY46" fmla="*/ 2917824 h 3657600"/>
                  <a:gd name="connsiteX47" fmla="*/ 80687 w 445812"/>
                  <a:gd name="connsiteY47" fmla="*/ 3063874 h 3657600"/>
                  <a:gd name="connsiteX48" fmla="*/ 42587 w 445812"/>
                  <a:gd name="connsiteY48" fmla="*/ 3133724 h 3657600"/>
                  <a:gd name="connsiteX49" fmla="*/ 17187 w 445812"/>
                  <a:gd name="connsiteY49" fmla="*/ 3203574 h 3657600"/>
                  <a:gd name="connsiteX50" fmla="*/ 10837 w 445812"/>
                  <a:gd name="connsiteY50" fmla="*/ 3390899 h 3657600"/>
                  <a:gd name="connsiteX51" fmla="*/ 33062 w 445812"/>
                  <a:gd name="connsiteY51" fmla="*/ 3492499 h 3657600"/>
                  <a:gd name="connsiteX52" fmla="*/ 58462 w 445812"/>
                  <a:gd name="connsiteY52" fmla="*/ 3657600 h 3657600"/>
                  <a:gd name="connsiteX0" fmla="*/ 445812 w 896662"/>
                  <a:gd name="connsiteY0" fmla="*/ 0 h 4505325"/>
                  <a:gd name="connsiteX1" fmla="*/ 407712 w 896662"/>
                  <a:gd name="connsiteY1" fmla="*/ 66675 h 4505325"/>
                  <a:gd name="connsiteX2" fmla="*/ 353737 w 896662"/>
                  <a:gd name="connsiteY2" fmla="*/ 85725 h 4505325"/>
                  <a:gd name="connsiteX3" fmla="*/ 283887 w 896662"/>
                  <a:gd name="connsiteY3" fmla="*/ 98425 h 4505325"/>
                  <a:gd name="connsiteX4" fmla="*/ 223562 w 896662"/>
                  <a:gd name="connsiteY4" fmla="*/ 133350 h 4505325"/>
                  <a:gd name="connsiteX5" fmla="*/ 121962 w 896662"/>
                  <a:gd name="connsiteY5" fmla="*/ 196850 h 4505325"/>
                  <a:gd name="connsiteX6" fmla="*/ 131487 w 896662"/>
                  <a:gd name="connsiteY6" fmla="*/ 247650 h 4505325"/>
                  <a:gd name="connsiteX7" fmla="*/ 172762 w 896662"/>
                  <a:gd name="connsiteY7" fmla="*/ 276225 h 4505325"/>
                  <a:gd name="connsiteX8" fmla="*/ 185462 w 896662"/>
                  <a:gd name="connsiteY8" fmla="*/ 327025 h 4505325"/>
                  <a:gd name="connsiteX9" fmla="*/ 239437 w 896662"/>
                  <a:gd name="connsiteY9" fmla="*/ 368300 h 4505325"/>
                  <a:gd name="connsiteX10" fmla="*/ 239437 w 896662"/>
                  <a:gd name="connsiteY10" fmla="*/ 412750 h 4505325"/>
                  <a:gd name="connsiteX11" fmla="*/ 207687 w 896662"/>
                  <a:gd name="connsiteY11" fmla="*/ 454025 h 4505325"/>
                  <a:gd name="connsiteX12" fmla="*/ 287062 w 896662"/>
                  <a:gd name="connsiteY12" fmla="*/ 479425 h 4505325"/>
                  <a:gd name="connsiteX13" fmla="*/ 302937 w 896662"/>
                  <a:gd name="connsiteY13" fmla="*/ 511175 h 4505325"/>
                  <a:gd name="connsiteX14" fmla="*/ 210862 w 896662"/>
                  <a:gd name="connsiteY14" fmla="*/ 581025 h 4505325"/>
                  <a:gd name="connsiteX15" fmla="*/ 160062 w 896662"/>
                  <a:gd name="connsiteY15" fmla="*/ 638175 h 4505325"/>
                  <a:gd name="connsiteX16" fmla="*/ 160062 w 896662"/>
                  <a:gd name="connsiteY16" fmla="*/ 695325 h 4505325"/>
                  <a:gd name="connsiteX17" fmla="*/ 185462 w 896662"/>
                  <a:gd name="connsiteY17" fmla="*/ 784225 h 4505325"/>
                  <a:gd name="connsiteX18" fmla="*/ 194987 w 896662"/>
                  <a:gd name="connsiteY18" fmla="*/ 835025 h 4505325"/>
                  <a:gd name="connsiteX19" fmla="*/ 204512 w 896662"/>
                  <a:gd name="connsiteY19" fmla="*/ 885825 h 4505325"/>
                  <a:gd name="connsiteX20" fmla="*/ 220387 w 896662"/>
                  <a:gd name="connsiteY20" fmla="*/ 923925 h 4505325"/>
                  <a:gd name="connsiteX21" fmla="*/ 163237 w 896662"/>
                  <a:gd name="connsiteY21" fmla="*/ 1022350 h 4505325"/>
                  <a:gd name="connsiteX22" fmla="*/ 96562 w 896662"/>
                  <a:gd name="connsiteY22" fmla="*/ 1057275 h 4505325"/>
                  <a:gd name="connsiteX23" fmla="*/ 52112 w 896662"/>
                  <a:gd name="connsiteY23" fmla="*/ 1143000 h 4505325"/>
                  <a:gd name="connsiteX24" fmla="*/ 20362 w 896662"/>
                  <a:gd name="connsiteY24" fmla="*/ 1244600 h 4505325"/>
                  <a:gd name="connsiteX25" fmla="*/ 1312 w 896662"/>
                  <a:gd name="connsiteY25" fmla="*/ 1346200 h 4505325"/>
                  <a:gd name="connsiteX26" fmla="*/ 10837 w 896662"/>
                  <a:gd name="connsiteY26" fmla="*/ 1438275 h 4505325"/>
                  <a:gd name="connsiteX27" fmla="*/ 83862 w 896662"/>
                  <a:gd name="connsiteY27" fmla="*/ 1511300 h 4505325"/>
                  <a:gd name="connsiteX28" fmla="*/ 112437 w 896662"/>
                  <a:gd name="connsiteY28" fmla="*/ 1558925 h 4505325"/>
                  <a:gd name="connsiteX29" fmla="*/ 150537 w 896662"/>
                  <a:gd name="connsiteY29" fmla="*/ 1590675 h 4505325"/>
                  <a:gd name="connsiteX30" fmla="*/ 169587 w 896662"/>
                  <a:gd name="connsiteY30" fmla="*/ 1644650 h 4505325"/>
                  <a:gd name="connsiteX31" fmla="*/ 226737 w 896662"/>
                  <a:gd name="connsiteY31" fmla="*/ 1685925 h 4505325"/>
                  <a:gd name="connsiteX32" fmla="*/ 264837 w 896662"/>
                  <a:gd name="connsiteY32" fmla="*/ 1730375 h 4505325"/>
                  <a:gd name="connsiteX33" fmla="*/ 277537 w 896662"/>
                  <a:gd name="connsiteY33" fmla="*/ 1758950 h 4505325"/>
                  <a:gd name="connsiteX34" fmla="*/ 277537 w 896662"/>
                  <a:gd name="connsiteY34" fmla="*/ 1828800 h 4505325"/>
                  <a:gd name="connsiteX35" fmla="*/ 325162 w 896662"/>
                  <a:gd name="connsiteY35" fmla="*/ 1905000 h 4505325"/>
                  <a:gd name="connsiteX36" fmla="*/ 363262 w 896662"/>
                  <a:gd name="connsiteY36" fmla="*/ 1962150 h 4505325"/>
                  <a:gd name="connsiteX37" fmla="*/ 369612 w 896662"/>
                  <a:gd name="connsiteY37" fmla="*/ 2028825 h 4505325"/>
                  <a:gd name="connsiteX38" fmla="*/ 407712 w 896662"/>
                  <a:gd name="connsiteY38" fmla="*/ 2085975 h 4505325"/>
                  <a:gd name="connsiteX39" fmla="*/ 414062 w 896662"/>
                  <a:gd name="connsiteY39" fmla="*/ 2209800 h 4505325"/>
                  <a:gd name="connsiteX40" fmla="*/ 252137 w 896662"/>
                  <a:gd name="connsiteY40" fmla="*/ 2251075 h 4505325"/>
                  <a:gd name="connsiteX41" fmla="*/ 201337 w 896662"/>
                  <a:gd name="connsiteY41" fmla="*/ 2390775 h 4505325"/>
                  <a:gd name="connsiteX42" fmla="*/ 210862 w 896662"/>
                  <a:gd name="connsiteY42" fmla="*/ 2454275 h 4505325"/>
                  <a:gd name="connsiteX43" fmla="*/ 226737 w 896662"/>
                  <a:gd name="connsiteY43" fmla="*/ 2482850 h 4505325"/>
                  <a:gd name="connsiteX44" fmla="*/ 226737 w 896662"/>
                  <a:gd name="connsiteY44" fmla="*/ 2527300 h 4505325"/>
                  <a:gd name="connsiteX45" fmla="*/ 236262 w 896662"/>
                  <a:gd name="connsiteY45" fmla="*/ 2603500 h 4505325"/>
                  <a:gd name="connsiteX46" fmla="*/ 153712 w 896662"/>
                  <a:gd name="connsiteY46" fmla="*/ 2917824 h 4505325"/>
                  <a:gd name="connsiteX47" fmla="*/ 80687 w 896662"/>
                  <a:gd name="connsiteY47" fmla="*/ 3063874 h 4505325"/>
                  <a:gd name="connsiteX48" fmla="*/ 42587 w 896662"/>
                  <a:gd name="connsiteY48" fmla="*/ 3133724 h 4505325"/>
                  <a:gd name="connsiteX49" fmla="*/ 17187 w 896662"/>
                  <a:gd name="connsiteY49" fmla="*/ 3203574 h 4505325"/>
                  <a:gd name="connsiteX50" fmla="*/ 10837 w 896662"/>
                  <a:gd name="connsiteY50" fmla="*/ 3390899 h 4505325"/>
                  <a:gd name="connsiteX51" fmla="*/ 33062 w 896662"/>
                  <a:gd name="connsiteY51" fmla="*/ 3492499 h 4505325"/>
                  <a:gd name="connsiteX52" fmla="*/ 896662 w 896662"/>
                  <a:gd name="connsiteY52" fmla="*/ 4505325 h 4505325"/>
                  <a:gd name="connsiteX0" fmla="*/ 472114 w 922964"/>
                  <a:gd name="connsiteY0" fmla="*/ 0 h 4505325"/>
                  <a:gd name="connsiteX1" fmla="*/ 434014 w 922964"/>
                  <a:gd name="connsiteY1" fmla="*/ 66675 h 4505325"/>
                  <a:gd name="connsiteX2" fmla="*/ 380039 w 922964"/>
                  <a:gd name="connsiteY2" fmla="*/ 85725 h 4505325"/>
                  <a:gd name="connsiteX3" fmla="*/ 310189 w 922964"/>
                  <a:gd name="connsiteY3" fmla="*/ 98425 h 4505325"/>
                  <a:gd name="connsiteX4" fmla="*/ 249864 w 922964"/>
                  <a:gd name="connsiteY4" fmla="*/ 133350 h 4505325"/>
                  <a:gd name="connsiteX5" fmla="*/ 148264 w 922964"/>
                  <a:gd name="connsiteY5" fmla="*/ 196850 h 4505325"/>
                  <a:gd name="connsiteX6" fmla="*/ 157789 w 922964"/>
                  <a:gd name="connsiteY6" fmla="*/ 247650 h 4505325"/>
                  <a:gd name="connsiteX7" fmla="*/ 199064 w 922964"/>
                  <a:gd name="connsiteY7" fmla="*/ 276225 h 4505325"/>
                  <a:gd name="connsiteX8" fmla="*/ 211764 w 922964"/>
                  <a:gd name="connsiteY8" fmla="*/ 327025 h 4505325"/>
                  <a:gd name="connsiteX9" fmla="*/ 265739 w 922964"/>
                  <a:gd name="connsiteY9" fmla="*/ 368300 h 4505325"/>
                  <a:gd name="connsiteX10" fmla="*/ 265739 w 922964"/>
                  <a:gd name="connsiteY10" fmla="*/ 412750 h 4505325"/>
                  <a:gd name="connsiteX11" fmla="*/ 233989 w 922964"/>
                  <a:gd name="connsiteY11" fmla="*/ 454025 h 4505325"/>
                  <a:gd name="connsiteX12" fmla="*/ 313364 w 922964"/>
                  <a:gd name="connsiteY12" fmla="*/ 479425 h 4505325"/>
                  <a:gd name="connsiteX13" fmla="*/ 329239 w 922964"/>
                  <a:gd name="connsiteY13" fmla="*/ 511175 h 4505325"/>
                  <a:gd name="connsiteX14" fmla="*/ 237164 w 922964"/>
                  <a:gd name="connsiteY14" fmla="*/ 581025 h 4505325"/>
                  <a:gd name="connsiteX15" fmla="*/ 186364 w 922964"/>
                  <a:gd name="connsiteY15" fmla="*/ 638175 h 4505325"/>
                  <a:gd name="connsiteX16" fmla="*/ 186364 w 922964"/>
                  <a:gd name="connsiteY16" fmla="*/ 695325 h 4505325"/>
                  <a:gd name="connsiteX17" fmla="*/ 211764 w 922964"/>
                  <a:gd name="connsiteY17" fmla="*/ 784225 h 4505325"/>
                  <a:gd name="connsiteX18" fmla="*/ 221289 w 922964"/>
                  <a:gd name="connsiteY18" fmla="*/ 835025 h 4505325"/>
                  <a:gd name="connsiteX19" fmla="*/ 230814 w 922964"/>
                  <a:gd name="connsiteY19" fmla="*/ 885825 h 4505325"/>
                  <a:gd name="connsiteX20" fmla="*/ 246689 w 922964"/>
                  <a:gd name="connsiteY20" fmla="*/ 923925 h 4505325"/>
                  <a:gd name="connsiteX21" fmla="*/ 189539 w 922964"/>
                  <a:gd name="connsiteY21" fmla="*/ 1022350 h 4505325"/>
                  <a:gd name="connsiteX22" fmla="*/ 122864 w 922964"/>
                  <a:gd name="connsiteY22" fmla="*/ 1057275 h 4505325"/>
                  <a:gd name="connsiteX23" fmla="*/ 78414 w 922964"/>
                  <a:gd name="connsiteY23" fmla="*/ 1143000 h 4505325"/>
                  <a:gd name="connsiteX24" fmla="*/ 46664 w 922964"/>
                  <a:gd name="connsiteY24" fmla="*/ 1244600 h 4505325"/>
                  <a:gd name="connsiteX25" fmla="*/ 27614 w 922964"/>
                  <a:gd name="connsiteY25" fmla="*/ 1346200 h 4505325"/>
                  <a:gd name="connsiteX26" fmla="*/ 37139 w 922964"/>
                  <a:gd name="connsiteY26" fmla="*/ 1438275 h 4505325"/>
                  <a:gd name="connsiteX27" fmla="*/ 110164 w 922964"/>
                  <a:gd name="connsiteY27" fmla="*/ 1511300 h 4505325"/>
                  <a:gd name="connsiteX28" fmla="*/ 138739 w 922964"/>
                  <a:gd name="connsiteY28" fmla="*/ 1558925 h 4505325"/>
                  <a:gd name="connsiteX29" fmla="*/ 176839 w 922964"/>
                  <a:gd name="connsiteY29" fmla="*/ 1590675 h 4505325"/>
                  <a:gd name="connsiteX30" fmla="*/ 195889 w 922964"/>
                  <a:gd name="connsiteY30" fmla="*/ 1644650 h 4505325"/>
                  <a:gd name="connsiteX31" fmla="*/ 253039 w 922964"/>
                  <a:gd name="connsiteY31" fmla="*/ 1685925 h 4505325"/>
                  <a:gd name="connsiteX32" fmla="*/ 291139 w 922964"/>
                  <a:gd name="connsiteY32" fmla="*/ 1730375 h 4505325"/>
                  <a:gd name="connsiteX33" fmla="*/ 303839 w 922964"/>
                  <a:gd name="connsiteY33" fmla="*/ 1758950 h 4505325"/>
                  <a:gd name="connsiteX34" fmla="*/ 303839 w 922964"/>
                  <a:gd name="connsiteY34" fmla="*/ 1828800 h 4505325"/>
                  <a:gd name="connsiteX35" fmla="*/ 351464 w 922964"/>
                  <a:gd name="connsiteY35" fmla="*/ 1905000 h 4505325"/>
                  <a:gd name="connsiteX36" fmla="*/ 389564 w 922964"/>
                  <a:gd name="connsiteY36" fmla="*/ 1962150 h 4505325"/>
                  <a:gd name="connsiteX37" fmla="*/ 395914 w 922964"/>
                  <a:gd name="connsiteY37" fmla="*/ 2028825 h 4505325"/>
                  <a:gd name="connsiteX38" fmla="*/ 434014 w 922964"/>
                  <a:gd name="connsiteY38" fmla="*/ 2085975 h 4505325"/>
                  <a:gd name="connsiteX39" fmla="*/ 440364 w 922964"/>
                  <a:gd name="connsiteY39" fmla="*/ 2209800 h 4505325"/>
                  <a:gd name="connsiteX40" fmla="*/ 278439 w 922964"/>
                  <a:gd name="connsiteY40" fmla="*/ 2251075 h 4505325"/>
                  <a:gd name="connsiteX41" fmla="*/ 227639 w 922964"/>
                  <a:gd name="connsiteY41" fmla="*/ 2390775 h 4505325"/>
                  <a:gd name="connsiteX42" fmla="*/ 237164 w 922964"/>
                  <a:gd name="connsiteY42" fmla="*/ 2454275 h 4505325"/>
                  <a:gd name="connsiteX43" fmla="*/ 253039 w 922964"/>
                  <a:gd name="connsiteY43" fmla="*/ 2482850 h 4505325"/>
                  <a:gd name="connsiteX44" fmla="*/ 253039 w 922964"/>
                  <a:gd name="connsiteY44" fmla="*/ 2527300 h 4505325"/>
                  <a:gd name="connsiteX45" fmla="*/ 262564 w 922964"/>
                  <a:gd name="connsiteY45" fmla="*/ 2603500 h 4505325"/>
                  <a:gd name="connsiteX46" fmla="*/ 180014 w 922964"/>
                  <a:gd name="connsiteY46" fmla="*/ 2917824 h 4505325"/>
                  <a:gd name="connsiteX47" fmla="*/ 106989 w 922964"/>
                  <a:gd name="connsiteY47" fmla="*/ 3063874 h 4505325"/>
                  <a:gd name="connsiteX48" fmla="*/ 68889 w 922964"/>
                  <a:gd name="connsiteY48" fmla="*/ 3133724 h 4505325"/>
                  <a:gd name="connsiteX49" fmla="*/ 43489 w 922964"/>
                  <a:gd name="connsiteY49" fmla="*/ 3203574 h 4505325"/>
                  <a:gd name="connsiteX50" fmla="*/ 37139 w 922964"/>
                  <a:gd name="connsiteY50" fmla="*/ 3390899 h 4505325"/>
                  <a:gd name="connsiteX51" fmla="*/ 59364 w 922964"/>
                  <a:gd name="connsiteY51" fmla="*/ 3492499 h 4505325"/>
                  <a:gd name="connsiteX52" fmla="*/ 776914 w 922964"/>
                  <a:gd name="connsiteY52" fmla="*/ 4305299 h 4505325"/>
                  <a:gd name="connsiteX53" fmla="*/ 922964 w 922964"/>
                  <a:gd name="connsiteY53" fmla="*/ 4505325 h 4505325"/>
                  <a:gd name="connsiteX0" fmla="*/ 459436 w 910286"/>
                  <a:gd name="connsiteY0" fmla="*/ 0 h 4505325"/>
                  <a:gd name="connsiteX1" fmla="*/ 421336 w 910286"/>
                  <a:gd name="connsiteY1" fmla="*/ 66675 h 4505325"/>
                  <a:gd name="connsiteX2" fmla="*/ 367361 w 910286"/>
                  <a:gd name="connsiteY2" fmla="*/ 85725 h 4505325"/>
                  <a:gd name="connsiteX3" fmla="*/ 297511 w 910286"/>
                  <a:gd name="connsiteY3" fmla="*/ 98425 h 4505325"/>
                  <a:gd name="connsiteX4" fmla="*/ 237186 w 910286"/>
                  <a:gd name="connsiteY4" fmla="*/ 133350 h 4505325"/>
                  <a:gd name="connsiteX5" fmla="*/ 135586 w 910286"/>
                  <a:gd name="connsiteY5" fmla="*/ 196850 h 4505325"/>
                  <a:gd name="connsiteX6" fmla="*/ 145111 w 910286"/>
                  <a:gd name="connsiteY6" fmla="*/ 247650 h 4505325"/>
                  <a:gd name="connsiteX7" fmla="*/ 186386 w 910286"/>
                  <a:gd name="connsiteY7" fmla="*/ 276225 h 4505325"/>
                  <a:gd name="connsiteX8" fmla="*/ 199086 w 910286"/>
                  <a:gd name="connsiteY8" fmla="*/ 327025 h 4505325"/>
                  <a:gd name="connsiteX9" fmla="*/ 253061 w 910286"/>
                  <a:gd name="connsiteY9" fmla="*/ 368300 h 4505325"/>
                  <a:gd name="connsiteX10" fmla="*/ 253061 w 910286"/>
                  <a:gd name="connsiteY10" fmla="*/ 412750 h 4505325"/>
                  <a:gd name="connsiteX11" fmla="*/ 221311 w 910286"/>
                  <a:gd name="connsiteY11" fmla="*/ 454025 h 4505325"/>
                  <a:gd name="connsiteX12" fmla="*/ 300686 w 910286"/>
                  <a:gd name="connsiteY12" fmla="*/ 479425 h 4505325"/>
                  <a:gd name="connsiteX13" fmla="*/ 316561 w 910286"/>
                  <a:gd name="connsiteY13" fmla="*/ 511175 h 4505325"/>
                  <a:gd name="connsiteX14" fmla="*/ 224486 w 910286"/>
                  <a:gd name="connsiteY14" fmla="*/ 581025 h 4505325"/>
                  <a:gd name="connsiteX15" fmla="*/ 173686 w 910286"/>
                  <a:gd name="connsiteY15" fmla="*/ 638175 h 4505325"/>
                  <a:gd name="connsiteX16" fmla="*/ 173686 w 910286"/>
                  <a:gd name="connsiteY16" fmla="*/ 695325 h 4505325"/>
                  <a:gd name="connsiteX17" fmla="*/ 199086 w 910286"/>
                  <a:gd name="connsiteY17" fmla="*/ 784225 h 4505325"/>
                  <a:gd name="connsiteX18" fmla="*/ 208611 w 910286"/>
                  <a:gd name="connsiteY18" fmla="*/ 835025 h 4505325"/>
                  <a:gd name="connsiteX19" fmla="*/ 218136 w 910286"/>
                  <a:gd name="connsiteY19" fmla="*/ 885825 h 4505325"/>
                  <a:gd name="connsiteX20" fmla="*/ 234011 w 910286"/>
                  <a:gd name="connsiteY20" fmla="*/ 923925 h 4505325"/>
                  <a:gd name="connsiteX21" fmla="*/ 176861 w 910286"/>
                  <a:gd name="connsiteY21" fmla="*/ 1022350 h 4505325"/>
                  <a:gd name="connsiteX22" fmla="*/ 110186 w 910286"/>
                  <a:gd name="connsiteY22" fmla="*/ 1057275 h 4505325"/>
                  <a:gd name="connsiteX23" fmla="*/ 65736 w 910286"/>
                  <a:gd name="connsiteY23" fmla="*/ 1143000 h 4505325"/>
                  <a:gd name="connsiteX24" fmla="*/ 33986 w 910286"/>
                  <a:gd name="connsiteY24" fmla="*/ 1244600 h 4505325"/>
                  <a:gd name="connsiteX25" fmla="*/ 14936 w 910286"/>
                  <a:gd name="connsiteY25" fmla="*/ 1346200 h 4505325"/>
                  <a:gd name="connsiteX26" fmla="*/ 24461 w 910286"/>
                  <a:gd name="connsiteY26" fmla="*/ 1438275 h 4505325"/>
                  <a:gd name="connsiteX27" fmla="*/ 97486 w 910286"/>
                  <a:gd name="connsiteY27" fmla="*/ 1511300 h 4505325"/>
                  <a:gd name="connsiteX28" fmla="*/ 126061 w 910286"/>
                  <a:gd name="connsiteY28" fmla="*/ 1558925 h 4505325"/>
                  <a:gd name="connsiteX29" fmla="*/ 164161 w 910286"/>
                  <a:gd name="connsiteY29" fmla="*/ 1590675 h 4505325"/>
                  <a:gd name="connsiteX30" fmla="*/ 183211 w 910286"/>
                  <a:gd name="connsiteY30" fmla="*/ 1644650 h 4505325"/>
                  <a:gd name="connsiteX31" fmla="*/ 240361 w 910286"/>
                  <a:gd name="connsiteY31" fmla="*/ 1685925 h 4505325"/>
                  <a:gd name="connsiteX32" fmla="*/ 278461 w 910286"/>
                  <a:gd name="connsiteY32" fmla="*/ 1730375 h 4505325"/>
                  <a:gd name="connsiteX33" fmla="*/ 291161 w 910286"/>
                  <a:gd name="connsiteY33" fmla="*/ 1758950 h 4505325"/>
                  <a:gd name="connsiteX34" fmla="*/ 291161 w 910286"/>
                  <a:gd name="connsiteY34" fmla="*/ 1828800 h 4505325"/>
                  <a:gd name="connsiteX35" fmla="*/ 338786 w 910286"/>
                  <a:gd name="connsiteY35" fmla="*/ 1905000 h 4505325"/>
                  <a:gd name="connsiteX36" fmla="*/ 376886 w 910286"/>
                  <a:gd name="connsiteY36" fmla="*/ 1962150 h 4505325"/>
                  <a:gd name="connsiteX37" fmla="*/ 383236 w 910286"/>
                  <a:gd name="connsiteY37" fmla="*/ 2028825 h 4505325"/>
                  <a:gd name="connsiteX38" fmla="*/ 421336 w 910286"/>
                  <a:gd name="connsiteY38" fmla="*/ 2085975 h 4505325"/>
                  <a:gd name="connsiteX39" fmla="*/ 427686 w 910286"/>
                  <a:gd name="connsiteY39" fmla="*/ 2209800 h 4505325"/>
                  <a:gd name="connsiteX40" fmla="*/ 265761 w 910286"/>
                  <a:gd name="connsiteY40" fmla="*/ 2251075 h 4505325"/>
                  <a:gd name="connsiteX41" fmla="*/ 214961 w 910286"/>
                  <a:gd name="connsiteY41" fmla="*/ 2390775 h 4505325"/>
                  <a:gd name="connsiteX42" fmla="*/ 224486 w 910286"/>
                  <a:gd name="connsiteY42" fmla="*/ 2454275 h 4505325"/>
                  <a:gd name="connsiteX43" fmla="*/ 240361 w 910286"/>
                  <a:gd name="connsiteY43" fmla="*/ 2482850 h 4505325"/>
                  <a:gd name="connsiteX44" fmla="*/ 240361 w 910286"/>
                  <a:gd name="connsiteY44" fmla="*/ 2527300 h 4505325"/>
                  <a:gd name="connsiteX45" fmla="*/ 249886 w 910286"/>
                  <a:gd name="connsiteY45" fmla="*/ 2603500 h 4505325"/>
                  <a:gd name="connsiteX46" fmla="*/ 167336 w 910286"/>
                  <a:gd name="connsiteY46" fmla="*/ 2917824 h 4505325"/>
                  <a:gd name="connsiteX47" fmla="*/ 94311 w 910286"/>
                  <a:gd name="connsiteY47" fmla="*/ 3063874 h 4505325"/>
                  <a:gd name="connsiteX48" fmla="*/ 56211 w 910286"/>
                  <a:gd name="connsiteY48" fmla="*/ 3133724 h 4505325"/>
                  <a:gd name="connsiteX49" fmla="*/ 30811 w 910286"/>
                  <a:gd name="connsiteY49" fmla="*/ 3203574 h 4505325"/>
                  <a:gd name="connsiteX50" fmla="*/ 24461 w 910286"/>
                  <a:gd name="connsiteY50" fmla="*/ 3390899 h 4505325"/>
                  <a:gd name="connsiteX51" fmla="*/ 46686 w 910286"/>
                  <a:gd name="connsiteY51" fmla="*/ 3492499 h 4505325"/>
                  <a:gd name="connsiteX52" fmla="*/ 395936 w 910286"/>
                  <a:gd name="connsiteY52" fmla="*/ 4203699 h 4505325"/>
                  <a:gd name="connsiteX53" fmla="*/ 764236 w 910286"/>
                  <a:gd name="connsiteY53" fmla="*/ 4305299 h 4505325"/>
                  <a:gd name="connsiteX54" fmla="*/ 910286 w 910286"/>
                  <a:gd name="connsiteY54" fmla="*/ 4505325 h 4505325"/>
                  <a:gd name="connsiteX0" fmla="*/ 459436 w 910286"/>
                  <a:gd name="connsiteY0" fmla="*/ 0 h 4505325"/>
                  <a:gd name="connsiteX1" fmla="*/ 421336 w 910286"/>
                  <a:gd name="connsiteY1" fmla="*/ 66675 h 4505325"/>
                  <a:gd name="connsiteX2" fmla="*/ 367361 w 910286"/>
                  <a:gd name="connsiteY2" fmla="*/ 85725 h 4505325"/>
                  <a:gd name="connsiteX3" fmla="*/ 297511 w 910286"/>
                  <a:gd name="connsiteY3" fmla="*/ 98425 h 4505325"/>
                  <a:gd name="connsiteX4" fmla="*/ 237186 w 910286"/>
                  <a:gd name="connsiteY4" fmla="*/ 133350 h 4505325"/>
                  <a:gd name="connsiteX5" fmla="*/ 135586 w 910286"/>
                  <a:gd name="connsiteY5" fmla="*/ 196850 h 4505325"/>
                  <a:gd name="connsiteX6" fmla="*/ 145111 w 910286"/>
                  <a:gd name="connsiteY6" fmla="*/ 247650 h 4505325"/>
                  <a:gd name="connsiteX7" fmla="*/ 186386 w 910286"/>
                  <a:gd name="connsiteY7" fmla="*/ 276225 h 4505325"/>
                  <a:gd name="connsiteX8" fmla="*/ 199086 w 910286"/>
                  <a:gd name="connsiteY8" fmla="*/ 327025 h 4505325"/>
                  <a:gd name="connsiteX9" fmla="*/ 253061 w 910286"/>
                  <a:gd name="connsiteY9" fmla="*/ 368300 h 4505325"/>
                  <a:gd name="connsiteX10" fmla="*/ 253061 w 910286"/>
                  <a:gd name="connsiteY10" fmla="*/ 412750 h 4505325"/>
                  <a:gd name="connsiteX11" fmla="*/ 221311 w 910286"/>
                  <a:gd name="connsiteY11" fmla="*/ 454025 h 4505325"/>
                  <a:gd name="connsiteX12" fmla="*/ 300686 w 910286"/>
                  <a:gd name="connsiteY12" fmla="*/ 479425 h 4505325"/>
                  <a:gd name="connsiteX13" fmla="*/ 316561 w 910286"/>
                  <a:gd name="connsiteY13" fmla="*/ 511175 h 4505325"/>
                  <a:gd name="connsiteX14" fmla="*/ 224486 w 910286"/>
                  <a:gd name="connsiteY14" fmla="*/ 581025 h 4505325"/>
                  <a:gd name="connsiteX15" fmla="*/ 173686 w 910286"/>
                  <a:gd name="connsiteY15" fmla="*/ 638175 h 4505325"/>
                  <a:gd name="connsiteX16" fmla="*/ 173686 w 910286"/>
                  <a:gd name="connsiteY16" fmla="*/ 695325 h 4505325"/>
                  <a:gd name="connsiteX17" fmla="*/ 199086 w 910286"/>
                  <a:gd name="connsiteY17" fmla="*/ 784225 h 4505325"/>
                  <a:gd name="connsiteX18" fmla="*/ 208611 w 910286"/>
                  <a:gd name="connsiteY18" fmla="*/ 835025 h 4505325"/>
                  <a:gd name="connsiteX19" fmla="*/ 218136 w 910286"/>
                  <a:gd name="connsiteY19" fmla="*/ 885825 h 4505325"/>
                  <a:gd name="connsiteX20" fmla="*/ 234011 w 910286"/>
                  <a:gd name="connsiteY20" fmla="*/ 923925 h 4505325"/>
                  <a:gd name="connsiteX21" fmla="*/ 176861 w 910286"/>
                  <a:gd name="connsiteY21" fmla="*/ 1022350 h 4505325"/>
                  <a:gd name="connsiteX22" fmla="*/ 110186 w 910286"/>
                  <a:gd name="connsiteY22" fmla="*/ 1057275 h 4505325"/>
                  <a:gd name="connsiteX23" fmla="*/ 65736 w 910286"/>
                  <a:gd name="connsiteY23" fmla="*/ 1143000 h 4505325"/>
                  <a:gd name="connsiteX24" fmla="*/ 33986 w 910286"/>
                  <a:gd name="connsiteY24" fmla="*/ 1244600 h 4505325"/>
                  <a:gd name="connsiteX25" fmla="*/ 14936 w 910286"/>
                  <a:gd name="connsiteY25" fmla="*/ 1346200 h 4505325"/>
                  <a:gd name="connsiteX26" fmla="*/ 24461 w 910286"/>
                  <a:gd name="connsiteY26" fmla="*/ 1438275 h 4505325"/>
                  <a:gd name="connsiteX27" fmla="*/ 97486 w 910286"/>
                  <a:gd name="connsiteY27" fmla="*/ 1511300 h 4505325"/>
                  <a:gd name="connsiteX28" fmla="*/ 126061 w 910286"/>
                  <a:gd name="connsiteY28" fmla="*/ 1558925 h 4505325"/>
                  <a:gd name="connsiteX29" fmla="*/ 164161 w 910286"/>
                  <a:gd name="connsiteY29" fmla="*/ 1590675 h 4505325"/>
                  <a:gd name="connsiteX30" fmla="*/ 183211 w 910286"/>
                  <a:gd name="connsiteY30" fmla="*/ 1644650 h 4505325"/>
                  <a:gd name="connsiteX31" fmla="*/ 240361 w 910286"/>
                  <a:gd name="connsiteY31" fmla="*/ 1685925 h 4505325"/>
                  <a:gd name="connsiteX32" fmla="*/ 278461 w 910286"/>
                  <a:gd name="connsiteY32" fmla="*/ 1730375 h 4505325"/>
                  <a:gd name="connsiteX33" fmla="*/ 291161 w 910286"/>
                  <a:gd name="connsiteY33" fmla="*/ 1758950 h 4505325"/>
                  <a:gd name="connsiteX34" fmla="*/ 291161 w 910286"/>
                  <a:gd name="connsiteY34" fmla="*/ 1828800 h 4505325"/>
                  <a:gd name="connsiteX35" fmla="*/ 338786 w 910286"/>
                  <a:gd name="connsiteY35" fmla="*/ 1905000 h 4505325"/>
                  <a:gd name="connsiteX36" fmla="*/ 376886 w 910286"/>
                  <a:gd name="connsiteY36" fmla="*/ 1962150 h 4505325"/>
                  <a:gd name="connsiteX37" fmla="*/ 383236 w 910286"/>
                  <a:gd name="connsiteY37" fmla="*/ 2028825 h 4505325"/>
                  <a:gd name="connsiteX38" fmla="*/ 421336 w 910286"/>
                  <a:gd name="connsiteY38" fmla="*/ 2085975 h 4505325"/>
                  <a:gd name="connsiteX39" fmla="*/ 427686 w 910286"/>
                  <a:gd name="connsiteY39" fmla="*/ 2209800 h 4505325"/>
                  <a:gd name="connsiteX40" fmla="*/ 265761 w 910286"/>
                  <a:gd name="connsiteY40" fmla="*/ 2251075 h 4505325"/>
                  <a:gd name="connsiteX41" fmla="*/ 214961 w 910286"/>
                  <a:gd name="connsiteY41" fmla="*/ 2390775 h 4505325"/>
                  <a:gd name="connsiteX42" fmla="*/ 224486 w 910286"/>
                  <a:gd name="connsiteY42" fmla="*/ 2454275 h 4505325"/>
                  <a:gd name="connsiteX43" fmla="*/ 240361 w 910286"/>
                  <a:gd name="connsiteY43" fmla="*/ 2482850 h 4505325"/>
                  <a:gd name="connsiteX44" fmla="*/ 240361 w 910286"/>
                  <a:gd name="connsiteY44" fmla="*/ 2527300 h 4505325"/>
                  <a:gd name="connsiteX45" fmla="*/ 249886 w 910286"/>
                  <a:gd name="connsiteY45" fmla="*/ 2603500 h 4505325"/>
                  <a:gd name="connsiteX46" fmla="*/ 167336 w 910286"/>
                  <a:gd name="connsiteY46" fmla="*/ 2917824 h 4505325"/>
                  <a:gd name="connsiteX47" fmla="*/ 94311 w 910286"/>
                  <a:gd name="connsiteY47" fmla="*/ 3063874 h 4505325"/>
                  <a:gd name="connsiteX48" fmla="*/ 56211 w 910286"/>
                  <a:gd name="connsiteY48" fmla="*/ 3133724 h 4505325"/>
                  <a:gd name="connsiteX49" fmla="*/ 30811 w 910286"/>
                  <a:gd name="connsiteY49" fmla="*/ 3203574 h 4505325"/>
                  <a:gd name="connsiteX50" fmla="*/ 24461 w 910286"/>
                  <a:gd name="connsiteY50" fmla="*/ 3390899 h 4505325"/>
                  <a:gd name="connsiteX51" fmla="*/ 46686 w 910286"/>
                  <a:gd name="connsiteY51" fmla="*/ 3492499 h 4505325"/>
                  <a:gd name="connsiteX52" fmla="*/ 395936 w 910286"/>
                  <a:gd name="connsiteY52" fmla="*/ 4203699 h 4505325"/>
                  <a:gd name="connsiteX53" fmla="*/ 653111 w 910286"/>
                  <a:gd name="connsiteY53" fmla="*/ 4302124 h 4505325"/>
                  <a:gd name="connsiteX54" fmla="*/ 764236 w 910286"/>
                  <a:gd name="connsiteY54" fmla="*/ 4305299 h 4505325"/>
                  <a:gd name="connsiteX55" fmla="*/ 910286 w 910286"/>
                  <a:gd name="connsiteY55" fmla="*/ 4505325 h 4505325"/>
                  <a:gd name="connsiteX0" fmla="*/ 459436 w 910286"/>
                  <a:gd name="connsiteY0" fmla="*/ 0 h 4505325"/>
                  <a:gd name="connsiteX1" fmla="*/ 421336 w 910286"/>
                  <a:gd name="connsiteY1" fmla="*/ 66675 h 4505325"/>
                  <a:gd name="connsiteX2" fmla="*/ 367361 w 910286"/>
                  <a:gd name="connsiteY2" fmla="*/ 85725 h 4505325"/>
                  <a:gd name="connsiteX3" fmla="*/ 297511 w 910286"/>
                  <a:gd name="connsiteY3" fmla="*/ 98425 h 4505325"/>
                  <a:gd name="connsiteX4" fmla="*/ 237186 w 910286"/>
                  <a:gd name="connsiteY4" fmla="*/ 133350 h 4505325"/>
                  <a:gd name="connsiteX5" fmla="*/ 135586 w 910286"/>
                  <a:gd name="connsiteY5" fmla="*/ 196850 h 4505325"/>
                  <a:gd name="connsiteX6" fmla="*/ 145111 w 910286"/>
                  <a:gd name="connsiteY6" fmla="*/ 247650 h 4505325"/>
                  <a:gd name="connsiteX7" fmla="*/ 186386 w 910286"/>
                  <a:gd name="connsiteY7" fmla="*/ 276225 h 4505325"/>
                  <a:gd name="connsiteX8" fmla="*/ 199086 w 910286"/>
                  <a:gd name="connsiteY8" fmla="*/ 327025 h 4505325"/>
                  <a:gd name="connsiteX9" fmla="*/ 253061 w 910286"/>
                  <a:gd name="connsiteY9" fmla="*/ 368300 h 4505325"/>
                  <a:gd name="connsiteX10" fmla="*/ 253061 w 910286"/>
                  <a:gd name="connsiteY10" fmla="*/ 412750 h 4505325"/>
                  <a:gd name="connsiteX11" fmla="*/ 221311 w 910286"/>
                  <a:gd name="connsiteY11" fmla="*/ 454025 h 4505325"/>
                  <a:gd name="connsiteX12" fmla="*/ 300686 w 910286"/>
                  <a:gd name="connsiteY12" fmla="*/ 479425 h 4505325"/>
                  <a:gd name="connsiteX13" fmla="*/ 316561 w 910286"/>
                  <a:gd name="connsiteY13" fmla="*/ 511175 h 4505325"/>
                  <a:gd name="connsiteX14" fmla="*/ 224486 w 910286"/>
                  <a:gd name="connsiteY14" fmla="*/ 581025 h 4505325"/>
                  <a:gd name="connsiteX15" fmla="*/ 173686 w 910286"/>
                  <a:gd name="connsiteY15" fmla="*/ 638175 h 4505325"/>
                  <a:gd name="connsiteX16" fmla="*/ 173686 w 910286"/>
                  <a:gd name="connsiteY16" fmla="*/ 695325 h 4505325"/>
                  <a:gd name="connsiteX17" fmla="*/ 199086 w 910286"/>
                  <a:gd name="connsiteY17" fmla="*/ 784225 h 4505325"/>
                  <a:gd name="connsiteX18" fmla="*/ 208611 w 910286"/>
                  <a:gd name="connsiteY18" fmla="*/ 835025 h 4505325"/>
                  <a:gd name="connsiteX19" fmla="*/ 218136 w 910286"/>
                  <a:gd name="connsiteY19" fmla="*/ 885825 h 4505325"/>
                  <a:gd name="connsiteX20" fmla="*/ 234011 w 910286"/>
                  <a:gd name="connsiteY20" fmla="*/ 923925 h 4505325"/>
                  <a:gd name="connsiteX21" fmla="*/ 176861 w 910286"/>
                  <a:gd name="connsiteY21" fmla="*/ 1022350 h 4505325"/>
                  <a:gd name="connsiteX22" fmla="*/ 110186 w 910286"/>
                  <a:gd name="connsiteY22" fmla="*/ 1057275 h 4505325"/>
                  <a:gd name="connsiteX23" fmla="*/ 65736 w 910286"/>
                  <a:gd name="connsiteY23" fmla="*/ 1143000 h 4505325"/>
                  <a:gd name="connsiteX24" fmla="*/ 33986 w 910286"/>
                  <a:gd name="connsiteY24" fmla="*/ 1244600 h 4505325"/>
                  <a:gd name="connsiteX25" fmla="*/ 14936 w 910286"/>
                  <a:gd name="connsiteY25" fmla="*/ 1346200 h 4505325"/>
                  <a:gd name="connsiteX26" fmla="*/ 24461 w 910286"/>
                  <a:gd name="connsiteY26" fmla="*/ 1438275 h 4505325"/>
                  <a:gd name="connsiteX27" fmla="*/ 97486 w 910286"/>
                  <a:gd name="connsiteY27" fmla="*/ 1511300 h 4505325"/>
                  <a:gd name="connsiteX28" fmla="*/ 126061 w 910286"/>
                  <a:gd name="connsiteY28" fmla="*/ 1558925 h 4505325"/>
                  <a:gd name="connsiteX29" fmla="*/ 164161 w 910286"/>
                  <a:gd name="connsiteY29" fmla="*/ 1590675 h 4505325"/>
                  <a:gd name="connsiteX30" fmla="*/ 183211 w 910286"/>
                  <a:gd name="connsiteY30" fmla="*/ 1644650 h 4505325"/>
                  <a:gd name="connsiteX31" fmla="*/ 240361 w 910286"/>
                  <a:gd name="connsiteY31" fmla="*/ 1685925 h 4505325"/>
                  <a:gd name="connsiteX32" fmla="*/ 278461 w 910286"/>
                  <a:gd name="connsiteY32" fmla="*/ 1730375 h 4505325"/>
                  <a:gd name="connsiteX33" fmla="*/ 291161 w 910286"/>
                  <a:gd name="connsiteY33" fmla="*/ 1758950 h 4505325"/>
                  <a:gd name="connsiteX34" fmla="*/ 291161 w 910286"/>
                  <a:gd name="connsiteY34" fmla="*/ 1828800 h 4505325"/>
                  <a:gd name="connsiteX35" fmla="*/ 338786 w 910286"/>
                  <a:gd name="connsiteY35" fmla="*/ 1905000 h 4505325"/>
                  <a:gd name="connsiteX36" fmla="*/ 376886 w 910286"/>
                  <a:gd name="connsiteY36" fmla="*/ 1962150 h 4505325"/>
                  <a:gd name="connsiteX37" fmla="*/ 383236 w 910286"/>
                  <a:gd name="connsiteY37" fmla="*/ 2028825 h 4505325"/>
                  <a:gd name="connsiteX38" fmla="*/ 421336 w 910286"/>
                  <a:gd name="connsiteY38" fmla="*/ 2085975 h 4505325"/>
                  <a:gd name="connsiteX39" fmla="*/ 427686 w 910286"/>
                  <a:gd name="connsiteY39" fmla="*/ 2209800 h 4505325"/>
                  <a:gd name="connsiteX40" fmla="*/ 265761 w 910286"/>
                  <a:gd name="connsiteY40" fmla="*/ 2251075 h 4505325"/>
                  <a:gd name="connsiteX41" fmla="*/ 214961 w 910286"/>
                  <a:gd name="connsiteY41" fmla="*/ 2390775 h 4505325"/>
                  <a:gd name="connsiteX42" fmla="*/ 224486 w 910286"/>
                  <a:gd name="connsiteY42" fmla="*/ 2454275 h 4505325"/>
                  <a:gd name="connsiteX43" fmla="*/ 240361 w 910286"/>
                  <a:gd name="connsiteY43" fmla="*/ 2482850 h 4505325"/>
                  <a:gd name="connsiteX44" fmla="*/ 240361 w 910286"/>
                  <a:gd name="connsiteY44" fmla="*/ 2527300 h 4505325"/>
                  <a:gd name="connsiteX45" fmla="*/ 249886 w 910286"/>
                  <a:gd name="connsiteY45" fmla="*/ 2603500 h 4505325"/>
                  <a:gd name="connsiteX46" fmla="*/ 167336 w 910286"/>
                  <a:gd name="connsiteY46" fmla="*/ 2917824 h 4505325"/>
                  <a:gd name="connsiteX47" fmla="*/ 94311 w 910286"/>
                  <a:gd name="connsiteY47" fmla="*/ 3063874 h 4505325"/>
                  <a:gd name="connsiteX48" fmla="*/ 56211 w 910286"/>
                  <a:gd name="connsiteY48" fmla="*/ 3133724 h 4505325"/>
                  <a:gd name="connsiteX49" fmla="*/ 30811 w 910286"/>
                  <a:gd name="connsiteY49" fmla="*/ 3203574 h 4505325"/>
                  <a:gd name="connsiteX50" fmla="*/ 24461 w 910286"/>
                  <a:gd name="connsiteY50" fmla="*/ 3390899 h 4505325"/>
                  <a:gd name="connsiteX51" fmla="*/ 46686 w 910286"/>
                  <a:gd name="connsiteY51" fmla="*/ 3492499 h 4505325"/>
                  <a:gd name="connsiteX52" fmla="*/ 395936 w 910286"/>
                  <a:gd name="connsiteY52" fmla="*/ 4203699 h 4505325"/>
                  <a:gd name="connsiteX53" fmla="*/ 653111 w 910286"/>
                  <a:gd name="connsiteY53" fmla="*/ 4302124 h 4505325"/>
                  <a:gd name="connsiteX54" fmla="*/ 773761 w 910286"/>
                  <a:gd name="connsiteY54" fmla="*/ 4292599 h 4505325"/>
                  <a:gd name="connsiteX55" fmla="*/ 910286 w 910286"/>
                  <a:gd name="connsiteY55" fmla="*/ 4505325 h 4505325"/>
                  <a:gd name="connsiteX0" fmla="*/ 459436 w 910286"/>
                  <a:gd name="connsiteY0" fmla="*/ 0 h 4505325"/>
                  <a:gd name="connsiteX1" fmla="*/ 421336 w 910286"/>
                  <a:gd name="connsiteY1" fmla="*/ 66675 h 4505325"/>
                  <a:gd name="connsiteX2" fmla="*/ 367361 w 910286"/>
                  <a:gd name="connsiteY2" fmla="*/ 85725 h 4505325"/>
                  <a:gd name="connsiteX3" fmla="*/ 297511 w 910286"/>
                  <a:gd name="connsiteY3" fmla="*/ 98425 h 4505325"/>
                  <a:gd name="connsiteX4" fmla="*/ 237186 w 910286"/>
                  <a:gd name="connsiteY4" fmla="*/ 133350 h 4505325"/>
                  <a:gd name="connsiteX5" fmla="*/ 135586 w 910286"/>
                  <a:gd name="connsiteY5" fmla="*/ 196850 h 4505325"/>
                  <a:gd name="connsiteX6" fmla="*/ 145111 w 910286"/>
                  <a:gd name="connsiteY6" fmla="*/ 247650 h 4505325"/>
                  <a:gd name="connsiteX7" fmla="*/ 186386 w 910286"/>
                  <a:gd name="connsiteY7" fmla="*/ 276225 h 4505325"/>
                  <a:gd name="connsiteX8" fmla="*/ 199086 w 910286"/>
                  <a:gd name="connsiteY8" fmla="*/ 327025 h 4505325"/>
                  <a:gd name="connsiteX9" fmla="*/ 253061 w 910286"/>
                  <a:gd name="connsiteY9" fmla="*/ 368300 h 4505325"/>
                  <a:gd name="connsiteX10" fmla="*/ 253061 w 910286"/>
                  <a:gd name="connsiteY10" fmla="*/ 412750 h 4505325"/>
                  <a:gd name="connsiteX11" fmla="*/ 221311 w 910286"/>
                  <a:gd name="connsiteY11" fmla="*/ 454025 h 4505325"/>
                  <a:gd name="connsiteX12" fmla="*/ 300686 w 910286"/>
                  <a:gd name="connsiteY12" fmla="*/ 479425 h 4505325"/>
                  <a:gd name="connsiteX13" fmla="*/ 316561 w 910286"/>
                  <a:gd name="connsiteY13" fmla="*/ 511175 h 4505325"/>
                  <a:gd name="connsiteX14" fmla="*/ 224486 w 910286"/>
                  <a:gd name="connsiteY14" fmla="*/ 581025 h 4505325"/>
                  <a:gd name="connsiteX15" fmla="*/ 173686 w 910286"/>
                  <a:gd name="connsiteY15" fmla="*/ 638175 h 4505325"/>
                  <a:gd name="connsiteX16" fmla="*/ 173686 w 910286"/>
                  <a:gd name="connsiteY16" fmla="*/ 695325 h 4505325"/>
                  <a:gd name="connsiteX17" fmla="*/ 199086 w 910286"/>
                  <a:gd name="connsiteY17" fmla="*/ 784225 h 4505325"/>
                  <a:gd name="connsiteX18" fmla="*/ 208611 w 910286"/>
                  <a:gd name="connsiteY18" fmla="*/ 835025 h 4505325"/>
                  <a:gd name="connsiteX19" fmla="*/ 218136 w 910286"/>
                  <a:gd name="connsiteY19" fmla="*/ 885825 h 4505325"/>
                  <a:gd name="connsiteX20" fmla="*/ 234011 w 910286"/>
                  <a:gd name="connsiteY20" fmla="*/ 923925 h 4505325"/>
                  <a:gd name="connsiteX21" fmla="*/ 176861 w 910286"/>
                  <a:gd name="connsiteY21" fmla="*/ 1022350 h 4505325"/>
                  <a:gd name="connsiteX22" fmla="*/ 110186 w 910286"/>
                  <a:gd name="connsiteY22" fmla="*/ 1057275 h 4505325"/>
                  <a:gd name="connsiteX23" fmla="*/ 65736 w 910286"/>
                  <a:gd name="connsiteY23" fmla="*/ 1143000 h 4505325"/>
                  <a:gd name="connsiteX24" fmla="*/ 33986 w 910286"/>
                  <a:gd name="connsiteY24" fmla="*/ 1244600 h 4505325"/>
                  <a:gd name="connsiteX25" fmla="*/ 14936 w 910286"/>
                  <a:gd name="connsiteY25" fmla="*/ 1346200 h 4505325"/>
                  <a:gd name="connsiteX26" fmla="*/ 24461 w 910286"/>
                  <a:gd name="connsiteY26" fmla="*/ 1438275 h 4505325"/>
                  <a:gd name="connsiteX27" fmla="*/ 97486 w 910286"/>
                  <a:gd name="connsiteY27" fmla="*/ 1511300 h 4505325"/>
                  <a:gd name="connsiteX28" fmla="*/ 126061 w 910286"/>
                  <a:gd name="connsiteY28" fmla="*/ 1558925 h 4505325"/>
                  <a:gd name="connsiteX29" fmla="*/ 164161 w 910286"/>
                  <a:gd name="connsiteY29" fmla="*/ 1590675 h 4505325"/>
                  <a:gd name="connsiteX30" fmla="*/ 183211 w 910286"/>
                  <a:gd name="connsiteY30" fmla="*/ 1644650 h 4505325"/>
                  <a:gd name="connsiteX31" fmla="*/ 240361 w 910286"/>
                  <a:gd name="connsiteY31" fmla="*/ 1685925 h 4505325"/>
                  <a:gd name="connsiteX32" fmla="*/ 278461 w 910286"/>
                  <a:gd name="connsiteY32" fmla="*/ 1730375 h 4505325"/>
                  <a:gd name="connsiteX33" fmla="*/ 291161 w 910286"/>
                  <a:gd name="connsiteY33" fmla="*/ 1758950 h 4505325"/>
                  <a:gd name="connsiteX34" fmla="*/ 291161 w 910286"/>
                  <a:gd name="connsiteY34" fmla="*/ 1828800 h 4505325"/>
                  <a:gd name="connsiteX35" fmla="*/ 338786 w 910286"/>
                  <a:gd name="connsiteY35" fmla="*/ 1905000 h 4505325"/>
                  <a:gd name="connsiteX36" fmla="*/ 376886 w 910286"/>
                  <a:gd name="connsiteY36" fmla="*/ 1962150 h 4505325"/>
                  <a:gd name="connsiteX37" fmla="*/ 383236 w 910286"/>
                  <a:gd name="connsiteY37" fmla="*/ 2028825 h 4505325"/>
                  <a:gd name="connsiteX38" fmla="*/ 421336 w 910286"/>
                  <a:gd name="connsiteY38" fmla="*/ 2085975 h 4505325"/>
                  <a:gd name="connsiteX39" fmla="*/ 427686 w 910286"/>
                  <a:gd name="connsiteY39" fmla="*/ 2209800 h 4505325"/>
                  <a:gd name="connsiteX40" fmla="*/ 265761 w 910286"/>
                  <a:gd name="connsiteY40" fmla="*/ 2251075 h 4505325"/>
                  <a:gd name="connsiteX41" fmla="*/ 214961 w 910286"/>
                  <a:gd name="connsiteY41" fmla="*/ 2390775 h 4505325"/>
                  <a:gd name="connsiteX42" fmla="*/ 224486 w 910286"/>
                  <a:gd name="connsiteY42" fmla="*/ 2454275 h 4505325"/>
                  <a:gd name="connsiteX43" fmla="*/ 240361 w 910286"/>
                  <a:gd name="connsiteY43" fmla="*/ 2482850 h 4505325"/>
                  <a:gd name="connsiteX44" fmla="*/ 240361 w 910286"/>
                  <a:gd name="connsiteY44" fmla="*/ 2527300 h 4505325"/>
                  <a:gd name="connsiteX45" fmla="*/ 249886 w 910286"/>
                  <a:gd name="connsiteY45" fmla="*/ 2603500 h 4505325"/>
                  <a:gd name="connsiteX46" fmla="*/ 167336 w 910286"/>
                  <a:gd name="connsiteY46" fmla="*/ 2917824 h 4505325"/>
                  <a:gd name="connsiteX47" fmla="*/ 94311 w 910286"/>
                  <a:gd name="connsiteY47" fmla="*/ 3063874 h 4505325"/>
                  <a:gd name="connsiteX48" fmla="*/ 56211 w 910286"/>
                  <a:gd name="connsiteY48" fmla="*/ 3133724 h 4505325"/>
                  <a:gd name="connsiteX49" fmla="*/ 30811 w 910286"/>
                  <a:gd name="connsiteY49" fmla="*/ 3203574 h 4505325"/>
                  <a:gd name="connsiteX50" fmla="*/ 24461 w 910286"/>
                  <a:gd name="connsiteY50" fmla="*/ 3390899 h 4505325"/>
                  <a:gd name="connsiteX51" fmla="*/ 46686 w 910286"/>
                  <a:gd name="connsiteY51" fmla="*/ 3492499 h 4505325"/>
                  <a:gd name="connsiteX52" fmla="*/ 395936 w 910286"/>
                  <a:gd name="connsiteY52" fmla="*/ 4203699 h 4505325"/>
                  <a:gd name="connsiteX53" fmla="*/ 653111 w 910286"/>
                  <a:gd name="connsiteY53" fmla="*/ 4302124 h 4505325"/>
                  <a:gd name="connsiteX54" fmla="*/ 773761 w 910286"/>
                  <a:gd name="connsiteY54" fmla="*/ 4292599 h 4505325"/>
                  <a:gd name="connsiteX55" fmla="*/ 910286 w 910286"/>
                  <a:gd name="connsiteY55" fmla="*/ 4505325 h 4505325"/>
                  <a:gd name="connsiteX0" fmla="*/ 459436 w 910286"/>
                  <a:gd name="connsiteY0" fmla="*/ 0 h 4505325"/>
                  <a:gd name="connsiteX1" fmla="*/ 421336 w 910286"/>
                  <a:gd name="connsiteY1" fmla="*/ 66675 h 4505325"/>
                  <a:gd name="connsiteX2" fmla="*/ 367361 w 910286"/>
                  <a:gd name="connsiteY2" fmla="*/ 85725 h 4505325"/>
                  <a:gd name="connsiteX3" fmla="*/ 297511 w 910286"/>
                  <a:gd name="connsiteY3" fmla="*/ 98425 h 4505325"/>
                  <a:gd name="connsiteX4" fmla="*/ 237186 w 910286"/>
                  <a:gd name="connsiteY4" fmla="*/ 133350 h 4505325"/>
                  <a:gd name="connsiteX5" fmla="*/ 135586 w 910286"/>
                  <a:gd name="connsiteY5" fmla="*/ 196850 h 4505325"/>
                  <a:gd name="connsiteX6" fmla="*/ 145111 w 910286"/>
                  <a:gd name="connsiteY6" fmla="*/ 247650 h 4505325"/>
                  <a:gd name="connsiteX7" fmla="*/ 186386 w 910286"/>
                  <a:gd name="connsiteY7" fmla="*/ 276225 h 4505325"/>
                  <a:gd name="connsiteX8" fmla="*/ 199086 w 910286"/>
                  <a:gd name="connsiteY8" fmla="*/ 327025 h 4505325"/>
                  <a:gd name="connsiteX9" fmla="*/ 253061 w 910286"/>
                  <a:gd name="connsiteY9" fmla="*/ 368300 h 4505325"/>
                  <a:gd name="connsiteX10" fmla="*/ 253061 w 910286"/>
                  <a:gd name="connsiteY10" fmla="*/ 412750 h 4505325"/>
                  <a:gd name="connsiteX11" fmla="*/ 221311 w 910286"/>
                  <a:gd name="connsiteY11" fmla="*/ 454025 h 4505325"/>
                  <a:gd name="connsiteX12" fmla="*/ 300686 w 910286"/>
                  <a:gd name="connsiteY12" fmla="*/ 479425 h 4505325"/>
                  <a:gd name="connsiteX13" fmla="*/ 316561 w 910286"/>
                  <a:gd name="connsiteY13" fmla="*/ 511175 h 4505325"/>
                  <a:gd name="connsiteX14" fmla="*/ 224486 w 910286"/>
                  <a:gd name="connsiteY14" fmla="*/ 581025 h 4505325"/>
                  <a:gd name="connsiteX15" fmla="*/ 173686 w 910286"/>
                  <a:gd name="connsiteY15" fmla="*/ 638175 h 4505325"/>
                  <a:gd name="connsiteX16" fmla="*/ 173686 w 910286"/>
                  <a:gd name="connsiteY16" fmla="*/ 695325 h 4505325"/>
                  <a:gd name="connsiteX17" fmla="*/ 199086 w 910286"/>
                  <a:gd name="connsiteY17" fmla="*/ 784225 h 4505325"/>
                  <a:gd name="connsiteX18" fmla="*/ 208611 w 910286"/>
                  <a:gd name="connsiteY18" fmla="*/ 835025 h 4505325"/>
                  <a:gd name="connsiteX19" fmla="*/ 218136 w 910286"/>
                  <a:gd name="connsiteY19" fmla="*/ 885825 h 4505325"/>
                  <a:gd name="connsiteX20" fmla="*/ 234011 w 910286"/>
                  <a:gd name="connsiteY20" fmla="*/ 923925 h 4505325"/>
                  <a:gd name="connsiteX21" fmla="*/ 176861 w 910286"/>
                  <a:gd name="connsiteY21" fmla="*/ 1022350 h 4505325"/>
                  <a:gd name="connsiteX22" fmla="*/ 110186 w 910286"/>
                  <a:gd name="connsiteY22" fmla="*/ 1057275 h 4505325"/>
                  <a:gd name="connsiteX23" fmla="*/ 65736 w 910286"/>
                  <a:gd name="connsiteY23" fmla="*/ 1143000 h 4505325"/>
                  <a:gd name="connsiteX24" fmla="*/ 33986 w 910286"/>
                  <a:gd name="connsiteY24" fmla="*/ 1244600 h 4505325"/>
                  <a:gd name="connsiteX25" fmla="*/ 14936 w 910286"/>
                  <a:gd name="connsiteY25" fmla="*/ 1346200 h 4505325"/>
                  <a:gd name="connsiteX26" fmla="*/ 24461 w 910286"/>
                  <a:gd name="connsiteY26" fmla="*/ 1438275 h 4505325"/>
                  <a:gd name="connsiteX27" fmla="*/ 97486 w 910286"/>
                  <a:gd name="connsiteY27" fmla="*/ 1511300 h 4505325"/>
                  <a:gd name="connsiteX28" fmla="*/ 126061 w 910286"/>
                  <a:gd name="connsiteY28" fmla="*/ 1558925 h 4505325"/>
                  <a:gd name="connsiteX29" fmla="*/ 164161 w 910286"/>
                  <a:gd name="connsiteY29" fmla="*/ 1590675 h 4505325"/>
                  <a:gd name="connsiteX30" fmla="*/ 183211 w 910286"/>
                  <a:gd name="connsiteY30" fmla="*/ 1644650 h 4505325"/>
                  <a:gd name="connsiteX31" fmla="*/ 240361 w 910286"/>
                  <a:gd name="connsiteY31" fmla="*/ 1685925 h 4505325"/>
                  <a:gd name="connsiteX32" fmla="*/ 278461 w 910286"/>
                  <a:gd name="connsiteY32" fmla="*/ 1730375 h 4505325"/>
                  <a:gd name="connsiteX33" fmla="*/ 291161 w 910286"/>
                  <a:gd name="connsiteY33" fmla="*/ 1758950 h 4505325"/>
                  <a:gd name="connsiteX34" fmla="*/ 291161 w 910286"/>
                  <a:gd name="connsiteY34" fmla="*/ 1828800 h 4505325"/>
                  <a:gd name="connsiteX35" fmla="*/ 338786 w 910286"/>
                  <a:gd name="connsiteY35" fmla="*/ 1905000 h 4505325"/>
                  <a:gd name="connsiteX36" fmla="*/ 376886 w 910286"/>
                  <a:gd name="connsiteY36" fmla="*/ 1962150 h 4505325"/>
                  <a:gd name="connsiteX37" fmla="*/ 383236 w 910286"/>
                  <a:gd name="connsiteY37" fmla="*/ 2028825 h 4505325"/>
                  <a:gd name="connsiteX38" fmla="*/ 421336 w 910286"/>
                  <a:gd name="connsiteY38" fmla="*/ 2085975 h 4505325"/>
                  <a:gd name="connsiteX39" fmla="*/ 427686 w 910286"/>
                  <a:gd name="connsiteY39" fmla="*/ 2209800 h 4505325"/>
                  <a:gd name="connsiteX40" fmla="*/ 265761 w 910286"/>
                  <a:gd name="connsiteY40" fmla="*/ 2251075 h 4505325"/>
                  <a:gd name="connsiteX41" fmla="*/ 214961 w 910286"/>
                  <a:gd name="connsiteY41" fmla="*/ 2390775 h 4505325"/>
                  <a:gd name="connsiteX42" fmla="*/ 224486 w 910286"/>
                  <a:gd name="connsiteY42" fmla="*/ 2454275 h 4505325"/>
                  <a:gd name="connsiteX43" fmla="*/ 240361 w 910286"/>
                  <a:gd name="connsiteY43" fmla="*/ 2482850 h 4505325"/>
                  <a:gd name="connsiteX44" fmla="*/ 240361 w 910286"/>
                  <a:gd name="connsiteY44" fmla="*/ 2527300 h 4505325"/>
                  <a:gd name="connsiteX45" fmla="*/ 249886 w 910286"/>
                  <a:gd name="connsiteY45" fmla="*/ 2603500 h 4505325"/>
                  <a:gd name="connsiteX46" fmla="*/ 167336 w 910286"/>
                  <a:gd name="connsiteY46" fmla="*/ 2917824 h 4505325"/>
                  <a:gd name="connsiteX47" fmla="*/ 94311 w 910286"/>
                  <a:gd name="connsiteY47" fmla="*/ 3063874 h 4505325"/>
                  <a:gd name="connsiteX48" fmla="*/ 56211 w 910286"/>
                  <a:gd name="connsiteY48" fmla="*/ 3133724 h 4505325"/>
                  <a:gd name="connsiteX49" fmla="*/ 30811 w 910286"/>
                  <a:gd name="connsiteY49" fmla="*/ 3203574 h 4505325"/>
                  <a:gd name="connsiteX50" fmla="*/ 24461 w 910286"/>
                  <a:gd name="connsiteY50" fmla="*/ 3390899 h 4505325"/>
                  <a:gd name="connsiteX51" fmla="*/ 46686 w 910286"/>
                  <a:gd name="connsiteY51" fmla="*/ 3492499 h 4505325"/>
                  <a:gd name="connsiteX52" fmla="*/ 395936 w 910286"/>
                  <a:gd name="connsiteY52" fmla="*/ 4203699 h 4505325"/>
                  <a:gd name="connsiteX53" fmla="*/ 497536 w 910286"/>
                  <a:gd name="connsiteY53" fmla="*/ 4244974 h 4505325"/>
                  <a:gd name="connsiteX54" fmla="*/ 653111 w 910286"/>
                  <a:gd name="connsiteY54" fmla="*/ 4302124 h 4505325"/>
                  <a:gd name="connsiteX55" fmla="*/ 773761 w 910286"/>
                  <a:gd name="connsiteY55" fmla="*/ 4292599 h 4505325"/>
                  <a:gd name="connsiteX56" fmla="*/ 910286 w 910286"/>
                  <a:gd name="connsiteY56" fmla="*/ 4505325 h 4505325"/>
                  <a:gd name="connsiteX0" fmla="*/ 459436 w 910286"/>
                  <a:gd name="connsiteY0" fmla="*/ 0 h 4505325"/>
                  <a:gd name="connsiteX1" fmla="*/ 421336 w 910286"/>
                  <a:gd name="connsiteY1" fmla="*/ 66675 h 4505325"/>
                  <a:gd name="connsiteX2" fmla="*/ 367361 w 910286"/>
                  <a:gd name="connsiteY2" fmla="*/ 85725 h 4505325"/>
                  <a:gd name="connsiteX3" fmla="*/ 297511 w 910286"/>
                  <a:gd name="connsiteY3" fmla="*/ 98425 h 4505325"/>
                  <a:gd name="connsiteX4" fmla="*/ 237186 w 910286"/>
                  <a:gd name="connsiteY4" fmla="*/ 133350 h 4505325"/>
                  <a:gd name="connsiteX5" fmla="*/ 135586 w 910286"/>
                  <a:gd name="connsiteY5" fmla="*/ 196850 h 4505325"/>
                  <a:gd name="connsiteX6" fmla="*/ 145111 w 910286"/>
                  <a:gd name="connsiteY6" fmla="*/ 247650 h 4505325"/>
                  <a:gd name="connsiteX7" fmla="*/ 186386 w 910286"/>
                  <a:gd name="connsiteY7" fmla="*/ 276225 h 4505325"/>
                  <a:gd name="connsiteX8" fmla="*/ 199086 w 910286"/>
                  <a:gd name="connsiteY8" fmla="*/ 327025 h 4505325"/>
                  <a:gd name="connsiteX9" fmla="*/ 253061 w 910286"/>
                  <a:gd name="connsiteY9" fmla="*/ 368300 h 4505325"/>
                  <a:gd name="connsiteX10" fmla="*/ 253061 w 910286"/>
                  <a:gd name="connsiteY10" fmla="*/ 412750 h 4505325"/>
                  <a:gd name="connsiteX11" fmla="*/ 221311 w 910286"/>
                  <a:gd name="connsiteY11" fmla="*/ 454025 h 4505325"/>
                  <a:gd name="connsiteX12" fmla="*/ 300686 w 910286"/>
                  <a:gd name="connsiteY12" fmla="*/ 479425 h 4505325"/>
                  <a:gd name="connsiteX13" fmla="*/ 316561 w 910286"/>
                  <a:gd name="connsiteY13" fmla="*/ 511175 h 4505325"/>
                  <a:gd name="connsiteX14" fmla="*/ 224486 w 910286"/>
                  <a:gd name="connsiteY14" fmla="*/ 581025 h 4505325"/>
                  <a:gd name="connsiteX15" fmla="*/ 173686 w 910286"/>
                  <a:gd name="connsiteY15" fmla="*/ 638175 h 4505325"/>
                  <a:gd name="connsiteX16" fmla="*/ 173686 w 910286"/>
                  <a:gd name="connsiteY16" fmla="*/ 695325 h 4505325"/>
                  <a:gd name="connsiteX17" fmla="*/ 199086 w 910286"/>
                  <a:gd name="connsiteY17" fmla="*/ 784225 h 4505325"/>
                  <a:gd name="connsiteX18" fmla="*/ 208611 w 910286"/>
                  <a:gd name="connsiteY18" fmla="*/ 835025 h 4505325"/>
                  <a:gd name="connsiteX19" fmla="*/ 218136 w 910286"/>
                  <a:gd name="connsiteY19" fmla="*/ 885825 h 4505325"/>
                  <a:gd name="connsiteX20" fmla="*/ 234011 w 910286"/>
                  <a:gd name="connsiteY20" fmla="*/ 923925 h 4505325"/>
                  <a:gd name="connsiteX21" fmla="*/ 176861 w 910286"/>
                  <a:gd name="connsiteY21" fmla="*/ 1022350 h 4505325"/>
                  <a:gd name="connsiteX22" fmla="*/ 110186 w 910286"/>
                  <a:gd name="connsiteY22" fmla="*/ 1057275 h 4505325"/>
                  <a:gd name="connsiteX23" fmla="*/ 65736 w 910286"/>
                  <a:gd name="connsiteY23" fmla="*/ 1143000 h 4505325"/>
                  <a:gd name="connsiteX24" fmla="*/ 33986 w 910286"/>
                  <a:gd name="connsiteY24" fmla="*/ 1244600 h 4505325"/>
                  <a:gd name="connsiteX25" fmla="*/ 14936 w 910286"/>
                  <a:gd name="connsiteY25" fmla="*/ 1346200 h 4505325"/>
                  <a:gd name="connsiteX26" fmla="*/ 24461 w 910286"/>
                  <a:gd name="connsiteY26" fmla="*/ 1438275 h 4505325"/>
                  <a:gd name="connsiteX27" fmla="*/ 97486 w 910286"/>
                  <a:gd name="connsiteY27" fmla="*/ 1511300 h 4505325"/>
                  <a:gd name="connsiteX28" fmla="*/ 126061 w 910286"/>
                  <a:gd name="connsiteY28" fmla="*/ 1558925 h 4505325"/>
                  <a:gd name="connsiteX29" fmla="*/ 164161 w 910286"/>
                  <a:gd name="connsiteY29" fmla="*/ 1590675 h 4505325"/>
                  <a:gd name="connsiteX30" fmla="*/ 183211 w 910286"/>
                  <a:gd name="connsiteY30" fmla="*/ 1644650 h 4505325"/>
                  <a:gd name="connsiteX31" fmla="*/ 240361 w 910286"/>
                  <a:gd name="connsiteY31" fmla="*/ 1685925 h 4505325"/>
                  <a:gd name="connsiteX32" fmla="*/ 278461 w 910286"/>
                  <a:gd name="connsiteY32" fmla="*/ 1730375 h 4505325"/>
                  <a:gd name="connsiteX33" fmla="*/ 291161 w 910286"/>
                  <a:gd name="connsiteY33" fmla="*/ 1758950 h 4505325"/>
                  <a:gd name="connsiteX34" fmla="*/ 291161 w 910286"/>
                  <a:gd name="connsiteY34" fmla="*/ 1828800 h 4505325"/>
                  <a:gd name="connsiteX35" fmla="*/ 338786 w 910286"/>
                  <a:gd name="connsiteY35" fmla="*/ 1905000 h 4505325"/>
                  <a:gd name="connsiteX36" fmla="*/ 376886 w 910286"/>
                  <a:gd name="connsiteY36" fmla="*/ 1962150 h 4505325"/>
                  <a:gd name="connsiteX37" fmla="*/ 383236 w 910286"/>
                  <a:gd name="connsiteY37" fmla="*/ 2028825 h 4505325"/>
                  <a:gd name="connsiteX38" fmla="*/ 421336 w 910286"/>
                  <a:gd name="connsiteY38" fmla="*/ 2085975 h 4505325"/>
                  <a:gd name="connsiteX39" fmla="*/ 427686 w 910286"/>
                  <a:gd name="connsiteY39" fmla="*/ 2209800 h 4505325"/>
                  <a:gd name="connsiteX40" fmla="*/ 265761 w 910286"/>
                  <a:gd name="connsiteY40" fmla="*/ 2251075 h 4505325"/>
                  <a:gd name="connsiteX41" fmla="*/ 214961 w 910286"/>
                  <a:gd name="connsiteY41" fmla="*/ 2390775 h 4505325"/>
                  <a:gd name="connsiteX42" fmla="*/ 224486 w 910286"/>
                  <a:gd name="connsiteY42" fmla="*/ 2454275 h 4505325"/>
                  <a:gd name="connsiteX43" fmla="*/ 240361 w 910286"/>
                  <a:gd name="connsiteY43" fmla="*/ 2482850 h 4505325"/>
                  <a:gd name="connsiteX44" fmla="*/ 240361 w 910286"/>
                  <a:gd name="connsiteY44" fmla="*/ 2527300 h 4505325"/>
                  <a:gd name="connsiteX45" fmla="*/ 249886 w 910286"/>
                  <a:gd name="connsiteY45" fmla="*/ 2603500 h 4505325"/>
                  <a:gd name="connsiteX46" fmla="*/ 167336 w 910286"/>
                  <a:gd name="connsiteY46" fmla="*/ 2917824 h 4505325"/>
                  <a:gd name="connsiteX47" fmla="*/ 94311 w 910286"/>
                  <a:gd name="connsiteY47" fmla="*/ 3063874 h 4505325"/>
                  <a:gd name="connsiteX48" fmla="*/ 56211 w 910286"/>
                  <a:gd name="connsiteY48" fmla="*/ 3133724 h 4505325"/>
                  <a:gd name="connsiteX49" fmla="*/ 30811 w 910286"/>
                  <a:gd name="connsiteY49" fmla="*/ 3203574 h 4505325"/>
                  <a:gd name="connsiteX50" fmla="*/ 24461 w 910286"/>
                  <a:gd name="connsiteY50" fmla="*/ 3390899 h 4505325"/>
                  <a:gd name="connsiteX51" fmla="*/ 46686 w 910286"/>
                  <a:gd name="connsiteY51" fmla="*/ 3492499 h 4505325"/>
                  <a:gd name="connsiteX52" fmla="*/ 395936 w 910286"/>
                  <a:gd name="connsiteY52" fmla="*/ 4203699 h 4505325"/>
                  <a:gd name="connsiteX53" fmla="*/ 497536 w 910286"/>
                  <a:gd name="connsiteY53" fmla="*/ 4244974 h 4505325"/>
                  <a:gd name="connsiteX54" fmla="*/ 653111 w 910286"/>
                  <a:gd name="connsiteY54" fmla="*/ 4302124 h 4505325"/>
                  <a:gd name="connsiteX55" fmla="*/ 773761 w 910286"/>
                  <a:gd name="connsiteY55" fmla="*/ 4292599 h 4505325"/>
                  <a:gd name="connsiteX56" fmla="*/ 910286 w 910286"/>
                  <a:gd name="connsiteY56" fmla="*/ 4505325 h 4505325"/>
                  <a:gd name="connsiteX0" fmla="*/ 459436 w 910286"/>
                  <a:gd name="connsiteY0" fmla="*/ 0 h 4505325"/>
                  <a:gd name="connsiteX1" fmla="*/ 421336 w 910286"/>
                  <a:gd name="connsiteY1" fmla="*/ 66675 h 4505325"/>
                  <a:gd name="connsiteX2" fmla="*/ 367361 w 910286"/>
                  <a:gd name="connsiteY2" fmla="*/ 85725 h 4505325"/>
                  <a:gd name="connsiteX3" fmla="*/ 297511 w 910286"/>
                  <a:gd name="connsiteY3" fmla="*/ 98425 h 4505325"/>
                  <a:gd name="connsiteX4" fmla="*/ 237186 w 910286"/>
                  <a:gd name="connsiteY4" fmla="*/ 133350 h 4505325"/>
                  <a:gd name="connsiteX5" fmla="*/ 135586 w 910286"/>
                  <a:gd name="connsiteY5" fmla="*/ 196850 h 4505325"/>
                  <a:gd name="connsiteX6" fmla="*/ 145111 w 910286"/>
                  <a:gd name="connsiteY6" fmla="*/ 247650 h 4505325"/>
                  <a:gd name="connsiteX7" fmla="*/ 186386 w 910286"/>
                  <a:gd name="connsiteY7" fmla="*/ 276225 h 4505325"/>
                  <a:gd name="connsiteX8" fmla="*/ 199086 w 910286"/>
                  <a:gd name="connsiteY8" fmla="*/ 327025 h 4505325"/>
                  <a:gd name="connsiteX9" fmla="*/ 253061 w 910286"/>
                  <a:gd name="connsiteY9" fmla="*/ 368300 h 4505325"/>
                  <a:gd name="connsiteX10" fmla="*/ 253061 w 910286"/>
                  <a:gd name="connsiteY10" fmla="*/ 412750 h 4505325"/>
                  <a:gd name="connsiteX11" fmla="*/ 221311 w 910286"/>
                  <a:gd name="connsiteY11" fmla="*/ 454025 h 4505325"/>
                  <a:gd name="connsiteX12" fmla="*/ 300686 w 910286"/>
                  <a:gd name="connsiteY12" fmla="*/ 479425 h 4505325"/>
                  <a:gd name="connsiteX13" fmla="*/ 316561 w 910286"/>
                  <a:gd name="connsiteY13" fmla="*/ 511175 h 4505325"/>
                  <a:gd name="connsiteX14" fmla="*/ 224486 w 910286"/>
                  <a:gd name="connsiteY14" fmla="*/ 581025 h 4505325"/>
                  <a:gd name="connsiteX15" fmla="*/ 173686 w 910286"/>
                  <a:gd name="connsiteY15" fmla="*/ 638175 h 4505325"/>
                  <a:gd name="connsiteX16" fmla="*/ 173686 w 910286"/>
                  <a:gd name="connsiteY16" fmla="*/ 695325 h 4505325"/>
                  <a:gd name="connsiteX17" fmla="*/ 199086 w 910286"/>
                  <a:gd name="connsiteY17" fmla="*/ 784225 h 4505325"/>
                  <a:gd name="connsiteX18" fmla="*/ 208611 w 910286"/>
                  <a:gd name="connsiteY18" fmla="*/ 835025 h 4505325"/>
                  <a:gd name="connsiteX19" fmla="*/ 218136 w 910286"/>
                  <a:gd name="connsiteY19" fmla="*/ 885825 h 4505325"/>
                  <a:gd name="connsiteX20" fmla="*/ 234011 w 910286"/>
                  <a:gd name="connsiteY20" fmla="*/ 923925 h 4505325"/>
                  <a:gd name="connsiteX21" fmla="*/ 176861 w 910286"/>
                  <a:gd name="connsiteY21" fmla="*/ 1022350 h 4505325"/>
                  <a:gd name="connsiteX22" fmla="*/ 110186 w 910286"/>
                  <a:gd name="connsiteY22" fmla="*/ 1057275 h 4505325"/>
                  <a:gd name="connsiteX23" fmla="*/ 65736 w 910286"/>
                  <a:gd name="connsiteY23" fmla="*/ 1143000 h 4505325"/>
                  <a:gd name="connsiteX24" fmla="*/ 33986 w 910286"/>
                  <a:gd name="connsiteY24" fmla="*/ 1244600 h 4505325"/>
                  <a:gd name="connsiteX25" fmla="*/ 14936 w 910286"/>
                  <a:gd name="connsiteY25" fmla="*/ 1346200 h 4505325"/>
                  <a:gd name="connsiteX26" fmla="*/ 24461 w 910286"/>
                  <a:gd name="connsiteY26" fmla="*/ 1438275 h 4505325"/>
                  <a:gd name="connsiteX27" fmla="*/ 97486 w 910286"/>
                  <a:gd name="connsiteY27" fmla="*/ 1511300 h 4505325"/>
                  <a:gd name="connsiteX28" fmla="*/ 126061 w 910286"/>
                  <a:gd name="connsiteY28" fmla="*/ 1558925 h 4505325"/>
                  <a:gd name="connsiteX29" fmla="*/ 164161 w 910286"/>
                  <a:gd name="connsiteY29" fmla="*/ 1590675 h 4505325"/>
                  <a:gd name="connsiteX30" fmla="*/ 183211 w 910286"/>
                  <a:gd name="connsiteY30" fmla="*/ 1644650 h 4505325"/>
                  <a:gd name="connsiteX31" fmla="*/ 240361 w 910286"/>
                  <a:gd name="connsiteY31" fmla="*/ 1685925 h 4505325"/>
                  <a:gd name="connsiteX32" fmla="*/ 278461 w 910286"/>
                  <a:gd name="connsiteY32" fmla="*/ 1730375 h 4505325"/>
                  <a:gd name="connsiteX33" fmla="*/ 291161 w 910286"/>
                  <a:gd name="connsiteY33" fmla="*/ 1758950 h 4505325"/>
                  <a:gd name="connsiteX34" fmla="*/ 291161 w 910286"/>
                  <a:gd name="connsiteY34" fmla="*/ 1828800 h 4505325"/>
                  <a:gd name="connsiteX35" fmla="*/ 338786 w 910286"/>
                  <a:gd name="connsiteY35" fmla="*/ 1905000 h 4505325"/>
                  <a:gd name="connsiteX36" fmla="*/ 376886 w 910286"/>
                  <a:gd name="connsiteY36" fmla="*/ 1962150 h 4505325"/>
                  <a:gd name="connsiteX37" fmla="*/ 383236 w 910286"/>
                  <a:gd name="connsiteY37" fmla="*/ 2028825 h 4505325"/>
                  <a:gd name="connsiteX38" fmla="*/ 421336 w 910286"/>
                  <a:gd name="connsiteY38" fmla="*/ 2085975 h 4505325"/>
                  <a:gd name="connsiteX39" fmla="*/ 427686 w 910286"/>
                  <a:gd name="connsiteY39" fmla="*/ 2209800 h 4505325"/>
                  <a:gd name="connsiteX40" fmla="*/ 265761 w 910286"/>
                  <a:gd name="connsiteY40" fmla="*/ 2251075 h 4505325"/>
                  <a:gd name="connsiteX41" fmla="*/ 214961 w 910286"/>
                  <a:gd name="connsiteY41" fmla="*/ 2390775 h 4505325"/>
                  <a:gd name="connsiteX42" fmla="*/ 224486 w 910286"/>
                  <a:gd name="connsiteY42" fmla="*/ 2454275 h 4505325"/>
                  <a:gd name="connsiteX43" fmla="*/ 240361 w 910286"/>
                  <a:gd name="connsiteY43" fmla="*/ 2482850 h 4505325"/>
                  <a:gd name="connsiteX44" fmla="*/ 240361 w 910286"/>
                  <a:gd name="connsiteY44" fmla="*/ 2527300 h 4505325"/>
                  <a:gd name="connsiteX45" fmla="*/ 249886 w 910286"/>
                  <a:gd name="connsiteY45" fmla="*/ 2603500 h 4505325"/>
                  <a:gd name="connsiteX46" fmla="*/ 167336 w 910286"/>
                  <a:gd name="connsiteY46" fmla="*/ 2917824 h 4505325"/>
                  <a:gd name="connsiteX47" fmla="*/ 94311 w 910286"/>
                  <a:gd name="connsiteY47" fmla="*/ 3063874 h 4505325"/>
                  <a:gd name="connsiteX48" fmla="*/ 56211 w 910286"/>
                  <a:gd name="connsiteY48" fmla="*/ 3133724 h 4505325"/>
                  <a:gd name="connsiteX49" fmla="*/ 30811 w 910286"/>
                  <a:gd name="connsiteY49" fmla="*/ 3203574 h 4505325"/>
                  <a:gd name="connsiteX50" fmla="*/ 24461 w 910286"/>
                  <a:gd name="connsiteY50" fmla="*/ 3390899 h 4505325"/>
                  <a:gd name="connsiteX51" fmla="*/ 46686 w 910286"/>
                  <a:gd name="connsiteY51" fmla="*/ 3492499 h 4505325"/>
                  <a:gd name="connsiteX52" fmla="*/ 395936 w 910286"/>
                  <a:gd name="connsiteY52" fmla="*/ 4203699 h 4505325"/>
                  <a:gd name="connsiteX53" fmla="*/ 497536 w 910286"/>
                  <a:gd name="connsiteY53" fmla="*/ 4244974 h 4505325"/>
                  <a:gd name="connsiteX54" fmla="*/ 653111 w 910286"/>
                  <a:gd name="connsiteY54" fmla="*/ 4302124 h 4505325"/>
                  <a:gd name="connsiteX55" fmla="*/ 773761 w 910286"/>
                  <a:gd name="connsiteY55" fmla="*/ 4292599 h 4505325"/>
                  <a:gd name="connsiteX56" fmla="*/ 910286 w 910286"/>
                  <a:gd name="connsiteY56" fmla="*/ 4505325 h 4505325"/>
                  <a:gd name="connsiteX0" fmla="*/ 459436 w 910286"/>
                  <a:gd name="connsiteY0" fmla="*/ 0 h 4505325"/>
                  <a:gd name="connsiteX1" fmla="*/ 421336 w 910286"/>
                  <a:gd name="connsiteY1" fmla="*/ 66675 h 4505325"/>
                  <a:gd name="connsiteX2" fmla="*/ 367361 w 910286"/>
                  <a:gd name="connsiteY2" fmla="*/ 85725 h 4505325"/>
                  <a:gd name="connsiteX3" fmla="*/ 297511 w 910286"/>
                  <a:gd name="connsiteY3" fmla="*/ 98425 h 4505325"/>
                  <a:gd name="connsiteX4" fmla="*/ 237186 w 910286"/>
                  <a:gd name="connsiteY4" fmla="*/ 133350 h 4505325"/>
                  <a:gd name="connsiteX5" fmla="*/ 135586 w 910286"/>
                  <a:gd name="connsiteY5" fmla="*/ 196850 h 4505325"/>
                  <a:gd name="connsiteX6" fmla="*/ 145111 w 910286"/>
                  <a:gd name="connsiteY6" fmla="*/ 247650 h 4505325"/>
                  <a:gd name="connsiteX7" fmla="*/ 186386 w 910286"/>
                  <a:gd name="connsiteY7" fmla="*/ 276225 h 4505325"/>
                  <a:gd name="connsiteX8" fmla="*/ 199086 w 910286"/>
                  <a:gd name="connsiteY8" fmla="*/ 327025 h 4505325"/>
                  <a:gd name="connsiteX9" fmla="*/ 253061 w 910286"/>
                  <a:gd name="connsiteY9" fmla="*/ 368300 h 4505325"/>
                  <a:gd name="connsiteX10" fmla="*/ 253061 w 910286"/>
                  <a:gd name="connsiteY10" fmla="*/ 412750 h 4505325"/>
                  <a:gd name="connsiteX11" fmla="*/ 221311 w 910286"/>
                  <a:gd name="connsiteY11" fmla="*/ 454025 h 4505325"/>
                  <a:gd name="connsiteX12" fmla="*/ 300686 w 910286"/>
                  <a:gd name="connsiteY12" fmla="*/ 479425 h 4505325"/>
                  <a:gd name="connsiteX13" fmla="*/ 316561 w 910286"/>
                  <a:gd name="connsiteY13" fmla="*/ 511175 h 4505325"/>
                  <a:gd name="connsiteX14" fmla="*/ 224486 w 910286"/>
                  <a:gd name="connsiteY14" fmla="*/ 581025 h 4505325"/>
                  <a:gd name="connsiteX15" fmla="*/ 173686 w 910286"/>
                  <a:gd name="connsiteY15" fmla="*/ 638175 h 4505325"/>
                  <a:gd name="connsiteX16" fmla="*/ 173686 w 910286"/>
                  <a:gd name="connsiteY16" fmla="*/ 695325 h 4505325"/>
                  <a:gd name="connsiteX17" fmla="*/ 199086 w 910286"/>
                  <a:gd name="connsiteY17" fmla="*/ 784225 h 4505325"/>
                  <a:gd name="connsiteX18" fmla="*/ 208611 w 910286"/>
                  <a:gd name="connsiteY18" fmla="*/ 835025 h 4505325"/>
                  <a:gd name="connsiteX19" fmla="*/ 218136 w 910286"/>
                  <a:gd name="connsiteY19" fmla="*/ 885825 h 4505325"/>
                  <a:gd name="connsiteX20" fmla="*/ 234011 w 910286"/>
                  <a:gd name="connsiteY20" fmla="*/ 923925 h 4505325"/>
                  <a:gd name="connsiteX21" fmla="*/ 176861 w 910286"/>
                  <a:gd name="connsiteY21" fmla="*/ 1022350 h 4505325"/>
                  <a:gd name="connsiteX22" fmla="*/ 110186 w 910286"/>
                  <a:gd name="connsiteY22" fmla="*/ 1057275 h 4505325"/>
                  <a:gd name="connsiteX23" fmla="*/ 65736 w 910286"/>
                  <a:gd name="connsiteY23" fmla="*/ 1143000 h 4505325"/>
                  <a:gd name="connsiteX24" fmla="*/ 33986 w 910286"/>
                  <a:gd name="connsiteY24" fmla="*/ 1244600 h 4505325"/>
                  <a:gd name="connsiteX25" fmla="*/ 14936 w 910286"/>
                  <a:gd name="connsiteY25" fmla="*/ 1346200 h 4505325"/>
                  <a:gd name="connsiteX26" fmla="*/ 24461 w 910286"/>
                  <a:gd name="connsiteY26" fmla="*/ 1438275 h 4505325"/>
                  <a:gd name="connsiteX27" fmla="*/ 97486 w 910286"/>
                  <a:gd name="connsiteY27" fmla="*/ 1511300 h 4505325"/>
                  <a:gd name="connsiteX28" fmla="*/ 126061 w 910286"/>
                  <a:gd name="connsiteY28" fmla="*/ 1558925 h 4505325"/>
                  <a:gd name="connsiteX29" fmla="*/ 164161 w 910286"/>
                  <a:gd name="connsiteY29" fmla="*/ 1590675 h 4505325"/>
                  <a:gd name="connsiteX30" fmla="*/ 183211 w 910286"/>
                  <a:gd name="connsiteY30" fmla="*/ 1644650 h 4505325"/>
                  <a:gd name="connsiteX31" fmla="*/ 240361 w 910286"/>
                  <a:gd name="connsiteY31" fmla="*/ 1685925 h 4505325"/>
                  <a:gd name="connsiteX32" fmla="*/ 278461 w 910286"/>
                  <a:gd name="connsiteY32" fmla="*/ 1730375 h 4505325"/>
                  <a:gd name="connsiteX33" fmla="*/ 291161 w 910286"/>
                  <a:gd name="connsiteY33" fmla="*/ 1758950 h 4505325"/>
                  <a:gd name="connsiteX34" fmla="*/ 291161 w 910286"/>
                  <a:gd name="connsiteY34" fmla="*/ 1828800 h 4505325"/>
                  <a:gd name="connsiteX35" fmla="*/ 338786 w 910286"/>
                  <a:gd name="connsiteY35" fmla="*/ 1905000 h 4505325"/>
                  <a:gd name="connsiteX36" fmla="*/ 376886 w 910286"/>
                  <a:gd name="connsiteY36" fmla="*/ 1962150 h 4505325"/>
                  <a:gd name="connsiteX37" fmla="*/ 383236 w 910286"/>
                  <a:gd name="connsiteY37" fmla="*/ 2028825 h 4505325"/>
                  <a:gd name="connsiteX38" fmla="*/ 421336 w 910286"/>
                  <a:gd name="connsiteY38" fmla="*/ 2085975 h 4505325"/>
                  <a:gd name="connsiteX39" fmla="*/ 427686 w 910286"/>
                  <a:gd name="connsiteY39" fmla="*/ 2209800 h 4505325"/>
                  <a:gd name="connsiteX40" fmla="*/ 265761 w 910286"/>
                  <a:gd name="connsiteY40" fmla="*/ 2251075 h 4505325"/>
                  <a:gd name="connsiteX41" fmla="*/ 214961 w 910286"/>
                  <a:gd name="connsiteY41" fmla="*/ 2390775 h 4505325"/>
                  <a:gd name="connsiteX42" fmla="*/ 224486 w 910286"/>
                  <a:gd name="connsiteY42" fmla="*/ 2454275 h 4505325"/>
                  <a:gd name="connsiteX43" fmla="*/ 240361 w 910286"/>
                  <a:gd name="connsiteY43" fmla="*/ 2482850 h 4505325"/>
                  <a:gd name="connsiteX44" fmla="*/ 240361 w 910286"/>
                  <a:gd name="connsiteY44" fmla="*/ 2527300 h 4505325"/>
                  <a:gd name="connsiteX45" fmla="*/ 249886 w 910286"/>
                  <a:gd name="connsiteY45" fmla="*/ 2603500 h 4505325"/>
                  <a:gd name="connsiteX46" fmla="*/ 167336 w 910286"/>
                  <a:gd name="connsiteY46" fmla="*/ 2917824 h 4505325"/>
                  <a:gd name="connsiteX47" fmla="*/ 94311 w 910286"/>
                  <a:gd name="connsiteY47" fmla="*/ 3063874 h 4505325"/>
                  <a:gd name="connsiteX48" fmla="*/ 56211 w 910286"/>
                  <a:gd name="connsiteY48" fmla="*/ 3133724 h 4505325"/>
                  <a:gd name="connsiteX49" fmla="*/ 30811 w 910286"/>
                  <a:gd name="connsiteY49" fmla="*/ 3203574 h 4505325"/>
                  <a:gd name="connsiteX50" fmla="*/ 24461 w 910286"/>
                  <a:gd name="connsiteY50" fmla="*/ 3390899 h 4505325"/>
                  <a:gd name="connsiteX51" fmla="*/ 46686 w 910286"/>
                  <a:gd name="connsiteY51" fmla="*/ 3492499 h 4505325"/>
                  <a:gd name="connsiteX52" fmla="*/ 395936 w 910286"/>
                  <a:gd name="connsiteY52" fmla="*/ 4203699 h 4505325"/>
                  <a:gd name="connsiteX53" fmla="*/ 516586 w 910286"/>
                  <a:gd name="connsiteY53" fmla="*/ 4254499 h 4505325"/>
                  <a:gd name="connsiteX54" fmla="*/ 653111 w 910286"/>
                  <a:gd name="connsiteY54" fmla="*/ 4302124 h 4505325"/>
                  <a:gd name="connsiteX55" fmla="*/ 773761 w 910286"/>
                  <a:gd name="connsiteY55" fmla="*/ 4292599 h 4505325"/>
                  <a:gd name="connsiteX56" fmla="*/ 910286 w 910286"/>
                  <a:gd name="connsiteY56" fmla="*/ 4505325 h 4505325"/>
                  <a:gd name="connsiteX0" fmla="*/ 445813 w 896663"/>
                  <a:gd name="connsiteY0" fmla="*/ 0 h 4505325"/>
                  <a:gd name="connsiteX1" fmla="*/ 407713 w 896663"/>
                  <a:gd name="connsiteY1" fmla="*/ 66675 h 4505325"/>
                  <a:gd name="connsiteX2" fmla="*/ 353738 w 896663"/>
                  <a:gd name="connsiteY2" fmla="*/ 85725 h 4505325"/>
                  <a:gd name="connsiteX3" fmla="*/ 283888 w 896663"/>
                  <a:gd name="connsiteY3" fmla="*/ 98425 h 4505325"/>
                  <a:gd name="connsiteX4" fmla="*/ 223563 w 896663"/>
                  <a:gd name="connsiteY4" fmla="*/ 133350 h 4505325"/>
                  <a:gd name="connsiteX5" fmla="*/ 121963 w 896663"/>
                  <a:gd name="connsiteY5" fmla="*/ 196850 h 4505325"/>
                  <a:gd name="connsiteX6" fmla="*/ 131488 w 896663"/>
                  <a:gd name="connsiteY6" fmla="*/ 247650 h 4505325"/>
                  <a:gd name="connsiteX7" fmla="*/ 172763 w 896663"/>
                  <a:gd name="connsiteY7" fmla="*/ 276225 h 4505325"/>
                  <a:gd name="connsiteX8" fmla="*/ 185463 w 896663"/>
                  <a:gd name="connsiteY8" fmla="*/ 327025 h 4505325"/>
                  <a:gd name="connsiteX9" fmla="*/ 239438 w 896663"/>
                  <a:gd name="connsiteY9" fmla="*/ 368300 h 4505325"/>
                  <a:gd name="connsiteX10" fmla="*/ 239438 w 896663"/>
                  <a:gd name="connsiteY10" fmla="*/ 412750 h 4505325"/>
                  <a:gd name="connsiteX11" fmla="*/ 207688 w 896663"/>
                  <a:gd name="connsiteY11" fmla="*/ 454025 h 4505325"/>
                  <a:gd name="connsiteX12" fmla="*/ 287063 w 896663"/>
                  <a:gd name="connsiteY12" fmla="*/ 479425 h 4505325"/>
                  <a:gd name="connsiteX13" fmla="*/ 302938 w 896663"/>
                  <a:gd name="connsiteY13" fmla="*/ 511175 h 4505325"/>
                  <a:gd name="connsiteX14" fmla="*/ 210863 w 896663"/>
                  <a:gd name="connsiteY14" fmla="*/ 581025 h 4505325"/>
                  <a:gd name="connsiteX15" fmla="*/ 160063 w 896663"/>
                  <a:gd name="connsiteY15" fmla="*/ 638175 h 4505325"/>
                  <a:gd name="connsiteX16" fmla="*/ 160063 w 896663"/>
                  <a:gd name="connsiteY16" fmla="*/ 695325 h 4505325"/>
                  <a:gd name="connsiteX17" fmla="*/ 185463 w 896663"/>
                  <a:gd name="connsiteY17" fmla="*/ 784225 h 4505325"/>
                  <a:gd name="connsiteX18" fmla="*/ 194988 w 896663"/>
                  <a:gd name="connsiteY18" fmla="*/ 835025 h 4505325"/>
                  <a:gd name="connsiteX19" fmla="*/ 204513 w 896663"/>
                  <a:gd name="connsiteY19" fmla="*/ 885825 h 4505325"/>
                  <a:gd name="connsiteX20" fmla="*/ 220388 w 896663"/>
                  <a:gd name="connsiteY20" fmla="*/ 923925 h 4505325"/>
                  <a:gd name="connsiteX21" fmla="*/ 163238 w 896663"/>
                  <a:gd name="connsiteY21" fmla="*/ 1022350 h 4505325"/>
                  <a:gd name="connsiteX22" fmla="*/ 96563 w 896663"/>
                  <a:gd name="connsiteY22" fmla="*/ 1057275 h 4505325"/>
                  <a:gd name="connsiteX23" fmla="*/ 52113 w 896663"/>
                  <a:gd name="connsiteY23" fmla="*/ 1143000 h 4505325"/>
                  <a:gd name="connsiteX24" fmla="*/ 20363 w 896663"/>
                  <a:gd name="connsiteY24" fmla="*/ 1244600 h 4505325"/>
                  <a:gd name="connsiteX25" fmla="*/ 1313 w 896663"/>
                  <a:gd name="connsiteY25" fmla="*/ 1346200 h 4505325"/>
                  <a:gd name="connsiteX26" fmla="*/ 10838 w 896663"/>
                  <a:gd name="connsiteY26" fmla="*/ 1438275 h 4505325"/>
                  <a:gd name="connsiteX27" fmla="*/ 83863 w 896663"/>
                  <a:gd name="connsiteY27" fmla="*/ 1511300 h 4505325"/>
                  <a:gd name="connsiteX28" fmla="*/ 112438 w 896663"/>
                  <a:gd name="connsiteY28" fmla="*/ 1558925 h 4505325"/>
                  <a:gd name="connsiteX29" fmla="*/ 150538 w 896663"/>
                  <a:gd name="connsiteY29" fmla="*/ 1590675 h 4505325"/>
                  <a:gd name="connsiteX30" fmla="*/ 169588 w 896663"/>
                  <a:gd name="connsiteY30" fmla="*/ 1644650 h 4505325"/>
                  <a:gd name="connsiteX31" fmla="*/ 226738 w 896663"/>
                  <a:gd name="connsiteY31" fmla="*/ 1685925 h 4505325"/>
                  <a:gd name="connsiteX32" fmla="*/ 264838 w 896663"/>
                  <a:gd name="connsiteY32" fmla="*/ 1730375 h 4505325"/>
                  <a:gd name="connsiteX33" fmla="*/ 277538 w 896663"/>
                  <a:gd name="connsiteY33" fmla="*/ 1758950 h 4505325"/>
                  <a:gd name="connsiteX34" fmla="*/ 277538 w 896663"/>
                  <a:gd name="connsiteY34" fmla="*/ 1828800 h 4505325"/>
                  <a:gd name="connsiteX35" fmla="*/ 325163 w 896663"/>
                  <a:gd name="connsiteY35" fmla="*/ 1905000 h 4505325"/>
                  <a:gd name="connsiteX36" fmla="*/ 363263 w 896663"/>
                  <a:gd name="connsiteY36" fmla="*/ 1962150 h 4505325"/>
                  <a:gd name="connsiteX37" fmla="*/ 369613 w 896663"/>
                  <a:gd name="connsiteY37" fmla="*/ 2028825 h 4505325"/>
                  <a:gd name="connsiteX38" fmla="*/ 407713 w 896663"/>
                  <a:gd name="connsiteY38" fmla="*/ 2085975 h 4505325"/>
                  <a:gd name="connsiteX39" fmla="*/ 414063 w 896663"/>
                  <a:gd name="connsiteY39" fmla="*/ 2209800 h 4505325"/>
                  <a:gd name="connsiteX40" fmla="*/ 252138 w 896663"/>
                  <a:gd name="connsiteY40" fmla="*/ 2251075 h 4505325"/>
                  <a:gd name="connsiteX41" fmla="*/ 201338 w 896663"/>
                  <a:gd name="connsiteY41" fmla="*/ 2390775 h 4505325"/>
                  <a:gd name="connsiteX42" fmla="*/ 210863 w 896663"/>
                  <a:gd name="connsiteY42" fmla="*/ 2454275 h 4505325"/>
                  <a:gd name="connsiteX43" fmla="*/ 226738 w 896663"/>
                  <a:gd name="connsiteY43" fmla="*/ 2482850 h 4505325"/>
                  <a:gd name="connsiteX44" fmla="*/ 226738 w 896663"/>
                  <a:gd name="connsiteY44" fmla="*/ 2527300 h 4505325"/>
                  <a:gd name="connsiteX45" fmla="*/ 236263 w 896663"/>
                  <a:gd name="connsiteY45" fmla="*/ 2603500 h 4505325"/>
                  <a:gd name="connsiteX46" fmla="*/ 153713 w 896663"/>
                  <a:gd name="connsiteY46" fmla="*/ 2917824 h 4505325"/>
                  <a:gd name="connsiteX47" fmla="*/ 80688 w 896663"/>
                  <a:gd name="connsiteY47" fmla="*/ 3063874 h 4505325"/>
                  <a:gd name="connsiteX48" fmla="*/ 42588 w 896663"/>
                  <a:gd name="connsiteY48" fmla="*/ 3133724 h 4505325"/>
                  <a:gd name="connsiteX49" fmla="*/ 17188 w 896663"/>
                  <a:gd name="connsiteY49" fmla="*/ 3203574 h 4505325"/>
                  <a:gd name="connsiteX50" fmla="*/ 10838 w 896663"/>
                  <a:gd name="connsiteY50" fmla="*/ 3390899 h 4505325"/>
                  <a:gd name="connsiteX51" fmla="*/ 33063 w 896663"/>
                  <a:gd name="connsiteY51" fmla="*/ 3492499 h 4505325"/>
                  <a:gd name="connsiteX52" fmla="*/ 268013 w 896663"/>
                  <a:gd name="connsiteY52" fmla="*/ 3917949 h 4505325"/>
                  <a:gd name="connsiteX53" fmla="*/ 382313 w 896663"/>
                  <a:gd name="connsiteY53" fmla="*/ 4203699 h 4505325"/>
                  <a:gd name="connsiteX54" fmla="*/ 502963 w 896663"/>
                  <a:gd name="connsiteY54" fmla="*/ 4254499 h 4505325"/>
                  <a:gd name="connsiteX55" fmla="*/ 639488 w 896663"/>
                  <a:gd name="connsiteY55" fmla="*/ 4302124 h 4505325"/>
                  <a:gd name="connsiteX56" fmla="*/ 760138 w 896663"/>
                  <a:gd name="connsiteY56" fmla="*/ 4292599 h 4505325"/>
                  <a:gd name="connsiteX57" fmla="*/ 896663 w 896663"/>
                  <a:gd name="connsiteY57" fmla="*/ 4505325 h 4505325"/>
                  <a:gd name="connsiteX0" fmla="*/ 445813 w 896663"/>
                  <a:gd name="connsiteY0" fmla="*/ 0 h 4505325"/>
                  <a:gd name="connsiteX1" fmla="*/ 407713 w 896663"/>
                  <a:gd name="connsiteY1" fmla="*/ 66675 h 4505325"/>
                  <a:gd name="connsiteX2" fmla="*/ 353738 w 896663"/>
                  <a:gd name="connsiteY2" fmla="*/ 85725 h 4505325"/>
                  <a:gd name="connsiteX3" fmla="*/ 283888 w 896663"/>
                  <a:gd name="connsiteY3" fmla="*/ 98425 h 4505325"/>
                  <a:gd name="connsiteX4" fmla="*/ 223563 w 896663"/>
                  <a:gd name="connsiteY4" fmla="*/ 133350 h 4505325"/>
                  <a:gd name="connsiteX5" fmla="*/ 121963 w 896663"/>
                  <a:gd name="connsiteY5" fmla="*/ 196850 h 4505325"/>
                  <a:gd name="connsiteX6" fmla="*/ 131488 w 896663"/>
                  <a:gd name="connsiteY6" fmla="*/ 247650 h 4505325"/>
                  <a:gd name="connsiteX7" fmla="*/ 172763 w 896663"/>
                  <a:gd name="connsiteY7" fmla="*/ 276225 h 4505325"/>
                  <a:gd name="connsiteX8" fmla="*/ 185463 w 896663"/>
                  <a:gd name="connsiteY8" fmla="*/ 327025 h 4505325"/>
                  <a:gd name="connsiteX9" fmla="*/ 239438 w 896663"/>
                  <a:gd name="connsiteY9" fmla="*/ 368300 h 4505325"/>
                  <a:gd name="connsiteX10" fmla="*/ 239438 w 896663"/>
                  <a:gd name="connsiteY10" fmla="*/ 412750 h 4505325"/>
                  <a:gd name="connsiteX11" fmla="*/ 207688 w 896663"/>
                  <a:gd name="connsiteY11" fmla="*/ 454025 h 4505325"/>
                  <a:gd name="connsiteX12" fmla="*/ 287063 w 896663"/>
                  <a:gd name="connsiteY12" fmla="*/ 479425 h 4505325"/>
                  <a:gd name="connsiteX13" fmla="*/ 302938 w 896663"/>
                  <a:gd name="connsiteY13" fmla="*/ 511175 h 4505325"/>
                  <a:gd name="connsiteX14" fmla="*/ 210863 w 896663"/>
                  <a:gd name="connsiteY14" fmla="*/ 581025 h 4505325"/>
                  <a:gd name="connsiteX15" fmla="*/ 160063 w 896663"/>
                  <a:gd name="connsiteY15" fmla="*/ 638175 h 4505325"/>
                  <a:gd name="connsiteX16" fmla="*/ 160063 w 896663"/>
                  <a:gd name="connsiteY16" fmla="*/ 695325 h 4505325"/>
                  <a:gd name="connsiteX17" fmla="*/ 185463 w 896663"/>
                  <a:gd name="connsiteY17" fmla="*/ 784225 h 4505325"/>
                  <a:gd name="connsiteX18" fmla="*/ 194988 w 896663"/>
                  <a:gd name="connsiteY18" fmla="*/ 835025 h 4505325"/>
                  <a:gd name="connsiteX19" fmla="*/ 204513 w 896663"/>
                  <a:gd name="connsiteY19" fmla="*/ 885825 h 4505325"/>
                  <a:gd name="connsiteX20" fmla="*/ 220388 w 896663"/>
                  <a:gd name="connsiteY20" fmla="*/ 923925 h 4505325"/>
                  <a:gd name="connsiteX21" fmla="*/ 163238 w 896663"/>
                  <a:gd name="connsiteY21" fmla="*/ 1022350 h 4505325"/>
                  <a:gd name="connsiteX22" fmla="*/ 96563 w 896663"/>
                  <a:gd name="connsiteY22" fmla="*/ 1057275 h 4505325"/>
                  <a:gd name="connsiteX23" fmla="*/ 52113 w 896663"/>
                  <a:gd name="connsiteY23" fmla="*/ 1143000 h 4505325"/>
                  <a:gd name="connsiteX24" fmla="*/ 20363 w 896663"/>
                  <a:gd name="connsiteY24" fmla="*/ 1244600 h 4505325"/>
                  <a:gd name="connsiteX25" fmla="*/ 1313 w 896663"/>
                  <a:gd name="connsiteY25" fmla="*/ 1346200 h 4505325"/>
                  <a:gd name="connsiteX26" fmla="*/ 10838 w 896663"/>
                  <a:gd name="connsiteY26" fmla="*/ 1438275 h 4505325"/>
                  <a:gd name="connsiteX27" fmla="*/ 83863 w 896663"/>
                  <a:gd name="connsiteY27" fmla="*/ 1511300 h 4505325"/>
                  <a:gd name="connsiteX28" fmla="*/ 112438 w 896663"/>
                  <a:gd name="connsiteY28" fmla="*/ 1558925 h 4505325"/>
                  <a:gd name="connsiteX29" fmla="*/ 150538 w 896663"/>
                  <a:gd name="connsiteY29" fmla="*/ 1590675 h 4505325"/>
                  <a:gd name="connsiteX30" fmla="*/ 169588 w 896663"/>
                  <a:gd name="connsiteY30" fmla="*/ 1644650 h 4505325"/>
                  <a:gd name="connsiteX31" fmla="*/ 226738 w 896663"/>
                  <a:gd name="connsiteY31" fmla="*/ 1685925 h 4505325"/>
                  <a:gd name="connsiteX32" fmla="*/ 264838 w 896663"/>
                  <a:gd name="connsiteY32" fmla="*/ 1730375 h 4505325"/>
                  <a:gd name="connsiteX33" fmla="*/ 277538 w 896663"/>
                  <a:gd name="connsiteY33" fmla="*/ 1758950 h 4505325"/>
                  <a:gd name="connsiteX34" fmla="*/ 277538 w 896663"/>
                  <a:gd name="connsiteY34" fmla="*/ 1828800 h 4505325"/>
                  <a:gd name="connsiteX35" fmla="*/ 325163 w 896663"/>
                  <a:gd name="connsiteY35" fmla="*/ 1905000 h 4505325"/>
                  <a:gd name="connsiteX36" fmla="*/ 363263 w 896663"/>
                  <a:gd name="connsiteY36" fmla="*/ 1962150 h 4505325"/>
                  <a:gd name="connsiteX37" fmla="*/ 369613 w 896663"/>
                  <a:gd name="connsiteY37" fmla="*/ 2028825 h 4505325"/>
                  <a:gd name="connsiteX38" fmla="*/ 407713 w 896663"/>
                  <a:gd name="connsiteY38" fmla="*/ 2085975 h 4505325"/>
                  <a:gd name="connsiteX39" fmla="*/ 414063 w 896663"/>
                  <a:gd name="connsiteY39" fmla="*/ 2209800 h 4505325"/>
                  <a:gd name="connsiteX40" fmla="*/ 252138 w 896663"/>
                  <a:gd name="connsiteY40" fmla="*/ 2251075 h 4505325"/>
                  <a:gd name="connsiteX41" fmla="*/ 201338 w 896663"/>
                  <a:gd name="connsiteY41" fmla="*/ 2390775 h 4505325"/>
                  <a:gd name="connsiteX42" fmla="*/ 210863 w 896663"/>
                  <a:gd name="connsiteY42" fmla="*/ 2454275 h 4505325"/>
                  <a:gd name="connsiteX43" fmla="*/ 226738 w 896663"/>
                  <a:gd name="connsiteY43" fmla="*/ 2482850 h 4505325"/>
                  <a:gd name="connsiteX44" fmla="*/ 226738 w 896663"/>
                  <a:gd name="connsiteY44" fmla="*/ 2527300 h 4505325"/>
                  <a:gd name="connsiteX45" fmla="*/ 236263 w 896663"/>
                  <a:gd name="connsiteY45" fmla="*/ 2603500 h 4505325"/>
                  <a:gd name="connsiteX46" fmla="*/ 153713 w 896663"/>
                  <a:gd name="connsiteY46" fmla="*/ 2917824 h 4505325"/>
                  <a:gd name="connsiteX47" fmla="*/ 80688 w 896663"/>
                  <a:gd name="connsiteY47" fmla="*/ 3063874 h 4505325"/>
                  <a:gd name="connsiteX48" fmla="*/ 42588 w 896663"/>
                  <a:gd name="connsiteY48" fmla="*/ 3133724 h 4505325"/>
                  <a:gd name="connsiteX49" fmla="*/ 17188 w 896663"/>
                  <a:gd name="connsiteY49" fmla="*/ 3203574 h 4505325"/>
                  <a:gd name="connsiteX50" fmla="*/ 10838 w 896663"/>
                  <a:gd name="connsiteY50" fmla="*/ 3390899 h 4505325"/>
                  <a:gd name="connsiteX51" fmla="*/ 33063 w 896663"/>
                  <a:gd name="connsiteY51" fmla="*/ 3492499 h 4505325"/>
                  <a:gd name="connsiteX52" fmla="*/ 268013 w 896663"/>
                  <a:gd name="connsiteY52" fmla="*/ 3917949 h 4505325"/>
                  <a:gd name="connsiteX53" fmla="*/ 382313 w 896663"/>
                  <a:gd name="connsiteY53" fmla="*/ 4203699 h 4505325"/>
                  <a:gd name="connsiteX54" fmla="*/ 502963 w 896663"/>
                  <a:gd name="connsiteY54" fmla="*/ 4254499 h 4505325"/>
                  <a:gd name="connsiteX55" fmla="*/ 639488 w 896663"/>
                  <a:gd name="connsiteY55" fmla="*/ 4302124 h 4505325"/>
                  <a:gd name="connsiteX56" fmla="*/ 760138 w 896663"/>
                  <a:gd name="connsiteY56" fmla="*/ 4292599 h 4505325"/>
                  <a:gd name="connsiteX57" fmla="*/ 896663 w 896663"/>
                  <a:gd name="connsiteY57" fmla="*/ 4505325 h 4505325"/>
                  <a:gd name="connsiteX0" fmla="*/ 445813 w 896663"/>
                  <a:gd name="connsiteY0" fmla="*/ 0 h 4505325"/>
                  <a:gd name="connsiteX1" fmla="*/ 407713 w 896663"/>
                  <a:gd name="connsiteY1" fmla="*/ 66675 h 4505325"/>
                  <a:gd name="connsiteX2" fmla="*/ 353738 w 896663"/>
                  <a:gd name="connsiteY2" fmla="*/ 85725 h 4505325"/>
                  <a:gd name="connsiteX3" fmla="*/ 283888 w 896663"/>
                  <a:gd name="connsiteY3" fmla="*/ 98425 h 4505325"/>
                  <a:gd name="connsiteX4" fmla="*/ 223563 w 896663"/>
                  <a:gd name="connsiteY4" fmla="*/ 133350 h 4505325"/>
                  <a:gd name="connsiteX5" fmla="*/ 121963 w 896663"/>
                  <a:gd name="connsiteY5" fmla="*/ 196850 h 4505325"/>
                  <a:gd name="connsiteX6" fmla="*/ 131488 w 896663"/>
                  <a:gd name="connsiteY6" fmla="*/ 247650 h 4505325"/>
                  <a:gd name="connsiteX7" fmla="*/ 172763 w 896663"/>
                  <a:gd name="connsiteY7" fmla="*/ 276225 h 4505325"/>
                  <a:gd name="connsiteX8" fmla="*/ 185463 w 896663"/>
                  <a:gd name="connsiteY8" fmla="*/ 327025 h 4505325"/>
                  <a:gd name="connsiteX9" fmla="*/ 239438 w 896663"/>
                  <a:gd name="connsiteY9" fmla="*/ 368300 h 4505325"/>
                  <a:gd name="connsiteX10" fmla="*/ 239438 w 896663"/>
                  <a:gd name="connsiteY10" fmla="*/ 412750 h 4505325"/>
                  <a:gd name="connsiteX11" fmla="*/ 207688 w 896663"/>
                  <a:gd name="connsiteY11" fmla="*/ 454025 h 4505325"/>
                  <a:gd name="connsiteX12" fmla="*/ 287063 w 896663"/>
                  <a:gd name="connsiteY12" fmla="*/ 479425 h 4505325"/>
                  <a:gd name="connsiteX13" fmla="*/ 302938 w 896663"/>
                  <a:gd name="connsiteY13" fmla="*/ 511175 h 4505325"/>
                  <a:gd name="connsiteX14" fmla="*/ 210863 w 896663"/>
                  <a:gd name="connsiteY14" fmla="*/ 581025 h 4505325"/>
                  <a:gd name="connsiteX15" fmla="*/ 160063 w 896663"/>
                  <a:gd name="connsiteY15" fmla="*/ 638175 h 4505325"/>
                  <a:gd name="connsiteX16" fmla="*/ 160063 w 896663"/>
                  <a:gd name="connsiteY16" fmla="*/ 695325 h 4505325"/>
                  <a:gd name="connsiteX17" fmla="*/ 185463 w 896663"/>
                  <a:gd name="connsiteY17" fmla="*/ 784225 h 4505325"/>
                  <a:gd name="connsiteX18" fmla="*/ 194988 w 896663"/>
                  <a:gd name="connsiteY18" fmla="*/ 835025 h 4505325"/>
                  <a:gd name="connsiteX19" fmla="*/ 204513 w 896663"/>
                  <a:gd name="connsiteY19" fmla="*/ 885825 h 4505325"/>
                  <a:gd name="connsiteX20" fmla="*/ 220388 w 896663"/>
                  <a:gd name="connsiteY20" fmla="*/ 923925 h 4505325"/>
                  <a:gd name="connsiteX21" fmla="*/ 163238 w 896663"/>
                  <a:gd name="connsiteY21" fmla="*/ 1022350 h 4505325"/>
                  <a:gd name="connsiteX22" fmla="*/ 96563 w 896663"/>
                  <a:gd name="connsiteY22" fmla="*/ 1057275 h 4505325"/>
                  <a:gd name="connsiteX23" fmla="*/ 52113 w 896663"/>
                  <a:gd name="connsiteY23" fmla="*/ 1143000 h 4505325"/>
                  <a:gd name="connsiteX24" fmla="*/ 20363 w 896663"/>
                  <a:gd name="connsiteY24" fmla="*/ 1244600 h 4505325"/>
                  <a:gd name="connsiteX25" fmla="*/ 1313 w 896663"/>
                  <a:gd name="connsiteY25" fmla="*/ 1346200 h 4505325"/>
                  <a:gd name="connsiteX26" fmla="*/ 10838 w 896663"/>
                  <a:gd name="connsiteY26" fmla="*/ 1438275 h 4505325"/>
                  <a:gd name="connsiteX27" fmla="*/ 83863 w 896663"/>
                  <a:gd name="connsiteY27" fmla="*/ 1511300 h 4505325"/>
                  <a:gd name="connsiteX28" fmla="*/ 112438 w 896663"/>
                  <a:gd name="connsiteY28" fmla="*/ 1558925 h 4505325"/>
                  <a:gd name="connsiteX29" fmla="*/ 150538 w 896663"/>
                  <a:gd name="connsiteY29" fmla="*/ 1590675 h 4505325"/>
                  <a:gd name="connsiteX30" fmla="*/ 169588 w 896663"/>
                  <a:gd name="connsiteY30" fmla="*/ 1644650 h 4505325"/>
                  <a:gd name="connsiteX31" fmla="*/ 226738 w 896663"/>
                  <a:gd name="connsiteY31" fmla="*/ 1685925 h 4505325"/>
                  <a:gd name="connsiteX32" fmla="*/ 264838 w 896663"/>
                  <a:gd name="connsiteY32" fmla="*/ 1730375 h 4505325"/>
                  <a:gd name="connsiteX33" fmla="*/ 277538 w 896663"/>
                  <a:gd name="connsiteY33" fmla="*/ 1758950 h 4505325"/>
                  <a:gd name="connsiteX34" fmla="*/ 277538 w 896663"/>
                  <a:gd name="connsiteY34" fmla="*/ 1828800 h 4505325"/>
                  <a:gd name="connsiteX35" fmla="*/ 325163 w 896663"/>
                  <a:gd name="connsiteY35" fmla="*/ 1905000 h 4505325"/>
                  <a:gd name="connsiteX36" fmla="*/ 363263 w 896663"/>
                  <a:gd name="connsiteY36" fmla="*/ 1962150 h 4505325"/>
                  <a:gd name="connsiteX37" fmla="*/ 369613 w 896663"/>
                  <a:gd name="connsiteY37" fmla="*/ 2028825 h 4505325"/>
                  <a:gd name="connsiteX38" fmla="*/ 407713 w 896663"/>
                  <a:gd name="connsiteY38" fmla="*/ 2085975 h 4505325"/>
                  <a:gd name="connsiteX39" fmla="*/ 414063 w 896663"/>
                  <a:gd name="connsiteY39" fmla="*/ 2209800 h 4505325"/>
                  <a:gd name="connsiteX40" fmla="*/ 252138 w 896663"/>
                  <a:gd name="connsiteY40" fmla="*/ 2251075 h 4505325"/>
                  <a:gd name="connsiteX41" fmla="*/ 201338 w 896663"/>
                  <a:gd name="connsiteY41" fmla="*/ 2390775 h 4505325"/>
                  <a:gd name="connsiteX42" fmla="*/ 210863 w 896663"/>
                  <a:gd name="connsiteY42" fmla="*/ 2454275 h 4505325"/>
                  <a:gd name="connsiteX43" fmla="*/ 226738 w 896663"/>
                  <a:gd name="connsiteY43" fmla="*/ 2482850 h 4505325"/>
                  <a:gd name="connsiteX44" fmla="*/ 226738 w 896663"/>
                  <a:gd name="connsiteY44" fmla="*/ 2527300 h 4505325"/>
                  <a:gd name="connsiteX45" fmla="*/ 236263 w 896663"/>
                  <a:gd name="connsiteY45" fmla="*/ 2603500 h 4505325"/>
                  <a:gd name="connsiteX46" fmla="*/ 153713 w 896663"/>
                  <a:gd name="connsiteY46" fmla="*/ 2917824 h 4505325"/>
                  <a:gd name="connsiteX47" fmla="*/ 80688 w 896663"/>
                  <a:gd name="connsiteY47" fmla="*/ 3063874 h 4505325"/>
                  <a:gd name="connsiteX48" fmla="*/ 42588 w 896663"/>
                  <a:gd name="connsiteY48" fmla="*/ 3133724 h 4505325"/>
                  <a:gd name="connsiteX49" fmla="*/ 17188 w 896663"/>
                  <a:gd name="connsiteY49" fmla="*/ 3203574 h 4505325"/>
                  <a:gd name="connsiteX50" fmla="*/ 10838 w 896663"/>
                  <a:gd name="connsiteY50" fmla="*/ 3390899 h 4505325"/>
                  <a:gd name="connsiteX51" fmla="*/ 33063 w 896663"/>
                  <a:gd name="connsiteY51" fmla="*/ 3492499 h 4505325"/>
                  <a:gd name="connsiteX52" fmla="*/ 277538 w 896663"/>
                  <a:gd name="connsiteY52" fmla="*/ 3917949 h 4505325"/>
                  <a:gd name="connsiteX53" fmla="*/ 382313 w 896663"/>
                  <a:gd name="connsiteY53" fmla="*/ 4203699 h 4505325"/>
                  <a:gd name="connsiteX54" fmla="*/ 502963 w 896663"/>
                  <a:gd name="connsiteY54" fmla="*/ 4254499 h 4505325"/>
                  <a:gd name="connsiteX55" fmla="*/ 639488 w 896663"/>
                  <a:gd name="connsiteY55" fmla="*/ 4302124 h 4505325"/>
                  <a:gd name="connsiteX56" fmla="*/ 760138 w 896663"/>
                  <a:gd name="connsiteY56" fmla="*/ 4292599 h 4505325"/>
                  <a:gd name="connsiteX57" fmla="*/ 896663 w 896663"/>
                  <a:gd name="connsiteY57" fmla="*/ 4505325 h 4505325"/>
                  <a:gd name="connsiteX0" fmla="*/ 445813 w 896663"/>
                  <a:gd name="connsiteY0" fmla="*/ 0 h 4505325"/>
                  <a:gd name="connsiteX1" fmla="*/ 407713 w 896663"/>
                  <a:gd name="connsiteY1" fmla="*/ 66675 h 4505325"/>
                  <a:gd name="connsiteX2" fmla="*/ 353738 w 896663"/>
                  <a:gd name="connsiteY2" fmla="*/ 85725 h 4505325"/>
                  <a:gd name="connsiteX3" fmla="*/ 283888 w 896663"/>
                  <a:gd name="connsiteY3" fmla="*/ 98425 h 4505325"/>
                  <a:gd name="connsiteX4" fmla="*/ 223563 w 896663"/>
                  <a:gd name="connsiteY4" fmla="*/ 133350 h 4505325"/>
                  <a:gd name="connsiteX5" fmla="*/ 121963 w 896663"/>
                  <a:gd name="connsiteY5" fmla="*/ 196850 h 4505325"/>
                  <a:gd name="connsiteX6" fmla="*/ 131488 w 896663"/>
                  <a:gd name="connsiteY6" fmla="*/ 247650 h 4505325"/>
                  <a:gd name="connsiteX7" fmla="*/ 172763 w 896663"/>
                  <a:gd name="connsiteY7" fmla="*/ 276225 h 4505325"/>
                  <a:gd name="connsiteX8" fmla="*/ 185463 w 896663"/>
                  <a:gd name="connsiteY8" fmla="*/ 327025 h 4505325"/>
                  <a:gd name="connsiteX9" fmla="*/ 239438 w 896663"/>
                  <a:gd name="connsiteY9" fmla="*/ 368300 h 4505325"/>
                  <a:gd name="connsiteX10" fmla="*/ 239438 w 896663"/>
                  <a:gd name="connsiteY10" fmla="*/ 412750 h 4505325"/>
                  <a:gd name="connsiteX11" fmla="*/ 207688 w 896663"/>
                  <a:gd name="connsiteY11" fmla="*/ 454025 h 4505325"/>
                  <a:gd name="connsiteX12" fmla="*/ 287063 w 896663"/>
                  <a:gd name="connsiteY12" fmla="*/ 479425 h 4505325"/>
                  <a:gd name="connsiteX13" fmla="*/ 302938 w 896663"/>
                  <a:gd name="connsiteY13" fmla="*/ 511175 h 4505325"/>
                  <a:gd name="connsiteX14" fmla="*/ 210863 w 896663"/>
                  <a:gd name="connsiteY14" fmla="*/ 581025 h 4505325"/>
                  <a:gd name="connsiteX15" fmla="*/ 160063 w 896663"/>
                  <a:gd name="connsiteY15" fmla="*/ 638175 h 4505325"/>
                  <a:gd name="connsiteX16" fmla="*/ 160063 w 896663"/>
                  <a:gd name="connsiteY16" fmla="*/ 695325 h 4505325"/>
                  <a:gd name="connsiteX17" fmla="*/ 185463 w 896663"/>
                  <a:gd name="connsiteY17" fmla="*/ 784225 h 4505325"/>
                  <a:gd name="connsiteX18" fmla="*/ 194988 w 896663"/>
                  <a:gd name="connsiteY18" fmla="*/ 835025 h 4505325"/>
                  <a:gd name="connsiteX19" fmla="*/ 204513 w 896663"/>
                  <a:gd name="connsiteY19" fmla="*/ 885825 h 4505325"/>
                  <a:gd name="connsiteX20" fmla="*/ 220388 w 896663"/>
                  <a:gd name="connsiteY20" fmla="*/ 923925 h 4505325"/>
                  <a:gd name="connsiteX21" fmla="*/ 163238 w 896663"/>
                  <a:gd name="connsiteY21" fmla="*/ 1022350 h 4505325"/>
                  <a:gd name="connsiteX22" fmla="*/ 96563 w 896663"/>
                  <a:gd name="connsiteY22" fmla="*/ 1057275 h 4505325"/>
                  <a:gd name="connsiteX23" fmla="*/ 52113 w 896663"/>
                  <a:gd name="connsiteY23" fmla="*/ 1143000 h 4505325"/>
                  <a:gd name="connsiteX24" fmla="*/ 20363 w 896663"/>
                  <a:gd name="connsiteY24" fmla="*/ 1244600 h 4505325"/>
                  <a:gd name="connsiteX25" fmla="*/ 1313 w 896663"/>
                  <a:gd name="connsiteY25" fmla="*/ 1346200 h 4505325"/>
                  <a:gd name="connsiteX26" fmla="*/ 10838 w 896663"/>
                  <a:gd name="connsiteY26" fmla="*/ 1438275 h 4505325"/>
                  <a:gd name="connsiteX27" fmla="*/ 83863 w 896663"/>
                  <a:gd name="connsiteY27" fmla="*/ 1511300 h 4505325"/>
                  <a:gd name="connsiteX28" fmla="*/ 112438 w 896663"/>
                  <a:gd name="connsiteY28" fmla="*/ 1558925 h 4505325"/>
                  <a:gd name="connsiteX29" fmla="*/ 150538 w 896663"/>
                  <a:gd name="connsiteY29" fmla="*/ 1590675 h 4505325"/>
                  <a:gd name="connsiteX30" fmla="*/ 169588 w 896663"/>
                  <a:gd name="connsiteY30" fmla="*/ 1644650 h 4505325"/>
                  <a:gd name="connsiteX31" fmla="*/ 226738 w 896663"/>
                  <a:gd name="connsiteY31" fmla="*/ 1685925 h 4505325"/>
                  <a:gd name="connsiteX32" fmla="*/ 264838 w 896663"/>
                  <a:gd name="connsiteY32" fmla="*/ 1730375 h 4505325"/>
                  <a:gd name="connsiteX33" fmla="*/ 277538 w 896663"/>
                  <a:gd name="connsiteY33" fmla="*/ 1758950 h 4505325"/>
                  <a:gd name="connsiteX34" fmla="*/ 277538 w 896663"/>
                  <a:gd name="connsiteY34" fmla="*/ 1828800 h 4505325"/>
                  <a:gd name="connsiteX35" fmla="*/ 325163 w 896663"/>
                  <a:gd name="connsiteY35" fmla="*/ 1905000 h 4505325"/>
                  <a:gd name="connsiteX36" fmla="*/ 363263 w 896663"/>
                  <a:gd name="connsiteY36" fmla="*/ 1962150 h 4505325"/>
                  <a:gd name="connsiteX37" fmla="*/ 369613 w 896663"/>
                  <a:gd name="connsiteY37" fmla="*/ 2028825 h 4505325"/>
                  <a:gd name="connsiteX38" fmla="*/ 407713 w 896663"/>
                  <a:gd name="connsiteY38" fmla="*/ 2085975 h 4505325"/>
                  <a:gd name="connsiteX39" fmla="*/ 414063 w 896663"/>
                  <a:gd name="connsiteY39" fmla="*/ 2209800 h 4505325"/>
                  <a:gd name="connsiteX40" fmla="*/ 252138 w 896663"/>
                  <a:gd name="connsiteY40" fmla="*/ 2251075 h 4505325"/>
                  <a:gd name="connsiteX41" fmla="*/ 201338 w 896663"/>
                  <a:gd name="connsiteY41" fmla="*/ 2390775 h 4505325"/>
                  <a:gd name="connsiteX42" fmla="*/ 210863 w 896663"/>
                  <a:gd name="connsiteY42" fmla="*/ 2454275 h 4505325"/>
                  <a:gd name="connsiteX43" fmla="*/ 226738 w 896663"/>
                  <a:gd name="connsiteY43" fmla="*/ 2482850 h 4505325"/>
                  <a:gd name="connsiteX44" fmla="*/ 226738 w 896663"/>
                  <a:gd name="connsiteY44" fmla="*/ 2527300 h 4505325"/>
                  <a:gd name="connsiteX45" fmla="*/ 236263 w 896663"/>
                  <a:gd name="connsiteY45" fmla="*/ 2603500 h 4505325"/>
                  <a:gd name="connsiteX46" fmla="*/ 153713 w 896663"/>
                  <a:gd name="connsiteY46" fmla="*/ 2917824 h 4505325"/>
                  <a:gd name="connsiteX47" fmla="*/ 80688 w 896663"/>
                  <a:gd name="connsiteY47" fmla="*/ 3063874 h 4505325"/>
                  <a:gd name="connsiteX48" fmla="*/ 42588 w 896663"/>
                  <a:gd name="connsiteY48" fmla="*/ 3133724 h 4505325"/>
                  <a:gd name="connsiteX49" fmla="*/ 17188 w 896663"/>
                  <a:gd name="connsiteY49" fmla="*/ 3203574 h 4505325"/>
                  <a:gd name="connsiteX50" fmla="*/ 10838 w 896663"/>
                  <a:gd name="connsiteY50" fmla="*/ 3390899 h 4505325"/>
                  <a:gd name="connsiteX51" fmla="*/ 33063 w 896663"/>
                  <a:gd name="connsiteY51" fmla="*/ 3492499 h 4505325"/>
                  <a:gd name="connsiteX52" fmla="*/ 277538 w 896663"/>
                  <a:gd name="connsiteY52" fmla="*/ 3917949 h 4505325"/>
                  <a:gd name="connsiteX53" fmla="*/ 382313 w 896663"/>
                  <a:gd name="connsiteY53" fmla="*/ 4203699 h 4505325"/>
                  <a:gd name="connsiteX54" fmla="*/ 502963 w 896663"/>
                  <a:gd name="connsiteY54" fmla="*/ 4254499 h 4505325"/>
                  <a:gd name="connsiteX55" fmla="*/ 639488 w 896663"/>
                  <a:gd name="connsiteY55" fmla="*/ 4302124 h 4505325"/>
                  <a:gd name="connsiteX56" fmla="*/ 760138 w 896663"/>
                  <a:gd name="connsiteY56" fmla="*/ 4292599 h 4505325"/>
                  <a:gd name="connsiteX57" fmla="*/ 896663 w 896663"/>
                  <a:gd name="connsiteY57" fmla="*/ 4505325 h 4505325"/>
                  <a:gd name="connsiteX0" fmla="*/ 445813 w 896663"/>
                  <a:gd name="connsiteY0" fmla="*/ 0 h 4505325"/>
                  <a:gd name="connsiteX1" fmla="*/ 407713 w 896663"/>
                  <a:gd name="connsiteY1" fmla="*/ 66675 h 4505325"/>
                  <a:gd name="connsiteX2" fmla="*/ 353738 w 896663"/>
                  <a:gd name="connsiteY2" fmla="*/ 85725 h 4505325"/>
                  <a:gd name="connsiteX3" fmla="*/ 283888 w 896663"/>
                  <a:gd name="connsiteY3" fmla="*/ 98425 h 4505325"/>
                  <a:gd name="connsiteX4" fmla="*/ 223563 w 896663"/>
                  <a:gd name="connsiteY4" fmla="*/ 133350 h 4505325"/>
                  <a:gd name="connsiteX5" fmla="*/ 121963 w 896663"/>
                  <a:gd name="connsiteY5" fmla="*/ 196850 h 4505325"/>
                  <a:gd name="connsiteX6" fmla="*/ 131488 w 896663"/>
                  <a:gd name="connsiteY6" fmla="*/ 247650 h 4505325"/>
                  <a:gd name="connsiteX7" fmla="*/ 172763 w 896663"/>
                  <a:gd name="connsiteY7" fmla="*/ 276225 h 4505325"/>
                  <a:gd name="connsiteX8" fmla="*/ 185463 w 896663"/>
                  <a:gd name="connsiteY8" fmla="*/ 327025 h 4505325"/>
                  <a:gd name="connsiteX9" fmla="*/ 239438 w 896663"/>
                  <a:gd name="connsiteY9" fmla="*/ 368300 h 4505325"/>
                  <a:gd name="connsiteX10" fmla="*/ 239438 w 896663"/>
                  <a:gd name="connsiteY10" fmla="*/ 412750 h 4505325"/>
                  <a:gd name="connsiteX11" fmla="*/ 207688 w 896663"/>
                  <a:gd name="connsiteY11" fmla="*/ 454025 h 4505325"/>
                  <a:gd name="connsiteX12" fmla="*/ 287063 w 896663"/>
                  <a:gd name="connsiteY12" fmla="*/ 479425 h 4505325"/>
                  <a:gd name="connsiteX13" fmla="*/ 302938 w 896663"/>
                  <a:gd name="connsiteY13" fmla="*/ 511175 h 4505325"/>
                  <a:gd name="connsiteX14" fmla="*/ 210863 w 896663"/>
                  <a:gd name="connsiteY14" fmla="*/ 581025 h 4505325"/>
                  <a:gd name="connsiteX15" fmla="*/ 160063 w 896663"/>
                  <a:gd name="connsiteY15" fmla="*/ 638175 h 4505325"/>
                  <a:gd name="connsiteX16" fmla="*/ 160063 w 896663"/>
                  <a:gd name="connsiteY16" fmla="*/ 695325 h 4505325"/>
                  <a:gd name="connsiteX17" fmla="*/ 185463 w 896663"/>
                  <a:gd name="connsiteY17" fmla="*/ 784225 h 4505325"/>
                  <a:gd name="connsiteX18" fmla="*/ 194988 w 896663"/>
                  <a:gd name="connsiteY18" fmla="*/ 835025 h 4505325"/>
                  <a:gd name="connsiteX19" fmla="*/ 204513 w 896663"/>
                  <a:gd name="connsiteY19" fmla="*/ 885825 h 4505325"/>
                  <a:gd name="connsiteX20" fmla="*/ 220388 w 896663"/>
                  <a:gd name="connsiteY20" fmla="*/ 923925 h 4505325"/>
                  <a:gd name="connsiteX21" fmla="*/ 163238 w 896663"/>
                  <a:gd name="connsiteY21" fmla="*/ 1022350 h 4505325"/>
                  <a:gd name="connsiteX22" fmla="*/ 96563 w 896663"/>
                  <a:gd name="connsiteY22" fmla="*/ 1057275 h 4505325"/>
                  <a:gd name="connsiteX23" fmla="*/ 52113 w 896663"/>
                  <a:gd name="connsiteY23" fmla="*/ 1143000 h 4505325"/>
                  <a:gd name="connsiteX24" fmla="*/ 20363 w 896663"/>
                  <a:gd name="connsiteY24" fmla="*/ 1244600 h 4505325"/>
                  <a:gd name="connsiteX25" fmla="*/ 1313 w 896663"/>
                  <a:gd name="connsiteY25" fmla="*/ 1346200 h 4505325"/>
                  <a:gd name="connsiteX26" fmla="*/ 10838 w 896663"/>
                  <a:gd name="connsiteY26" fmla="*/ 1438275 h 4505325"/>
                  <a:gd name="connsiteX27" fmla="*/ 83863 w 896663"/>
                  <a:gd name="connsiteY27" fmla="*/ 1511300 h 4505325"/>
                  <a:gd name="connsiteX28" fmla="*/ 112438 w 896663"/>
                  <a:gd name="connsiteY28" fmla="*/ 1558925 h 4505325"/>
                  <a:gd name="connsiteX29" fmla="*/ 150538 w 896663"/>
                  <a:gd name="connsiteY29" fmla="*/ 1590675 h 4505325"/>
                  <a:gd name="connsiteX30" fmla="*/ 169588 w 896663"/>
                  <a:gd name="connsiteY30" fmla="*/ 1644650 h 4505325"/>
                  <a:gd name="connsiteX31" fmla="*/ 226738 w 896663"/>
                  <a:gd name="connsiteY31" fmla="*/ 1685925 h 4505325"/>
                  <a:gd name="connsiteX32" fmla="*/ 264838 w 896663"/>
                  <a:gd name="connsiteY32" fmla="*/ 1730375 h 4505325"/>
                  <a:gd name="connsiteX33" fmla="*/ 277538 w 896663"/>
                  <a:gd name="connsiteY33" fmla="*/ 1758950 h 4505325"/>
                  <a:gd name="connsiteX34" fmla="*/ 277538 w 896663"/>
                  <a:gd name="connsiteY34" fmla="*/ 1828800 h 4505325"/>
                  <a:gd name="connsiteX35" fmla="*/ 325163 w 896663"/>
                  <a:gd name="connsiteY35" fmla="*/ 1905000 h 4505325"/>
                  <a:gd name="connsiteX36" fmla="*/ 363263 w 896663"/>
                  <a:gd name="connsiteY36" fmla="*/ 1962150 h 4505325"/>
                  <a:gd name="connsiteX37" fmla="*/ 369613 w 896663"/>
                  <a:gd name="connsiteY37" fmla="*/ 2028825 h 4505325"/>
                  <a:gd name="connsiteX38" fmla="*/ 407713 w 896663"/>
                  <a:gd name="connsiteY38" fmla="*/ 2085975 h 4505325"/>
                  <a:gd name="connsiteX39" fmla="*/ 414063 w 896663"/>
                  <a:gd name="connsiteY39" fmla="*/ 2209800 h 4505325"/>
                  <a:gd name="connsiteX40" fmla="*/ 252138 w 896663"/>
                  <a:gd name="connsiteY40" fmla="*/ 2251075 h 4505325"/>
                  <a:gd name="connsiteX41" fmla="*/ 201338 w 896663"/>
                  <a:gd name="connsiteY41" fmla="*/ 2390775 h 4505325"/>
                  <a:gd name="connsiteX42" fmla="*/ 210863 w 896663"/>
                  <a:gd name="connsiteY42" fmla="*/ 2454275 h 4505325"/>
                  <a:gd name="connsiteX43" fmla="*/ 226738 w 896663"/>
                  <a:gd name="connsiteY43" fmla="*/ 2482850 h 4505325"/>
                  <a:gd name="connsiteX44" fmla="*/ 226738 w 896663"/>
                  <a:gd name="connsiteY44" fmla="*/ 2527300 h 4505325"/>
                  <a:gd name="connsiteX45" fmla="*/ 236263 w 896663"/>
                  <a:gd name="connsiteY45" fmla="*/ 2603500 h 4505325"/>
                  <a:gd name="connsiteX46" fmla="*/ 153713 w 896663"/>
                  <a:gd name="connsiteY46" fmla="*/ 2917824 h 4505325"/>
                  <a:gd name="connsiteX47" fmla="*/ 80688 w 896663"/>
                  <a:gd name="connsiteY47" fmla="*/ 3063874 h 4505325"/>
                  <a:gd name="connsiteX48" fmla="*/ 42588 w 896663"/>
                  <a:gd name="connsiteY48" fmla="*/ 3133724 h 4505325"/>
                  <a:gd name="connsiteX49" fmla="*/ 17188 w 896663"/>
                  <a:gd name="connsiteY49" fmla="*/ 3203574 h 4505325"/>
                  <a:gd name="connsiteX50" fmla="*/ 10838 w 896663"/>
                  <a:gd name="connsiteY50" fmla="*/ 3390899 h 4505325"/>
                  <a:gd name="connsiteX51" fmla="*/ 33063 w 896663"/>
                  <a:gd name="connsiteY51" fmla="*/ 3492499 h 4505325"/>
                  <a:gd name="connsiteX52" fmla="*/ 264838 w 896663"/>
                  <a:gd name="connsiteY52" fmla="*/ 3917949 h 4505325"/>
                  <a:gd name="connsiteX53" fmla="*/ 382313 w 896663"/>
                  <a:gd name="connsiteY53" fmla="*/ 4203699 h 4505325"/>
                  <a:gd name="connsiteX54" fmla="*/ 502963 w 896663"/>
                  <a:gd name="connsiteY54" fmla="*/ 4254499 h 4505325"/>
                  <a:gd name="connsiteX55" fmla="*/ 639488 w 896663"/>
                  <a:gd name="connsiteY55" fmla="*/ 4302124 h 4505325"/>
                  <a:gd name="connsiteX56" fmla="*/ 760138 w 896663"/>
                  <a:gd name="connsiteY56" fmla="*/ 4292599 h 4505325"/>
                  <a:gd name="connsiteX57" fmla="*/ 896663 w 896663"/>
                  <a:gd name="connsiteY57" fmla="*/ 4505325 h 4505325"/>
                  <a:gd name="connsiteX0" fmla="*/ 445813 w 896663"/>
                  <a:gd name="connsiteY0" fmla="*/ 0 h 4505325"/>
                  <a:gd name="connsiteX1" fmla="*/ 407713 w 896663"/>
                  <a:gd name="connsiteY1" fmla="*/ 66675 h 4505325"/>
                  <a:gd name="connsiteX2" fmla="*/ 353738 w 896663"/>
                  <a:gd name="connsiteY2" fmla="*/ 85725 h 4505325"/>
                  <a:gd name="connsiteX3" fmla="*/ 283888 w 896663"/>
                  <a:gd name="connsiteY3" fmla="*/ 98425 h 4505325"/>
                  <a:gd name="connsiteX4" fmla="*/ 223563 w 896663"/>
                  <a:gd name="connsiteY4" fmla="*/ 133350 h 4505325"/>
                  <a:gd name="connsiteX5" fmla="*/ 121963 w 896663"/>
                  <a:gd name="connsiteY5" fmla="*/ 196850 h 4505325"/>
                  <a:gd name="connsiteX6" fmla="*/ 131488 w 896663"/>
                  <a:gd name="connsiteY6" fmla="*/ 247650 h 4505325"/>
                  <a:gd name="connsiteX7" fmla="*/ 172763 w 896663"/>
                  <a:gd name="connsiteY7" fmla="*/ 276225 h 4505325"/>
                  <a:gd name="connsiteX8" fmla="*/ 185463 w 896663"/>
                  <a:gd name="connsiteY8" fmla="*/ 327025 h 4505325"/>
                  <a:gd name="connsiteX9" fmla="*/ 239438 w 896663"/>
                  <a:gd name="connsiteY9" fmla="*/ 368300 h 4505325"/>
                  <a:gd name="connsiteX10" fmla="*/ 239438 w 896663"/>
                  <a:gd name="connsiteY10" fmla="*/ 412750 h 4505325"/>
                  <a:gd name="connsiteX11" fmla="*/ 207688 w 896663"/>
                  <a:gd name="connsiteY11" fmla="*/ 454025 h 4505325"/>
                  <a:gd name="connsiteX12" fmla="*/ 287063 w 896663"/>
                  <a:gd name="connsiteY12" fmla="*/ 479425 h 4505325"/>
                  <a:gd name="connsiteX13" fmla="*/ 302938 w 896663"/>
                  <a:gd name="connsiteY13" fmla="*/ 511175 h 4505325"/>
                  <a:gd name="connsiteX14" fmla="*/ 210863 w 896663"/>
                  <a:gd name="connsiteY14" fmla="*/ 581025 h 4505325"/>
                  <a:gd name="connsiteX15" fmla="*/ 160063 w 896663"/>
                  <a:gd name="connsiteY15" fmla="*/ 638175 h 4505325"/>
                  <a:gd name="connsiteX16" fmla="*/ 160063 w 896663"/>
                  <a:gd name="connsiteY16" fmla="*/ 695325 h 4505325"/>
                  <a:gd name="connsiteX17" fmla="*/ 185463 w 896663"/>
                  <a:gd name="connsiteY17" fmla="*/ 784225 h 4505325"/>
                  <a:gd name="connsiteX18" fmla="*/ 194988 w 896663"/>
                  <a:gd name="connsiteY18" fmla="*/ 835025 h 4505325"/>
                  <a:gd name="connsiteX19" fmla="*/ 204513 w 896663"/>
                  <a:gd name="connsiteY19" fmla="*/ 885825 h 4505325"/>
                  <a:gd name="connsiteX20" fmla="*/ 220388 w 896663"/>
                  <a:gd name="connsiteY20" fmla="*/ 923925 h 4505325"/>
                  <a:gd name="connsiteX21" fmla="*/ 163238 w 896663"/>
                  <a:gd name="connsiteY21" fmla="*/ 1022350 h 4505325"/>
                  <a:gd name="connsiteX22" fmla="*/ 96563 w 896663"/>
                  <a:gd name="connsiteY22" fmla="*/ 1057275 h 4505325"/>
                  <a:gd name="connsiteX23" fmla="*/ 52113 w 896663"/>
                  <a:gd name="connsiteY23" fmla="*/ 1143000 h 4505325"/>
                  <a:gd name="connsiteX24" fmla="*/ 20363 w 896663"/>
                  <a:gd name="connsiteY24" fmla="*/ 1244600 h 4505325"/>
                  <a:gd name="connsiteX25" fmla="*/ 1313 w 896663"/>
                  <a:gd name="connsiteY25" fmla="*/ 1346200 h 4505325"/>
                  <a:gd name="connsiteX26" fmla="*/ 10838 w 896663"/>
                  <a:gd name="connsiteY26" fmla="*/ 1438275 h 4505325"/>
                  <a:gd name="connsiteX27" fmla="*/ 83863 w 896663"/>
                  <a:gd name="connsiteY27" fmla="*/ 1511300 h 4505325"/>
                  <a:gd name="connsiteX28" fmla="*/ 112438 w 896663"/>
                  <a:gd name="connsiteY28" fmla="*/ 1558925 h 4505325"/>
                  <a:gd name="connsiteX29" fmla="*/ 150538 w 896663"/>
                  <a:gd name="connsiteY29" fmla="*/ 1590675 h 4505325"/>
                  <a:gd name="connsiteX30" fmla="*/ 169588 w 896663"/>
                  <a:gd name="connsiteY30" fmla="*/ 1644650 h 4505325"/>
                  <a:gd name="connsiteX31" fmla="*/ 226738 w 896663"/>
                  <a:gd name="connsiteY31" fmla="*/ 1685925 h 4505325"/>
                  <a:gd name="connsiteX32" fmla="*/ 264838 w 896663"/>
                  <a:gd name="connsiteY32" fmla="*/ 1730375 h 4505325"/>
                  <a:gd name="connsiteX33" fmla="*/ 277538 w 896663"/>
                  <a:gd name="connsiteY33" fmla="*/ 1758950 h 4505325"/>
                  <a:gd name="connsiteX34" fmla="*/ 277538 w 896663"/>
                  <a:gd name="connsiteY34" fmla="*/ 1828800 h 4505325"/>
                  <a:gd name="connsiteX35" fmla="*/ 325163 w 896663"/>
                  <a:gd name="connsiteY35" fmla="*/ 1905000 h 4505325"/>
                  <a:gd name="connsiteX36" fmla="*/ 363263 w 896663"/>
                  <a:gd name="connsiteY36" fmla="*/ 1962150 h 4505325"/>
                  <a:gd name="connsiteX37" fmla="*/ 369613 w 896663"/>
                  <a:gd name="connsiteY37" fmla="*/ 2028825 h 4505325"/>
                  <a:gd name="connsiteX38" fmla="*/ 407713 w 896663"/>
                  <a:gd name="connsiteY38" fmla="*/ 2085975 h 4505325"/>
                  <a:gd name="connsiteX39" fmla="*/ 414063 w 896663"/>
                  <a:gd name="connsiteY39" fmla="*/ 2209800 h 4505325"/>
                  <a:gd name="connsiteX40" fmla="*/ 252138 w 896663"/>
                  <a:gd name="connsiteY40" fmla="*/ 2251075 h 4505325"/>
                  <a:gd name="connsiteX41" fmla="*/ 201338 w 896663"/>
                  <a:gd name="connsiteY41" fmla="*/ 2390775 h 4505325"/>
                  <a:gd name="connsiteX42" fmla="*/ 210863 w 896663"/>
                  <a:gd name="connsiteY42" fmla="*/ 2454275 h 4505325"/>
                  <a:gd name="connsiteX43" fmla="*/ 226738 w 896663"/>
                  <a:gd name="connsiteY43" fmla="*/ 2482850 h 4505325"/>
                  <a:gd name="connsiteX44" fmla="*/ 226738 w 896663"/>
                  <a:gd name="connsiteY44" fmla="*/ 2527300 h 4505325"/>
                  <a:gd name="connsiteX45" fmla="*/ 236263 w 896663"/>
                  <a:gd name="connsiteY45" fmla="*/ 2603500 h 4505325"/>
                  <a:gd name="connsiteX46" fmla="*/ 153713 w 896663"/>
                  <a:gd name="connsiteY46" fmla="*/ 2917824 h 4505325"/>
                  <a:gd name="connsiteX47" fmla="*/ 80688 w 896663"/>
                  <a:gd name="connsiteY47" fmla="*/ 3063874 h 4505325"/>
                  <a:gd name="connsiteX48" fmla="*/ 42588 w 896663"/>
                  <a:gd name="connsiteY48" fmla="*/ 3133724 h 4505325"/>
                  <a:gd name="connsiteX49" fmla="*/ 17188 w 896663"/>
                  <a:gd name="connsiteY49" fmla="*/ 3203574 h 4505325"/>
                  <a:gd name="connsiteX50" fmla="*/ 10838 w 896663"/>
                  <a:gd name="connsiteY50" fmla="*/ 3390899 h 4505325"/>
                  <a:gd name="connsiteX51" fmla="*/ 33063 w 896663"/>
                  <a:gd name="connsiteY51" fmla="*/ 3492499 h 4505325"/>
                  <a:gd name="connsiteX52" fmla="*/ 264838 w 896663"/>
                  <a:gd name="connsiteY52" fmla="*/ 3917949 h 4505325"/>
                  <a:gd name="connsiteX53" fmla="*/ 382313 w 896663"/>
                  <a:gd name="connsiteY53" fmla="*/ 4203699 h 4505325"/>
                  <a:gd name="connsiteX54" fmla="*/ 502963 w 896663"/>
                  <a:gd name="connsiteY54" fmla="*/ 4254499 h 4505325"/>
                  <a:gd name="connsiteX55" fmla="*/ 639488 w 896663"/>
                  <a:gd name="connsiteY55" fmla="*/ 4302124 h 4505325"/>
                  <a:gd name="connsiteX56" fmla="*/ 760138 w 896663"/>
                  <a:gd name="connsiteY56" fmla="*/ 4292599 h 4505325"/>
                  <a:gd name="connsiteX57" fmla="*/ 896663 w 896663"/>
                  <a:gd name="connsiteY57" fmla="*/ 4505325 h 4505325"/>
                  <a:gd name="connsiteX0" fmla="*/ 445813 w 896663"/>
                  <a:gd name="connsiteY0" fmla="*/ 0 h 4505325"/>
                  <a:gd name="connsiteX1" fmla="*/ 407713 w 896663"/>
                  <a:gd name="connsiteY1" fmla="*/ 66675 h 4505325"/>
                  <a:gd name="connsiteX2" fmla="*/ 353738 w 896663"/>
                  <a:gd name="connsiteY2" fmla="*/ 85725 h 4505325"/>
                  <a:gd name="connsiteX3" fmla="*/ 283888 w 896663"/>
                  <a:gd name="connsiteY3" fmla="*/ 98425 h 4505325"/>
                  <a:gd name="connsiteX4" fmla="*/ 223563 w 896663"/>
                  <a:gd name="connsiteY4" fmla="*/ 133350 h 4505325"/>
                  <a:gd name="connsiteX5" fmla="*/ 121963 w 896663"/>
                  <a:gd name="connsiteY5" fmla="*/ 196850 h 4505325"/>
                  <a:gd name="connsiteX6" fmla="*/ 131488 w 896663"/>
                  <a:gd name="connsiteY6" fmla="*/ 247650 h 4505325"/>
                  <a:gd name="connsiteX7" fmla="*/ 172763 w 896663"/>
                  <a:gd name="connsiteY7" fmla="*/ 276225 h 4505325"/>
                  <a:gd name="connsiteX8" fmla="*/ 185463 w 896663"/>
                  <a:gd name="connsiteY8" fmla="*/ 327025 h 4505325"/>
                  <a:gd name="connsiteX9" fmla="*/ 239438 w 896663"/>
                  <a:gd name="connsiteY9" fmla="*/ 368300 h 4505325"/>
                  <a:gd name="connsiteX10" fmla="*/ 239438 w 896663"/>
                  <a:gd name="connsiteY10" fmla="*/ 412750 h 4505325"/>
                  <a:gd name="connsiteX11" fmla="*/ 207688 w 896663"/>
                  <a:gd name="connsiteY11" fmla="*/ 454025 h 4505325"/>
                  <a:gd name="connsiteX12" fmla="*/ 287063 w 896663"/>
                  <a:gd name="connsiteY12" fmla="*/ 479425 h 4505325"/>
                  <a:gd name="connsiteX13" fmla="*/ 302938 w 896663"/>
                  <a:gd name="connsiteY13" fmla="*/ 511175 h 4505325"/>
                  <a:gd name="connsiteX14" fmla="*/ 210863 w 896663"/>
                  <a:gd name="connsiteY14" fmla="*/ 581025 h 4505325"/>
                  <a:gd name="connsiteX15" fmla="*/ 160063 w 896663"/>
                  <a:gd name="connsiteY15" fmla="*/ 638175 h 4505325"/>
                  <a:gd name="connsiteX16" fmla="*/ 160063 w 896663"/>
                  <a:gd name="connsiteY16" fmla="*/ 695325 h 4505325"/>
                  <a:gd name="connsiteX17" fmla="*/ 185463 w 896663"/>
                  <a:gd name="connsiteY17" fmla="*/ 784225 h 4505325"/>
                  <a:gd name="connsiteX18" fmla="*/ 194988 w 896663"/>
                  <a:gd name="connsiteY18" fmla="*/ 835025 h 4505325"/>
                  <a:gd name="connsiteX19" fmla="*/ 204513 w 896663"/>
                  <a:gd name="connsiteY19" fmla="*/ 885825 h 4505325"/>
                  <a:gd name="connsiteX20" fmla="*/ 220388 w 896663"/>
                  <a:gd name="connsiteY20" fmla="*/ 923925 h 4505325"/>
                  <a:gd name="connsiteX21" fmla="*/ 163238 w 896663"/>
                  <a:gd name="connsiteY21" fmla="*/ 1022350 h 4505325"/>
                  <a:gd name="connsiteX22" fmla="*/ 96563 w 896663"/>
                  <a:gd name="connsiteY22" fmla="*/ 1057275 h 4505325"/>
                  <a:gd name="connsiteX23" fmla="*/ 52113 w 896663"/>
                  <a:gd name="connsiteY23" fmla="*/ 1143000 h 4505325"/>
                  <a:gd name="connsiteX24" fmla="*/ 20363 w 896663"/>
                  <a:gd name="connsiteY24" fmla="*/ 1244600 h 4505325"/>
                  <a:gd name="connsiteX25" fmla="*/ 1313 w 896663"/>
                  <a:gd name="connsiteY25" fmla="*/ 1346200 h 4505325"/>
                  <a:gd name="connsiteX26" fmla="*/ 10838 w 896663"/>
                  <a:gd name="connsiteY26" fmla="*/ 1438275 h 4505325"/>
                  <a:gd name="connsiteX27" fmla="*/ 83863 w 896663"/>
                  <a:gd name="connsiteY27" fmla="*/ 1511300 h 4505325"/>
                  <a:gd name="connsiteX28" fmla="*/ 112438 w 896663"/>
                  <a:gd name="connsiteY28" fmla="*/ 1558925 h 4505325"/>
                  <a:gd name="connsiteX29" fmla="*/ 150538 w 896663"/>
                  <a:gd name="connsiteY29" fmla="*/ 1590675 h 4505325"/>
                  <a:gd name="connsiteX30" fmla="*/ 169588 w 896663"/>
                  <a:gd name="connsiteY30" fmla="*/ 1644650 h 4505325"/>
                  <a:gd name="connsiteX31" fmla="*/ 226738 w 896663"/>
                  <a:gd name="connsiteY31" fmla="*/ 1685925 h 4505325"/>
                  <a:gd name="connsiteX32" fmla="*/ 264838 w 896663"/>
                  <a:gd name="connsiteY32" fmla="*/ 1730375 h 4505325"/>
                  <a:gd name="connsiteX33" fmla="*/ 277538 w 896663"/>
                  <a:gd name="connsiteY33" fmla="*/ 1758950 h 4505325"/>
                  <a:gd name="connsiteX34" fmla="*/ 277538 w 896663"/>
                  <a:gd name="connsiteY34" fmla="*/ 1828800 h 4505325"/>
                  <a:gd name="connsiteX35" fmla="*/ 325163 w 896663"/>
                  <a:gd name="connsiteY35" fmla="*/ 1905000 h 4505325"/>
                  <a:gd name="connsiteX36" fmla="*/ 363263 w 896663"/>
                  <a:gd name="connsiteY36" fmla="*/ 1962150 h 4505325"/>
                  <a:gd name="connsiteX37" fmla="*/ 369613 w 896663"/>
                  <a:gd name="connsiteY37" fmla="*/ 2028825 h 4505325"/>
                  <a:gd name="connsiteX38" fmla="*/ 407713 w 896663"/>
                  <a:gd name="connsiteY38" fmla="*/ 2085975 h 4505325"/>
                  <a:gd name="connsiteX39" fmla="*/ 414063 w 896663"/>
                  <a:gd name="connsiteY39" fmla="*/ 2209800 h 4505325"/>
                  <a:gd name="connsiteX40" fmla="*/ 252138 w 896663"/>
                  <a:gd name="connsiteY40" fmla="*/ 2251075 h 4505325"/>
                  <a:gd name="connsiteX41" fmla="*/ 201338 w 896663"/>
                  <a:gd name="connsiteY41" fmla="*/ 2390775 h 4505325"/>
                  <a:gd name="connsiteX42" fmla="*/ 210863 w 896663"/>
                  <a:gd name="connsiteY42" fmla="*/ 2454275 h 4505325"/>
                  <a:gd name="connsiteX43" fmla="*/ 226738 w 896663"/>
                  <a:gd name="connsiteY43" fmla="*/ 2482850 h 4505325"/>
                  <a:gd name="connsiteX44" fmla="*/ 226738 w 896663"/>
                  <a:gd name="connsiteY44" fmla="*/ 2527300 h 4505325"/>
                  <a:gd name="connsiteX45" fmla="*/ 236263 w 896663"/>
                  <a:gd name="connsiteY45" fmla="*/ 2603500 h 4505325"/>
                  <a:gd name="connsiteX46" fmla="*/ 153713 w 896663"/>
                  <a:gd name="connsiteY46" fmla="*/ 2917824 h 4505325"/>
                  <a:gd name="connsiteX47" fmla="*/ 80688 w 896663"/>
                  <a:gd name="connsiteY47" fmla="*/ 3063874 h 4505325"/>
                  <a:gd name="connsiteX48" fmla="*/ 42588 w 896663"/>
                  <a:gd name="connsiteY48" fmla="*/ 3133724 h 4505325"/>
                  <a:gd name="connsiteX49" fmla="*/ 17188 w 896663"/>
                  <a:gd name="connsiteY49" fmla="*/ 3203574 h 4505325"/>
                  <a:gd name="connsiteX50" fmla="*/ 10838 w 896663"/>
                  <a:gd name="connsiteY50" fmla="*/ 3390899 h 4505325"/>
                  <a:gd name="connsiteX51" fmla="*/ 33063 w 896663"/>
                  <a:gd name="connsiteY51" fmla="*/ 3492499 h 4505325"/>
                  <a:gd name="connsiteX52" fmla="*/ 118788 w 896663"/>
                  <a:gd name="connsiteY52" fmla="*/ 3829049 h 4505325"/>
                  <a:gd name="connsiteX53" fmla="*/ 264838 w 896663"/>
                  <a:gd name="connsiteY53" fmla="*/ 3917949 h 4505325"/>
                  <a:gd name="connsiteX54" fmla="*/ 382313 w 896663"/>
                  <a:gd name="connsiteY54" fmla="*/ 4203699 h 4505325"/>
                  <a:gd name="connsiteX55" fmla="*/ 502963 w 896663"/>
                  <a:gd name="connsiteY55" fmla="*/ 4254499 h 4505325"/>
                  <a:gd name="connsiteX56" fmla="*/ 639488 w 896663"/>
                  <a:gd name="connsiteY56" fmla="*/ 4302124 h 4505325"/>
                  <a:gd name="connsiteX57" fmla="*/ 760138 w 896663"/>
                  <a:gd name="connsiteY57" fmla="*/ 4292599 h 4505325"/>
                  <a:gd name="connsiteX58" fmla="*/ 896663 w 896663"/>
                  <a:gd name="connsiteY58" fmla="*/ 4505325 h 4505325"/>
                  <a:gd name="connsiteX0" fmla="*/ 445813 w 896663"/>
                  <a:gd name="connsiteY0" fmla="*/ 0 h 4505325"/>
                  <a:gd name="connsiteX1" fmla="*/ 407713 w 896663"/>
                  <a:gd name="connsiteY1" fmla="*/ 66675 h 4505325"/>
                  <a:gd name="connsiteX2" fmla="*/ 353738 w 896663"/>
                  <a:gd name="connsiteY2" fmla="*/ 85725 h 4505325"/>
                  <a:gd name="connsiteX3" fmla="*/ 283888 w 896663"/>
                  <a:gd name="connsiteY3" fmla="*/ 98425 h 4505325"/>
                  <a:gd name="connsiteX4" fmla="*/ 223563 w 896663"/>
                  <a:gd name="connsiteY4" fmla="*/ 133350 h 4505325"/>
                  <a:gd name="connsiteX5" fmla="*/ 121963 w 896663"/>
                  <a:gd name="connsiteY5" fmla="*/ 196850 h 4505325"/>
                  <a:gd name="connsiteX6" fmla="*/ 131488 w 896663"/>
                  <a:gd name="connsiteY6" fmla="*/ 247650 h 4505325"/>
                  <a:gd name="connsiteX7" fmla="*/ 172763 w 896663"/>
                  <a:gd name="connsiteY7" fmla="*/ 276225 h 4505325"/>
                  <a:gd name="connsiteX8" fmla="*/ 185463 w 896663"/>
                  <a:gd name="connsiteY8" fmla="*/ 327025 h 4505325"/>
                  <a:gd name="connsiteX9" fmla="*/ 239438 w 896663"/>
                  <a:gd name="connsiteY9" fmla="*/ 368300 h 4505325"/>
                  <a:gd name="connsiteX10" fmla="*/ 239438 w 896663"/>
                  <a:gd name="connsiteY10" fmla="*/ 412750 h 4505325"/>
                  <a:gd name="connsiteX11" fmla="*/ 207688 w 896663"/>
                  <a:gd name="connsiteY11" fmla="*/ 454025 h 4505325"/>
                  <a:gd name="connsiteX12" fmla="*/ 287063 w 896663"/>
                  <a:gd name="connsiteY12" fmla="*/ 479425 h 4505325"/>
                  <a:gd name="connsiteX13" fmla="*/ 302938 w 896663"/>
                  <a:gd name="connsiteY13" fmla="*/ 511175 h 4505325"/>
                  <a:gd name="connsiteX14" fmla="*/ 210863 w 896663"/>
                  <a:gd name="connsiteY14" fmla="*/ 581025 h 4505325"/>
                  <a:gd name="connsiteX15" fmla="*/ 160063 w 896663"/>
                  <a:gd name="connsiteY15" fmla="*/ 638175 h 4505325"/>
                  <a:gd name="connsiteX16" fmla="*/ 160063 w 896663"/>
                  <a:gd name="connsiteY16" fmla="*/ 695325 h 4505325"/>
                  <a:gd name="connsiteX17" fmla="*/ 185463 w 896663"/>
                  <a:gd name="connsiteY17" fmla="*/ 784225 h 4505325"/>
                  <a:gd name="connsiteX18" fmla="*/ 194988 w 896663"/>
                  <a:gd name="connsiteY18" fmla="*/ 835025 h 4505325"/>
                  <a:gd name="connsiteX19" fmla="*/ 204513 w 896663"/>
                  <a:gd name="connsiteY19" fmla="*/ 885825 h 4505325"/>
                  <a:gd name="connsiteX20" fmla="*/ 220388 w 896663"/>
                  <a:gd name="connsiteY20" fmla="*/ 923925 h 4505325"/>
                  <a:gd name="connsiteX21" fmla="*/ 163238 w 896663"/>
                  <a:gd name="connsiteY21" fmla="*/ 1022350 h 4505325"/>
                  <a:gd name="connsiteX22" fmla="*/ 96563 w 896663"/>
                  <a:gd name="connsiteY22" fmla="*/ 1057275 h 4505325"/>
                  <a:gd name="connsiteX23" fmla="*/ 52113 w 896663"/>
                  <a:gd name="connsiteY23" fmla="*/ 1143000 h 4505325"/>
                  <a:gd name="connsiteX24" fmla="*/ 20363 w 896663"/>
                  <a:gd name="connsiteY24" fmla="*/ 1244600 h 4505325"/>
                  <a:gd name="connsiteX25" fmla="*/ 1313 w 896663"/>
                  <a:gd name="connsiteY25" fmla="*/ 1346200 h 4505325"/>
                  <a:gd name="connsiteX26" fmla="*/ 10838 w 896663"/>
                  <a:gd name="connsiteY26" fmla="*/ 1438275 h 4505325"/>
                  <a:gd name="connsiteX27" fmla="*/ 83863 w 896663"/>
                  <a:gd name="connsiteY27" fmla="*/ 1511300 h 4505325"/>
                  <a:gd name="connsiteX28" fmla="*/ 112438 w 896663"/>
                  <a:gd name="connsiteY28" fmla="*/ 1558925 h 4505325"/>
                  <a:gd name="connsiteX29" fmla="*/ 150538 w 896663"/>
                  <a:gd name="connsiteY29" fmla="*/ 1590675 h 4505325"/>
                  <a:gd name="connsiteX30" fmla="*/ 169588 w 896663"/>
                  <a:gd name="connsiteY30" fmla="*/ 1644650 h 4505325"/>
                  <a:gd name="connsiteX31" fmla="*/ 226738 w 896663"/>
                  <a:gd name="connsiteY31" fmla="*/ 1685925 h 4505325"/>
                  <a:gd name="connsiteX32" fmla="*/ 264838 w 896663"/>
                  <a:gd name="connsiteY32" fmla="*/ 1730375 h 4505325"/>
                  <a:gd name="connsiteX33" fmla="*/ 277538 w 896663"/>
                  <a:gd name="connsiteY33" fmla="*/ 1758950 h 4505325"/>
                  <a:gd name="connsiteX34" fmla="*/ 277538 w 896663"/>
                  <a:gd name="connsiteY34" fmla="*/ 1828800 h 4505325"/>
                  <a:gd name="connsiteX35" fmla="*/ 325163 w 896663"/>
                  <a:gd name="connsiteY35" fmla="*/ 1905000 h 4505325"/>
                  <a:gd name="connsiteX36" fmla="*/ 363263 w 896663"/>
                  <a:gd name="connsiteY36" fmla="*/ 1962150 h 4505325"/>
                  <a:gd name="connsiteX37" fmla="*/ 369613 w 896663"/>
                  <a:gd name="connsiteY37" fmla="*/ 2028825 h 4505325"/>
                  <a:gd name="connsiteX38" fmla="*/ 407713 w 896663"/>
                  <a:gd name="connsiteY38" fmla="*/ 2085975 h 4505325"/>
                  <a:gd name="connsiteX39" fmla="*/ 414063 w 896663"/>
                  <a:gd name="connsiteY39" fmla="*/ 2209800 h 4505325"/>
                  <a:gd name="connsiteX40" fmla="*/ 252138 w 896663"/>
                  <a:gd name="connsiteY40" fmla="*/ 2251075 h 4505325"/>
                  <a:gd name="connsiteX41" fmla="*/ 201338 w 896663"/>
                  <a:gd name="connsiteY41" fmla="*/ 2390775 h 4505325"/>
                  <a:gd name="connsiteX42" fmla="*/ 210863 w 896663"/>
                  <a:gd name="connsiteY42" fmla="*/ 2454275 h 4505325"/>
                  <a:gd name="connsiteX43" fmla="*/ 226738 w 896663"/>
                  <a:gd name="connsiteY43" fmla="*/ 2482850 h 4505325"/>
                  <a:gd name="connsiteX44" fmla="*/ 226738 w 896663"/>
                  <a:gd name="connsiteY44" fmla="*/ 2527300 h 4505325"/>
                  <a:gd name="connsiteX45" fmla="*/ 236263 w 896663"/>
                  <a:gd name="connsiteY45" fmla="*/ 2603500 h 4505325"/>
                  <a:gd name="connsiteX46" fmla="*/ 153713 w 896663"/>
                  <a:gd name="connsiteY46" fmla="*/ 2917824 h 4505325"/>
                  <a:gd name="connsiteX47" fmla="*/ 80688 w 896663"/>
                  <a:gd name="connsiteY47" fmla="*/ 3063874 h 4505325"/>
                  <a:gd name="connsiteX48" fmla="*/ 42588 w 896663"/>
                  <a:gd name="connsiteY48" fmla="*/ 3133724 h 4505325"/>
                  <a:gd name="connsiteX49" fmla="*/ 17188 w 896663"/>
                  <a:gd name="connsiteY49" fmla="*/ 3203574 h 4505325"/>
                  <a:gd name="connsiteX50" fmla="*/ 10838 w 896663"/>
                  <a:gd name="connsiteY50" fmla="*/ 3390899 h 4505325"/>
                  <a:gd name="connsiteX51" fmla="*/ 33063 w 896663"/>
                  <a:gd name="connsiteY51" fmla="*/ 3492499 h 4505325"/>
                  <a:gd name="connsiteX52" fmla="*/ 118788 w 896663"/>
                  <a:gd name="connsiteY52" fmla="*/ 3829049 h 4505325"/>
                  <a:gd name="connsiteX53" fmla="*/ 264838 w 896663"/>
                  <a:gd name="connsiteY53" fmla="*/ 3917949 h 4505325"/>
                  <a:gd name="connsiteX54" fmla="*/ 382313 w 896663"/>
                  <a:gd name="connsiteY54" fmla="*/ 4203699 h 4505325"/>
                  <a:gd name="connsiteX55" fmla="*/ 502963 w 896663"/>
                  <a:gd name="connsiteY55" fmla="*/ 4254499 h 4505325"/>
                  <a:gd name="connsiteX56" fmla="*/ 639488 w 896663"/>
                  <a:gd name="connsiteY56" fmla="*/ 4302124 h 4505325"/>
                  <a:gd name="connsiteX57" fmla="*/ 760138 w 896663"/>
                  <a:gd name="connsiteY57" fmla="*/ 4292599 h 4505325"/>
                  <a:gd name="connsiteX58" fmla="*/ 896663 w 896663"/>
                  <a:gd name="connsiteY58" fmla="*/ 4505325 h 4505325"/>
                  <a:gd name="connsiteX0" fmla="*/ 445813 w 896663"/>
                  <a:gd name="connsiteY0" fmla="*/ 0 h 4505325"/>
                  <a:gd name="connsiteX1" fmla="*/ 407713 w 896663"/>
                  <a:gd name="connsiteY1" fmla="*/ 66675 h 4505325"/>
                  <a:gd name="connsiteX2" fmla="*/ 353738 w 896663"/>
                  <a:gd name="connsiteY2" fmla="*/ 85725 h 4505325"/>
                  <a:gd name="connsiteX3" fmla="*/ 283888 w 896663"/>
                  <a:gd name="connsiteY3" fmla="*/ 98425 h 4505325"/>
                  <a:gd name="connsiteX4" fmla="*/ 223563 w 896663"/>
                  <a:gd name="connsiteY4" fmla="*/ 133350 h 4505325"/>
                  <a:gd name="connsiteX5" fmla="*/ 121963 w 896663"/>
                  <a:gd name="connsiteY5" fmla="*/ 196850 h 4505325"/>
                  <a:gd name="connsiteX6" fmla="*/ 131488 w 896663"/>
                  <a:gd name="connsiteY6" fmla="*/ 247650 h 4505325"/>
                  <a:gd name="connsiteX7" fmla="*/ 172763 w 896663"/>
                  <a:gd name="connsiteY7" fmla="*/ 276225 h 4505325"/>
                  <a:gd name="connsiteX8" fmla="*/ 185463 w 896663"/>
                  <a:gd name="connsiteY8" fmla="*/ 327025 h 4505325"/>
                  <a:gd name="connsiteX9" fmla="*/ 239438 w 896663"/>
                  <a:gd name="connsiteY9" fmla="*/ 368300 h 4505325"/>
                  <a:gd name="connsiteX10" fmla="*/ 239438 w 896663"/>
                  <a:gd name="connsiteY10" fmla="*/ 412750 h 4505325"/>
                  <a:gd name="connsiteX11" fmla="*/ 207688 w 896663"/>
                  <a:gd name="connsiteY11" fmla="*/ 454025 h 4505325"/>
                  <a:gd name="connsiteX12" fmla="*/ 287063 w 896663"/>
                  <a:gd name="connsiteY12" fmla="*/ 479425 h 4505325"/>
                  <a:gd name="connsiteX13" fmla="*/ 302938 w 896663"/>
                  <a:gd name="connsiteY13" fmla="*/ 511175 h 4505325"/>
                  <a:gd name="connsiteX14" fmla="*/ 210863 w 896663"/>
                  <a:gd name="connsiteY14" fmla="*/ 581025 h 4505325"/>
                  <a:gd name="connsiteX15" fmla="*/ 160063 w 896663"/>
                  <a:gd name="connsiteY15" fmla="*/ 638175 h 4505325"/>
                  <a:gd name="connsiteX16" fmla="*/ 160063 w 896663"/>
                  <a:gd name="connsiteY16" fmla="*/ 695325 h 4505325"/>
                  <a:gd name="connsiteX17" fmla="*/ 185463 w 896663"/>
                  <a:gd name="connsiteY17" fmla="*/ 784225 h 4505325"/>
                  <a:gd name="connsiteX18" fmla="*/ 194988 w 896663"/>
                  <a:gd name="connsiteY18" fmla="*/ 835025 h 4505325"/>
                  <a:gd name="connsiteX19" fmla="*/ 204513 w 896663"/>
                  <a:gd name="connsiteY19" fmla="*/ 885825 h 4505325"/>
                  <a:gd name="connsiteX20" fmla="*/ 220388 w 896663"/>
                  <a:gd name="connsiteY20" fmla="*/ 923925 h 4505325"/>
                  <a:gd name="connsiteX21" fmla="*/ 163238 w 896663"/>
                  <a:gd name="connsiteY21" fmla="*/ 1022350 h 4505325"/>
                  <a:gd name="connsiteX22" fmla="*/ 96563 w 896663"/>
                  <a:gd name="connsiteY22" fmla="*/ 1057275 h 4505325"/>
                  <a:gd name="connsiteX23" fmla="*/ 52113 w 896663"/>
                  <a:gd name="connsiteY23" fmla="*/ 1143000 h 4505325"/>
                  <a:gd name="connsiteX24" fmla="*/ 20363 w 896663"/>
                  <a:gd name="connsiteY24" fmla="*/ 1244600 h 4505325"/>
                  <a:gd name="connsiteX25" fmla="*/ 1313 w 896663"/>
                  <a:gd name="connsiteY25" fmla="*/ 1346200 h 4505325"/>
                  <a:gd name="connsiteX26" fmla="*/ 10838 w 896663"/>
                  <a:gd name="connsiteY26" fmla="*/ 1438275 h 4505325"/>
                  <a:gd name="connsiteX27" fmla="*/ 83863 w 896663"/>
                  <a:gd name="connsiteY27" fmla="*/ 1511300 h 4505325"/>
                  <a:gd name="connsiteX28" fmla="*/ 112438 w 896663"/>
                  <a:gd name="connsiteY28" fmla="*/ 1558925 h 4505325"/>
                  <a:gd name="connsiteX29" fmla="*/ 150538 w 896663"/>
                  <a:gd name="connsiteY29" fmla="*/ 1590675 h 4505325"/>
                  <a:gd name="connsiteX30" fmla="*/ 169588 w 896663"/>
                  <a:gd name="connsiteY30" fmla="*/ 1644650 h 4505325"/>
                  <a:gd name="connsiteX31" fmla="*/ 226738 w 896663"/>
                  <a:gd name="connsiteY31" fmla="*/ 1685925 h 4505325"/>
                  <a:gd name="connsiteX32" fmla="*/ 264838 w 896663"/>
                  <a:gd name="connsiteY32" fmla="*/ 1730375 h 4505325"/>
                  <a:gd name="connsiteX33" fmla="*/ 277538 w 896663"/>
                  <a:gd name="connsiteY33" fmla="*/ 1758950 h 4505325"/>
                  <a:gd name="connsiteX34" fmla="*/ 277538 w 896663"/>
                  <a:gd name="connsiteY34" fmla="*/ 1828800 h 4505325"/>
                  <a:gd name="connsiteX35" fmla="*/ 325163 w 896663"/>
                  <a:gd name="connsiteY35" fmla="*/ 1905000 h 4505325"/>
                  <a:gd name="connsiteX36" fmla="*/ 363263 w 896663"/>
                  <a:gd name="connsiteY36" fmla="*/ 1962150 h 4505325"/>
                  <a:gd name="connsiteX37" fmla="*/ 369613 w 896663"/>
                  <a:gd name="connsiteY37" fmla="*/ 2028825 h 4505325"/>
                  <a:gd name="connsiteX38" fmla="*/ 407713 w 896663"/>
                  <a:gd name="connsiteY38" fmla="*/ 2085975 h 4505325"/>
                  <a:gd name="connsiteX39" fmla="*/ 414063 w 896663"/>
                  <a:gd name="connsiteY39" fmla="*/ 2209800 h 4505325"/>
                  <a:gd name="connsiteX40" fmla="*/ 252138 w 896663"/>
                  <a:gd name="connsiteY40" fmla="*/ 2251075 h 4505325"/>
                  <a:gd name="connsiteX41" fmla="*/ 201338 w 896663"/>
                  <a:gd name="connsiteY41" fmla="*/ 2390775 h 4505325"/>
                  <a:gd name="connsiteX42" fmla="*/ 210863 w 896663"/>
                  <a:gd name="connsiteY42" fmla="*/ 2454275 h 4505325"/>
                  <a:gd name="connsiteX43" fmla="*/ 226738 w 896663"/>
                  <a:gd name="connsiteY43" fmla="*/ 2482850 h 4505325"/>
                  <a:gd name="connsiteX44" fmla="*/ 226738 w 896663"/>
                  <a:gd name="connsiteY44" fmla="*/ 2527300 h 4505325"/>
                  <a:gd name="connsiteX45" fmla="*/ 236263 w 896663"/>
                  <a:gd name="connsiteY45" fmla="*/ 2603500 h 4505325"/>
                  <a:gd name="connsiteX46" fmla="*/ 153713 w 896663"/>
                  <a:gd name="connsiteY46" fmla="*/ 2917824 h 4505325"/>
                  <a:gd name="connsiteX47" fmla="*/ 80688 w 896663"/>
                  <a:gd name="connsiteY47" fmla="*/ 3063874 h 4505325"/>
                  <a:gd name="connsiteX48" fmla="*/ 42588 w 896663"/>
                  <a:gd name="connsiteY48" fmla="*/ 3133724 h 4505325"/>
                  <a:gd name="connsiteX49" fmla="*/ 17188 w 896663"/>
                  <a:gd name="connsiteY49" fmla="*/ 3203574 h 4505325"/>
                  <a:gd name="connsiteX50" fmla="*/ 10838 w 896663"/>
                  <a:gd name="connsiteY50" fmla="*/ 3390899 h 4505325"/>
                  <a:gd name="connsiteX51" fmla="*/ 33063 w 896663"/>
                  <a:gd name="connsiteY51" fmla="*/ 3492499 h 4505325"/>
                  <a:gd name="connsiteX52" fmla="*/ 118788 w 896663"/>
                  <a:gd name="connsiteY52" fmla="*/ 3829049 h 4505325"/>
                  <a:gd name="connsiteX53" fmla="*/ 268013 w 896663"/>
                  <a:gd name="connsiteY53" fmla="*/ 3905249 h 4505325"/>
                  <a:gd name="connsiteX54" fmla="*/ 382313 w 896663"/>
                  <a:gd name="connsiteY54" fmla="*/ 4203699 h 4505325"/>
                  <a:gd name="connsiteX55" fmla="*/ 502963 w 896663"/>
                  <a:gd name="connsiteY55" fmla="*/ 4254499 h 4505325"/>
                  <a:gd name="connsiteX56" fmla="*/ 639488 w 896663"/>
                  <a:gd name="connsiteY56" fmla="*/ 4302124 h 4505325"/>
                  <a:gd name="connsiteX57" fmla="*/ 760138 w 896663"/>
                  <a:gd name="connsiteY57" fmla="*/ 4292599 h 4505325"/>
                  <a:gd name="connsiteX58" fmla="*/ 896663 w 896663"/>
                  <a:gd name="connsiteY58" fmla="*/ 4505325 h 4505325"/>
                  <a:gd name="connsiteX0" fmla="*/ 445813 w 896663"/>
                  <a:gd name="connsiteY0" fmla="*/ 0 h 4505325"/>
                  <a:gd name="connsiteX1" fmla="*/ 407713 w 896663"/>
                  <a:gd name="connsiteY1" fmla="*/ 66675 h 4505325"/>
                  <a:gd name="connsiteX2" fmla="*/ 353738 w 896663"/>
                  <a:gd name="connsiteY2" fmla="*/ 85725 h 4505325"/>
                  <a:gd name="connsiteX3" fmla="*/ 283888 w 896663"/>
                  <a:gd name="connsiteY3" fmla="*/ 98425 h 4505325"/>
                  <a:gd name="connsiteX4" fmla="*/ 223563 w 896663"/>
                  <a:gd name="connsiteY4" fmla="*/ 133350 h 4505325"/>
                  <a:gd name="connsiteX5" fmla="*/ 121963 w 896663"/>
                  <a:gd name="connsiteY5" fmla="*/ 196850 h 4505325"/>
                  <a:gd name="connsiteX6" fmla="*/ 131488 w 896663"/>
                  <a:gd name="connsiteY6" fmla="*/ 247650 h 4505325"/>
                  <a:gd name="connsiteX7" fmla="*/ 172763 w 896663"/>
                  <a:gd name="connsiteY7" fmla="*/ 276225 h 4505325"/>
                  <a:gd name="connsiteX8" fmla="*/ 185463 w 896663"/>
                  <a:gd name="connsiteY8" fmla="*/ 327025 h 4505325"/>
                  <a:gd name="connsiteX9" fmla="*/ 239438 w 896663"/>
                  <a:gd name="connsiteY9" fmla="*/ 368300 h 4505325"/>
                  <a:gd name="connsiteX10" fmla="*/ 239438 w 896663"/>
                  <a:gd name="connsiteY10" fmla="*/ 412750 h 4505325"/>
                  <a:gd name="connsiteX11" fmla="*/ 207688 w 896663"/>
                  <a:gd name="connsiteY11" fmla="*/ 454025 h 4505325"/>
                  <a:gd name="connsiteX12" fmla="*/ 287063 w 896663"/>
                  <a:gd name="connsiteY12" fmla="*/ 479425 h 4505325"/>
                  <a:gd name="connsiteX13" fmla="*/ 302938 w 896663"/>
                  <a:gd name="connsiteY13" fmla="*/ 511175 h 4505325"/>
                  <a:gd name="connsiteX14" fmla="*/ 210863 w 896663"/>
                  <a:gd name="connsiteY14" fmla="*/ 581025 h 4505325"/>
                  <a:gd name="connsiteX15" fmla="*/ 160063 w 896663"/>
                  <a:gd name="connsiteY15" fmla="*/ 638175 h 4505325"/>
                  <a:gd name="connsiteX16" fmla="*/ 160063 w 896663"/>
                  <a:gd name="connsiteY16" fmla="*/ 695325 h 4505325"/>
                  <a:gd name="connsiteX17" fmla="*/ 185463 w 896663"/>
                  <a:gd name="connsiteY17" fmla="*/ 784225 h 4505325"/>
                  <a:gd name="connsiteX18" fmla="*/ 194988 w 896663"/>
                  <a:gd name="connsiteY18" fmla="*/ 835025 h 4505325"/>
                  <a:gd name="connsiteX19" fmla="*/ 204513 w 896663"/>
                  <a:gd name="connsiteY19" fmla="*/ 885825 h 4505325"/>
                  <a:gd name="connsiteX20" fmla="*/ 220388 w 896663"/>
                  <a:gd name="connsiteY20" fmla="*/ 923925 h 4505325"/>
                  <a:gd name="connsiteX21" fmla="*/ 163238 w 896663"/>
                  <a:gd name="connsiteY21" fmla="*/ 1022350 h 4505325"/>
                  <a:gd name="connsiteX22" fmla="*/ 96563 w 896663"/>
                  <a:gd name="connsiteY22" fmla="*/ 1057275 h 4505325"/>
                  <a:gd name="connsiteX23" fmla="*/ 52113 w 896663"/>
                  <a:gd name="connsiteY23" fmla="*/ 1143000 h 4505325"/>
                  <a:gd name="connsiteX24" fmla="*/ 20363 w 896663"/>
                  <a:gd name="connsiteY24" fmla="*/ 1244600 h 4505325"/>
                  <a:gd name="connsiteX25" fmla="*/ 1313 w 896663"/>
                  <a:gd name="connsiteY25" fmla="*/ 1346200 h 4505325"/>
                  <a:gd name="connsiteX26" fmla="*/ 10838 w 896663"/>
                  <a:gd name="connsiteY26" fmla="*/ 1438275 h 4505325"/>
                  <a:gd name="connsiteX27" fmla="*/ 83863 w 896663"/>
                  <a:gd name="connsiteY27" fmla="*/ 1511300 h 4505325"/>
                  <a:gd name="connsiteX28" fmla="*/ 112438 w 896663"/>
                  <a:gd name="connsiteY28" fmla="*/ 1558925 h 4505325"/>
                  <a:gd name="connsiteX29" fmla="*/ 150538 w 896663"/>
                  <a:gd name="connsiteY29" fmla="*/ 1590675 h 4505325"/>
                  <a:gd name="connsiteX30" fmla="*/ 169588 w 896663"/>
                  <a:gd name="connsiteY30" fmla="*/ 1644650 h 4505325"/>
                  <a:gd name="connsiteX31" fmla="*/ 226738 w 896663"/>
                  <a:gd name="connsiteY31" fmla="*/ 1685925 h 4505325"/>
                  <a:gd name="connsiteX32" fmla="*/ 264838 w 896663"/>
                  <a:gd name="connsiteY32" fmla="*/ 1730375 h 4505325"/>
                  <a:gd name="connsiteX33" fmla="*/ 277538 w 896663"/>
                  <a:gd name="connsiteY33" fmla="*/ 1758950 h 4505325"/>
                  <a:gd name="connsiteX34" fmla="*/ 277538 w 896663"/>
                  <a:gd name="connsiteY34" fmla="*/ 1828800 h 4505325"/>
                  <a:gd name="connsiteX35" fmla="*/ 325163 w 896663"/>
                  <a:gd name="connsiteY35" fmla="*/ 1905000 h 4505325"/>
                  <a:gd name="connsiteX36" fmla="*/ 363263 w 896663"/>
                  <a:gd name="connsiteY36" fmla="*/ 1962150 h 4505325"/>
                  <a:gd name="connsiteX37" fmla="*/ 369613 w 896663"/>
                  <a:gd name="connsiteY37" fmla="*/ 2028825 h 4505325"/>
                  <a:gd name="connsiteX38" fmla="*/ 407713 w 896663"/>
                  <a:gd name="connsiteY38" fmla="*/ 2085975 h 4505325"/>
                  <a:gd name="connsiteX39" fmla="*/ 414063 w 896663"/>
                  <a:gd name="connsiteY39" fmla="*/ 2209800 h 4505325"/>
                  <a:gd name="connsiteX40" fmla="*/ 252138 w 896663"/>
                  <a:gd name="connsiteY40" fmla="*/ 2251075 h 4505325"/>
                  <a:gd name="connsiteX41" fmla="*/ 201338 w 896663"/>
                  <a:gd name="connsiteY41" fmla="*/ 2390775 h 4505325"/>
                  <a:gd name="connsiteX42" fmla="*/ 210863 w 896663"/>
                  <a:gd name="connsiteY42" fmla="*/ 2454275 h 4505325"/>
                  <a:gd name="connsiteX43" fmla="*/ 226738 w 896663"/>
                  <a:gd name="connsiteY43" fmla="*/ 2482850 h 4505325"/>
                  <a:gd name="connsiteX44" fmla="*/ 226738 w 896663"/>
                  <a:gd name="connsiteY44" fmla="*/ 2527300 h 4505325"/>
                  <a:gd name="connsiteX45" fmla="*/ 236263 w 896663"/>
                  <a:gd name="connsiteY45" fmla="*/ 2603500 h 4505325"/>
                  <a:gd name="connsiteX46" fmla="*/ 153713 w 896663"/>
                  <a:gd name="connsiteY46" fmla="*/ 2917824 h 4505325"/>
                  <a:gd name="connsiteX47" fmla="*/ 80688 w 896663"/>
                  <a:gd name="connsiteY47" fmla="*/ 3063874 h 4505325"/>
                  <a:gd name="connsiteX48" fmla="*/ 42588 w 896663"/>
                  <a:gd name="connsiteY48" fmla="*/ 3133724 h 4505325"/>
                  <a:gd name="connsiteX49" fmla="*/ 17188 w 896663"/>
                  <a:gd name="connsiteY49" fmla="*/ 3203574 h 4505325"/>
                  <a:gd name="connsiteX50" fmla="*/ 10838 w 896663"/>
                  <a:gd name="connsiteY50" fmla="*/ 3390899 h 4505325"/>
                  <a:gd name="connsiteX51" fmla="*/ 33063 w 896663"/>
                  <a:gd name="connsiteY51" fmla="*/ 3492499 h 4505325"/>
                  <a:gd name="connsiteX52" fmla="*/ 118788 w 896663"/>
                  <a:gd name="connsiteY52" fmla="*/ 3829049 h 4505325"/>
                  <a:gd name="connsiteX53" fmla="*/ 210863 w 896663"/>
                  <a:gd name="connsiteY53" fmla="*/ 3902074 h 4505325"/>
                  <a:gd name="connsiteX54" fmla="*/ 268013 w 896663"/>
                  <a:gd name="connsiteY54" fmla="*/ 3905249 h 4505325"/>
                  <a:gd name="connsiteX55" fmla="*/ 382313 w 896663"/>
                  <a:gd name="connsiteY55" fmla="*/ 4203699 h 4505325"/>
                  <a:gd name="connsiteX56" fmla="*/ 502963 w 896663"/>
                  <a:gd name="connsiteY56" fmla="*/ 4254499 h 4505325"/>
                  <a:gd name="connsiteX57" fmla="*/ 639488 w 896663"/>
                  <a:gd name="connsiteY57" fmla="*/ 4302124 h 4505325"/>
                  <a:gd name="connsiteX58" fmla="*/ 760138 w 896663"/>
                  <a:gd name="connsiteY58" fmla="*/ 4292599 h 4505325"/>
                  <a:gd name="connsiteX59" fmla="*/ 896663 w 896663"/>
                  <a:gd name="connsiteY59" fmla="*/ 4505325 h 4505325"/>
                  <a:gd name="connsiteX0" fmla="*/ 445813 w 896663"/>
                  <a:gd name="connsiteY0" fmla="*/ 0 h 4505325"/>
                  <a:gd name="connsiteX1" fmla="*/ 407713 w 896663"/>
                  <a:gd name="connsiteY1" fmla="*/ 66675 h 4505325"/>
                  <a:gd name="connsiteX2" fmla="*/ 353738 w 896663"/>
                  <a:gd name="connsiteY2" fmla="*/ 85725 h 4505325"/>
                  <a:gd name="connsiteX3" fmla="*/ 283888 w 896663"/>
                  <a:gd name="connsiteY3" fmla="*/ 98425 h 4505325"/>
                  <a:gd name="connsiteX4" fmla="*/ 223563 w 896663"/>
                  <a:gd name="connsiteY4" fmla="*/ 133350 h 4505325"/>
                  <a:gd name="connsiteX5" fmla="*/ 121963 w 896663"/>
                  <a:gd name="connsiteY5" fmla="*/ 196850 h 4505325"/>
                  <a:gd name="connsiteX6" fmla="*/ 131488 w 896663"/>
                  <a:gd name="connsiteY6" fmla="*/ 247650 h 4505325"/>
                  <a:gd name="connsiteX7" fmla="*/ 172763 w 896663"/>
                  <a:gd name="connsiteY7" fmla="*/ 276225 h 4505325"/>
                  <a:gd name="connsiteX8" fmla="*/ 185463 w 896663"/>
                  <a:gd name="connsiteY8" fmla="*/ 327025 h 4505325"/>
                  <a:gd name="connsiteX9" fmla="*/ 239438 w 896663"/>
                  <a:gd name="connsiteY9" fmla="*/ 368300 h 4505325"/>
                  <a:gd name="connsiteX10" fmla="*/ 239438 w 896663"/>
                  <a:gd name="connsiteY10" fmla="*/ 412750 h 4505325"/>
                  <a:gd name="connsiteX11" fmla="*/ 207688 w 896663"/>
                  <a:gd name="connsiteY11" fmla="*/ 454025 h 4505325"/>
                  <a:gd name="connsiteX12" fmla="*/ 287063 w 896663"/>
                  <a:gd name="connsiteY12" fmla="*/ 479425 h 4505325"/>
                  <a:gd name="connsiteX13" fmla="*/ 302938 w 896663"/>
                  <a:gd name="connsiteY13" fmla="*/ 511175 h 4505325"/>
                  <a:gd name="connsiteX14" fmla="*/ 210863 w 896663"/>
                  <a:gd name="connsiteY14" fmla="*/ 581025 h 4505325"/>
                  <a:gd name="connsiteX15" fmla="*/ 160063 w 896663"/>
                  <a:gd name="connsiteY15" fmla="*/ 638175 h 4505325"/>
                  <a:gd name="connsiteX16" fmla="*/ 160063 w 896663"/>
                  <a:gd name="connsiteY16" fmla="*/ 695325 h 4505325"/>
                  <a:gd name="connsiteX17" fmla="*/ 185463 w 896663"/>
                  <a:gd name="connsiteY17" fmla="*/ 784225 h 4505325"/>
                  <a:gd name="connsiteX18" fmla="*/ 194988 w 896663"/>
                  <a:gd name="connsiteY18" fmla="*/ 835025 h 4505325"/>
                  <a:gd name="connsiteX19" fmla="*/ 204513 w 896663"/>
                  <a:gd name="connsiteY19" fmla="*/ 885825 h 4505325"/>
                  <a:gd name="connsiteX20" fmla="*/ 220388 w 896663"/>
                  <a:gd name="connsiteY20" fmla="*/ 923925 h 4505325"/>
                  <a:gd name="connsiteX21" fmla="*/ 163238 w 896663"/>
                  <a:gd name="connsiteY21" fmla="*/ 1022350 h 4505325"/>
                  <a:gd name="connsiteX22" fmla="*/ 96563 w 896663"/>
                  <a:gd name="connsiteY22" fmla="*/ 1057275 h 4505325"/>
                  <a:gd name="connsiteX23" fmla="*/ 52113 w 896663"/>
                  <a:gd name="connsiteY23" fmla="*/ 1143000 h 4505325"/>
                  <a:gd name="connsiteX24" fmla="*/ 20363 w 896663"/>
                  <a:gd name="connsiteY24" fmla="*/ 1244600 h 4505325"/>
                  <a:gd name="connsiteX25" fmla="*/ 1313 w 896663"/>
                  <a:gd name="connsiteY25" fmla="*/ 1346200 h 4505325"/>
                  <a:gd name="connsiteX26" fmla="*/ 10838 w 896663"/>
                  <a:gd name="connsiteY26" fmla="*/ 1438275 h 4505325"/>
                  <a:gd name="connsiteX27" fmla="*/ 83863 w 896663"/>
                  <a:gd name="connsiteY27" fmla="*/ 1511300 h 4505325"/>
                  <a:gd name="connsiteX28" fmla="*/ 112438 w 896663"/>
                  <a:gd name="connsiteY28" fmla="*/ 1558925 h 4505325"/>
                  <a:gd name="connsiteX29" fmla="*/ 150538 w 896663"/>
                  <a:gd name="connsiteY29" fmla="*/ 1590675 h 4505325"/>
                  <a:gd name="connsiteX30" fmla="*/ 169588 w 896663"/>
                  <a:gd name="connsiteY30" fmla="*/ 1644650 h 4505325"/>
                  <a:gd name="connsiteX31" fmla="*/ 226738 w 896663"/>
                  <a:gd name="connsiteY31" fmla="*/ 1685925 h 4505325"/>
                  <a:gd name="connsiteX32" fmla="*/ 264838 w 896663"/>
                  <a:gd name="connsiteY32" fmla="*/ 1730375 h 4505325"/>
                  <a:gd name="connsiteX33" fmla="*/ 277538 w 896663"/>
                  <a:gd name="connsiteY33" fmla="*/ 1758950 h 4505325"/>
                  <a:gd name="connsiteX34" fmla="*/ 277538 w 896663"/>
                  <a:gd name="connsiteY34" fmla="*/ 1828800 h 4505325"/>
                  <a:gd name="connsiteX35" fmla="*/ 325163 w 896663"/>
                  <a:gd name="connsiteY35" fmla="*/ 1905000 h 4505325"/>
                  <a:gd name="connsiteX36" fmla="*/ 363263 w 896663"/>
                  <a:gd name="connsiteY36" fmla="*/ 1962150 h 4505325"/>
                  <a:gd name="connsiteX37" fmla="*/ 369613 w 896663"/>
                  <a:gd name="connsiteY37" fmla="*/ 2028825 h 4505325"/>
                  <a:gd name="connsiteX38" fmla="*/ 407713 w 896663"/>
                  <a:gd name="connsiteY38" fmla="*/ 2085975 h 4505325"/>
                  <a:gd name="connsiteX39" fmla="*/ 414063 w 896663"/>
                  <a:gd name="connsiteY39" fmla="*/ 2209800 h 4505325"/>
                  <a:gd name="connsiteX40" fmla="*/ 252138 w 896663"/>
                  <a:gd name="connsiteY40" fmla="*/ 2251075 h 4505325"/>
                  <a:gd name="connsiteX41" fmla="*/ 201338 w 896663"/>
                  <a:gd name="connsiteY41" fmla="*/ 2390775 h 4505325"/>
                  <a:gd name="connsiteX42" fmla="*/ 210863 w 896663"/>
                  <a:gd name="connsiteY42" fmla="*/ 2454275 h 4505325"/>
                  <a:gd name="connsiteX43" fmla="*/ 226738 w 896663"/>
                  <a:gd name="connsiteY43" fmla="*/ 2482850 h 4505325"/>
                  <a:gd name="connsiteX44" fmla="*/ 226738 w 896663"/>
                  <a:gd name="connsiteY44" fmla="*/ 2527300 h 4505325"/>
                  <a:gd name="connsiteX45" fmla="*/ 236263 w 896663"/>
                  <a:gd name="connsiteY45" fmla="*/ 2603500 h 4505325"/>
                  <a:gd name="connsiteX46" fmla="*/ 153713 w 896663"/>
                  <a:gd name="connsiteY46" fmla="*/ 2917824 h 4505325"/>
                  <a:gd name="connsiteX47" fmla="*/ 80688 w 896663"/>
                  <a:gd name="connsiteY47" fmla="*/ 3063874 h 4505325"/>
                  <a:gd name="connsiteX48" fmla="*/ 42588 w 896663"/>
                  <a:gd name="connsiteY48" fmla="*/ 3133724 h 4505325"/>
                  <a:gd name="connsiteX49" fmla="*/ 17188 w 896663"/>
                  <a:gd name="connsiteY49" fmla="*/ 3203574 h 4505325"/>
                  <a:gd name="connsiteX50" fmla="*/ 10838 w 896663"/>
                  <a:gd name="connsiteY50" fmla="*/ 3390899 h 4505325"/>
                  <a:gd name="connsiteX51" fmla="*/ 33063 w 896663"/>
                  <a:gd name="connsiteY51" fmla="*/ 3492499 h 4505325"/>
                  <a:gd name="connsiteX52" fmla="*/ 118788 w 896663"/>
                  <a:gd name="connsiteY52" fmla="*/ 3829049 h 4505325"/>
                  <a:gd name="connsiteX53" fmla="*/ 210863 w 896663"/>
                  <a:gd name="connsiteY53" fmla="*/ 3902074 h 4505325"/>
                  <a:gd name="connsiteX54" fmla="*/ 268013 w 896663"/>
                  <a:gd name="connsiteY54" fmla="*/ 3905249 h 4505325"/>
                  <a:gd name="connsiteX55" fmla="*/ 382313 w 896663"/>
                  <a:gd name="connsiteY55" fmla="*/ 4203699 h 4505325"/>
                  <a:gd name="connsiteX56" fmla="*/ 502963 w 896663"/>
                  <a:gd name="connsiteY56" fmla="*/ 4254499 h 4505325"/>
                  <a:gd name="connsiteX57" fmla="*/ 639488 w 896663"/>
                  <a:gd name="connsiteY57" fmla="*/ 4302124 h 4505325"/>
                  <a:gd name="connsiteX58" fmla="*/ 760138 w 896663"/>
                  <a:gd name="connsiteY58" fmla="*/ 4292599 h 4505325"/>
                  <a:gd name="connsiteX59" fmla="*/ 896663 w 896663"/>
                  <a:gd name="connsiteY59" fmla="*/ 4505325 h 4505325"/>
                  <a:gd name="connsiteX0" fmla="*/ 445813 w 896663"/>
                  <a:gd name="connsiteY0" fmla="*/ 0 h 4505325"/>
                  <a:gd name="connsiteX1" fmla="*/ 407713 w 896663"/>
                  <a:gd name="connsiteY1" fmla="*/ 66675 h 4505325"/>
                  <a:gd name="connsiteX2" fmla="*/ 353738 w 896663"/>
                  <a:gd name="connsiteY2" fmla="*/ 85725 h 4505325"/>
                  <a:gd name="connsiteX3" fmla="*/ 283888 w 896663"/>
                  <a:gd name="connsiteY3" fmla="*/ 98425 h 4505325"/>
                  <a:gd name="connsiteX4" fmla="*/ 223563 w 896663"/>
                  <a:gd name="connsiteY4" fmla="*/ 133350 h 4505325"/>
                  <a:gd name="connsiteX5" fmla="*/ 121963 w 896663"/>
                  <a:gd name="connsiteY5" fmla="*/ 196850 h 4505325"/>
                  <a:gd name="connsiteX6" fmla="*/ 131488 w 896663"/>
                  <a:gd name="connsiteY6" fmla="*/ 247650 h 4505325"/>
                  <a:gd name="connsiteX7" fmla="*/ 172763 w 896663"/>
                  <a:gd name="connsiteY7" fmla="*/ 276225 h 4505325"/>
                  <a:gd name="connsiteX8" fmla="*/ 185463 w 896663"/>
                  <a:gd name="connsiteY8" fmla="*/ 327025 h 4505325"/>
                  <a:gd name="connsiteX9" fmla="*/ 239438 w 896663"/>
                  <a:gd name="connsiteY9" fmla="*/ 368300 h 4505325"/>
                  <a:gd name="connsiteX10" fmla="*/ 239438 w 896663"/>
                  <a:gd name="connsiteY10" fmla="*/ 412750 h 4505325"/>
                  <a:gd name="connsiteX11" fmla="*/ 207688 w 896663"/>
                  <a:gd name="connsiteY11" fmla="*/ 454025 h 4505325"/>
                  <a:gd name="connsiteX12" fmla="*/ 287063 w 896663"/>
                  <a:gd name="connsiteY12" fmla="*/ 479425 h 4505325"/>
                  <a:gd name="connsiteX13" fmla="*/ 302938 w 896663"/>
                  <a:gd name="connsiteY13" fmla="*/ 511175 h 4505325"/>
                  <a:gd name="connsiteX14" fmla="*/ 210863 w 896663"/>
                  <a:gd name="connsiteY14" fmla="*/ 581025 h 4505325"/>
                  <a:gd name="connsiteX15" fmla="*/ 160063 w 896663"/>
                  <a:gd name="connsiteY15" fmla="*/ 638175 h 4505325"/>
                  <a:gd name="connsiteX16" fmla="*/ 160063 w 896663"/>
                  <a:gd name="connsiteY16" fmla="*/ 695325 h 4505325"/>
                  <a:gd name="connsiteX17" fmla="*/ 185463 w 896663"/>
                  <a:gd name="connsiteY17" fmla="*/ 784225 h 4505325"/>
                  <a:gd name="connsiteX18" fmla="*/ 194988 w 896663"/>
                  <a:gd name="connsiteY18" fmla="*/ 835025 h 4505325"/>
                  <a:gd name="connsiteX19" fmla="*/ 204513 w 896663"/>
                  <a:gd name="connsiteY19" fmla="*/ 885825 h 4505325"/>
                  <a:gd name="connsiteX20" fmla="*/ 220388 w 896663"/>
                  <a:gd name="connsiteY20" fmla="*/ 923925 h 4505325"/>
                  <a:gd name="connsiteX21" fmla="*/ 163238 w 896663"/>
                  <a:gd name="connsiteY21" fmla="*/ 1022350 h 4505325"/>
                  <a:gd name="connsiteX22" fmla="*/ 96563 w 896663"/>
                  <a:gd name="connsiteY22" fmla="*/ 1057275 h 4505325"/>
                  <a:gd name="connsiteX23" fmla="*/ 52113 w 896663"/>
                  <a:gd name="connsiteY23" fmla="*/ 1143000 h 4505325"/>
                  <a:gd name="connsiteX24" fmla="*/ 20363 w 896663"/>
                  <a:gd name="connsiteY24" fmla="*/ 1244600 h 4505325"/>
                  <a:gd name="connsiteX25" fmla="*/ 1313 w 896663"/>
                  <a:gd name="connsiteY25" fmla="*/ 1346200 h 4505325"/>
                  <a:gd name="connsiteX26" fmla="*/ 10838 w 896663"/>
                  <a:gd name="connsiteY26" fmla="*/ 1438275 h 4505325"/>
                  <a:gd name="connsiteX27" fmla="*/ 83863 w 896663"/>
                  <a:gd name="connsiteY27" fmla="*/ 1511300 h 4505325"/>
                  <a:gd name="connsiteX28" fmla="*/ 112438 w 896663"/>
                  <a:gd name="connsiteY28" fmla="*/ 1558925 h 4505325"/>
                  <a:gd name="connsiteX29" fmla="*/ 150538 w 896663"/>
                  <a:gd name="connsiteY29" fmla="*/ 1590675 h 4505325"/>
                  <a:gd name="connsiteX30" fmla="*/ 169588 w 896663"/>
                  <a:gd name="connsiteY30" fmla="*/ 1644650 h 4505325"/>
                  <a:gd name="connsiteX31" fmla="*/ 226738 w 896663"/>
                  <a:gd name="connsiteY31" fmla="*/ 1685925 h 4505325"/>
                  <a:gd name="connsiteX32" fmla="*/ 264838 w 896663"/>
                  <a:gd name="connsiteY32" fmla="*/ 1730375 h 4505325"/>
                  <a:gd name="connsiteX33" fmla="*/ 277538 w 896663"/>
                  <a:gd name="connsiteY33" fmla="*/ 1758950 h 4505325"/>
                  <a:gd name="connsiteX34" fmla="*/ 277538 w 896663"/>
                  <a:gd name="connsiteY34" fmla="*/ 1828800 h 4505325"/>
                  <a:gd name="connsiteX35" fmla="*/ 325163 w 896663"/>
                  <a:gd name="connsiteY35" fmla="*/ 1905000 h 4505325"/>
                  <a:gd name="connsiteX36" fmla="*/ 363263 w 896663"/>
                  <a:gd name="connsiteY36" fmla="*/ 1962150 h 4505325"/>
                  <a:gd name="connsiteX37" fmla="*/ 369613 w 896663"/>
                  <a:gd name="connsiteY37" fmla="*/ 2028825 h 4505325"/>
                  <a:gd name="connsiteX38" fmla="*/ 407713 w 896663"/>
                  <a:gd name="connsiteY38" fmla="*/ 2085975 h 4505325"/>
                  <a:gd name="connsiteX39" fmla="*/ 414063 w 896663"/>
                  <a:gd name="connsiteY39" fmla="*/ 2209800 h 4505325"/>
                  <a:gd name="connsiteX40" fmla="*/ 252138 w 896663"/>
                  <a:gd name="connsiteY40" fmla="*/ 2251075 h 4505325"/>
                  <a:gd name="connsiteX41" fmla="*/ 201338 w 896663"/>
                  <a:gd name="connsiteY41" fmla="*/ 2390775 h 4505325"/>
                  <a:gd name="connsiteX42" fmla="*/ 210863 w 896663"/>
                  <a:gd name="connsiteY42" fmla="*/ 2454275 h 4505325"/>
                  <a:gd name="connsiteX43" fmla="*/ 226738 w 896663"/>
                  <a:gd name="connsiteY43" fmla="*/ 2482850 h 4505325"/>
                  <a:gd name="connsiteX44" fmla="*/ 226738 w 896663"/>
                  <a:gd name="connsiteY44" fmla="*/ 2527300 h 4505325"/>
                  <a:gd name="connsiteX45" fmla="*/ 236263 w 896663"/>
                  <a:gd name="connsiteY45" fmla="*/ 2603500 h 4505325"/>
                  <a:gd name="connsiteX46" fmla="*/ 153713 w 896663"/>
                  <a:gd name="connsiteY46" fmla="*/ 2917824 h 4505325"/>
                  <a:gd name="connsiteX47" fmla="*/ 80688 w 896663"/>
                  <a:gd name="connsiteY47" fmla="*/ 3063874 h 4505325"/>
                  <a:gd name="connsiteX48" fmla="*/ 42588 w 896663"/>
                  <a:gd name="connsiteY48" fmla="*/ 3133724 h 4505325"/>
                  <a:gd name="connsiteX49" fmla="*/ 17188 w 896663"/>
                  <a:gd name="connsiteY49" fmla="*/ 3203574 h 4505325"/>
                  <a:gd name="connsiteX50" fmla="*/ 10838 w 896663"/>
                  <a:gd name="connsiteY50" fmla="*/ 3390899 h 4505325"/>
                  <a:gd name="connsiteX51" fmla="*/ 33063 w 896663"/>
                  <a:gd name="connsiteY51" fmla="*/ 3492499 h 4505325"/>
                  <a:gd name="connsiteX52" fmla="*/ 118788 w 896663"/>
                  <a:gd name="connsiteY52" fmla="*/ 3829049 h 4505325"/>
                  <a:gd name="connsiteX53" fmla="*/ 201338 w 896663"/>
                  <a:gd name="connsiteY53" fmla="*/ 3892549 h 4505325"/>
                  <a:gd name="connsiteX54" fmla="*/ 268013 w 896663"/>
                  <a:gd name="connsiteY54" fmla="*/ 3905249 h 4505325"/>
                  <a:gd name="connsiteX55" fmla="*/ 382313 w 896663"/>
                  <a:gd name="connsiteY55" fmla="*/ 4203699 h 4505325"/>
                  <a:gd name="connsiteX56" fmla="*/ 502963 w 896663"/>
                  <a:gd name="connsiteY56" fmla="*/ 4254499 h 4505325"/>
                  <a:gd name="connsiteX57" fmla="*/ 639488 w 896663"/>
                  <a:gd name="connsiteY57" fmla="*/ 4302124 h 4505325"/>
                  <a:gd name="connsiteX58" fmla="*/ 760138 w 896663"/>
                  <a:gd name="connsiteY58" fmla="*/ 4292599 h 4505325"/>
                  <a:gd name="connsiteX59" fmla="*/ 896663 w 896663"/>
                  <a:gd name="connsiteY59" fmla="*/ 4505325 h 4505325"/>
                  <a:gd name="connsiteX0" fmla="*/ 445813 w 896663"/>
                  <a:gd name="connsiteY0" fmla="*/ 0 h 4505325"/>
                  <a:gd name="connsiteX1" fmla="*/ 407713 w 896663"/>
                  <a:gd name="connsiteY1" fmla="*/ 66675 h 4505325"/>
                  <a:gd name="connsiteX2" fmla="*/ 353738 w 896663"/>
                  <a:gd name="connsiteY2" fmla="*/ 85725 h 4505325"/>
                  <a:gd name="connsiteX3" fmla="*/ 283888 w 896663"/>
                  <a:gd name="connsiteY3" fmla="*/ 98425 h 4505325"/>
                  <a:gd name="connsiteX4" fmla="*/ 223563 w 896663"/>
                  <a:gd name="connsiteY4" fmla="*/ 133350 h 4505325"/>
                  <a:gd name="connsiteX5" fmla="*/ 121963 w 896663"/>
                  <a:gd name="connsiteY5" fmla="*/ 196850 h 4505325"/>
                  <a:gd name="connsiteX6" fmla="*/ 131488 w 896663"/>
                  <a:gd name="connsiteY6" fmla="*/ 247650 h 4505325"/>
                  <a:gd name="connsiteX7" fmla="*/ 172763 w 896663"/>
                  <a:gd name="connsiteY7" fmla="*/ 276225 h 4505325"/>
                  <a:gd name="connsiteX8" fmla="*/ 185463 w 896663"/>
                  <a:gd name="connsiteY8" fmla="*/ 327025 h 4505325"/>
                  <a:gd name="connsiteX9" fmla="*/ 239438 w 896663"/>
                  <a:gd name="connsiteY9" fmla="*/ 368300 h 4505325"/>
                  <a:gd name="connsiteX10" fmla="*/ 239438 w 896663"/>
                  <a:gd name="connsiteY10" fmla="*/ 412750 h 4505325"/>
                  <a:gd name="connsiteX11" fmla="*/ 207688 w 896663"/>
                  <a:gd name="connsiteY11" fmla="*/ 454025 h 4505325"/>
                  <a:gd name="connsiteX12" fmla="*/ 287063 w 896663"/>
                  <a:gd name="connsiteY12" fmla="*/ 479425 h 4505325"/>
                  <a:gd name="connsiteX13" fmla="*/ 302938 w 896663"/>
                  <a:gd name="connsiteY13" fmla="*/ 511175 h 4505325"/>
                  <a:gd name="connsiteX14" fmla="*/ 210863 w 896663"/>
                  <a:gd name="connsiteY14" fmla="*/ 581025 h 4505325"/>
                  <a:gd name="connsiteX15" fmla="*/ 160063 w 896663"/>
                  <a:gd name="connsiteY15" fmla="*/ 638175 h 4505325"/>
                  <a:gd name="connsiteX16" fmla="*/ 160063 w 896663"/>
                  <a:gd name="connsiteY16" fmla="*/ 695325 h 4505325"/>
                  <a:gd name="connsiteX17" fmla="*/ 185463 w 896663"/>
                  <a:gd name="connsiteY17" fmla="*/ 784225 h 4505325"/>
                  <a:gd name="connsiteX18" fmla="*/ 194988 w 896663"/>
                  <a:gd name="connsiteY18" fmla="*/ 835025 h 4505325"/>
                  <a:gd name="connsiteX19" fmla="*/ 204513 w 896663"/>
                  <a:gd name="connsiteY19" fmla="*/ 885825 h 4505325"/>
                  <a:gd name="connsiteX20" fmla="*/ 220388 w 896663"/>
                  <a:gd name="connsiteY20" fmla="*/ 923925 h 4505325"/>
                  <a:gd name="connsiteX21" fmla="*/ 163238 w 896663"/>
                  <a:gd name="connsiteY21" fmla="*/ 1022350 h 4505325"/>
                  <a:gd name="connsiteX22" fmla="*/ 96563 w 896663"/>
                  <a:gd name="connsiteY22" fmla="*/ 1057275 h 4505325"/>
                  <a:gd name="connsiteX23" fmla="*/ 52113 w 896663"/>
                  <a:gd name="connsiteY23" fmla="*/ 1143000 h 4505325"/>
                  <a:gd name="connsiteX24" fmla="*/ 20363 w 896663"/>
                  <a:gd name="connsiteY24" fmla="*/ 1244600 h 4505325"/>
                  <a:gd name="connsiteX25" fmla="*/ 1313 w 896663"/>
                  <a:gd name="connsiteY25" fmla="*/ 1346200 h 4505325"/>
                  <a:gd name="connsiteX26" fmla="*/ 10838 w 896663"/>
                  <a:gd name="connsiteY26" fmla="*/ 1438275 h 4505325"/>
                  <a:gd name="connsiteX27" fmla="*/ 83863 w 896663"/>
                  <a:gd name="connsiteY27" fmla="*/ 1511300 h 4505325"/>
                  <a:gd name="connsiteX28" fmla="*/ 112438 w 896663"/>
                  <a:gd name="connsiteY28" fmla="*/ 1558925 h 4505325"/>
                  <a:gd name="connsiteX29" fmla="*/ 150538 w 896663"/>
                  <a:gd name="connsiteY29" fmla="*/ 1590675 h 4505325"/>
                  <a:gd name="connsiteX30" fmla="*/ 169588 w 896663"/>
                  <a:gd name="connsiteY30" fmla="*/ 1644650 h 4505325"/>
                  <a:gd name="connsiteX31" fmla="*/ 226738 w 896663"/>
                  <a:gd name="connsiteY31" fmla="*/ 1685925 h 4505325"/>
                  <a:gd name="connsiteX32" fmla="*/ 264838 w 896663"/>
                  <a:gd name="connsiteY32" fmla="*/ 1730375 h 4505325"/>
                  <a:gd name="connsiteX33" fmla="*/ 277538 w 896663"/>
                  <a:gd name="connsiteY33" fmla="*/ 1758950 h 4505325"/>
                  <a:gd name="connsiteX34" fmla="*/ 277538 w 896663"/>
                  <a:gd name="connsiteY34" fmla="*/ 1828800 h 4505325"/>
                  <a:gd name="connsiteX35" fmla="*/ 325163 w 896663"/>
                  <a:gd name="connsiteY35" fmla="*/ 1905000 h 4505325"/>
                  <a:gd name="connsiteX36" fmla="*/ 363263 w 896663"/>
                  <a:gd name="connsiteY36" fmla="*/ 1962150 h 4505325"/>
                  <a:gd name="connsiteX37" fmla="*/ 369613 w 896663"/>
                  <a:gd name="connsiteY37" fmla="*/ 2028825 h 4505325"/>
                  <a:gd name="connsiteX38" fmla="*/ 407713 w 896663"/>
                  <a:gd name="connsiteY38" fmla="*/ 2085975 h 4505325"/>
                  <a:gd name="connsiteX39" fmla="*/ 414063 w 896663"/>
                  <a:gd name="connsiteY39" fmla="*/ 2209800 h 4505325"/>
                  <a:gd name="connsiteX40" fmla="*/ 252138 w 896663"/>
                  <a:gd name="connsiteY40" fmla="*/ 2251075 h 4505325"/>
                  <a:gd name="connsiteX41" fmla="*/ 201338 w 896663"/>
                  <a:gd name="connsiteY41" fmla="*/ 2390775 h 4505325"/>
                  <a:gd name="connsiteX42" fmla="*/ 210863 w 896663"/>
                  <a:gd name="connsiteY42" fmla="*/ 2454275 h 4505325"/>
                  <a:gd name="connsiteX43" fmla="*/ 226738 w 896663"/>
                  <a:gd name="connsiteY43" fmla="*/ 2482850 h 4505325"/>
                  <a:gd name="connsiteX44" fmla="*/ 226738 w 896663"/>
                  <a:gd name="connsiteY44" fmla="*/ 2527300 h 4505325"/>
                  <a:gd name="connsiteX45" fmla="*/ 236263 w 896663"/>
                  <a:gd name="connsiteY45" fmla="*/ 2603500 h 4505325"/>
                  <a:gd name="connsiteX46" fmla="*/ 153713 w 896663"/>
                  <a:gd name="connsiteY46" fmla="*/ 2917824 h 4505325"/>
                  <a:gd name="connsiteX47" fmla="*/ 80688 w 896663"/>
                  <a:gd name="connsiteY47" fmla="*/ 3063874 h 4505325"/>
                  <a:gd name="connsiteX48" fmla="*/ 42588 w 896663"/>
                  <a:gd name="connsiteY48" fmla="*/ 3133724 h 4505325"/>
                  <a:gd name="connsiteX49" fmla="*/ 17188 w 896663"/>
                  <a:gd name="connsiteY49" fmla="*/ 3203574 h 4505325"/>
                  <a:gd name="connsiteX50" fmla="*/ 10838 w 896663"/>
                  <a:gd name="connsiteY50" fmla="*/ 3390899 h 4505325"/>
                  <a:gd name="connsiteX51" fmla="*/ 33063 w 896663"/>
                  <a:gd name="connsiteY51" fmla="*/ 3492499 h 4505325"/>
                  <a:gd name="connsiteX52" fmla="*/ 112438 w 896663"/>
                  <a:gd name="connsiteY52" fmla="*/ 3809999 h 4505325"/>
                  <a:gd name="connsiteX53" fmla="*/ 201338 w 896663"/>
                  <a:gd name="connsiteY53" fmla="*/ 3892549 h 4505325"/>
                  <a:gd name="connsiteX54" fmla="*/ 268013 w 896663"/>
                  <a:gd name="connsiteY54" fmla="*/ 3905249 h 4505325"/>
                  <a:gd name="connsiteX55" fmla="*/ 382313 w 896663"/>
                  <a:gd name="connsiteY55" fmla="*/ 4203699 h 4505325"/>
                  <a:gd name="connsiteX56" fmla="*/ 502963 w 896663"/>
                  <a:gd name="connsiteY56" fmla="*/ 4254499 h 4505325"/>
                  <a:gd name="connsiteX57" fmla="*/ 639488 w 896663"/>
                  <a:gd name="connsiteY57" fmla="*/ 4302124 h 4505325"/>
                  <a:gd name="connsiteX58" fmla="*/ 760138 w 896663"/>
                  <a:gd name="connsiteY58" fmla="*/ 4292599 h 4505325"/>
                  <a:gd name="connsiteX59" fmla="*/ 896663 w 896663"/>
                  <a:gd name="connsiteY59" fmla="*/ 4505325 h 4505325"/>
                  <a:gd name="connsiteX0" fmla="*/ 445813 w 896663"/>
                  <a:gd name="connsiteY0" fmla="*/ 0 h 4505325"/>
                  <a:gd name="connsiteX1" fmla="*/ 407713 w 896663"/>
                  <a:gd name="connsiteY1" fmla="*/ 66675 h 4505325"/>
                  <a:gd name="connsiteX2" fmla="*/ 353738 w 896663"/>
                  <a:gd name="connsiteY2" fmla="*/ 85725 h 4505325"/>
                  <a:gd name="connsiteX3" fmla="*/ 283888 w 896663"/>
                  <a:gd name="connsiteY3" fmla="*/ 98425 h 4505325"/>
                  <a:gd name="connsiteX4" fmla="*/ 223563 w 896663"/>
                  <a:gd name="connsiteY4" fmla="*/ 133350 h 4505325"/>
                  <a:gd name="connsiteX5" fmla="*/ 121963 w 896663"/>
                  <a:gd name="connsiteY5" fmla="*/ 196850 h 4505325"/>
                  <a:gd name="connsiteX6" fmla="*/ 131488 w 896663"/>
                  <a:gd name="connsiteY6" fmla="*/ 247650 h 4505325"/>
                  <a:gd name="connsiteX7" fmla="*/ 172763 w 896663"/>
                  <a:gd name="connsiteY7" fmla="*/ 276225 h 4505325"/>
                  <a:gd name="connsiteX8" fmla="*/ 185463 w 896663"/>
                  <a:gd name="connsiteY8" fmla="*/ 327025 h 4505325"/>
                  <a:gd name="connsiteX9" fmla="*/ 239438 w 896663"/>
                  <a:gd name="connsiteY9" fmla="*/ 368300 h 4505325"/>
                  <a:gd name="connsiteX10" fmla="*/ 239438 w 896663"/>
                  <a:gd name="connsiteY10" fmla="*/ 412750 h 4505325"/>
                  <a:gd name="connsiteX11" fmla="*/ 207688 w 896663"/>
                  <a:gd name="connsiteY11" fmla="*/ 454025 h 4505325"/>
                  <a:gd name="connsiteX12" fmla="*/ 287063 w 896663"/>
                  <a:gd name="connsiteY12" fmla="*/ 479425 h 4505325"/>
                  <a:gd name="connsiteX13" fmla="*/ 302938 w 896663"/>
                  <a:gd name="connsiteY13" fmla="*/ 511175 h 4505325"/>
                  <a:gd name="connsiteX14" fmla="*/ 210863 w 896663"/>
                  <a:gd name="connsiteY14" fmla="*/ 581025 h 4505325"/>
                  <a:gd name="connsiteX15" fmla="*/ 160063 w 896663"/>
                  <a:gd name="connsiteY15" fmla="*/ 638175 h 4505325"/>
                  <a:gd name="connsiteX16" fmla="*/ 160063 w 896663"/>
                  <a:gd name="connsiteY16" fmla="*/ 695325 h 4505325"/>
                  <a:gd name="connsiteX17" fmla="*/ 185463 w 896663"/>
                  <a:gd name="connsiteY17" fmla="*/ 784225 h 4505325"/>
                  <a:gd name="connsiteX18" fmla="*/ 194988 w 896663"/>
                  <a:gd name="connsiteY18" fmla="*/ 835025 h 4505325"/>
                  <a:gd name="connsiteX19" fmla="*/ 204513 w 896663"/>
                  <a:gd name="connsiteY19" fmla="*/ 885825 h 4505325"/>
                  <a:gd name="connsiteX20" fmla="*/ 220388 w 896663"/>
                  <a:gd name="connsiteY20" fmla="*/ 923925 h 4505325"/>
                  <a:gd name="connsiteX21" fmla="*/ 163238 w 896663"/>
                  <a:gd name="connsiteY21" fmla="*/ 1022350 h 4505325"/>
                  <a:gd name="connsiteX22" fmla="*/ 96563 w 896663"/>
                  <a:gd name="connsiteY22" fmla="*/ 1057275 h 4505325"/>
                  <a:gd name="connsiteX23" fmla="*/ 52113 w 896663"/>
                  <a:gd name="connsiteY23" fmla="*/ 1143000 h 4505325"/>
                  <a:gd name="connsiteX24" fmla="*/ 20363 w 896663"/>
                  <a:gd name="connsiteY24" fmla="*/ 1244600 h 4505325"/>
                  <a:gd name="connsiteX25" fmla="*/ 1313 w 896663"/>
                  <a:gd name="connsiteY25" fmla="*/ 1346200 h 4505325"/>
                  <a:gd name="connsiteX26" fmla="*/ 10838 w 896663"/>
                  <a:gd name="connsiteY26" fmla="*/ 1438275 h 4505325"/>
                  <a:gd name="connsiteX27" fmla="*/ 83863 w 896663"/>
                  <a:gd name="connsiteY27" fmla="*/ 1511300 h 4505325"/>
                  <a:gd name="connsiteX28" fmla="*/ 112438 w 896663"/>
                  <a:gd name="connsiteY28" fmla="*/ 1558925 h 4505325"/>
                  <a:gd name="connsiteX29" fmla="*/ 150538 w 896663"/>
                  <a:gd name="connsiteY29" fmla="*/ 1590675 h 4505325"/>
                  <a:gd name="connsiteX30" fmla="*/ 169588 w 896663"/>
                  <a:gd name="connsiteY30" fmla="*/ 1644650 h 4505325"/>
                  <a:gd name="connsiteX31" fmla="*/ 226738 w 896663"/>
                  <a:gd name="connsiteY31" fmla="*/ 1685925 h 4505325"/>
                  <a:gd name="connsiteX32" fmla="*/ 264838 w 896663"/>
                  <a:gd name="connsiteY32" fmla="*/ 1730375 h 4505325"/>
                  <a:gd name="connsiteX33" fmla="*/ 277538 w 896663"/>
                  <a:gd name="connsiteY33" fmla="*/ 1758950 h 4505325"/>
                  <a:gd name="connsiteX34" fmla="*/ 277538 w 896663"/>
                  <a:gd name="connsiteY34" fmla="*/ 1828800 h 4505325"/>
                  <a:gd name="connsiteX35" fmla="*/ 325163 w 896663"/>
                  <a:gd name="connsiteY35" fmla="*/ 1905000 h 4505325"/>
                  <a:gd name="connsiteX36" fmla="*/ 363263 w 896663"/>
                  <a:gd name="connsiteY36" fmla="*/ 1962150 h 4505325"/>
                  <a:gd name="connsiteX37" fmla="*/ 369613 w 896663"/>
                  <a:gd name="connsiteY37" fmla="*/ 2028825 h 4505325"/>
                  <a:gd name="connsiteX38" fmla="*/ 407713 w 896663"/>
                  <a:gd name="connsiteY38" fmla="*/ 2085975 h 4505325"/>
                  <a:gd name="connsiteX39" fmla="*/ 414063 w 896663"/>
                  <a:gd name="connsiteY39" fmla="*/ 2209800 h 4505325"/>
                  <a:gd name="connsiteX40" fmla="*/ 252138 w 896663"/>
                  <a:gd name="connsiteY40" fmla="*/ 2251075 h 4505325"/>
                  <a:gd name="connsiteX41" fmla="*/ 201338 w 896663"/>
                  <a:gd name="connsiteY41" fmla="*/ 2390775 h 4505325"/>
                  <a:gd name="connsiteX42" fmla="*/ 210863 w 896663"/>
                  <a:gd name="connsiteY42" fmla="*/ 2454275 h 4505325"/>
                  <a:gd name="connsiteX43" fmla="*/ 226738 w 896663"/>
                  <a:gd name="connsiteY43" fmla="*/ 2482850 h 4505325"/>
                  <a:gd name="connsiteX44" fmla="*/ 226738 w 896663"/>
                  <a:gd name="connsiteY44" fmla="*/ 2527300 h 4505325"/>
                  <a:gd name="connsiteX45" fmla="*/ 236263 w 896663"/>
                  <a:gd name="connsiteY45" fmla="*/ 2603500 h 4505325"/>
                  <a:gd name="connsiteX46" fmla="*/ 153713 w 896663"/>
                  <a:gd name="connsiteY46" fmla="*/ 2917824 h 4505325"/>
                  <a:gd name="connsiteX47" fmla="*/ 80688 w 896663"/>
                  <a:gd name="connsiteY47" fmla="*/ 3063874 h 4505325"/>
                  <a:gd name="connsiteX48" fmla="*/ 42588 w 896663"/>
                  <a:gd name="connsiteY48" fmla="*/ 3133724 h 4505325"/>
                  <a:gd name="connsiteX49" fmla="*/ 17188 w 896663"/>
                  <a:gd name="connsiteY49" fmla="*/ 3203574 h 4505325"/>
                  <a:gd name="connsiteX50" fmla="*/ 10838 w 896663"/>
                  <a:gd name="connsiteY50" fmla="*/ 3390899 h 4505325"/>
                  <a:gd name="connsiteX51" fmla="*/ 33063 w 896663"/>
                  <a:gd name="connsiteY51" fmla="*/ 3492499 h 4505325"/>
                  <a:gd name="connsiteX52" fmla="*/ 90213 w 896663"/>
                  <a:gd name="connsiteY52" fmla="*/ 3682999 h 4505325"/>
                  <a:gd name="connsiteX53" fmla="*/ 112438 w 896663"/>
                  <a:gd name="connsiteY53" fmla="*/ 3809999 h 4505325"/>
                  <a:gd name="connsiteX54" fmla="*/ 201338 w 896663"/>
                  <a:gd name="connsiteY54" fmla="*/ 3892549 h 4505325"/>
                  <a:gd name="connsiteX55" fmla="*/ 268013 w 896663"/>
                  <a:gd name="connsiteY55" fmla="*/ 3905249 h 4505325"/>
                  <a:gd name="connsiteX56" fmla="*/ 382313 w 896663"/>
                  <a:gd name="connsiteY56" fmla="*/ 4203699 h 4505325"/>
                  <a:gd name="connsiteX57" fmla="*/ 502963 w 896663"/>
                  <a:gd name="connsiteY57" fmla="*/ 4254499 h 4505325"/>
                  <a:gd name="connsiteX58" fmla="*/ 639488 w 896663"/>
                  <a:gd name="connsiteY58" fmla="*/ 4302124 h 4505325"/>
                  <a:gd name="connsiteX59" fmla="*/ 760138 w 896663"/>
                  <a:gd name="connsiteY59" fmla="*/ 4292599 h 4505325"/>
                  <a:gd name="connsiteX60" fmla="*/ 896663 w 896663"/>
                  <a:gd name="connsiteY60" fmla="*/ 4505325 h 4505325"/>
                  <a:gd name="connsiteX0" fmla="*/ 445813 w 896663"/>
                  <a:gd name="connsiteY0" fmla="*/ 0 h 4505325"/>
                  <a:gd name="connsiteX1" fmla="*/ 407713 w 896663"/>
                  <a:gd name="connsiteY1" fmla="*/ 66675 h 4505325"/>
                  <a:gd name="connsiteX2" fmla="*/ 353738 w 896663"/>
                  <a:gd name="connsiteY2" fmla="*/ 85725 h 4505325"/>
                  <a:gd name="connsiteX3" fmla="*/ 283888 w 896663"/>
                  <a:gd name="connsiteY3" fmla="*/ 98425 h 4505325"/>
                  <a:gd name="connsiteX4" fmla="*/ 223563 w 896663"/>
                  <a:gd name="connsiteY4" fmla="*/ 133350 h 4505325"/>
                  <a:gd name="connsiteX5" fmla="*/ 121963 w 896663"/>
                  <a:gd name="connsiteY5" fmla="*/ 196850 h 4505325"/>
                  <a:gd name="connsiteX6" fmla="*/ 131488 w 896663"/>
                  <a:gd name="connsiteY6" fmla="*/ 247650 h 4505325"/>
                  <a:gd name="connsiteX7" fmla="*/ 172763 w 896663"/>
                  <a:gd name="connsiteY7" fmla="*/ 276225 h 4505325"/>
                  <a:gd name="connsiteX8" fmla="*/ 185463 w 896663"/>
                  <a:gd name="connsiteY8" fmla="*/ 327025 h 4505325"/>
                  <a:gd name="connsiteX9" fmla="*/ 239438 w 896663"/>
                  <a:gd name="connsiteY9" fmla="*/ 368300 h 4505325"/>
                  <a:gd name="connsiteX10" fmla="*/ 239438 w 896663"/>
                  <a:gd name="connsiteY10" fmla="*/ 412750 h 4505325"/>
                  <a:gd name="connsiteX11" fmla="*/ 207688 w 896663"/>
                  <a:gd name="connsiteY11" fmla="*/ 454025 h 4505325"/>
                  <a:gd name="connsiteX12" fmla="*/ 287063 w 896663"/>
                  <a:gd name="connsiteY12" fmla="*/ 479425 h 4505325"/>
                  <a:gd name="connsiteX13" fmla="*/ 302938 w 896663"/>
                  <a:gd name="connsiteY13" fmla="*/ 511175 h 4505325"/>
                  <a:gd name="connsiteX14" fmla="*/ 210863 w 896663"/>
                  <a:gd name="connsiteY14" fmla="*/ 581025 h 4505325"/>
                  <a:gd name="connsiteX15" fmla="*/ 160063 w 896663"/>
                  <a:gd name="connsiteY15" fmla="*/ 638175 h 4505325"/>
                  <a:gd name="connsiteX16" fmla="*/ 160063 w 896663"/>
                  <a:gd name="connsiteY16" fmla="*/ 695325 h 4505325"/>
                  <a:gd name="connsiteX17" fmla="*/ 185463 w 896663"/>
                  <a:gd name="connsiteY17" fmla="*/ 784225 h 4505325"/>
                  <a:gd name="connsiteX18" fmla="*/ 194988 w 896663"/>
                  <a:gd name="connsiteY18" fmla="*/ 835025 h 4505325"/>
                  <a:gd name="connsiteX19" fmla="*/ 204513 w 896663"/>
                  <a:gd name="connsiteY19" fmla="*/ 885825 h 4505325"/>
                  <a:gd name="connsiteX20" fmla="*/ 220388 w 896663"/>
                  <a:gd name="connsiteY20" fmla="*/ 923925 h 4505325"/>
                  <a:gd name="connsiteX21" fmla="*/ 163238 w 896663"/>
                  <a:gd name="connsiteY21" fmla="*/ 1022350 h 4505325"/>
                  <a:gd name="connsiteX22" fmla="*/ 96563 w 896663"/>
                  <a:gd name="connsiteY22" fmla="*/ 1057275 h 4505325"/>
                  <a:gd name="connsiteX23" fmla="*/ 52113 w 896663"/>
                  <a:gd name="connsiteY23" fmla="*/ 1143000 h 4505325"/>
                  <a:gd name="connsiteX24" fmla="*/ 20363 w 896663"/>
                  <a:gd name="connsiteY24" fmla="*/ 1244600 h 4505325"/>
                  <a:gd name="connsiteX25" fmla="*/ 1313 w 896663"/>
                  <a:gd name="connsiteY25" fmla="*/ 1346200 h 4505325"/>
                  <a:gd name="connsiteX26" fmla="*/ 10838 w 896663"/>
                  <a:gd name="connsiteY26" fmla="*/ 1438275 h 4505325"/>
                  <a:gd name="connsiteX27" fmla="*/ 83863 w 896663"/>
                  <a:gd name="connsiteY27" fmla="*/ 1511300 h 4505325"/>
                  <a:gd name="connsiteX28" fmla="*/ 112438 w 896663"/>
                  <a:gd name="connsiteY28" fmla="*/ 1558925 h 4505325"/>
                  <a:gd name="connsiteX29" fmla="*/ 150538 w 896663"/>
                  <a:gd name="connsiteY29" fmla="*/ 1590675 h 4505325"/>
                  <a:gd name="connsiteX30" fmla="*/ 169588 w 896663"/>
                  <a:gd name="connsiteY30" fmla="*/ 1644650 h 4505325"/>
                  <a:gd name="connsiteX31" fmla="*/ 226738 w 896663"/>
                  <a:gd name="connsiteY31" fmla="*/ 1685925 h 4505325"/>
                  <a:gd name="connsiteX32" fmla="*/ 264838 w 896663"/>
                  <a:gd name="connsiteY32" fmla="*/ 1730375 h 4505325"/>
                  <a:gd name="connsiteX33" fmla="*/ 277538 w 896663"/>
                  <a:gd name="connsiteY33" fmla="*/ 1758950 h 4505325"/>
                  <a:gd name="connsiteX34" fmla="*/ 277538 w 896663"/>
                  <a:gd name="connsiteY34" fmla="*/ 1828800 h 4505325"/>
                  <a:gd name="connsiteX35" fmla="*/ 325163 w 896663"/>
                  <a:gd name="connsiteY35" fmla="*/ 1905000 h 4505325"/>
                  <a:gd name="connsiteX36" fmla="*/ 363263 w 896663"/>
                  <a:gd name="connsiteY36" fmla="*/ 1962150 h 4505325"/>
                  <a:gd name="connsiteX37" fmla="*/ 369613 w 896663"/>
                  <a:gd name="connsiteY37" fmla="*/ 2028825 h 4505325"/>
                  <a:gd name="connsiteX38" fmla="*/ 407713 w 896663"/>
                  <a:gd name="connsiteY38" fmla="*/ 2085975 h 4505325"/>
                  <a:gd name="connsiteX39" fmla="*/ 414063 w 896663"/>
                  <a:gd name="connsiteY39" fmla="*/ 2209800 h 4505325"/>
                  <a:gd name="connsiteX40" fmla="*/ 252138 w 896663"/>
                  <a:gd name="connsiteY40" fmla="*/ 2251075 h 4505325"/>
                  <a:gd name="connsiteX41" fmla="*/ 201338 w 896663"/>
                  <a:gd name="connsiteY41" fmla="*/ 2390775 h 4505325"/>
                  <a:gd name="connsiteX42" fmla="*/ 210863 w 896663"/>
                  <a:gd name="connsiteY42" fmla="*/ 2454275 h 4505325"/>
                  <a:gd name="connsiteX43" fmla="*/ 226738 w 896663"/>
                  <a:gd name="connsiteY43" fmla="*/ 2482850 h 4505325"/>
                  <a:gd name="connsiteX44" fmla="*/ 226738 w 896663"/>
                  <a:gd name="connsiteY44" fmla="*/ 2527300 h 4505325"/>
                  <a:gd name="connsiteX45" fmla="*/ 236263 w 896663"/>
                  <a:gd name="connsiteY45" fmla="*/ 2603500 h 4505325"/>
                  <a:gd name="connsiteX46" fmla="*/ 153713 w 896663"/>
                  <a:gd name="connsiteY46" fmla="*/ 2917824 h 4505325"/>
                  <a:gd name="connsiteX47" fmla="*/ 80688 w 896663"/>
                  <a:gd name="connsiteY47" fmla="*/ 3063874 h 4505325"/>
                  <a:gd name="connsiteX48" fmla="*/ 42588 w 896663"/>
                  <a:gd name="connsiteY48" fmla="*/ 3133724 h 4505325"/>
                  <a:gd name="connsiteX49" fmla="*/ 17188 w 896663"/>
                  <a:gd name="connsiteY49" fmla="*/ 3203574 h 4505325"/>
                  <a:gd name="connsiteX50" fmla="*/ 10838 w 896663"/>
                  <a:gd name="connsiteY50" fmla="*/ 3390899 h 4505325"/>
                  <a:gd name="connsiteX51" fmla="*/ 33063 w 896663"/>
                  <a:gd name="connsiteY51" fmla="*/ 3492499 h 4505325"/>
                  <a:gd name="connsiteX52" fmla="*/ 52113 w 896663"/>
                  <a:gd name="connsiteY52" fmla="*/ 3616324 h 4505325"/>
                  <a:gd name="connsiteX53" fmla="*/ 90213 w 896663"/>
                  <a:gd name="connsiteY53" fmla="*/ 3682999 h 4505325"/>
                  <a:gd name="connsiteX54" fmla="*/ 112438 w 896663"/>
                  <a:gd name="connsiteY54" fmla="*/ 3809999 h 4505325"/>
                  <a:gd name="connsiteX55" fmla="*/ 201338 w 896663"/>
                  <a:gd name="connsiteY55" fmla="*/ 3892549 h 4505325"/>
                  <a:gd name="connsiteX56" fmla="*/ 268013 w 896663"/>
                  <a:gd name="connsiteY56" fmla="*/ 3905249 h 4505325"/>
                  <a:gd name="connsiteX57" fmla="*/ 382313 w 896663"/>
                  <a:gd name="connsiteY57" fmla="*/ 4203699 h 4505325"/>
                  <a:gd name="connsiteX58" fmla="*/ 502963 w 896663"/>
                  <a:gd name="connsiteY58" fmla="*/ 4254499 h 4505325"/>
                  <a:gd name="connsiteX59" fmla="*/ 639488 w 896663"/>
                  <a:gd name="connsiteY59" fmla="*/ 4302124 h 4505325"/>
                  <a:gd name="connsiteX60" fmla="*/ 760138 w 896663"/>
                  <a:gd name="connsiteY60" fmla="*/ 4292599 h 4505325"/>
                  <a:gd name="connsiteX61" fmla="*/ 896663 w 896663"/>
                  <a:gd name="connsiteY61" fmla="*/ 4505325 h 4505325"/>
                  <a:gd name="connsiteX0" fmla="*/ 445813 w 896663"/>
                  <a:gd name="connsiteY0" fmla="*/ 0 h 4505325"/>
                  <a:gd name="connsiteX1" fmla="*/ 407713 w 896663"/>
                  <a:gd name="connsiteY1" fmla="*/ 66675 h 4505325"/>
                  <a:gd name="connsiteX2" fmla="*/ 353738 w 896663"/>
                  <a:gd name="connsiteY2" fmla="*/ 85725 h 4505325"/>
                  <a:gd name="connsiteX3" fmla="*/ 283888 w 896663"/>
                  <a:gd name="connsiteY3" fmla="*/ 98425 h 4505325"/>
                  <a:gd name="connsiteX4" fmla="*/ 223563 w 896663"/>
                  <a:gd name="connsiteY4" fmla="*/ 133350 h 4505325"/>
                  <a:gd name="connsiteX5" fmla="*/ 121963 w 896663"/>
                  <a:gd name="connsiteY5" fmla="*/ 196850 h 4505325"/>
                  <a:gd name="connsiteX6" fmla="*/ 131488 w 896663"/>
                  <a:gd name="connsiteY6" fmla="*/ 247650 h 4505325"/>
                  <a:gd name="connsiteX7" fmla="*/ 172763 w 896663"/>
                  <a:gd name="connsiteY7" fmla="*/ 276225 h 4505325"/>
                  <a:gd name="connsiteX8" fmla="*/ 185463 w 896663"/>
                  <a:gd name="connsiteY8" fmla="*/ 327025 h 4505325"/>
                  <a:gd name="connsiteX9" fmla="*/ 239438 w 896663"/>
                  <a:gd name="connsiteY9" fmla="*/ 368300 h 4505325"/>
                  <a:gd name="connsiteX10" fmla="*/ 239438 w 896663"/>
                  <a:gd name="connsiteY10" fmla="*/ 412750 h 4505325"/>
                  <a:gd name="connsiteX11" fmla="*/ 207688 w 896663"/>
                  <a:gd name="connsiteY11" fmla="*/ 454025 h 4505325"/>
                  <a:gd name="connsiteX12" fmla="*/ 287063 w 896663"/>
                  <a:gd name="connsiteY12" fmla="*/ 479425 h 4505325"/>
                  <a:gd name="connsiteX13" fmla="*/ 302938 w 896663"/>
                  <a:gd name="connsiteY13" fmla="*/ 511175 h 4505325"/>
                  <a:gd name="connsiteX14" fmla="*/ 210863 w 896663"/>
                  <a:gd name="connsiteY14" fmla="*/ 581025 h 4505325"/>
                  <a:gd name="connsiteX15" fmla="*/ 160063 w 896663"/>
                  <a:gd name="connsiteY15" fmla="*/ 638175 h 4505325"/>
                  <a:gd name="connsiteX16" fmla="*/ 160063 w 896663"/>
                  <a:gd name="connsiteY16" fmla="*/ 695325 h 4505325"/>
                  <a:gd name="connsiteX17" fmla="*/ 185463 w 896663"/>
                  <a:gd name="connsiteY17" fmla="*/ 784225 h 4505325"/>
                  <a:gd name="connsiteX18" fmla="*/ 194988 w 896663"/>
                  <a:gd name="connsiteY18" fmla="*/ 835025 h 4505325"/>
                  <a:gd name="connsiteX19" fmla="*/ 204513 w 896663"/>
                  <a:gd name="connsiteY19" fmla="*/ 885825 h 4505325"/>
                  <a:gd name="connsiteX20" fmla="*/ 220388 w 896663"/>
                  <a:gd name="connsiteY20" fmla="*/ 923925 h 4505325"/>
                  <a:gd name="connsiteX21" fmla="*/ 163238 w 896663"/>
                  <a:gd name="connsiteY21" fmla="*/ 1022350 h 4505325"/>
                  <a:gd name="connsiteX22" fmla="*/ 96563 w 896663"/>
                  <a:gd name="connsiteY22" fmla="*/ 1057275 h 4505325"/>
                  <a:gd name="connsiteX23" fmla="*/ 52113 w 896663"/>
                  <a:gd name="connsiteY23" fmla="*/ 1143000 h 4505325"/>
                  <a:gd name="connsiteX24" fmla="*/ 20363 w 896663"/>
                  <a:gd name="connsiteY24" fmla="*/ 1244600 h 4505325"/>
                  <a:gd name="connsiteX25" fmla="*/ 1313 w 896663"/>
                  <a:gd name="connsiteY25" fmla="*/ 1346200 h 4505325"/>
                  <a:gd name="connsiteX26" fmla="*/ 10838 w 896663"/>
                  <a:gd name="connsiteY26" fmla="*/ 1438275 h 4505325"/>
                  <a:gd name="connsiteX27" fmla="*/ 83863 w 896663"/>
                  <a:gd name="connsiteY27" fmla="*/ 1511300 h 4505325"/>
                  <a:gd name="connsiteX28" fmla="*/ 112438 w 896663"/>
                  <a:gd name="connsiteY28" fmla="*/ 1558925 h 4505325"/>
                  <a:gd name="connsiteX29" fmla="*/ 150538 w 896663"/>
                  <a:gd name="connsiteY29" fmla="*/ 1590675 h 4505325"/>
                  <a:gd name="connsiteX30" fmla="*/ 169588 w 896663"/>
                  <a:gd name="connsiteY30" fmla="*/ 1644650 h 4505325"/>
                  <a:gd name="connsiteX31" fmla="*/ 226738 w 896663"/>
                  <a:gd name="connsiteY31" fmla="*/ 1685925 h 4505325"/>
                  <a:gd name="connsiteX32" fmla="*/ 264838 w 896663"/>
                  <a:gd name="connsiteY32" fmla="*/ 1730375 h 4505325"/>
                  <a:gd name="connsiteX33" fmla="*/ 277538 w 896663"/>
                  <a:gd name="connsiteY33" fmla="*/ 1758950 h 4505325"/>
                  <a:gd name="connsiteX34" fmla="*/ 277538 w 896663"/>
                  <a:gd name="connsiteY34" fmla="*/ 1828800 h 4505325"/>
                  <a:gd name="connsiteX35" fmla="*/ 325163 w 896663"/>
                  <a:gd name="connsiteY35" fmla="*/ 1905000 h 4505325"/>
                  <a:gd name="connsiteX36" fmla="*/ 363263 w 896663"/>
                  <a:gd name="connsiteY36" fmla="*/ 1962150 h 4505325"/>
                  <a:gd name="connsiteX37" fmla="*/ 369613 w 896663"/>
                  <a:gd name="connsiteY37" fmla="*/ 2028825 h 4505325"/>
                  <a:gd name="connsiteX38" fmla="*/ 407713 w 896663"/>
                  <a:gd name="connsiteY38" fmla="*/ 2085975 h 4505325"/>
                  <a:gd name="connsiteX39" fmla="*/ 414063 w 896663"/>
                  <a:gd name="connsiteY39" fmla="*/ 2209800 h 4505325"/>
                  <a:gd name="connsiteX40" fmla="*/ 252138 w 896663"/>
                  <a:gd name="connsiteY40" fmla="*/ 2251075 h 4505325"/>
                  <a:gd name="connsiteX41" fmla="*/ 201338 w 896663"/>
                  <a:gd name="connsiteY41" fmla="*/ 2390775 h 4505325"/>
                  <a:gd name="connsiteX42" fmla="*/ 210863 w 896663"/>
                  <a:gd name="connsiteY42" fmla="*/ 2454275 h 4505325"/>
                  <a:gd name="connsiteX43" fmla="*/ 226738 w 896663"/>
                  <a:gd name="connsiteY43" fmla="*/ 2482850 h 4505325"/>
                  <a:gd name="connsiteX44" fmla="*/ 226738 w 896663"/>
                  <a:gd name="connsiteY44" fmla="*/ 2527300 h 4505325"/>
                  <a:gd name="connsiteX45" fmla="*/ 236263 w 896663"/>
                  <a:gd name="connsiteY45" fmla="*/ 2603500 h 4505325"/>
                  <a:gd name="connsiteX46" fmla="*/ 153713 w 896663"/>
                  <a:gd name="connsiteY46" fmla="*/ 2917824 h 4505325"/>
                  <a:gd name="connsiteX47" fmla="*/ 80688 w 896663"/>
                  <a:gd name="connsiteY47" fmla="*/ 3063874 h 4505325"/>
                  <a:gd name="connsiteX48" fmla="*/ 42588 w 896663"/>
                  <a:gd name="connsiteY48" fmla="*/ 3133724 h 4505325"/>
                  <a:gd name="connsiteX49" fmla="*/ 17188 w 896663"/>
                  <a:gd name="connsiteY49" fmla="*/ 3203574 h 4505325"/>
                  <a:gd name="connsiteX50" fmla="*/ 10838 w 896663"/>
                  <a:gd name="connsiteY50" fmla="*/ 3390899 h 4505325"/>
                  <a:gd name="connsiteX51" fmla="*/ 39413 w 896663"/>
                  <a:gd name="connsiteY51" fmla="*/ 3482974 h 4505325"/>
                  <a:gd name="connsiteX52" fmla="*/ 52113 w 896663"/>
                  <a:gd name="connsiteY52" fmla="*/ 3616324 h 4505325"/>
                  <a:gd name="connsiteX53" fmla="*/ 90213 w 896663"/>
                  <a:gd name="connsiteY53" fmla="*/ 3682999 h 4505325"/>
                  <a:gd name="connsiteX54" fmla="*/ 112438 w 896663"/>
                  <a:gd name="connsiteY54" fmla="*/ 3809999 h 4505325"/>
                  <a:gd name="connsiteX55" fmla="*/ 201338 w 896663"/>
                  <a:gd name="connsiteY55" fmla="*/ 3892549 h 4505325"/>
                  <a:gd name="connsiteX56" fmla="*/ 268013 w 896663"/>
                  <a:gd name="connsiteY56" fmla="*/ 3905249 h 4505325"/>
                  <a:gd name="connsiteX57" fmla="*/ 382313 w 896663"/>
                  <a:gd name="connsiteY57" fmla="*/ 4203699 h 4505325"/>
                  <a:gd name="connsiteX58" fmla="*/ 502963 w 896663"/>
                  <a:gd name="connsiteY58" fmla="*/ 4254499 h 4505325"/>
                  <a:gd name="connsiteX59" fmla="*/ 639488 w 896663"/>
                  <a:gd name="connsiteY59" fmla="*/ 4302124 h 4505325"/>
                  <a:gd name="connsiteX60" fmla="*/ 760138 w 896663"/>
                  <a:gd name="connsiteY60" fmla="*/ 4292599 h 4505325"/>
                  <a:gd name="connsiteX61" fmla="*/ 896663 w 896663"/>
                  <a:gd name="connsiteY61" fmla="*/ 4505325 h 4505325"/>
                  <a:gd name="connsiteX0" fmla="*/ 445813 w 896663"/>
                  <a:gd name="connsiteY0" fmla="*/ 0 h 4505325"/>
                  <a:gd name="connsiteX1" fmla="*/ 407713 w 896663"/>
                  <a:gd name="connsiteY1" fmla="*/ 66675 h 4505325"/>
                  <a:gd name="connsiteX2" fmla="*/ 353738 w 896663"/>
                  <a:gd name="connsiteY2" fmla="*/ 85725 h 4505325"/>
                  <a:gd name="connsiteX3" fmla="*/ 283888 w 896663"/>
                  <a:gd name="connsiteY3" fmla="*/ 98425 h 4505325"/>
                  <a:gd name="connsiteX4" fmla="*/ 223563 w 896663"/>
                  <a:gd name="connsiteY4" fmla="*/ 133350 h 4505325"/>
                  <a:gd name="connsiteX5" fmla="*/ 121963 w 896663"/>
                  <a:gd name="connsiteY5" fmla="*/ 196850 h 4505325"/>
                  <a:gd name="connsiteX6" fmla="*/ 131488 w 896663"/>
                  <a:gd name="connsiteY6" fmla="*/ 247650 h 4505325"/>
                  <a:gd name="connsiteX7" fmla="*/ 172763 w 896663"/>
                  <a:gd name="connsiteY7" fmla="*/ 276225 h 4505325"/>
                  <a:gd name="connsiteX8" fmla="*/ 185463 w 896663"/>
                  <a:gd name="connsiteY8" fmla="*/ 327025 h 4505325"/>
                  <a:gd name="connsiteX9" fmla="*/ 239438 w 896663"/>
                  <a:gd name="connsiteY9" fmla="*/ 368300 h 4505325"/>
                  <a:gd name="connsiteX10" fmla="*/ 239438 w 896663"/>
                  <a:gd name="connsiteY10" fmla="*/ 412750 h 4505325"/>
                  <a:gd name="connsiteX11" fmla="*/ 207688 w 896663"/>
                  <a:gd name="connsiteY11" fmla="*/ 454025 h 4505325"/>
                  <a:gd name="connsiteX12" fmla="*/ 287063 w 896663"/>
                  <a:gd name="connsiteY12" fmla="*/ 479425 h 4505325"/>
                  <a:gd name="connsiteX13" fmla="*/ 302938 w 896663"/>
                  <a:gd name="connsiteY13" fmla="*/ 511175 h 4505325"/>
                  <a:gd name="connsiteX14" fmla="*/ 210863 w 896663"/>
                  <a:gd name="connsiteY14" fmla="*/ 581025 h 4505325"/>
                  <a:gd name="connsiteX15" fmla="*/ 160063 w 896663"/>
                  <a:gd name="connsiteY15" fmla="*/ 638175 h 4505325"/>
                  <a:gd name="connsiteX16" fmla="*/ 160063 w 896663"/>
                  <a:gd name="connsiteY16" fmla="*/ 695325 h 4505325"/>
                  <a:gd name="connsiteX17" fmla="*/ 185463 w 896663"/>
                  <a:gd name="connsiteY17" fmla="*/ 784225 h 4505325"/>
                  <a:gd name="connsiteX18" fmla="*/ 194988 w 896663"/>
                  <a:gd name="connsiteY18" fmla="*/ 835025 h 4505325"/>
                  <a:gd name="connsiteX19" fmla="*/ 204513 w 896663"/>
                  <a:gd name="connsiteY19" fmla="*/ 885825 h 4505325"/>
                  <a:gd name="connsiteX20" fmla="*/ 220388 w 896663"/>
                  <a:gd name="connsiteY20" fmla="*/ 923925 h 4505325"/>
                  <a:gd name="connsiteX21" fmla="*/ 163238 w 896663"/>
                  <a:gd name="connsiteY21" fmla="*/ 1022350 h 4505325"/>
                  <a:gd name="connsiteX22" fmla="*/ 96563 w 896663"/>
                  <a:gd name="connsiteY22" fmla="*/ 1057275 h 4505325"/>
                  <a:gd name="connsiteX23" fmla="*/ 52113 w 896663"/>
                  <a:gd name="connsiteY23" fmla="*/ 1143000 h 4505325"/>
                  <a:gd name="connsiteX24" fmla="*/ 20363 w 896663"/>
                  <a:gd name="connsiteY24" fmla="*/ 1244600 h 4505325"/>
                  <a:gd name="connsiteX25" fmla="*/ 1313 w 896663"/>
                  <a:gd name="connsiteY25" fmla="*/ 1346200 h 4505325"/>
                  <a:gd name="connsiteX26" fmla="*/ 10838 w 896663"/>
                  <a:gd name="connsiteY26" fmla="*/ 1438275 h 4505325"/>
                  <a:gd name="connsiteX27" fmla="*/ 83863 w 896663"/>
                  <a:gd name="connsiteY27" fmla="*/ 1511300 h 4505325"/>
                  <a:gd name="connsiteX28" fmla="*/ 112438 w 896663"/>
                  <a:gd name="connsiteY28" fmla="*/ 1558925 h 4505325"/>
                  <a:gd name="connsiteX29" fmla="*/ 150538 w 896663"/>
                  <a:gd name="connsiteY29" fmla="*/ 1590675 h 4505325"/>
                  <a:gd name="connsiteX30" fmla="*/ 169588 w 896663"/>
                  <a:gd name="connsiteY30" fmla="*/ 1644650 h 4505325"/>
                  <a:gd name="connsiteX31" fmla="*/ 226738 w 896663"/>
                  <a:gd name="connsiteY31" fmla="*/ 1685925 h 4505325"/>
                  <a:gd name="connsiteX32" fmla="*/ 264838 w 896663"/>
                  <a:gd name="connsiteY32" fmla="*/ 1730375 h 4505325"/>
                  <a:gd name="connsiteX33" fmla="*/ 277538 w 896663"/>
                  <a:gd name="connsiteY33" fmla="*/ 1758950 h 4505325"/>
                  <a:gd name="connsiteX34" fmla="*/ 277538 w 896663"/>
                  <a:gd name="connsiteY34" fmla="*/ 1828800 h 4505325"/>
                  <a:gd name="connsiteX35" fmla="*/ 325163 w 896663"/>
                  <a:gd name="connsiteY35" fmla="*/ 1905000 h 4505325"/>
                  <a:gd name="connsiteX36" fmla="*/ 363263 w 896663"/>
                  <a:gd name="connsiteY36" fmla="*/ 1962150 h 4505325"/>
                  <a:gd name="connsiteX37" fmla="*/ 369613 w 896663"/>
                  <a:gd name="connsiteY37" fmla="*/ 2028825 h 4505325"/>
                  <a:gd name="connsiteX38" fmla="*/ 407713 w 896663"/>
                  <a:gd name="connsiteY38" fmla="*/ 2085975 h 4505325"/>
                  <a:gd name="connsiteX39" fmla="*/ 414063 w 896663"/>
                  <a:gd name="connsiteY39" fmla="*/ 2209800 h 4505325"/>
                  <a:gd name="connsiteX40" fmla="*/ 252138 w 896663"/>
                  <a:gd name="connsiteY40" fmla="*/ 2251075 h 4505325"/>
                  <a:gd name="connsiteX41" fmla="*/ 201338 w 896663"/>
                  <a:gd name="connsiteY41" fmla="*/ 2390775 h 4505325"/>
                  <a:gd name="connsiteX42" fmla="*/ 210863 w 896663"/>
                  <a:gd name="connsiteY42" fmla="*/ 2454275 h 4505325"/>
                  <a:gd name="connsiteX43" fmla="*/ 226738 w 896663"/>
                  <a:gd name="connsiteY43" fmla="*/ 2482850 h 4505325"/>
                  <a:gd name="connsiteX44" fmla="*/ 226738 w 896663"/>
                  <a:gd name="connsiteY44" fmla="*/ 2527300 h 4505325"/>
                  <a:gd name="connsiteX45" fmla="*/ 236263 w 896663"/>
                  <a:gd name="connsiteY45" fmla="*/ 2603500 h 4505325"/>
                  <a:gd name="connsiteX46" fmla="*/ 153713 w 896663"/>
                  <a:gd name="connsiteY46" fmla="*/ 2917824 h 4505325"/>
                  <a:gd name="connsiteX47" fmla="*/ 80688 w 896663"/>
                  <a:gd name="connsiteY47" fmla="*/ 3063874 h 4505325"/>
                  <a:gd name="connsiteX48" fmla="*/ 42588 w 896663"/>
                  <a:gd name="connsiteY48" fmla="*/ 3133724 h 4505325"/>
                  <a:gd name="connsiteX49" fmla="*/ 17188 w 896663"/>
                  <a:gd name="connsiteY49" fmla="*/ 3203574 h 4505325"/>
                  <a:gd name="connsiteX50" fmla="*/ 10838 w 896663"/>
                  <a:gd name="connsiteY50" fmla="*/ 3390899 h 4505325"/>
                  <a:gd name="connsiteX51" fmla="*/ 39413 w 896663"/>
                  <a:gd name="connsiteY51" fmla="*/ 3482974 h 4505325"/>
                  <a:gd name="connsiteX52" fmla="*/ 52113 w 896663"/>
                  <a:gd name="connsiteY52" fmla="*/ 3616324 h 4505325"/>
                  <a:gd name="connsiteX53" fmla="*/ 90213 w 896663"/>
                  <a:gd name="connsiteY53" fmla="*/ 3682999 h 4505325"/>
                  <a:gd name="connsiteX54" fmla="*/ 112438 w 896663"/>
                  <a:gd name="connsiteY54" fmla="*/ 3809999 h 4505325"/>
                  <a:gd name="connsiteX55" fmla="*/ 201338 w 896663"/>
                  <a:gd name="connsiteY55" fmla="*/ 3892549 h 4505325"/>
                  <a:gd name="connsiteX56" fmla="*/ 258488 w 896663"/>
                  <a:gd name="connsiteY56" fmla="*/ 3908424 h 4505325"/>
                  <a:gd name="connsiteX57" fmla="*/ 382313 w 896663"/>
                  <a:gd name="connsiteY57" fmla="*/ 4203699 h 4505325"/>
                  <a:gd name="connsiteX58" fmla="*/ 502963 w 896663"/>
                  <a:gd name="connsiteY58" fmla="*/ 4254499 h 4505325"/>
                  <a:gd name="connsiteX59" fmla="*/ 639488 w 896663"/>
                  <a:gd name="connsiteY59" fmla="*/ 4302124 h 4505325"/>
                  <a:gd name="connsiteX60" fmla="*/ 760138 w 896663"/>
                  <a:gd name="connsiteY60" fmla="*/ 4292599 h 4505325"/>
                  <a:gd name="connsiteX61" fmla="*/ 896663 w 896663"/>
                  <a:gd name="connsiteY61" fmla="*/ 4505325 h 4505325"/>
                  <a:gd name="connsiteX0" fmla="*/ 445813 w 896663"/>
                  <a:gd name="connsiteY0" fmla="*/ 0 h 4505325"/>
                  <a:gd name="connsiteX1" fmla="*/ 407713 w 896663"/>
                  <a:gd name="connsiteY1" fmla="*/ 66675 h 4505325"/>
                  <a:gd name="connsiteX2" fmla="*/ 353738 w 896663"/>
                  <a:gd name="connsiteY2" fmla="*/ 85725 h 4505325"/>
                  <a:gd name="connsiteX3" fmla="*/ 283888 w 896663"/>
                  <a:gd name="connsiteY3" fmla="*/ 98425 h 4505325"/>
                  <a:gd name="connsiteX4" fmla="*/ 223563 w 896663"/>
                  <a:gd name="connsiteY4" fmla="*/ 133350 h 4505325"/>
                  <a:gd name="connsiteX5" fmla="*/ 121963 w 896663"/>
                  <a:gd name="connsiteY5" fmla="*/ 196850 h 4505325"/>
                  <a:gd name="connsiteX6" fmla="*/ 131488 w 896663"/>
                  <a:gd name="connsiteY6" fmla="*/ 247650 h 4505325"/>
                  <a:gd name="connsiteX7" fmla="*/ 172763 w 896663"/>
                  <a:gd name="connsiteY7" fmla="*/ 276225 h 4505325"/>
                  <a:gd name="connsiteX8" fmla="*/ 185463 w 896663"/>
                  <a:gd name="connsiteY8" fmla="*/ 327025 h 4505325"/>
                  <a:gd name="connsiteX9" fmla="*/ 239438 w 896663"/>
                  <a:gd name="connsiteY9" fmla="*/ 368300 h 4505325"/>
                  <a:gd name="connsiteX10" fmla="*/ 239438 w 896663"/>
                  <a:gd name="connsiteY10" fmla="*/ 412750 h 4505325"/>
                  <a:gd name="connsiteX11" fmla="*/ 207688 w 896663"/>
                  <a:gd name="connsiteY11" fmla="*/ 454025 h 4505325"/>
                  <a:gd name="connsiteX12" fmla="*/ 287063 w 896663"/>
                  <a:gd name="connsiteY12" fmla="*/ 479425 h 4505325"/>
                  <a:gd name="connsiteX13" fmla="*/ 302938 w 896663"/>
                  <a:gd name="connsiteY13" fmla="*/ 511175 h 4505325"/>
                  <a:gd name="connsiteX14" fmla="*/ 210863 w 896663"/>
                  <a:gd name="connsiteY14" fmla="*/ 581025 h 4505325"/>
                  <a:gd name="connsiteX15" fmla="*/ 160063 w 896663"/>
                  <a:gd name="connsiteY15" fmla="*/ 638175 h 4505325"/>
                  <a:gd name="connsiteX16" fmla="*/ 160063 w 896663"/>
                  <a:gd name="connsiteY16" fmla="*/ 695325 h 4505325"/>
                  <a:gd name="connsiteX17" fmla="*/ 185463 w 896663"/>
                  <a:gd name="connsiteY17" fmla="*/ 784225 h 4505325"/>
                  <a:gd name="connsiteX18" fmla="*/ 194988 w 896663"/>
                  <a:gd name="connsiteY18" fmla="*/ 835025 h 4505325"/>
                  <a:gd name="connsiteX19" fmla="*/ 204513 w 896663"/>
                  <a:gd name="connsiteY19" fmla="*/ 885825 h 4505325"/>
                  <a:gd name="connsiteX20" fmla="*/ 220388 w 896663"/>
                  <a:gd name="connsiteY20" fmla="*/ 923925 h 4505325"/>
                  <a:gd name="connsiteX21" fmla="*/ 163238 w 896663"/>
                  <a:gd name="connsiteY21" fmla="*/ 1022350 h 4505325"/>
                  <a:gd name="connsiteX22" fmla="*/ 96563 w 896663"/>
                  <a:gd name="connsiteY22" fmla="*/ 1057275 h 4505325"/>
                  <a:gd name="connsiteX23" fmla="*/ 52113 w 896663"/>
                  <a:gd name="connsiteY23" fmla="*/ 1143000 h 4505325"/>
                  <a:gd name="connsiteX24" fmla="*/ 20363 w 896663"/>
                  <a:gd name="connsiteY24" fmla="*/ 1244600 h 4505325"/>
                  <a:gd name="connsiteX25" fmla="*/ 1313 w 896663"/>
                  <a:gd name="connsiteY25" fmla="*/ 1346200 h 4505325"/>
                  <a:gd name="connsiteX26" fmla="*/ 10838 w 896663"/>
                  <a:gd name="connsiteY26" fmla="*/ 1438275 h 4505325"/>
                  <a:gd name="connsiteX27" fmla="*/ 83863 w 896663"/>
                  <a:gd name="connsiteY27" fmla="*/ 1511300 h 4505325"/>
                  <a:gd name="connsiteX28" fmla="*/ 112438 w 896663"/>
                  <a:gd name="connsiteY28" fmla="*/ 1558925 h 4505325"/>
                  <a:gd name="connsiteX29" fmla="*/ 150538 w 896663"/>
                  <a:gd name="connsiteY29" fmla="*/ 1590675 h 4505325"/>
                  <a:gd name="connsiteX30" fmla="*/ 169588 w 896663"/>
                  <a:gd name="connsiteY30" fmla="*/ 1644650 h 4505325"/>
                  <a:gd name="connsiteX31" fmla="*/ 226738 w 896663"/>
                  <a:gd name="connsiteY31" fmla="*/ 1685925 h 4505325"/>
                  <a:gd name="connsiteX32" fmla="*/ 264838 w 896663"/>
                  <a:gd name="connsiteY32" fmla="*/ 1730375 h 4505325"/>
                  <a:gd name="connsiteX33" fmla="*/ 277538 w 896663"/>
                  <a:gd name="connsiteY33" fmla="*/ 1758950 h 4505325"/>
                  <a:gd name="connsiteX34" fmla="*/ 277538 w 896663"/>
                  <a:gd name="connsiteY34" fmla="*/ 1828800 h 4505325"/>
                  <a:gd name="connsiteX35" fmla="*/ 325163 w 896663"/>
                  <a:gd name="connsiteY35" fmla="*/ 1905000 h 4505325"/>
                  <a:gd name="connsiteX36" fmla="*/ 363263 w 896663"/>
                  <a:gd name="connsiteY36" fmla="*/ 1962150 h 4505325"/>
                  <a:gd name="connsiteX37" fmla="*/ 369613 w 896663"/>
                  <a:gd name="connsiteY37" fmla="*/ 2028825 h 4505325"/>
                  <a:gd name="connsiteX38" fmla="*/ 407713 w 896663"/>
                  <a:gd name="connsiteY38" fmla="*/ 2085975 h 4505325"/>
                  <a:gd name="connsiteX39" fmla="*/ 414063 w 896663"/>
                  <a:gd name="connsiteY39" fmla="*/ 2209800 h 4505325"/>
                  <a:gd name="connsiteX40" fmla="*/ 252138 w 896663"/>
                  <a:gd name="connsiteY40" fmla="*/ 2251075 h 4505325"/>
                  <a:gd name="connsiteX41" fmla="*/ 201338 w 896663"/>
                  <a:gd name="connsiteY41" fmla="*/ 2390775 h 4505325"/>
                  <a:gd name="connsiteX42" fmla="*/ 210863 w 896663"/>
                  <a:gd name="connsiteY42" fmla="*/ 2454275 h 4505325"/>
                  <a:gd name="connsiteX43" fmla="*/ 226738 w 896663"/>
                  <a:gd name="connsiteY43" fmla="*/ 2482850 h 4505325"/>
                  <a:gd name="connsiteX44" fmla="*/ 226738 w 896663"/>
                  <a:gd name="connsiteY44" fmla="*/ 2527300 h 4505325"/>
                  <a:gd name="connsiteX45" fmla="*/ 236263 w 896663"/>
                  <a:gd name="connsiteY45" fmla="*/ 2603500 h 4505325"/>
                  <a:gd name="connsiteX46" fmla="*/ 204513 w 896663"/>
                  <a:gd name="connsiteY46" fmla="*/ 2825749 h 4505325"/>
                  <a:gd name="connsiteX47" fmla="*/ 153713 w 896663"/>
                  <a:gd name="connsiteY47" fmla="*/ 2917824 h 4505325"/>
                  <a:gd name="connsiteX48" fmla="*/ 80688 w 896663"/>
                  <a:gd name="connsiteY48" fmla="*/ 3063874 h 4505325"/>
                  <a:gd name="connsiteX49" fmla="*/ 42588 w 896663"/>
                  <a:gd name="connsiteY49" fmla="*/ 3133724 h 4505325"/>
                  <a:gd name="connsiteX50" fmla="*/ 17188 w 896663"/>
                  <a:gd name="connsiteY50" fmla="*/ 3203574 h 4505325"/>
                  <a:gd name="connsiteX51" fmla="*/ 10838 w 896663"/>
                  <a:gd name="connsiteY51" fmla="*/ 3390899 h 4505325"/>
                  <a:gd name="connsiteX52" fmla="*/ 39413 w 896663"/>
                  <a:gd name="connsiteY52" fmla="*/ 3482974 h 4505325"/>
                  <a:gd name="connsiteX53" fmla="*/ 52113 w 896663"/>
                  <a:gd name="connsiteY53" fmla="*/ 3616324 h 4505325"/>
                  <a:gd name="connsiteX54" fmla="*/ 90213 w 896663"/>
                  <a:gd name="connsiteY54" fmla="*/ 3682999 h 4505325"/>
                  <a:gd name="connsiteX55" fmla="*/ 112438 w 896663"/>
                  <a:gd name="connsiteY55" fmla="*/ 3809999 h 4505325"/>
                  <a:gd name="connsiteX56" fmla="*/ 201338 w 896663"/>
                  <a:gd name="connsiteY56" fmla="*/ 3892549 h 4505325"/>
                  <a:gd name="connsiteX57" fmla="*/ 258488 w 896663"/>
                  <a:gd name="connsiteY57" fmla="*/ 3908424 h 4505325"/>
                  <a:gd name="connsiteX58" fmla="*/ 382313 w 896663"/>
                  <a:gd name="connsiteY58" fmla="*/ 4203699 h 4505325"/>
                  <a:gd name="connsiteX59" fmla="*/ 502963 w 896663"/>
                  <a:gd name="connsiteY59" fmla="*/ 4254499 h 4505325"/>
                  <a:gd name="connsiteX60" fmla="*/ 639488 w 896663"/>
                  <a:gd name="connsiteY60" fmla="*/ 4302124 h 4505325"/>
                  <a:gd name="connsiteX61" fmla="*/ 760138 w 896663"/>
                  <a:gd name="connsiteY61" fmla="*/ 4292599 h 4505325"/>
                  <a:gd name="connsiteX62" fmla="*/ 896663 w 896663"/>
                  <a:gd name="connsiteY62" fmla="*/ 4505325 h 4505325"/>
                  <a:gd name="connsiteX0" fmla="*/ 445813 w 896663"/>
                  <a:gd name="connsiteY0" fmla="*/ 0 h 4505325"/>
                  <a:gd name="connsiteX1" fmla="*/ 407713 w 896663"/>
                  <a:gd name="connsiteY1" fmla="*/ 66675 h 4505325"/>
                  <a:gd name="connsiteX2" fmla="*/ 353738 w 896663"/>
                  <a:gd name="connsiteY2" fmla="*/ 85725 h 4505325"/>
                  <a:gd name="connsiteX3" fmla="*/ 283888 w 896663"/>
                  <a:gd name="connsiteY3" fmla="*/ 98425 h 4505325"/>
                  <a:gd name="connsiteX4" fmla="*/ 223563 w 896663"/>
                  <a:gd name="connsiteY4" fmla="*/ 133350 h 4505325"/>
                  <a:gd name="connsiteX5" fmla="*/ 121963 w 896663"/>
                  <a:gd name="connsiteY5" fmla="*/ 196850 h 4505325"/>
                  <a:gd name="connsiteX6" fmla="*/ 131488 w 896663"/>
                  <a:gd name="connsiteY6" fmla="*/ 247650 h 4505325"/>
                  <a:gd name="connsiteX7" fmla="*/ 172763 w 896663"/>
                  <a:gd name="connsiteY7" fmla="*/ 276225 h 4505325"/>
                  <a:gd name="connsiteX8" fmla="*/ 185463 w 896663"/>
                  <a:gd name="connsiteY8" fmla="*/ 327025 h 4505325"/>
                  <a:gd name="connsiteX9" fmla="*/ 239438 w 896663"/>
                  <a:gd name="connsiteY9" fmla="*/ 368300 h 4505325"/>
                  <a:gd name="connsiteX10" fmla="*/ 239438 w 896663"/>
                  <a:gd name="connsiteY10" fmla="*/ 412750 h 4505325"/>
                  <a:gd name="connsiteX11" fmla="*/ 207688 w 896663"/>
                  <a:gd name="connsiteY11" fmla="*/ 454025 h 4505325"/>
                  <a:gd name="connsiteX12" fmla="*/ 287063 w 896663"/>
                  <a:gd name="connsiteY12" fmla="*/ 479425 h 4505325"/>
                  <a:gd name="connsiteX13" fmla="*/ 302938 w 896663"/>
                  <a:gd name="connsiteY13" fmla="*/ 511175 h 4505325"/>
                  <a:gd name="connsiteX14" fmla="*/ 210863 w 896663"/>
                  <a:gd name="connsiteY14" fmla="*/ 581025 h 4505325"/>
                  <a:gd name="connsiteX15" fmla="*/ 160063 w 896663"/>
                  <a:gd name="connsiteY15" fmla="*/ 638175 h 4505325"/>
                  <a:gd name="connsiteX16" fmla="*/ 160063 w 896663"/>
                  <a:gd name="connsiteY16" fmla="*/ 695325 h 4505325"/>
                  <a:gd name="connsiteX17" fmla="*/ 185463 w 896663"/>
                  <a:gd name="connsiteY17" fmla="*/ 784225 h 4505325"/>
                  <a:gd name="connsiteX18" fmla="*/ 194988 w 896663"/>
                  <a:gd name="connsiteY18" fmla="*/ 835025 h 4505325"/>
                  <a:gd name="connsiteX19" fmla="*/ 204513 w 896663"/>
                  <a:gd name="connsiteY19" fmla="*/ 885825 h 4505325"/>
                  <a:gd name="connsiteX20" fmla="*/ 220388 w 896663"/>
                  <a:gd name="connsiteY20" fmla="*/ 923925 h 4505325"/>
                  <a:gd name="connsiteX21" fmla="*/ 163238 w 896663"/>
                  <a:gd name="connsiteY21" fmla="*/ 1022350 h 4505325"/>
                  <a:gd name="connsiteX22" fmla="*/ 96563 w 896663"/>
                  <a:gd name="connsiteY22" fmla="*/ 1057275 h 4505325"/>
                  <a:gd name="connsiteX23" fmla="*/ 52113 w 896663"/>
                  <a:gd name="connsiteY23" fmla="*/ 1143000 h 4505325"/>
                  <a:gd name="connsiteX24" fmla="*/ 20363 w 896663"/>
                  <a:gd name="connsiteY24" fmla="*/ 1244600 h 4505325"/>
                  <a:gd name="connsiteX25" fmla="*/ 1313 w 896663"/>
                  <a:gd name="connsiteY25" fmla="*/ 1346200 h 4505325"/>
                  <a:gd name="connsiteX26" fmla="*/ 10838 w 896663"/>
                  <a:gd name="connsiteY26" fmla="*/ 1438275 h 4505325"/>
                  <a:gd name="connsiteX27" fmla="*/ 83863 w 896663"/>
                  <a:gd name="connsiteY27" fmla="*/ 1511300 h 4505325"/>
                  <a:gd name="connsiteX28" fmla="*/ 112438 w 896663"/>
                  <a:gd name="connsiteY28" fmla="*/ 1558925 h 4505325"/>
                  <a:gd name="connsiteX29" fmla="*/ 150538 w 896663"/>
                  <a:gd name="connsiteY29" fmla="*/ 1590675 h 4505325"/>
                  <a:gd name="connsiteX30" fmla="*/ 169588 w 896663"/>
                  <a:gd name="connsiteY30" fmla="*/ 1644650 h 4505325"/>
                  <a:gd name="connsiteX31" fmla="*/ 226738 w 896663"/>
                  <a:gd name="connsiteY31" fmla="*/ 1685925 h 4505325"/>
                  <a:gd name="connsiteX32" fmla="*/ 264838 w 896663"/>
                  <a:gd name="connsiteY32" fmla="*/ 1730375 h 4505325"/>
                  <a:gd name="connsiteX33" fmla="*/ 277538 w 896663"/>
                  <a:gd name="connsiteY33" fmla="*/ 1758950 h 4505325"/>
                  <a:gd name="connsiteX34" fmla="*/ 277538 w 896663"/>
                  <a:gd name="connsiteY34" fmla="*/ 1828800 h 4505325"/>
                  <a:gd name="connsiteX35" fmla="*/ 325163 w 896663"/>
                  <a:gd name="connsiteY35" fmla="*/ 1905000 h 4505325"/>
                  <a:gd name="connsiteX36" fmla="*/ 363263 w 896663"/>
                  <a:gd name="connsiteY36" fmla="*/ 1962150 h 4505325"/>
                  <a:gd name="connsiteX37" fmla="*/ 369613 w 896663"/>
                  <a:gd name="connsiteY37" fmla="*/ 2028825 h 4505325"/>
                  <a:gd name="connsiteX38" fmla="*/ 407713 w 896663"/>
                  <a:gd name="connsiteY38" fmla="*/ 2085975 h 4505325"/>
                  <a:gd name="connsiteX39" fmla="*/ 414063 w 896663"/>
                  <a:gd name="connsiteY39" fmla="*/ 2255981 h 4505325"/>
                  <a:gd name="connsiteX40" fmla="*/ 252138 w 896663"/>
                  <a:gd name="connsiteY40" fmla="*/ 2251075 h 4505325"/>
                  <a:gd name="connsiteX41" fmla="*/ 201338 w 896663"/>
                  <a:gd name="connsiteY41" fmla="*/ 2390775 h 4505325"/>
                  <a:gd name="connsiteX42" fmla="*/ 210863 w 896663"/>
                  <a:gd name="connsiteY42" fmla="*/ 2454275 h 4505325"/>
                  <a:gd name="connsiteX43" fmla="*/ 226738 w 896663"/>
                  <a:gd name="connsiteY43" fmla="*/ 2482850 h 4505325"/>
                  <a:gd name="connsiteX44" fmla="*/ 226738 w 896663"/>
                  <a:gd name="connsiteY44" fmla="*/ 2527300 h 4505325"/>
                  <a:gd name="connsiteX45" fmla="*/ 236263 w 896663"/>
                  <a:gd name="connsiteY45" fmla="*/ 2603500 h 4505325"/>
                  <a:gd name="connsiteX46" fmla="*/ 204513 w 896663"/>
                  <a:gd name="connsiteY46" fmla="*/ 2825749 h 4505325"/>
                  <a:gd name="connsiteX47" fmla="*/ 153713 w 896663"/>
                  <a:gd name="connsiteY47" fmla="*/ 2917824 h 4505325"/>
                  <a:gd name="connsiteX48" fmla="*/ 80688 w 896663"/>
                  <a:gd name="connsiteY48" fmla="*/ 3063874 h 4505325"/>
                  <a:gd name="connsiteX49" fmla="*/ 42588 w 896663"/>
                  <a:gd name="connsiteY49" fmla="*/ 3133724 h 4505325"/>
                  <a:gd name="connsiteX50" fmla="*/ 17188 w 896663"/>
                  <a:gd name="connsiteY50" fmla="*/ 3203574 h 4505325"/>
                  <a:gd name="connsiteX51" fmla="*/ 10838 w 896663"/>
                  <a:gd name="connsiteY51" fmla="*/ 3390899 h 4505325"/>
                  <a:gd name="connsiteX52" fmla="*/ 39413 w 896663"/>
                  <a:gd name="connsiteY52" fmla="*/ 3482974 h 4505325"/>
                  <a:gd name="connsiteX53" fmla="*/ 52113 w 896663"/>
                  <a:gd name="connsiteY53" fmla="*/ 3616324 h 4505325"/>
                  <a:gd name="connsiteX54" fmla="*/ 90213 w 896663"/>
                  <a:gd name="connsiteY54" fmla="*/ 3682999 h 4505325"/>
                  <a:gd name="connsiteX55" fmla="*/ 112438 w 896663"/>
                  <a:gd name="connsiteY55" fmla="*/ 3809999 h 4505325"/>
                  <a:gd name="connsiteX56" fmla="*/ 201338 w 896663"/>
                  <a:gd name="connsiteY56" fmla="*/ 3892549 h 4505325"/>
                  <a:gd name="connsiteX57" fmla="*/ 258488 w 896663"/>
                  <a:gd name="connsiteY57" fmla="*/ 3908424 h 4505325"/>
                  <a:gd name="connsiteX58" fmla="*/ 382313 w 896663"/>
                  <a:gd name="connsiteY58" fmla="*/ 4203699 h 4505325"/>
                  <a:gd name="connsiteX59" fmla="*/ 502963 w 896663"/>
                  <a:gd name="connsiteY59" fmla="*/ 4254499 h 4505325"/>
                  <a:gd name="connsiteX60" fmla="*/ 639488 w 896663"/>
                  <a:gd name="connsiteY60" fmla="*/ 4302124 h 4505325"/>
                  <a:gd name="connsiteX61" fmla="*/ 760138 w 896663"/>
                  <a:gd name="connsiteY61" fmla="*/ 4292599 h 4505325"/>
                  <a:gd name="connsiteX62" fmla="*/ 896663 w 896663"/>
                  <a:gd name="connsiteY62" fmla="*/ 4505325 h 4505325"/>
                  <a:gd name="connsiteX0" fmla="*/ 445813 w 896663"/>
                  <a:gd name="connsiteY0" fmla="*/ 0 h 4505325"/>
                  <a:gd name="connsiteX1" fmla="*/ 407713 w 896663"/>
                  <a:gd name="connsiteY1" fmla="*/ 66675 h 4505325"/>
                  <a:gd name="connsiteX2" fmla="*/ 353738 w 896663"/>
                  <a:gd name="connsiteY2" fmla="*/ 85725 h 4505325"/>
                  <a:gd name="connsiteX3" fmla="*/ 283888 w 896663"/>
                  <a:gd name="connsiteY3" fmla="*/ 98425 h 4505325"/>
                  <a:gd name="connsiteX4" fmla="*/ 223563 w 896663"/>
                  <a:gd name="connsiteY4" fmla="*/ 133350 h 4505325"/>
                  <a:gd name="connsiteX5" fmla="*/ 121963 w 896663"/>
                  <a:gd name="connsiteY5" fmla="*/ 196850 h 4505325"/>
                  <a:gd name="connsiteX6" fmla="*/ 131488 w 896663"/>
                  <a:gd name="connsiteY6" fmla="*/ 247650 h 4505325"/>
                  <a:gd name="connsiteX7" fmla="*/ 172763 w 896663"/>
                  <a:gd name="connsiteY7" fmla="*/ 276225 h 4505325"/>
                  <a:gd name="connsiteX8" fmla="*/ 185463 w 896663"/>
                  <a:gd name="connsiteY8" fmla="*/ 327025 h 4505325"/>
                  <a:gd name="connsiteX9" fmla="*/ 239438 w 896663"/>
                  <a:gd name="connsiteY9" fmla="*/ 368300 h 4505325"/>
                  <a:gd name="connsiteX10" fmla="*/ 239438 w 896663"/>
                  <a:gd name="connsiteY10" fmla="*/ 412750 h 4505325"/>
                  <a:gd name="connsiteX11" fmla="*/ 207688 w 896663"/>
                  <a:gd name="connsiteY11" fmla="*/ 454025 h 4505325"/>
                  <a:gd name="connsiteX12" fmla="*/ 287063 w 896663"/>
                  <a:gd name="connsiteY12" fmla="*/ 479425 h 4505325"/>
                  <a:gd name="connsiteX13" fmla="*/ 302938 w 896663"/>
                  <a:gd name="connsiteY13" fmla="*/ 511175 h 4505325"/>
                  <a:gd name="connsiteX14" fmla="*/ 210863 w 896663"/>
                  <a:gd name="connsiteY14" fmla="*/ 581025 h 4505325"/>
                  <a:gd name="connsiteX15" fmla="*/ 160063 w 896663"/>
                  <a:gd name="connsiteY15" fmla="*/ 638175 h 4505325"/>
                  <a:gd name="connsiteX16" fmla="*/ 160063 w 896663"/>
                  <a:gd name="connsiteY16" fmla="*/ 695325 h 4505325"/>
                  <a:gd name="connsiteX17" fmla="*/ 185463 w 896663"/>
                  <a:gd name="connsiteY17" fmla="*/ 784225 h 4505325"/>
                  <a:gd name="connsiteX18" fmla="*/ 194988 w 896663"/>
                  <a:gd name="connsiteY18" fmla="*/ 835025 h 4505325"/>
                  <a:gd name="connsiteX19" fmla="*/ 204513 w 896663"/>
                  <a:gd name="connsiteY19" fmla="*/ 885825 h 4505325"/>
                  <a:gd name="connsiteX20" fmla="*/ 220388 w 896663"/>
                  <a:gd name="connsiteY20" fmla="*/ 923925 h 4505325"/>
                  <a:gd name="connsiteX21" fmla="*/ 163238 w 896663"/>
                  <a:gd name="connsiteY21" fmla="*/ 1022350 h 4505325"/>
                  <a:gd name="connsiteX22" fmla="*/ 96563 w 896663"/>
                  <a:gd name="connsiteY22" fmla="*/ 1057275 h 4505325"/>
                  <a:gd name="connsiteX23" fmla="*/ 52113 w 896663"/>
                  <a:gd name="connsiteY23" fmla="*/ 1143000 h 4505325"/>
                  <a:gd name="connsiteX24" fmla="*/ 20363 w 896663"/>
                  <a:gd name="connsiteY24" fmla="*/ 1244600 h 4505325"/>
                  <a:gd name="connsiteX25" fmla="*/ 1313 w 896663"/>
                  <a:gd name="connsiteY25" fmla="*/ 1346200 h 4505325"/>
                  <a:gd name="connsiteX26" fmla="*/ 10838 w 896663"/>
                  <a:gd name="connsiteY26" fmla="*/ 1438275 h 4505325"/>
                  <a:gd name="connsiteX27" fmla="*/ 83863 w 896663"/>
                  <a:gd name="connsiteY27" fmla="*/ 1511300 h 4505325"/>
                  <a:gd name="connsiteX28" fmla="*/ 112438 w 896663"/>
                  <a:gd name="connsiteY28" fmla="*/ 1558925 h 4505325"/>
                  <a:gd name="connsiteX29" fmla="*/ 150538 w 896663"/>
                  <a:gd name="connsiteY29" fmla="*/ 1590675 h 4505325"/>
                  <a:gd name="connsiteX30" fmla="*/ 169588 w 896663"/>
                  <a:gd name="connsiteY30" fmla="*/ 1644650 h 4505325"/>
                  <a:gd name="connsiteX31" fmla="*/ 226738 w 896663"/>
                  <a:gd name="connsiteY31" fmla="*/ 1685925 h 4505325"/>
                  <a:gd name="connsiteX32" fmla="*/ 264838 w 896663"/>
                  <a:gd name="connsiteY32" fmla="*/ 1730375 h 4505325"/>
                  <a:gd name="connsiteX33" fmla="*/ 277538 w 896663"/>
                  <a:gd name="connsiteY33" fmla="*/ 1758950 h 4505325"/>
                  <a:gd name="connsiteX34" fmla="*/ 277538 w 896663"/>
                  <a:gd name="connsiteY34" fmla="*/ 1828800 h 4505325"/>
                  <a:gd name="connsiteX35" fmla="*/ 325163 w 896663"/>
                  <a:gd name="connsiteY35" fmla="*/ 1905000 h 4505325"/>
                  <a:gd name="connsiteX36" fmla="*/ 363263 w 896663"/>
                  <a:gd name="connsiteY36" fmla="*/ 1962150 h 4505325"/>
                  <a:gd name="connsiteX37" fmla="*/ 369613 w 896663"/>
                  <a:gd name="connsiteY37" fmla="*/ 2028825 h 4505325"/>
                  <a:gd name="connsiteX38" fmla="*/ 407713 w 896663"/>
                  <a:gd name="connsiteY38" fmla="*/ 2085975 h 4505325"/>
                  <a:gd name="connsiteX39" fmla="*/ 414063 w 896663"/>
                  <a:gd name="connsiteY39" fmla="*/ 2255981 h 4505325"/>
                  <a:gd name="connsiteX40" fmla="*/ 242901 w 896663"/>
                  <a:gd name="connsiteY40" fmla="*/ 2278784 h 4505325"/>
                  <a:gd name="connsiteX41" fmla="*/ 201338 w 896663"/>
                  <a:gd name="connsiteY41" fmla="*/ 2390775 h 4505325"/>
                  <a:gd name="connsiteX42" fmla="*/ 210863 w 896663"/>
                  <a:gd name="connsiteY42" fmla="*/ 2454275 h 4505325"/>
                  <a:gd name="connsiteX43" fmla="*/ 226738 w 896663"/>
                  <a:gd name="connsiteY43" fmla="*/ 2482850 h 4505325"/>
                  <a:gd name="connsiteX44" fmla="*/ 226738 w 896663"/>
                  <a:gd name="connsiteY44" fmla="*/ 2527300 h 4505325"/>
                  <a:gd name="connsiteX45" fmla="*/ 236263 w 896663"/>
                  <a:gd name="connsiteY45" fmla="*/ 2603500 h 4505325"/>
                  <a:gd name="connsiteX46" fmla="*/ 204513 w 896663"/>
                  <a:gd name="connsiteY46" fmla="*/ 2825749 h 4505325"/>
                  <a:gd name="connsiteX47" fmla="*/ 153713 w 896663"/>
                  <a:gd name="connsiteY47" fmla="*/ 2917824 h 4505325"/>
                  <a:gd name="connsiteX48" fmla="*/ 80688 w 896663"/>
                  <a:gd name="connsiteY48" fmla="*/ 3063874 h 4505325"/>
                  <a:gd name="connsiteX49" fmla="*/ 42588 w 896663"/>
                  <a:gd name="connsiteY49" fmla="*/ 3133724 h 4505325"/>
                  <a:gd name="connsiteX50" fmla="*/ 17188 w 896663"/>
                  <a:gd name="connsiteY50" fmla="*/ 3203574 h 4505325"/>
                  <a:gd name="connsiteX51" fmla="*/ 10838 w 896663"/>
                  <a:gd name="connsiteY51" fmla="*/ 3390899 h 4505325"/>
                  <a:gd name="connsiteX52" fmla="*/ 39413 w 896663"/>
                  <a:gd name="connsiteY52" fmla="*/ 3482974 h 4505325"/>
                  <a:gd name="connsiteX53" fmla="*/ 52113 w 896663"/>
                  <a:gd name="connsiteY53" fmla="*/ 3616324 h 4505325"/>
                  <a:gd name="connsiteX54" fmla="*/ 90213 w 896663"/>
                  <a:gd name="connsiteY54" fmla="*/ 3682999 h 4505325"/>
                  <a:gd name="connsiteX55" fmla="*/ 112438 w 896663"/>
                  <a:gd name="connsiteY55" fmla="*/ 3809999 h 4505325"/>
                  <a:gd name="connsiteX56" fmla="*/ 201338 w 896663"/>
                  <a:gd name="connsiteY56" fmla="*/ 3892549 h 4505325"/>
                  <a:gd name="connsiteX57" fmla="*/ 258488 w 896663"/>
                  <a:gd name="connsiteY57" fmla="*/ 3908424 h 4505325"/>
                  <a:gd name="connsiteX58" fmla="*/ 382313 w 896663"/>
                  <a:gd name="connsiteY58" fmla="*/ 4203699 h 4505325"/>
                  <a:gd name="connsiteX59" fmla="*/ 502963 w 896663"/>
                  <a:gd name="connsiteY59" fmla="*/ 4254499 h 4505325"/>
                  <a:gd name="connsiteX60" fmla="*/ 639488 w 896663"/>
                  <a:gd name="connsiteY60" fmla="*/ 4302124 h 4505325"/>
                  <a:gd name="connsiteX61" fmla="*/ 760138 w 896663"/>
                  <a:gd name="connsiteY61" fmla="*/ 4292599 h 4505325"/>
                  <a:gd name="connsiteX62" fmla="*/ 896663 w 896663"/>
                  <a:gd name="connsiteY62" fmla="*/ 4505325 h 4505325"/>
                  <a:gd name="connsiteX0" fmla="*/ 445813 w 760138"/>
                  <a:gd name="connsiteY0" fmla="*/ 0 h 4302124"/>
                  <a:gd name="connsiteX1" fmla="*/ 407713 w 760138"/>
                  <a:gd name="connsiteY1" fmla="*/ 66675 h 4302124"/>
                  <a:gd name="connsiteX2" fmla="*/ 353738 w 760138"/>
                  <a:gd name="connsiteY2" fmla="*/ 85725 h 4302124"/>
                  <a:gd name="connsiteX3" fmla="*/ 283888 w 760138"/>
                  <a:gd name="connsiteY3" fmla="*/ 98425 h 4302124"/>
                  <a:gd name="connsiteX4" fmla="*/ 223563 w 760138"/>
                  <a:gd name="connsiteY4" fmla="*/ 133350 h 4302124"/>
                  <a:gd name="connsiteX5" fmla="*/ 121963 w 760138"/>
                  <a:gd name="connsiteY5" fmla="*/ 196850 h 4302124"/>
                  <a:gd name="connsiteX6" fmla="*/ 131488 w 760138"/>
                  <a:gd name="connsiteY6" fmla="*/ 247650 h 4302124"/>
                  <a:gd name="connsiteX7" fmla="*/ 172763 w 760138"/>
                  <a:gd name="connsiteY7" fmla="*/ 276225 h 4302124"/>
                  <a:gd name="connsiteX8" fmla="*/ 185463 w 760138"/>
                  <a:gd name="connsiteY8" fmla="*/ 327025 h 4302124"/>
                  <a:gd name="connsiteX9" fmla="*/ 239438 w 760138"/>
                  <a:gd name="connsiteY9" fmla="*/ 368300 h 4302124"/>
                  <a:gd name="connsiteX10" fmla="*/ 239438 w 760138"/>
                  <a:gd name="connsiteY10" fmla="*/ 412750 h 4302124"/>
                  <a:gd name="connsiteX11" fmla="*/ 207688 w 760138"/>
                  <a:gd name="connsiteY11" fmla="*/ 454025 h 4302124"/>
                  <a:gd name="connsiteX12" fmla="*/ 287063 w 760138"/>
                  <a:gd name="connsiteY12" fmla="*/ 479425 h 4302124"/>
                  <a:gd name="connsiteX13" fmla="*/ 302938 w 760138"/>
                  <a:gd name="connsiteY13" fmla="*/ 511175 h 4302124"/>
                  <a:gd name="connsiteX14" fmla="*/ 210863 w 760138"/>
                  <a:gd name="connsiteY14" fmla="*/ 581025 h 4302124"/>
                  <a:gd name="connsiteX15" fmla="*/ 160063 w 760138"/>
                  <a:gd name="connsiteY15" fmla="*/ 638175 h 4302124"/>
                  <a:gd name="connsiteX16" fmla="*/ 160063 w 760138"/>
                  <a:gd name="connsiteY16" fmla="*/ 695325 h 4302124"/>
                  <a:gd name="connsiteX17" fmla="*/ 185463 w 760138"/>
                  <a:gd name="connsiteY17" fmla="*/ 784225 h 4302124"/>
                  <a:gd name="connsiteX18" fmla="*/ 194988 w 760138"/>
                  <a:gd name="connsiteY18" fmla="*/ 835025 h 4302124"/>
                  <a:gd name="connsiteX19" fmla="*/ 204513 w 760138"/>
                  <a:gd name="connsiteY19" fmla="*/ 885825 h 4302124"/>
                  <a:gd name="connsiteX20" fmla="*/ 220388 w 760138"/>
                  <a:gd name="connsiteY20" fmla="*/ 923925 h 4302124"/>
                  <a:gd name="connsiteX21" fmla="*/ 163238 w 760138"/>
                  <a:gd name="connsiteY21" fmla="*/ 1022350 h 4302124"/>
                  <a:gd name="connsiteX22" fmla="*/ 96563 w 760138"/>
                  <a:gd name="connsiteY22" fmla="*/ 1057275 h 4302124"/>
                  <a:gd name="connsiteX23" fmla="*/ 52113 w 760138"/>
                  <a:gd name="connsiteY23" fmla="*/ 1143000 h 4302124"/>
                  <a:gd name="connsiteX24" fmla="*/ 20363 w 760138"/>
                  <a:gd name="connsiteY24" fmla="*/ 1244600 h 4302124"/>
                  <a:gd name="connsiteX25" fmla="*/ 1313 w 760138"/>
                  <a:gd name="connsiteY25" fmla="*/ 1346200 h 4302124"/>
                  <a:gd name="connsiteX26" fmla="*/ 10838 w 760138"/>
                  <a:gd name="connsiteY26" fmla="*/ 1438275 h 4302124"/>
                  <a:gd name="connsiteX27" fmla="*/ 83863 w 760138"/>
                  <a:gd name="connsiteY27" fmla="*/ 1511300 h 4302124"/>
                  <a:gd name="connsiteX28" fmla="*/ 112438 w 760138"/>
                  <a:gd name="connsiteY28" fmla="*/ 1558925 h 4302124"/>
                  <a:gd name="connsiteX29" fmla="*/ 150538 w 760138"/>
                  <a:gd name="connsiteY29" fmla="*/ 1590675 h 4302124"/>
                  <a:gd name="connsiteX30" fmla="*/ 169588 w 760138"/>
                  <a:gd name="connsiteY30" fmla="*/ 1644650 h 4302124"/>
                  <a:gd name="connsiteX31" fmla="*/ 226738 w 760138"/>
                  <a:gd name="connsiteY31" fmla="*/ 1685925 h 4302124"/>
                  <a:gd name="connsiteX32" fmla="*/ 264838 w 760138"/>
                  <a:gd name="connsiteY32" fmla="*/ 1730375 h 4302124"/>
                  <a:gd name="connsiteX33" fmla="*/ 277538 w 760138"/>
                  <a:gd name="connsiteY33" fmla="*/ 1758950 h 4302124"/>
                  <a:gd name="connsiteX34" fmla="*/ 277538 w 760138"/>
                  <a:gd name="connsiteY34" fmla="*/ 1828800 h 4302124"/>
                  <a:gd name="connsiteX35" fmla="*/ 325163 w 760138"/>
                  <a:gd name="connsiteY35" fmla="*/ 1905000 h 4302124"/>
                  <a:gd name="connsiteX36" fmla="*/ 363263 w 760138"/>
                  <a:gd name="connsiteY36" fmla="*/ 1962150 h 4302124"/>
                  <a:gd name="connsiteX37" fmla="*/ 369613 w 760138"/>
                  <a:gd name="connsiteY37" fmla="*/ 2028825 h 4302124"/>
                  <a:gd name="connsiteX38" fmla="*/ 407713 w 760138"/>
                  <a:gd name="connsiteY38" fmla="*/ 2085975 h 4302124"/>
                  <a:gd name="connsiteX39" fmla="*/ 414063 w 760138"/>
                  <a:gd name="connsiteY39" fmla="*/ 2255981 h 4302124"/>
                  <a:gd name="connsiteX40" fmla="*/ 242901 w 760138"/>
                  <a:gd name="connsiteY40" fmla="*/ 2278784 h 4302124"/>
                  <a:gd name="connsiteX41" fmla="*/ 201338 w 760138"/>
                  <a:gd name="connsiteY41" fmla="*/ 2390775 h 4302124"/>
                  <a:gd name="connsiteX42" fmla="*/ 210863 w 760138"/>
                  <a:gd name="connsiteY42" fmla="*/ 2454275 h 4302124"/>
                  <a:gd name="connsiteX43" fmla="*/ 226738 w 760138"/>
                  <a:gd name="connsiteY43" fmla="*/ 2482850 h 4302124"/>
                  <a:gd name="connsiteX44" fmla="*/ 226738 w 760138"/>
                  <a:gd name="connsiteY44" fmla="*/ 2527300 h 4302124"/>
                  <a:gd name="connsiteX45" fmla="*/ 236263 w 760138"/>
                  <a:gd name="connsiteY45" fmla="*/ 2603500 h 4302124"/>
                  <a:gd name="connsiteX46" fmla="*/ 204513 w 760138"/>
                  <a:gd name="connsiteY46" fmla="*/ 2825749 h 4302124"/>
                  <a:gd name="connsiteX47" fmla="*/ 153713 w 760138"/>
                  <a:gd name="connsiteY47" fmla="*/ 2917824 h 4302124"/>
                  <a:gd name="connsiteX48" fmla="*/ 80688 w 760138"/>
                  <a:gd name="connsiteY48" fmla="*/ 3063874 h 4302124"/>
                  <a:gd name="connsiteX49" fmla="*/ 42588 w 760138"/>
                  <a:gd name="connsiteY49" fmla="*/ 3133724 h 4302124"/>
                  <a:gd name="connsiteX50" fmla="*/ 17188 w 760138"/>
                  <a:gd name="connsiteY50" fmla="*/ 3203574 h 4302124"/>
                  <a:gd name="connsiteX51" fmla="*/ 10838 w 760138"/>
                  <a:gd name="connsiteY51" fmla="*/ 3390899 h 4302124"/>
                  <a:gd name="connsiteX52" fmla="*/ 39413 w 760138"/>
                  <a:gd name="connsiteY52" fmla="*/ 3482974 h 4302124"/>
                  <a:gd name="connsiteX53" fmla="*/ 52113 w 760138"/>
                  <a:gd name="connsiteY53" fmla="*/ 3616324 h 4302124"/>
                  <a:gd name="connsiteX54" fmla="*/ 90213 w 760138"/>
                  <a:gd name="connsiteY54" fmla="*/ 3682999 h 4302124"/>
                  <a:gd name="connsiteX55" fmla="*/ 112438 w 760138"/>
                  <a:gd name="connsiteY55" fmla="*/ 3809999 h 4302124"/>
                  <a:gd name="connsiteX56" fmla="*/ 201338 w 760138"/>
                  <a:gd name="connsiteY56" fmla="*/ 3892549 h 4302124"/>
                  <a:gd name="connsiteX57" fmla="*/ 258488 w 760138"/>
                  <a:gd name="connsiteY57" fmla="*/ 3908424 h 4302124"/>
                  <a:gd name="connsiteX58" fmla="*/ 382313 w 760138"/>
                  <a:gd name="connsiteY58" fmla="*/ 4203699 h 4302124"/>
                  <a:gd name="connsiteX59" fmla="*/ 502963 w 760138"/>
                  <a:gd name="connsiteY59" fmla="*/ 4254499 h 4302124"/>
                  <a:gd name="connsiteX60" fmla="*/ 639488 w 760138"/>
                  <a:gd name="connsiteY60" fmla="*/ 4302124 h 4302124"/>
                  <a:gd name="connsiteX61" fmla="*/ 760138 w 760138"/>
                  <a:gd name="connsiteY61" fmla="*/ 4292599 h 4302124"/>
                  <a:gd name="connsiteX0" fmla="*/ 445813 w 639488"/>
                  <a:gd name="connsiteY0" fmla="*/ 0 h 4302124"/>
                  <a:gd name="connsiteX1" fmla="*/ 407713 w 639488"/>
                  <a:gd name="connsiteY1" fmla="*/ 66675 h 4302124"/>
                  <a:gd name="connsiteX2" fmla="*/ 353738 w 639488"/>
                  <a:gd name="connsiteY2" fmla="*/ 85725 h 4302124"/>
                  <a:gd name="connsiteX3" fmla="*/ 283888 w 639488"/>
                  <a:gd name="connsiteY3" fmla="*/ 98425 h 4302124"/>
                  <a:gd name="connsiteX4" fmla="*/ 223563 w 639488"/>
                  <a:gd name="connsiteY4" fmla="*/ 133350 h 4302124"/>
                  <a:gd name="connsiteX5" fmla="*/ 121963 w 639488"/>
                  <a:gd name="connsiteY5" fmla="*/ 196850 h 4302124"/>
                  <a:gd name="connsiteX6" fmla="*/ 131488 w 639488"/>
                  <a:gd name="connsiteY6" fmla="*/ 247650 h 4302124"/>
                  <a:gd name="connsiteX7" fmla="*/ 172763 w 639488"/>
                  <a:gd name="connsiteY7" fmla="*/ 276225 h 4302124"/>
                  <a:gd name="connsiteX8" fmla="*/ 185463 w 639488"/>
                  <a:gd name="connsiteY8" fmla="*/ 327025 h 4302124"/>
                  <a:gd name="connsiteX9" fmla="*/ 239438 w 639488"/>
                  <a:gd name="connsiteY9" fmla="*/ 368300 h 4302124"/>
                  <a:gd name="connsiteX10" fmla="*/ 239438 w 639488"/>
                  <a:gd name="connsiteY10" fmla="*/ 412750 h 4302124"/>
                  <a:gd name="connsiteX11" fmla="*/ 207688 w 639488"/>
                  <a:gd name="connsiteY11" fmla="*/ 454025 h 4302124"/>
                  <a:gd name="connsiteX12" fmla="*/ 287063 w 639488"/>
                  <a:gd name="connsiteY12" fmla="*/ 479425 h 4302124"/>
                  <a:gd name="connsiteX13" fmla="*/ 302938 w 639488"/>
                  <a:gd name="connsiteY13" fmla="*/ 511175 h 4302124"/>
                  <a:gd name="connsiteX14" fmla="*/ 210863 w 639488"/>
                  <a:gd name="connsiteY14" fmla="*/ 581025 h 4302124"/>
                  <a:gd name="connsiteX15" fmla="*/ 160063 w 639488"/>
                  <a:gd name="connsiteY15" fmla="*/ 638175 h 4302124"/>
                  <a:gd name="connsiteX16" fmla="*/ 160063 w 639488"/>
                  <a:gd name="connsiteY16" fmla="*/ 695325 h 4302124"/>
                  <a:gd name="connsiteX17" fmla="*/ 185463 w 639488"/>
                  <a:gd name="connsiteY17" fmla="*/ 784225 h 4302124"/>
                  <a:gd name="connsiteX18" fmla="*/ 194988 w 639488"/>
                  <a:gd name="connsiteY18" fmla="*/ 835025 h 4302124"/>
                  <a:gd name="connsiteX19" fmla="*/ 204513 w 639488"/>
                  <a:gd name="connsiteY19" fmla="*/ 885825 h 4302124"/>
                  <a:gd name="connsiteX20" fmla="*/ 220388 w 639488"/>
                  <a:gd name="connsiteY20" fmla="*/ 923925 h 4302124"/>
                  <a:gd name="connsiteX21" fmla="*/ 163238 w 639488"/>
                  <a:gd name="connsiteY21" fmla="*/ 1022350 h 4302124"/>
                  <a:gd name="connsiteX22" fmla="*/ 96563 w 639488"/>
                  <a:gd name="connsiteY22" fmla="*/ 1057275 h 4302124"/>
                  <a:gd name="connsiteX23" fmla="*/ 52113 w 639488"/>
                  <a:gd name="connsiteY23" fmla="*/ 1143000 h 4302124"/>
                  <a:gd name="connsiteX24" fmla="*/ 20363 w 639488"/>
                  <a:gd name="connsiteY24" fmla="*/ 1244600 h 4302124"/>
                  <a:gd name="connsiteX25" fmla="*/ 1313 w 639488"/>
                  <a:gd name="connsiteY25" fmla="*/ 1346200 h 4302124"/>
                  <a:gd name="connsiteX26" fmla="*/ 10838 w 639488"/>
                  <a:gd name="connsiteY26" fmla="*/ 1438275 h 4302124"/>
                  <a:gd name="connsiteX27" fmla="*/ 83863 w 639488"/>
                  <a:gd name="connsiteY27" fmla="*/ 1511300 h 4302124"/>
                  <a:gd name="connsiteX28" fmla="*/ 112438 w 639488"/>
                  <a:gd name="connsiteY28" fmla="*/ 1558925 h 4302124"/>
                  <a:gd name="connsiteX29" fmla="*/ 150538 w 639488"/>
                  <a:gd name="connsiteY29" fmla="*/ 1590675 h 4302124"/>
                  <a:gd name="connsiteX30" fmla="*/ 169588 w 639488"/>
                  <a:gd name="connsiteY30" fmla="*/ 1644650 h 4302124"/>
                  <a:gd name="connsiteX31" fmla="*/ 226738 w 639488"/>
                  <a:gd name="connsiteY31" fmla="*/ 1685925 h 4302124"/>
                  <a:gd name="connsiteX32" fmla="*/ 264838 w 639488"/>
                  <a:gd name="connsiteY32" fmla="*/ 1730375 h 4302124"/>
                  <a:gd name="connsiteX33" fmla="*/ 277538 w 639488"/>
                  <a:gd name="connsiteY33" fmla="*/ 1758950 h 4302124"/>
                  <a:gd name="connsiteX34" fmla="*/ 277538 w 639488"/>
                  <a:gd name="connsiteY34" fmla="*/ 1828800 h 4302124"/>
                  <a:gd name="connsiteX35" fmla="*/ 325163 w 639488"/>
                  <a:gd name="connsiteY35" fmla="*/ 1905000 h 4302124"/>
                  <a:gd name="connsiteX36" fmla="*/ 363263 w 639488"/>
                  <a:gd name="connsiteY36" fmla="*/ 1962150 h 4302124"/>
                  <a:gd name="connsiteX37" fmla="*/ 369613 w 639488"/>
                  <a:gd name="connsiteY37" fmla="*/ 2028825 h 4302124"/>
                  <a:gd name="connsiteX38" fmla="*/ 407713 w 639488"/>
                  <a:gd name="connsiteY38" fmla="*/ 2085975 h 4302124"/>
                  <a:gd name="connsiteX39" fmla="*/ 414063 w 639488"/>
                  <a:gd name="connsiteY39" fmla="*/ 2255981 h 4302124"/>
                  <a:gd name="connsiteX40" fmla="*/ 242901 w 639488"/>
                  <a:gd name="connsiteY40" fmla="*/ 2278784 h 4302124"/>
                  <a:gd name="connsiteX41" fmla="*/ 201338 w 639488"/>
                  <a:gd name="connsiteY41" fmla="*/ 2390775 h 4302124"/>
                  <a:gd name="connsiteX42" fmla="*/ 210863 w 639488"/>
                  <a:gd name="connsiteY42" fmla="*/ 2454275 h 4302124"/>
                  <a:gd name="connsiteX43" fmla="*/ 226738 w 639488"/>
                  <a:gd name="connsiteY43" fmla="*/ 2482850 h 4302124"/>
                  <a:gd name="connsiteX44" fmla="*/ 226738 w 639488"/>
                  <a:gd name="connsiteY44" fmla="*/ 2527300 h 4302124"/>
                  <a:gd name="connsiteX45" fmla="*/ 236263 w 639488"/>
                  <a:gd name="connsiteY45" fmla="*/ 2603500 h 4302124"/>
                  <a:gd name="connsiteX46" fmla="*/ 204513 w 639488"/>
                  <a:gd name="connsiteY46" fmla="*/ 2825749 h 4302124"/>
                  <a:gd name="connsiteX47" fmla="*/ 153713 w 639488"/>
                  <a:gd name="connsiteY47" fmla="*/ 2917824 h 4302124"/>
                  <a:gd name="connsiteX48" fmla="*/ 80688 w 639488"/>
                  <a:gd name="connsiteY48" fmla="*/ 3063874 h 4302124"/>
                  <a:gd name="connsiteX49" fmla="*/ 42588 w 639488"/>
                  <a:gd name="connsiteY49" fmla="*/ 3133724 h 4302124"/>
                  <a:gd name="connsiteX50" fmla="*/ 17188 w 639488"/>
                  <a:gd name="connsiteY50" fmla="*/ 3203574 h 4302124"/>
                  <a:gd name="connsiteX51" fmla="*/ 10838 w 639488"/>
                  <a:gd name="connsiteY51" fmla="*/ 3390899 h 4302124"/>
                  <a:gd name="connsiteX52" fmla="*/ 39413 w 639488"/>
                  <a:gd name="connsiteY52" fmla="*/ 3482974 h 4302124"/>
                  <a:gd name="connsiteX53" fmla="*/ 52113 w 639488"/>
                  <a:gd name="connsiteY53" fmla="*/ 3616324 h 4302124"/>
                  <a:gd name="connsiteX54" fmla="*/ 90213 w 639488"/>
                  <a:gd name="connsiteY54" fmla="*/ 3682999 h 4302124"/>
                  <a:gd name="connsiteX55" fmla="*/ 112438 w 639488"/>
                  <a:gd name="connsiteY55" fmla="*/ 3809999 h 4302124"/>
                  <a:gd name="connsiteX56" fmla="*/ 201338 w 639488"/>
                  <a:gd name="connsiteY56" fmla="*/ 3892549 h 4302124"/>
                  <a:gd name="connsiteX57" fmla="*/ 258488 w 639488"/>
                  <a:gd name="connsiteY57" fmla="*/ 3908424 h 4302124"/>
                  <a:gd name="connsiteX58" fmla="*/ 382313 w 639488"/>
                  <a:gd name="connsiteY58" fmla="*/ 4203699 h 4302124"/>
                  <a:gd name="connsiteX59" fmla="*/ 502963 w 639488"/>
                  <a:gd name="connsiteY59" fmla="*/ 4254499 h 4302124"/>
                  <a:gd name="connsiteX60" fmla="*/ 639488 w 639488"/>
                  <a:gd name="connsiteY60" fmla="*/ 4302124 h 4302124"/>
                  <a:gd name="connsiteX0" fmla="*/ 445813 w 502963"/>
                  <a:gd name="connsiteY0" fmla="*/ 0 h 4254499"/>
                  <a:gd name="connsiteX1" fmla="*/ 407713 w 502963"/>
                  <a:gd name="connsiteY1" fmla="*/ 66675 h 4254499"/>
                  <a:gd name="connsiteX2" fmla="*/ 353738 w 502963"/>
                  <a:gd name="connsiteY2" fmla="*/ 85725 h 4254499"/>
                  <a:gd name="connsiteX3" fmla="*/ 283888 w 502963"/>
                  <a:gd name="connsiteY3" fmla="*/ 98425 h 4254499"/>
                  <a:gd name="connsiteX4" fmla="*/ 223563 w 502963"/>
                  <a:gd name="connsiteY4" fmla="*/ 133350 h 4254499"/>
                  <a:gd name="connsiteX5" fmla="*/ 121963 w 502963"/>
                  <a:gd name="connsiteY5" fmla="*/ 196850 h 4254499"/>
                  <a:gd name="connsiteX6" fmla="*/ 131488 w 502963"/>
                  <a:gd name="connsiteY6" fmla="*/ 247650 h 4254499"/>
                  <a:gd name="connsiteX7" fmla="*/ 172763 w 502963"/>
                  <a:gd name="connsiteY7" fmla="*/ 276225 h 4254499"/>
                  <a:gd name="connsiteX8" fmla="*/ 185463 w 502963"/>
                  <a:gd name="connsiteY8" fmla="*/ 327025 h 4254499"/>
                  <a:gd name="connsiteX9" fmla="*/ 239438 w 502963"/>
                  <a:gd name="connsiteY9" fmla="*/ 368300 h 4254499"/>
                  <a:gd name="connsiteX10" fmla="*/ 239438 w 502963"/>
                  <a:gd name="connsiteY10" fmla="*/ 412750 h 4254499"/>
                  <a:gd name="connsiteX11" fmla="*/ 207688 w 502963"/>
                  <a:gd name="connsiteY11" fmla="*/ 454025 h 4254499"/>
                  <a:gd name="connsiteX12" fmla="*/ 287063 w 502963"/>
                  <a:gd name="connsiteY12" fmla="*/ 479425 h 4254499"/>
                  <a:gd name="connsiteX13" fmla="*/ 302938 w 502963"/>
                  <a:gd name="connsiteY13" fmla="*/ 511175 h 4254499"/>
                  <a:gd name="connsiteX14" fmla="*/ 210863 w 502963"/>
                  <a:gd name="connsiteY14" fmla="*/ 581025 h 4254499"/>
                  <a:gd name="connsiteX15" fmla="*/ 160063 w 502963"/>
                  <a:gd name="connsiteY15" fmla="*/ 638175 h 4254499"/>
                  <a:gd name="connsiteX16" fmla="*/ 160063 w 502963"/>
                  <a:gd name="connsiteY16" fmla="*/ 695325 h 4254499"/>
                  <a:gd name="connsiteX17" fmla="*/ 185463 w 502963"/>
                  <a:gd name="connsiteY17" fmla="*/ 784225 h 4254499"/>
                  <a:gd name="connsiteX18" fmla="*/ 194988 w 502963"/>
                  <a:gd name="connsiteY18" fmla="*/ 835025 h 4254499"/>
                  <a:gd name="connsiteX19" fmla="*/ 204513 w 502963"/>
                  <a:gd name="connsiteY19" fmla="*/ 885825 h 4254499"/>
                  <a:gd name="connsiteX20" fmla="*/ 220388 w 502963"/>
                  <a:gd name="connsiteY20" fmla="*/ 923925 h 4254499"/>
                  <a:gd name="connsiteX21" fmla="*/ 163238 w 502963"/>
                  <a:gd name="connsiteY21" fmla="*/ 1022350 h 4254499"/>
                  <a:gd name="connsiteX22" fmla="*/ 96563 w 502963"/>
                  <a:gd name="connsiteY22" fmla="*/ 1057275 h 4254499"/>
                  <a:gd name="connsiteX23" fmla="*/ 52113 w 502963"/>
                  <a:gd name="connsiteY23" fmla="*/ 1143000 h 4254499"/>
                  <a:gd name="connsiteX24" fmla="*/ 20363 w 502963"/>
                  <a:gd name="connsiteY24" fmla="*/ 1244600 h 4254499"/>
                  <a:gd name="connsiteX25" fmla="*/ 1313 w 502963"/>
                  <a:gd name="connsiteY25" fmla="*/ 1346200 h 4254499"/>
                  <a:gd name="connsiteX26" fmla="*/ 10838 w 502963"/>
                  <a:gd name="connsiteY26" fmla="*/ 1438275 h 4254499"/>
                  <a:gd name="connsiteX27" fmla="*/ 83863 w 502963"/>
                  <a:gd name="connsiteY27" fmla="*/ 1511300 h 4254499"/>
                  <a:gd name="connsiteX28" fmla="*/ 112438 w 502963"/>
                  <a:gd name="connsiteY28" fmla="*/ 1558925 h 4254499"/>
                  <a:gd name="connsiteX29" fmla="*/ 150538 w 502963"/>
                  <a:gd name="connsiteY29" fmla="*/ 1590675 h 4254499"/>
                  <a:gd name="connsiteX30" fmla="*/ 169588 w 502963"/>
                  <a:gd name="connsiteY30" fmla="*/ 1644650 h 4254499"/>
                  <a:gd name="connsiteX31" fmla="*/ 226738 w 502963"/>
                  <a:gd name="connsiteY31" fmla="*/ 1685925 h 4254499"/>
                  <a:gd name="connsiteX32" fmla="*/ 264838 w 502963"/>
                  <a:gd name="connsiteY32" fmla="*/ 1730375 h 4254499"/>
                  <a:gd name="connsiteX33" fmla="*/ 277538 w 502963"/>
                  <a:gd name="connsiteY33" fmla="*/ 1758950 h 4254499"/>
                  <a:gd name="connsiteX34" fmla="*/ 277538 w 502963"/>
                  <a:gd name="connsiteY34" fmla="*/ 1828800 h 4254499"/>
                  <a:gd name="connsiteX35" fmla="*/ 325163 w 502963"/>
                  <a:gd name="connsiteY35" fmla="*/ 1905000 h 4254499"/>
                  <a:gd name="connsiteX36" fmla="*/ 363263 w 502963"/>
                  <a:gd name="connsiteY36" fmla="*/ 1962150 h 4254499"/>
                  <a:gd name="connsiteX37" fmla="*/ 369613 w 502963"/>
                  <a:gd name="connsiteY37" fmla="*/ 2028825 h 4254499"/>
                  <a:gd name="connsiteX38" fmla="*/ 407713 w 502963"/>
                  <a:gd name="connsiteY38" fmla="*/ 2085975 h 4254499"/>
                  <a:gd name="connsiteX39" fmla="*/ 414063 w 502963"/>
                  <a:gd name="connsiteY39" fmla="*/ 2255981 h 4254499"/>
                  <a:gd name="connsiteX40" fmla="*/ 242901 w 502963"/>
                  <a:gd name="connsiteY40" fmla="*/ 2278784 h 4254499"/>
                  <a:gd name="connsiteX41" fmla="*/ 201338 w 502963"/>
                  <a:gd name="connsiteY41" fmla="*/ 2390775 h 4254499"/>
                  <a:gd name="connsiteX42" fmla="*/ 210863 w 502963"/>
                  <a:gd name="connsiteY42" fmla="*/ 2454275 h 4254499"/>
                  <a:gd name="connsiteX43" fmla="*/ 226738 w 502963"/>
                  <a:gd name="connsiteY43" fmla="*/ 2482850 h 4254499"/>
                  <a:gd name="connsiteX44" fmla="*/ 226738 w 502963"/>
                  <a:gd name="connsiteY44" fmla="*/ 2527300 h 4254499"/>
                  <a:gd name="connsiteX45" fmla="*/ 236263 w 502963"/>
                  <a:gd name="connsiteY45" fmla="*/ 2603500 h 4254499"/>
                  <a:gd name="connsiteX46" fmla="*/ 204513 w 502963"/>
                  <a:gd name="connsiteY46" fmla="*/ 2825749 h 4254499"/>
                  <a:gd name="connsiteX47" fmla="*/ 153713 w 502963"/>
                  <a:gd name="connsiteY47" fmla="*/ 2917824 h 4254499"/>
                  <a:gd name="connsiteX48" fmla="*/ 80688 w 502963"/>
                  <a:gd name="connsiteY48" fmla="*/ 3063874 h 4254499"/>
                  <a:gd name="connsiteX49" fmla="*/ 42588 w 502963"/>
                  <a:gd name="connsiteY49" fmla="*/ 3133724 h 4254499"/>
                  <a:gd name="connsiteX50" fmla="*/ 17188 w 502963"/>
                  <a:gd name="connsiteY50" fmla="*/ 3203574 h 4254499"/>
                  <a:gd name="connsiteX51" fmla="*/ 10838 w 502963"/>
                  <a:gd name="connsiteY51" fmla="*/ 3390899 h 4254499"/>
                  <a:gd name="connsiteX52" fmla="*/ 39413 w 502963"/>
                  <a:gd name="connsiteY52" fmla="*/ 3482974 h 4254499"/>
                  <a:gd name="connsiteX53" fmla="*/ 52113 w 502963"/>
                  <a:gd name="connsiteY53" fmla="*/ 3616324 h 4254499"/>
                  <a:gd name="connsiteX54" fmla="*/ 90213 w 502963"/>
                  <a:gd name="connsiteY54" fmla="*/ 3682999 h 4254499"/>
                  <a:gd name="connsiteX55" fmla="*/ 112438 w 502963"/>
                  <a:gd name="connsiteY55" fmla="*/ 3809999 h 4254499"/>
                  <a:gd name="connsiteX56" fmla="*/ 201338 w 502963"/>
                  <a:gd name="connsiteY56" fmla="*/ 3892549 h 4254499"/>
                  <a:gd name="connsiteX57" fmla="*/ 258488 w 502963"/>
                  <a:gd name="connsiteY57" fmla="*/ 3908424 h 4254499"/>
                  <a:gd name="connsiteX58" fmla="*/ 382313 w 502963"/>
                  <a:gd name="connsiteY58" fmla="*/ 4203699 h 4254499"/>
                  <a:gd name="connsiteX59" fmla="*/ 502963 w 502963"/>
                  <a:gd name="connsiteY59" fmla="*/ 4254499 h 4254499"/>
                  <a:gd name="connsiteX0" fmla="*/ 445813 w 445813"/>
                  <a:gd name="connsiteY0" fmla="*/ 0 h 4203699"/>
                  <a:gd name="connsiteX1" fmla="*/ 407713 w 445813"/>
                  <a:gd name="connsiteY1" fmla="*/ 66675 h 4203699"/>
                  <a:gd name="connsiteX2" fmla="*/ 353738 w 445813"/>
                  <a:gd name="connsiteY2" fmla="*/ 85725 h 4203699"/>
                  <a:gd name="connsiteX3" fmla="*/ 283888 w 445813"/>
                  <a:gd name="connsiteY3" fmla="*/ 98425 h 4203699"/>
                  <a:gd name="connsiteX4" fmla="*/ 223563 w 445813"/>
                  <a:gd name="connsiteY4" fmla="*/ 133350 h 4203699"/>
                  <a:gd name="connsiteX5" fmla="*/ 121963 w 445813"/>
                  <a:gd name="connsiteY5" fmla="*/ 196850 h 4203699"/>
                  <a:gd name="connsiteX6" fmla="*/ 131488 w 445813"/>
                  <a:gd name="connsiteY6" fmla="*/ 247650 h 4203699"/>
                  <a:gd name="connsiteX7" fmla="*/ 172763 w 445813"/>
                  <a:gd name="connsiteY7" fmla="*/ 276225 h 4203699"/>
                  <a:gd name="connsiteX8" fmla="*/ 185463 w 445813"/>
                  <a:gd name="connsiteY8" fmla="*/ 327025 h 4203699"/>
                  <a:gd name="connsiteX9" fmla="*/ 239438 w 445813"/>
                  <a:gd name="connsiteY9" fmla="*/ 368300 h 4203699"/>
                  <a:gd name="connsiteX10" fmla="*/ 239438 w 445813"/>
                  <a:gd name="connsiteY10" fmla="*/ 412750 h 4203699"/>
                  <a:gd name="connsiteX11" fmla="*/ 207688 w 445813"/>
                  <a:gd name="connsiteY11" fmla="*/ 454025 h 4203699"/>
                  <a:gd name="connsiteX12" fmla="*/ 287063 w 445813"/>
                  <a:gd name="connsiteY12" fmla="*/ 479425 h 4203699"/>
                  <a:gd name="connsiteX13" fmla="*/ 302938 w 445813"/>
                  <a:gd name="connsiteY13" fmla="*/ 511175 h 4203699"/>
                  <a:gd name="connsiteX14" fmla="*/ 210863 w 445813"/>
                  <a:gd name="connsiteY14" fmla="*/ 581025 h 4203699"/>
                  <a:gd name="connsiteX15" fmla="*/ 160063 w 445813"/>
                  <a:gd name="connsiteY15" fmla="*/ 638175 h 4203699"/>
                  <a:gd name="connsiteX16" fmla="*/ 160063 w 445813"/>
                  <a:gd name="connsiteY16" fmla="*/ 695325 h 4203699"/>
                  <a:gd name="connsiteX17" fmla="*/ 185463 w 445813"/>
                  <a:gd name="connsiteY17" fmla="*/ 784225 h 4203699"/>
                  <a:gd name="connsiteX18" fmla="*/ 194988 w 445813"/>
                  <a:gd name="connsiteY18" fmla="*/ 835025 h 4203699"/>
                  <a:gd name="connsiteX19" fmla="*/ 204513 w 445813"/>
                  <a:gd name="connsiteY19" fmla="*/ 885825 h 4203699"/>
                  <a:gd name="connsiteX20" fmla="*/ 220388 w 445813"/>
                  <a:gd name="connsiteY20" fmla="*/ 923925 h 4203699"/>
                  <a:gd name="connsiteX21" fmla="*/ 163238 w 445813"/>
                  <a:gd name="connsiteY21" fmla="*/ 1022350 h 4203699"/>
                  <a:gd name="connsiteX22" fmla="*/ 96563 w 445813"/>
                  <a:gd name="connsiteY22" fmla="*/ 1057275 h 4203699"/>
                  <a:gd name="connsiteX23" fmla="*/ 52113 w 445813"/>
                  <a:gd name="connsiteY23" fmla="*/ 1143000 h 4203699"/>
                  <a:gd name="connsiteX24" fmla="*/ 20363 w 445813"/>
                  <a:gd name="connsiteY24" fmla="*/ 1244600 h 4203699"/>
                  <a:gd name="connsiteX25" fmla="*/ 1313 w 445813"/>
                  <a:gd name="connsiteY25" fmla="*/ 1346200 h 4203699"/>
                  <a:gd name="connsiteX26" fmla="*/ 10838 w 445813"/>
                  <a:gd name="connsiteY26" fmla="*/ 1438275 h 4203699"/>
                  <a:gd name="connsiteX27" fmla="*/ 83863 w 445813"/>
                  <a:gd name="connsiteY27" fmla="*/ 1511300 h 4203699"/>
                  <a:gd name="connsiteX28" fmla="*/ 112438 w 445813"/>
                  <a:gd name="connsiteY28" fmla="*/ 1558925 h 4203699"/>
                  <a:gd name="connsiteX29" fmla="*/ 150538 w 445813"/>
                  <a:gd name="connsiteY29" fmla="*/ 1590675 h 4203699"/>
                  <a:gd name="connsiteX30" fmla="*/ 169588 w 445813"/>
                  <a:gd name="connsiteY30" fmla="*/ 1644650 h 4203699"/>
                  <a:gd name="connsiteX31" fmla="*/ 226738 w 445813"/>
                  <a:gd name="connsiteY31" fmla="*/ 1685925 h 4203699"/>
                  <a:gd name="connsiteX32" fmla="*/ 264838 w 445813"/>
                  <a:gd name="connsiteY32" fmla="*/ 1730375 h 4203699"/>
                  <a:gd name="connsiteX33" fmla="*/ 277538 w 445813"/>
                  <a:gd name="connsiteY33" fmla="*/ 1758950 h 4203699"/>
                  <a:gd name="connsiteX34" fmla="*/ 277538 w 445813"/>
                  <a:gd name="connsiteY34" fmla="*/ 1828800 h 4203699"/>
                  <a:gd name="connsiteX35" fmla="*/ 325163 w 445813"/>
                  <a:gd name="connsiteY35" fmla="*/ 1905000 h 4203699"/>
                  <a:gd name="connsiteX36" fmla="*/ 363263 w 445813"/>
                  <a:gd name="connsiteY36" fmla="*/ 1962150 h 4203699"/>
                  <a:gd name="connsiteX37" fmla="*/ 369613 w 445813"/>
                  <a:gd name="connsiteY37" fmla="*/ 2028825 h 4203699"/>
                  <a:gd name="connsiteX38" fmla="*/ 407713 w 445813"/>
                  <a:gd name="connsiteY38" fmla="*/ 2085975 h 4203699"/>
                  <a:gd name="connsiteX39" fmla="*/ 414063 w 445813"/>
                  <a:gd name="connsiteY39" fmla="*/ 2255981 h 4203699"/>
                  <a:gd name="connsiteX40" fmla="*/ 242901 w 445813"/>
                  <a:gd name="connsiteY40" fmla="*/ 2278784 h 4203699"/>
                  <a:gd name="connsiteX41" fmla="*/ 201338 w 445813"/>
                  <a:gd name="connsiteY41" fmla="*/ 2390775 h 4203699"/>
                  <a:gd name="connsiteX42" fmla="*/ 210863 w 445813"/>
                  <a:gd name="connsiteY42" fmla="*/ 2454275 h 4203699"/>
                  <a:gd name="connsiteX43" fmla="*/ 226738 w 445813"/>
                  <a:gd name="connsiteY43" fmla="*/ 2482850 h 4203699"/>
                  <a:gd name="connsiteX44" fmla="*/ 226738 w 445813"/>
                  <a:gd name="connsiteY44" fmla="*/ 2527300 h 4203699"/>
                  <a:gd name="connsiteX45" fmla="*/ 236263 w 445813"/>
                  <a:gd name="connsiteY45" fmla="*/ 2603500 h 4203699"/>
                  <a:gd name="connsiteX46" fmla="*/ 204513 w 445813"/>
                  <a:gd name="connsiteY46" fmla="*/ 2825749 h 4203699"/>
                  <a:gd name="connsiteX47" fmla="*/ 153713 w 445813"/>
                  <a:gd name="connsiteY47" fmla="*/ 2917824 h 4203699"/>
                  <a:gd name="connsiteX48" fmla="*/ 80688 w 445813"/>
                  <a:gd name="connsiteY48" fmla="*/ 3063874 h 4203699"/>
                  <a:gd name="connsiteX49" fmla="*/ 42588 w 445813"/>
                  <a:gd name="connsiteY49" fmla="*/ 3133724 h 4203699"/>
                  <a:gd name="connsiteX50" fmla="*/ 17188 w 445813"/>
                  <a:gd name="connsiteY50" fmla="*/ 3203574 h 4203699"/>
                  <a:gd name="connsiteX51" fmla="*/ 10838 w 445813"/>
                  <a:gd name="connsiteY51" fmla="*/ 3390899 h 4203699"/>
                  <a:gd name="connsiteX52" fmla="*/ 39413 w 445813"/>
                  <a:gd name="connsiteY52" fmla="*/ 3482974 h 4203699"/>
                  <a:gd name="connsiteX53" fmla="*/ 52113 w 445813"/>
                  <a:gd name="connsiteY53" fmla="*/ 3616324 h 4203699"/>
                  <a:gd name="connsiteX54" fmla="*/ 90213 w 445813"/>
                  <a:gd name="connsiteY54" fmla="*/ 3682999 h 4203699"/>
                  <a:gd name="connsiteX55" fmla="*/ 112438 w 445813"/>
                  <a:gd name="connsiteY55" fmla="*/ 3809999 h 4203699"/>
                  <a:gd name="connsiteX56" fmla="*/ 201338 w 445813"/>
                  <a:gd name="connsiteY56" fmla="*/ 3892549 h 4203699"/>
                  <a:gd name="connsiteX57" fmla="*/ 258488 w 445813"/>
                  <a:gd name="connsiteY57" fmla="*/ 3908424 h 4203699"/>
                  <a:gd name="connsiteX58" fmla="*/ 382313 w 445813"/>
                  <a:gd name="connsiteY58" fmla="*/ 4203699 h 4203699"/>
                  <a:gd name="connsiteX0" fmla="*/ 445813 w 445813"/>
                  <a:gd name="connsiteY0" fmla="*/ 0 h 3908424"/>
                  <a:gd name="connsiteX1" fmla="*/ 407713 w 445813"/>
                  <a:gd name="connsiteY1" fmla="*/ 66675 h 3908424"/>
                  <a:gd name="connsiteX2" fmla="*/ 353738 w 445813"/>
                  <a:gd name="connsiteY2" fmla="*/ 85725 h 3908424"/>
                  <a:gd name="connsiteX3" fmla="*/ 283888 w 445813"/>
                  <a:gd name="connsiteY3" fmla="*/ 98425 h 3908424"/>
                  <a:gd name="connsiteX4" fmla="*/ 223563 w 445813"/>
                  <a:gd name="connsiteY4" fmla="*/ 133350 h 3908424"/>
                  <a:gd name="connsiteX5" fmla="*/ 121963 w 445813"/>
                  <a:gd name="connsiteY5" fmla="*/ 196850 h 3908424"/>
                  <a:gd name="connsiteX6" fmla="*/ 131488 w 445813"/>
                  <a:gd name="connsiteY6" fmla="*/ 247650 h 3908424"/>
                  <a:gd name="connsiteX7" fmla="*/ 172763 w 445813"/>
                  <a:gd name="connsiteY7" fmla="*/ 276225 h 3908424"/>
                  <a:gd name="connsiteX8" fmla="*/ 185463 w 445813"/>
                  <a:gd name="connsiteY8" fmla="*/ 327025 h 3908424"/>
                  <a:gd name="connsiteX9" fmla="*/ 239438 w 445813"/>
                  <a:gd name="connsiteY9" fmla="*/ 368300 h 3908424"/>
                  <a:gd name="connsiteX10" fmla="*/ 239438 w 445813"/>
                  <a:gd name="connsiteY10" fmla="*/ 412750 h 3908424"/>
                  <a:gd name="connsiteX11" fmla="*/ 207688 w 445813"/>
                  <a:gd name="connsiteY11" fmla="*/ 454025 h 3908424"/>
                  <a:gd name="connsiteX12" fmla="*/ 287063 w 445813"/>
                  <a:gd name="connsiteY12" fmla="*/ 479425 h 3908424"/>
                  <a:gd name="connsiteX13" fmla="*/ 302938 w 445813"/>
                  <a:gd name="connsiteY13" fmla="*/ 511175 h 3908424"/>
                  <a:gd name="connsiteX14" fmla="*/ 210863 w 445813"/>
                  <a:gd name="connsiteY14" fmla="*/ 581025 h 3908424"/>
                  <a:gd name="connsiteX15" fmla="*/ 160063 w 445813"/>
                  <a:gd name="connsiteY15" fmla="*/ 638175 h 3908424"/>
                  <a:gd name="connsiteX16" fmla="*/ 160063 w 445813"/>
                  <a:gd name="connsiteY16" fmla="*/ 695325 h 3908424"/>
                  <a:gd name="connsiteX17" fmla="*/ 185463 w 445813"/>
                  <a:gd name="connsiteY17" fmla="*/ 784225 h 3908424"/>
                  <a:gd name="connsiteX18" fmla="*/ 194988 w 445813"/>
                  <a:gd name="connsiteY18" fmla="*/ 835025 h 3908424"/>
                  <a:gd name="connsiteX19" fmla="*/ 204513 w 445813"/>
                  <a:gd name="connsiteY19" fmla="*/ 885825 h 3908424"/>
                  <a:gd name="connsiteX20" fmla="*/ 220388 w 445813"/>
                  <a:gd name="connsiteY20" fmla="*/ 923925 h 3908424"/>
                  <a:gd name="connsiteX21" fmla="*/ 163238 w 445813"/>
                  <a:gd name="connsiteY21" fmla="*/ 1022350 h 3908424"/>
                  <a:gd name="connsiteX22" fmla="*/ 96563 w 445813"/>
                  <a:gd name="connsiteY22" fmla="*/ 1057275 h 3908424"/>
                  <a:gd name="connsiteX23" fmla="*/ 52113 w 445813"/>
                  <a:gd name="connsiteY23" fmla="*/ 1143000 h 3908424"/>
                  <a:gd name="connsiteX24" fmla="*/ 20363 w 445813"/>
                  <a:gd name="connsiteY24" fmla="*/ 1244600 h 3908424"/>
                  <a:gd name="connsiteX25" fmla="*/ 1313 w 445813"/>
                  <a:gd name="connsiteY25" fmla="*/ 1346200 h 3908424"/>
                  <a:gd name="connsiteX26" fmla="*/ 10838 w 445813"/>
                  <a:gd name="connsiteY26" fmla="*/ 1438275 h 3908424"/>
                  <a:gd name="connsiteX27" fmla="*/ 83863 w 445813"/>
                  <a:gd name="connsiteY27" fmla="*/ 1511300 h 3908424"/>
                  <a:gd name="connsiteX28" fmla="*/ 112438 w 445813"/>
                  <a:gd name="connsiteY28" fmla="*/ 1558925 h 3908424"/>
                  <a:gd name="connsiteX29" fmla="*/ 150538 w 445813"/>
                  <a:gd name="connsiteY29" fmla="*/ 1590675 h 3908424"/>
                  <a:gd name="connsiteX30" fmla="*/ 169588 w 445813"/>
                  <a:gd name="connsiteY30" fmla="*/ 1644650 h 3908424"/>
                  <a:gd name="connsiteX31" fmla="*/ 226738 w 445813"/>
                  <a:gd name="connsiteY31" fmla="*/ 1685925 h 3908424"/>
                  <a:gd name="connsiteX32" fmla="*/ 264838 w 445813"/>
                  <a:gd name="connsiteY32" fmla="*/ 1730375 h 3908424"/>
                  <a:gd name="connsiteX33" fmla="*/ 277538 w 445813"/>
                  <a:gd name="connsiteY33" fmla="*/ 1758950 h 3908424"/>
                  <a:gd name="connsiteX34" fmla="*/ 277538 w 445813"/>
                  <a:gd name="connsiteY34" fmla="*/ 1828800 h 3908424"/>
                  <a:gd name="connsiteX35" fmla="*/ 325163 w 445813"/>
                  <a:gd name="connsiteY35" fmla="*/ 1905000 h 3908424"/>
                  <a:gd name="connsiteX36" fmla="*/ 363263 w 445813"/>
                  <a:gd name="connsiteY36" fmla="*/ 1962150 h 3908424"/>
                  <a:gd name="connsiteX37" fmla="*/ 369613 w 445813"/>
                  <a:gd name="connsiteY37" fmla="*/ 2028825 h 3908424"/>
                  <a:gd name="connsiteX38" fmla="*/ 407713 w 445813"/>
                  <a:gd name="connsiteY38" fmla="*/ 2085975 h 3908424"/>
                  <a:gd name="connsiteX39" fmla="*/ 414063 w 445813"/>
                  <a:gd name="connsiteY39" fmla="*/ 2255981 h 3908424"/>
                  <a:gd name="connsiteX40" fmla="*/ 242901 w 445813"/>
                  <a:gd name="connsiteY40" fmla="*/ 2278784 h 3908424"/>
                  <a:gd name="connsiteX41" fmla="*/ 201338 w 445813"/>
                  <a:gd name="connsiteY41" fmla="*/ 2390775 h 3908424"/>
                  <a:gd name="connsiteX42" fmla="*/ 210863 w 445813"/>
                  <a:gd name="connsiteY42" fmla="*/ 2454275 h 3908424"/>
                  <a:gd name="connsiteX43" fmla="*/ 226738 w 445813"/>
                  <a:gd name="connsiteY43" fmla="*/ 2482850 h 3908424"/>
                  <a:gd name="connsiteX44" fmla="*/ 226738 w 445813"/>
                  <a:gd name="connsiteY44" fmla="*/ 2527300 h 3908424"/>
                  <a:gd name="connsiteX45" fmla="*/ 236263 w 445813"/>
                  <a:gd name="connsiteY45" fmla="*/ 2603500 h 3908424"/>
                  <a:gd name="connsiteX46" fmla="*/ 204513 w 445813"/>
                  <a:gd name="connsiteY46" fmla="*/ 2825749 h 3908424"/>
                  <a:gd name="connsiteX47" fmla="*/ 153713 w 445813"/>
                  <a:gd name="connsiteY47" fmla="*/ 2917824 h 3908424"/>
                  <a:gd name="connsiteX48" fmla="*/ 80688 w 445813"/>
                  <a:gd name="connsiteY48" fmla="*/ 3063874 h 3908424"/>
                  <a:gd name="connsiteX49" fmla="*/ 42588 w 445813"/>
                  <a:gd name="connsiteY49" fmla="*/ 3133724 h 3908424"/>
                  <a:gd name="connsiteX50" fmla="*/ 17188 w 445813"/>
                  <a:gd name="connsiteY50" fmla="*/ 3203574 h 3908424"/>
                  <a:gd name="connsiteX51" fmla="*/ 10838 w 445813"/>
                  <a:gd name="connsiteY51" fmla="*/ 3390899 h 3908424"/>
                  <a:gd name="connsiteX52" fmla="*/ 39413 w 445813"/>
                  <a:gd name="connsiteY52" fmla="*/ 3482974 h 3908424"/>
                  <a:gd name="connsiteX53" fmla="*/ 52113 w 445813"/>
                  <a:gd name="connsiteY53" fmla="*/ 3616324 h 3908424"/>
                  <a:gd name="connsiteX54" fmla="*/ 90213 w 445813"/>
                  <a:gd name="connsiteY54" fmla="*/ 3682999 h 3908424"/>
                  <a:gd name="connsiteX55" fmla="*/ 112438 w 445813"/>
                  <a:gd name="connsiteY55" fmla="*/ 3809999 h 3908424"/>
                  <a:gd name="connsiteX56" fmla="*/ 201338 w 445813"/>
                  <a:gd name="connsiteY56" fmla="*/ 3892549 h 3908424"/>
                  <a:gd name="connsiteX57" fmla="*/ 258488 w 445813"/>
                  <a:gd name="connsiteY57" fmla="*/ 3908424 h 3908424"/>
                  <a:gd name="connsiteX0" fmla="*/ 445813 w 445813"/>
                  <a:gd name="connsiteY0" fmla="*/ 0 h 3892549"/>
                  <a:gd name="connsiteX1" fmla="*/ 407713 w 445813"/>
                  <a:gd name="connsiteY1" fmla="*/ 66675 h 3892549"/>
                  <a:gd name="connsiteX2" fmla="*/ 353738 w 445813"/>
                  <a:gd name="connsiteY2" fmla="*/ 85725 h 3892549"/>
                  <a:gd name="connsiteX3" fmla="*/ 283888 w 445813"/>
                  <a:gd name="connsiteY3" fmla="*/ 98425 h 3892549"/>
                  <a:gd name="connsiteX4" fmla="*/ 223563 w 445813"/>
                  <a:gd name="connsiteY4" fmla="*/ 133350 h 3892549"/>
                  <a:gd name="connsiteX5" fmla="*/ 121963 w 445813"/>
                  <a:gd name="connsiteY5" fmla="*/ 196850 h 3892549"/>
                  <a:gd name="connsiteX6" fmla="*/ 131488 w 445813"/>
                  <a:gd name="connsiteY6" fmla="*/ 247650 h 3892549"/>
                  <a:gd name="connsiteX7" fmla="*/ 172763 w 445813"/>
                  <a:gd name="connsiteY7" fmla="*/ 276225 h 3892549"/>
                  <a:gd name="connsiteX8" fmla="*/ 185463 w 445813"/>
                  <a:gd name="connsiteY8" fmla="*/ 327025 h 3892549"/>
                  <a:gd name="connsiteX9" fmla="*/ 239438 w 445813"/>
                  <a:gd name="connsiteY9" fmla="*/ 368300 h 3892549"/>
                  <a:gd name="connsiteX10" fmla="*/ 239438 w 445813"/>
                  <a:gd name="connsiteY10" fmla="*/ 412750 h 3892549"/>
                  <a:gd name="connsiteX11" fmla="*/ 207688 w 445813"/>
                  <a:gd name="connsiteY11" fmla="*/ 454025 h 3892549"/>
                  <a:gd name="connsiteX12" fmla="*/ 287063 w 445813"/>
                  <a:gd name="connsiteY12" fmla="*/ 479425 h 3892549"/>
                  <a:gd name="connsiteX13" fmla="*/ 302938 w 445813"/>
                  <a:gd name="connsiteY13" fmla="*/ 511175 h 3892549"/>
                  <a:gd name="connsiteX14" fmla="*/ 210863 w 445813"/>
                  <a:gd name="connsiteY14" fmla="*/ 581025 h 3892549"/>
                  <a:gd name="connsiteX15" fmla="*/ 160063 w 445813"/>
                  <a:gd name="connsiteY15" fmla="*/ 638175 h 3892549"/>
                  <a:gd name="connsiteX16" fmla="*/ 160063 w 445813"/>
                  <a:gd name="connsiteY16" fmla="*/ 695325 h 3892549"/>
                  <a:gd name="connsiteX17" fmla="*/ 185463 w 445813"/>
                  <a:gd name="connsiteY17" fmla="*/ 784225 h 3892549"/>
                  <a:gd name="connsiteX18" fmla="*/ 194988 w 445813"/>
                  <a:gd name="connsiteY18" fmla="*/ 835025 h 3892549"/>
                  <a:gd name="connsiteX19" fmla="*/ 204513 w 445813"/>
                  <a:gd name="connsiteY19" fmla="*/ 885825 h 3892549"/>
                  <a:gd name="connsiteX20" fmla="*/ 220388 w 445813"/>
                  <a:gd name="connsiteY20" fmla="*/ 923925 h 3892549"/>
                  <a:gd name="connsiteX21" fmla="*/ 163238 w 445813"/>
                  <a:gd name="connsiteY21" fmla="*/ 1022350 h 3892549"/>
                  <a:gd name="connsiteX22" fmla="*/ 96563 w 445813"/>
                  <a:gd name="connsiteY22" fmla="*/ 1057275 h 3892549"/>
                  <a:gd name="connsiteX23" fmla="*/ 52113 w 445813"/>
                  <a:gd name="connsiteY23" fmla="*/ 1143000 h 3892549"/>
                  <a:gd name="connsiteX24" fmla="*/ 20363 w 445813"/>
                  <a:gd name="connsiteY24" fmla="*/ 1244600 h 3892549"/>
                  <a:gd name="connsiteX25" fmla="*/ 1313 w 445813"/>
                  <a:gd name="connsiteY25" fmla="*/ 1346200 h 3892549"/>
                  <a:gd name="connsiteX26" fmla="*/ 10838 w 445813"/>
                  <a:gd name="connsiteY26" fmla="*/ 1438275 h 3892549"/>
                  <a:gd name="connsiteX27" fmla="*/ 83863 w 445813"/>
                  <a:gd name="connsiteY27" fmla="*/ 1511300 h 3892549"/>
                  <a:gd name="connsiteX28" fmla="*/ 112438 w 445813"/>
                  <a:gd name="connsiteY28" fmla="*/ 1558925 h 3892549"/>
                  <a:gd name="connsiteX29" fmla="*/ 150538 w 445813"/>
                  <a:gd name="connsiteY29" fmla="*/ 1590675 h 3892549"/>
                  <a:gd name="connsiteX30" fmla="*/ 169588 w 445813"/>
                  <a:gd name="connsiteY30" fmla="*/ 1644650 h 3892549"/>
                  <a:gd name="connsiteX31" fmla="*/ 226738 w 445813"/>
                  <a:gd name="connsiteY31" fmla="*/ 1685925 h 3892549"/>
                  <a:gd name="connsiteX32" fmla="*/ 264838 w 445813"/>
                  <a:gd name="connsiteY32" fmla="*/ 1730375 h 3892549"/>
                  <a:gd name="connsiteX33" fmla="*/ 277538 w 445813"/>
                  <a:gd name="connsiteY33" fmla="*/ 1758950 h 3892549"/>
                  <a:gd name="connsiteX34" fmla="*/ 277538 w 445813"/>
                  <a:gd name="connsiteY34" fmla="*/ 1828800 h 3892549"/>
                  <a:gd name="connsiteX35" fmla="*/ 325163 w 445813"/>
                  <a:gd name="connsiteY35" fmla="*/ 1905000 h 3892549"/>
                  <a:gd name="connsiteX36" fmla="*/ 363263 w 445813"/>
                  <a:gd name="connsiteY36" fmla="*/ 1962150 h 3892549"/>
                  <a:gd name="connsiteX37" fmla="*/ 369613 w 445813"/>
                  <a:gd name="connsiteY37" fmla="*/ 2028825 h 3892549"/>
                  <a:gd name="connsiteX38" fmla="*/ 407713 w 445813"/>
                  <a:gd name="connsiteY38" fmla="*/ 2085975 h 3892549"/>
                  <a:gd name="connsiteX39" fmla="*/ 414063 w 445813"/>
                  <a:gd name="connsiteY39" fmla="*/ 2255981 h 3892549"/>
                  <a:gd name="connsiteX40" fmla="*/ 242901 w 445813"/>
                  <a:gd name="connsiteY40" fmla="*/ 2278784 h 3892549"/>
                  <a:gd name="connsiteX41" fmla="*/ 201338 w 445813"/>
                  <a:gd name="connsiteY41" fmla="*/ 2390775 h 3892549"/>
                  <a:gd name="connsiteX42" fmla="*/ 210863 w 445813"/>
                  <a:gd name="connsiteY42" fmla="*/ 2454275 h 3892549"/>
                  <a:gd name="connsiteX43" fmla="*/ 226738 w 445813"/>
                  <a:gd name="connsiteY43" fmla="*/ 2482850 h 3892549"/>
                  <a:gd name="connsiteX44" fmla="*/ 226738 w 445813"/>
                  <a:gd name="connsiteY44" fmla="*/ 2527300 h 3892549"/>
                  <a:gd name="connsiteX45" fmla="*/ 236263 w 445813"/>
                  <a:gd name="connsiteY45" fmla="*/ 2603500 h 3892549"/>
                  <a:gd name="connsiteX46" fmla="*/ 204513 w 445813"/>
                  <a:gd name="connsiteY46" fmla="*/ 2825749 h 3892549"/>
                  <a:gd name="connsiteX47" fmla="*/ 153713 w 445813"/>
                  <a:gd name="connsiteY47" fmla="*/ 2917824 h 3892549"/>
                  <a:gd name="connsiteX48" fmla="*/ 80688 w 445813"/>
                  <a:gd name="connsiteY48" fmla="*/ 3063874 h 3892549"/>
                  <a:gd name="connsiteX49" fmla="*/ 42588 w 445813"/>
                  <a:gd name="connsiteY49" fmla="*/ 3133724 h 3892549"/>
                  <a:gd name="connsiteX50" fmla="*/ 17188 w 445813"/>
                  <a:gd name="connsiteY50" fmla="*/ 3203574 h 3892549"/>
                  <a:gd name="connsiteX51" fmla="*/ 10838 w 445813"/>
                  <a:gd name="connsiteY51" fmla="*/ 3390899 h 3892549"/>
                  <a:gd name="connsiteX52" fmla="*/ 39413 w 445813"/>
                  <a:gd name="connsiteY52" fmla="*/ 3482974 h 3892549"/>
                  <a:gd name="connsiteX53" fmla="*/ 52113 w 445813"/>
                  <a:gd name="connsiteY53" fmla="*/ 3616324 h 3892549"/>
                  <a:gd name="connsiteX54" fmla="*/ 90213 w 445813"/>
                  <a:gd name="connsiteY54" fmla="*/ 3682999 h 3892549"/>
                  <a:gd name="connsiteX55" fmla="*/ 112438 w 445813"/>
                  <a:gd name="connsiteY55" fmla="*/ 3809999 h 3892549"/>
                  <a:gd name="connsiteX56" fmla="*/ 201338 w 445813"/>
                  <a:gd name="connsiteY56" fmla="*/ 3892549 h 3892549"/>
                  <a:gd name="connsiteX0" fmla="*/ 445813 w 445813"/>
                  <a:gd name="connsiteY0" fmla="*/ 0 h 3809999"/>
                  <a:gd name="connsiteX1" fmla="*/ 407713 w 445813"/>
                  <a:gd name="connsiteY1" fmla="*/ 66675 h 3809999"/>
                  <a:gd name="connsiteX2" fmla="*/ 353738 w 445813"/>
                  <a:gd name="connsiteY2" fmla="*/ 85725 h 3809999"/>
                  <a:gd name="connsiteX3" fmla="*/ 283888 w 445813"/>
                  <a:gd name="connsiteY3" fmla="*/ 98425 h 3809999"/>
                  <a:gd name="connsiteX4" fmla="*/ 223563 w 445813"/>
                  <a:gd name="connsiteY4" fmla="*/ 133350 h 3809999"/>
                  <a:gd name="connsiteX5" fmla="*/ 121963 w 445813"/>
                  <a:gd name="connsiteY5" fmla="*/ 196850 h 3809999"/>
                  <a:gd name="connsiteX6" fmla="*/ 131488 w 445813"/>
                  <a:gd name="connsiteY6" fmla="*/ 247650 h 3809999"/>
                  <a:gd name="connsiteX7" fmla="*/ 172763 w 445813"/>
                  <a:gd name="connsiteY7" fmla="*/ 276225 h 3809999"/>
                  <a:gd name="connsiteX8" fmla="*/ 185463 w 445813"/>
                  <a:gd name="connsiteY8" fmla="*/ 327025 h 3809999"/>
                  <a:gd name="connsiteX9" fmla="*/ 239438 w 445813"/>
                  <a:gd name="connsiteY9" fmla="*/ 368300 h 3809999"/>
                  <a:gd name="connsiteX10" fmla="*/ 239438 w 445813"/>
                  <a:gd name="connsiteY10" fmla="*/ 412750 h 3809999"/>
                  <a:gd name="connsiteX11" fmla="*/ 207688 w 445813"/>
                  <a:gd name="connsiteY11" fmla="*/ 454025 h 3809999"/>
                  <a:gd name="connsiteX12" fmla="*/ 287063 w 445813"/>
                  <a:gd name="connsiteY12" fmla="*/ 479425 h 3809999"/>
                  <a:gd name="connsiteX13" fmla="*/ 302938 w 445813"/>
                  <a:gd name="connsiteY13" fmla="*/ 511175 h 3809999"/>
                  <a:gd name="connsiteX14" fmla="*/ 210863 w 445813"/>
                  <a:gd name="connsiteY14" fmla="*/ 581025 h 3809999"/>
                  <a:gd name="connsiteX15" fmla="*/ 160063 w 445813"/>
                  <a:gd name="connsiteY15" fmla="*/ 638175 h 3809999"/>
                  <a:gd name="connsiteX16" fmla="*/ 160063 w 445813"/>
                  <a:gd name="connsiteY16" fmla="*/ 695325 h 3809999"/>
                  <a:gd name="connsiteX17" fmla="*/ 185463 w 445813"/>
                  <a:gd name="connsiteY17" fmla="*/ 784225 h 3809999"/>
                  <a:gd name="connsiteX18" fmla="*/ 194988 w 445813"/>
                  <a:gd name="connsiteY18" fmla="*/ 835025 h 3809999"/>
                  <a:gd name="connsiteX19" fmla="*/ 204513 w 445813"/>
                  <a:gd name="connsiteY19" fmla="*/ 885825 h 3809999"/>
                  <a:gd name="connsiteX20" fmla="*/ 220388 w 445813"/>
                  <a:gd name="connsiteY20" fmla="*/ 923925 h 3809999"/>
                  <a:gd name="connsiteX21" fmla="*/ 163238 w 445813"/>
                  <a:gd name="connsiteY21" fmla="*/ 1022350 h 3809999"/>
                  <a:gd name="connsiteX22" fmla="*/ 96563 w 445813"/>
                  <a:gd name="connsiteY22" fmla="*/ 1057275 h 3809999"/>
                  <a:gd name="connsiteX23" fmla="*/ 52113 w 445813"/>
                  <a:gd name="connsiteY23" fmla="*/ 1143000 h 3809999"/>
                  <a:gd name="connsiteX24" fmla="*/ 20363 w 445813"/>
                  <a:gd name="connsiteY24" fmla="*/ 1244600 h 3809999"/>
                  <a:gd name="connsiteX25" fmla="*/ 1313 w 445813"/>
                  <a:gd name="connsiteY25" fmla="*/ 1346200 h 3809999"/>
                  <a:gd name="connsiteX26" fmla="*/ 10838 w 445813"/>
                  <a:gd name="connsiteY26" fmla="*/ 1438275 h 3809999"/>
                  <a:gd name="connsiteX27" fmla="*/ 83863 w 445813"/>
                  <a:gd name="connsiteY27" fmla="*/ 1511300 h 3809999"/>
                  <a:gd name="connsiteX28" fmla="*/ 112438 w 445813"/>
                  <a:gd name="connsiteY28" fmla="*/ 1558925 h 3809999"/>
                  <a:gd name="connsiteX29" fmla="*/ 150538 w 445813"/>
                  <a:gd name="connsiteY29" fmla="*/ 1590675 h 3809999"/>
                  <a:gd name="connsiteX30" fmla="*/ 169588 w 445813"/>
                  <a:gd name="connsiteY30" fmla="*/ 1644650 h 3809999"/>
                  <a:gd name="connsiteX31" fmla="*/ 226738 w 445813"/>
                  <a:gd name="connsiteY31" fmla="*/ 1685925 h 3809999"/>
                  <a:gd name="connsiteX32" fmla="*/ 264838 w 445813"/>
                  <a:gd name="connsiteY32" fmla="*/ 1730375 h 3809999"/>
                  <a:gd name="connsiteX33" fmla="*/ 277538 w 445813"/>
                  <a:gd name="connsiteY33" fmla="*/ 1758950 h 3809999"/>
                  <a:gd name="connsiteX34" fmla="*/ 277538 w 445813"/>
                  <a:gd name="connsiteY34" fmla="*/ 1828800 h 3809999"/>
                  <a:gd name="connsiteX35" fmla="*/ 325163 w 445813"/>
                  <a:gd name="connsiteY35" fmla="*/ 1905000 h 3809999"/>
                  <a:gd name="connsiteX36" fmla="*/ 363263 w 445813"/>
                  <a:gd name="connsiteY36" fmla="*/ 1962150 h 3809999"/>
                  <a:gd name="connsiteX37" fmla="*/ 369613 w 445813"/>
                  <a:gd name="connsiteY37" fmla="*/ 2028825 h 3809999"/>
                  <a:gd name="connsiteX38" fmla="*/ 407713 w 445813"/>
                  <a:gd name="connsiteY38" fmla="*/ 2085975 h 3809999"/>
                  <a:gd name="connsiteX39" fmla="*/ 414063 w 445813"/>
                  <a:gd name="connsiteY39" fmla="*/ 2255981 h 3809999"/>
                  <a:gd name="connsiteX40" fmla="*/ 242901 w 445813"/>
                  <a:gd name="connsiteY40" fmla="*/ 2278784 h 3809999"/>
                  <a:gd name="connsiteX41" fmla="*/ 201338 w 445813"/>
                  <a:gd name="connsiteY41" fmla="*/ 2390775 h 3809999"/>
                  <a:gd name="connsiteX42" fmla="*/ 210863 w 445813"/>
                  <a:gd name="connsiteY42" fmla="*/ 2454275 h 3809999"/>
                  <a:gd name="connsiteX43" fmla="*/ 226738 w 445813"/>
                  <a:gd name="connsiteY43" fmla="*/ 2482850 h 3809999"/>
                  <a:gd name="connsiteX44" fmla="*/ 226738 w 445813"/>
                  <a:gd name="connsiteY44" fmla="*/ 2527300 h 3809999"/>
                  <a:gd name="connsiteX45" fmla="*/ 236263 w 445813"/>
                  <a:gd name="connsiteY45" fmla="*/ 2603500 h 3809999"/>
                  <a:gd name="connsiteX46" fmla="*/ 204513 w 445813"/>
                  <a:gd name="connsiteY46" fmla="*/ 2825749 h 3809999"/>
                  <a:gd name="connsiteX47" fmla="*/ 153713 w 445813"/>
                  <a:gd name="connsiteY47" fmla="*/ 2917824 h 3809999"/>
                  <a:gd name="connsiteX48" fmla="*/ 80688 w 445813"/>
                  <a:gd name="connsiteY48" fmla="*/ 3063874 h 3809999"/>
                  <a:gd name="connsiteX49" fmla="*/ 42588 w 445813"/>
                  <a:gd name="connsiteY49" fmla="*/ 3133724 h 3809999"/>
                  <a:gd name="connsiteX50" fmla="*/ 17188 w 445813"/>
                  <a:gd name="connsiteY50" fmla="*/ 3203574 h 3809999"/>
                  <a:gd name="connsiteX51" fmla="*/ 10838 w 445813"/>
                  <a:gd name="connsiteY51" fmla="*/ 3390899 h 3809999"/>
                  <a:gd name="connsiteX52" fmla="*/ 39413 w 445813"/>
                  <a:gd name="connsiteY52" fmla="*/ 3482974 h 3809999"/>
                  <a:gd name="connsiteX53" fmla="*/ 52113 w 445813"/>
                  <a:gd name="connsiteY53" fmla="*/ 3616324 h 3809999"/>
                  <a:gd name="connsiteX54" fmla="*/ 90213 w 445813"/>
                  <a:gd name="connsiteY54" fmla="*/ 3682999 h 3809999"/>
                  <a:gd name="connsiteX55" fmla="*/ 112438 w 445813"/>
                  <a:gd name="connsiteY55" fmla="*/ 3809999 h 3809999"/>
                  <a:gd name="connsiteX0" fmla="*/ 445813 w 445813"/>
                  <a:gd name="connsiteY0" fmla="*/ 0 h 3809999"/>
                  <a:gd name="connsiteX1" fmla="*/ 407713 w 445813"/>
                  <a:gd name="connsiteY1" fmla="*/ 66675 h 3809999"/>
                  <a:gd name="connsiteX2" fmla="*/ 353738 w 445813"/>
                  <a:gd name="connsiteY2" fmla="*/ 85725 h 3809999"/>
                  <a:gd name="connsiteX3" fmla="*/ 283888 w 445813"/>
                  <a:gd name="connsiteY3" fmla="*/ 98425 h 3809999"/>
                  <a:gd name="connsiteX4" fmla="*/ 223563 w 445813"/>
                  <a:gd name="connsiteY4" fmla="*/ 133350 h 3809999"/>
                  <a:gd name="connsiteX5" fmla="*/ 121963 w 445813"/>
                  <a:gd name="connsiteY5" fmla="*/ 196850 h 3809999"/>
                  <a:gd name="connsiteX6" fmla="*/ 131488 w 445813"/>
                  <a:gd name="connsiteY6" fmla="*/ 247650 h 3809999"/>
                  <a:gd name="connsiteX7" fmla="*/ 172763 w 445813"/>
                  <a:gd name="connsiteY7" fmla="*/ 276225 h 3809999"/>
                  <a:gd name="connsiteX8" fmla="*/ 185463 w 445813"/>
                  <a:gd name="connsiteY8" fmla="*/ 327025 h 3809999"/>
                  <a:gd name="connsiteX9" fmla="*/ 239438 w 445813"/>
                  <a:gd name="connsiteY9" fmla="*/ 368300 h 3809999"/>
                  <a:gd name="connsiteX10" fmla="*/ 239438 w 445813"/>
                  <a:gd name="connsiteY10" fmla="*/ 412750 h 3809999"/>
                  <a:gd name="connsiteX11" fmla="*/ 207688 w 445813"/>
                  <a:gd name="connsiteY11" fmla="*/ 454025 h 3809999"/>
                  <a:gd name="connsiteX12" fmla="*/ 287063 w 445813"/>
                  <a:gd name="connsiteY12" fmla="*/ 479425 h 3809999"/>
                  <a:gd name="connsiteX13" fmla="*/ 302938 w 445813"/>
                  <a:gd name="connsiteY13" fmla="*/ 511175 h 3809999"/>
                  <a:gd name="connsiteX14" fmla="*/ 210863 w 445813"/>
                  <a:gd name="connsiteY14" fmla="*/ 581025 h 3809999"/>
                  <a:gd name="connsiteX15" fmla="*/ 160063 w 445813"/>
                  <a:gd name="connsiteY15" fmla="*/ 638175 h 3809999"/>
                  <a:gd name="connsiteX16" fmla="*/ 160063 w 445813"/>
                  <a:gd name="connsiteY16" fmla="*/ 695325 h 3809999"/>
                  <a:gd name="connsiteX17" fmla="*/ 185463 w 445813"/>
                  <a:gd name="connsiteY17" fmla="*/ 784225 h 3809999"/>
                  <a:gd name="connsiteX18" fmla="*/ 194988 w 445813"/>
                  <a:gd name="connsiteY18" fmla="*/ 835025 h 3809999"/>
                  <a:gd name="connsiteX19" fmla="*/ 204513 w 445813"/>
                  <a:gd name="connsiteY19" fmla="*/ 885825 h 3809999"/>
                  <a:gd name="connsiteX20" fmla="*/ 220388 w 445813"/>
                  <a:gd name="connsiteY20" fmla="*/ 923925 h 3809999"/>
                  <a:gd name="connsiteX21" fmla="*/ 163238 w 445813"/>
                  <a:gd name="connsiteY21" fmla="*/ 1022350 h 3809999"/>
                  <a:gd name="connsiteX22" fmla="*/ 96563 w 445813"/>
                  <a:gd name="connsiteY22" fmla="*/ 1057275 h 3809999"/>
                  <a:gd name="connsiteX23" fmla="*/ 52113 w 445813"/>
                  <a:gd name="connsiteY23" fmla="*/ 1143000 h 3809999"/>
                  <a:gd name="connsiteX24" fmla="*/ 20363 w 445813"/>
                  <a:gd name="connsiteY24" fmla="*/ 1244600 h 3809999"/>
                  <a:gd name="connsiteX25" fmla="*/ 1313 w 445813"/>
                  <a:gd name="connsiteY25" fmla="*/ 1346200 h 3809999"/>
                  <a:gd name="connsiteX26" fmla="*/ 10838 w 445813"/>
                  <a:gd name="connsiteY26" fmla="*/ 1438275 h 3809999"/>
                  <a:gd name="connsiteX27" fmla="*/ 83863 w 445813"/>
                  <a:gd name="connsiteY27" fmla="*/ 1511300 h 3809999"/>
                  <a:gd name="connsiteX28" fmla="*/ 112438 w 445813"/>
                  <a:gd name="connsiteY28" fmla="*/ 1558925 h 3809999"/>
                  <a:gd name="connsiteX29" fmla="*/ 150538 w 445813"/>
                  <a:gd name="connsiteY29" fmla="*/ 1590675 h 3809999"/>
                  <a:gd name="connsiteX30" fmla="*/ 169588 w 445813"/>
                  <a:gd name="connsiteY30" fmla="*/ 1644650 h 3809999"/>
                  <a:gd name="connsiteX31" fmla="*/ 226738 w 445813"/>
                  <a:gd name="connsiteY31" fmla="*/ 1685925 h 3809999"/>
                  <a:gd name="connsiteX32" fmla="*/ 264838 w 445813"/>
                  <a:gd name="connsiteY32" fmla="*/ 1730375 h 3809999"/>
                  <a:gd name="connsiteX33" fmla="*/ 277538 w 445813"/>
                  <a:gd name="connsiteY33" fmla="*/ 1758950 h 3809999"/>
                  <a:gd name="connsiteX34" fmla="*/ 277538 w 445813"/>
                  <a:gd name="connsiteY34" fmla="*/ 1828800 h 3809999"/>
                  <a:gd name="connsiteX35" fmla="*/ 325163 w 445813"/>
                  <a:gd name="connsiteY35" fmla="*/ 1905000 h 3809999"/>
                  <a:gd name="connsiteX36" fmla="*/ 363263 w 445813"/>
                  <a:gd name="connsiteY36" fmla="*/ 1962150 h 3809999"/>
                  <a:gd name="connsiteX37" fmla="*/ 369613 w 445813"/>
                  <a:gd name="connsiteY37" fmla="*/ 2028825 h 3809999"/>
                  <a:gd name="connsiteX38" fmla="*/ 407713 w 445813"/>
                  <a:gd name="connsiteY38" fmla="*/ 2085975 h 3809999"/>
                  <a:gd name="connsiteX39" fmla="*/ 414063 w 445813"/>
                  <a:gd name="connsiteY39" fmla="*/ 2255981 h 3809999"/>
                  <a:gd name="connsiteX40" fmla="*/ 242901 w 445813"/>
                  <a:gd name="connsiteY40" fmla="*/ 2278784 h 3809999"/>
                  <a:gd name="connsiteX41" fmla="*/ 201338 w 445813"/>
                  <a:gd name="connsiteY41" fmla="*/ 2390775 h 3809999"/>
                  <a:gd name="connsiteX42" fmla="*/ 210863 w 445813"/>
                  <a:gd name="connsiteY42" fmla="*/ 2454275 h 3809999"/>
                  <a:gd name="connsiteX43" fmla="*/ 226738 w 445813"/>
                  <a:gd name="connsiteY43" fmla="*/ 2482850 h 3809999"/>
                  <a:gd name="connsiteX44" fmla="*/ 226738 w 445813"/>
                  <a:gd name="connsiteY44" fmla="*/ 2527300 h 3809999"/>
                  <a:gd name="connsiteX45" fmla="*/ 236263 w 445813"/>
                  <a:gd name="connsiteY45" fmla="*/ 2603500 h 3809999"/>
                  <a:gd name="connsiteX46" fmla="*/ 204513 w 445813"/>
                  <a:gd name="connsiteY46" fmla="*/ 2825749 h 3809999"/>
                  <a:gd name="connsiteX47" fmla="*/ 153713 w 445813"/>
                  <a:gd name="connsiteY47" fmla="*/ 2917824 h 3809999"/>
                  <a:gd name="connsiteX48" fmla="*/ 80688 w 445813"/>
                  <a:gd name="connsiteY48" fmla="*/ 3063874 h 3809999"/>
                  <a:gd name="connsiteX49" fmla="*/ 42588 w 445813"/>
                  <a:gd name="connsiteY49" fmla="*/ 3133724 h 3809999"/>
                  <a:gd name="connsiteX50" fmla="*/ 17188 w 445813"/>
                  <a:gd name="connsiteY50" fmla="*/ 3203574 h 3809999"/>
                  <a:gd name="connsiteX51" fmla="*/ 10838 w 445813"/>
                  <a:gd name="connsiteY51" fmla="*/ 3390899 h 3809999"/>
                  <a:gd name="connsiteX52" fmla="*/ 39413 w 445813"/>
                  <a:gd name="connsiteY52" fmla="*/ 3482974 h 3809999"/>
                  <a:gd name="connsiteX53" fmla="*/ 52113 w 445813"/>
                  <a:gd name="connsiteY53" fmla="*/ 3616324 h 3809999"/>
                  <a:gd name="connsiteX54" fmla="*/ 90213 w 445813"/>
                  <a:gd name="connsiteY54" fmla="*/ 3682999 h 3809999"/>
                  <a:gd name="connsiteX55" fmla="*/ 85089 w 445813"/>
                  <a:gd name="connsiteY55" fmla="*/ 3766423 h 3809999"/>
                  <a:gd name="connsiteX56" fmla="*/ 112438 w 445813"/>
                  <a:gd name="connsiteY56" fmla="*/ 3809999 h 3809999"/>
                  <a:gd name="connsiteX0" fmla="*/ 445813 w 445813"/>
                  <a:gd name="connsiteY0" fmla="*/ 0 h 3766423"/>
                  <a:gd name="connsiteX1" fmla="*/ 407713 w 445813"/>
                  <a:gd name="connsiteY1" fmla="*/ 66675 h 3766423"/>
                  <a:gd name="connsiteX2" fmla="*/ 353738 w 445813"/>
                  <a:gd name="connsiteY2" fmla="*/ 85725 h 3766423"/>
                  <a:gd name="connsiteX3" fmla="*/ 283888 w 445813"/>
                  <a:gd name="connsiteY3" fmla="*/ 98425 h 3766423"/>
                  <a:gd name="connsiteX4" fmla="*/ 223563 w 445813"/>
                  <a:gd name="connsiteY4" fmla="*/ 133350 h 3766423"/>
                  <a:gd name="connsiteX5" fmla="*/ 121963 w 445813"/>
                  <a:gd name="connsiteY5" fmla="*/ 196850 h 3766423"/>
                  <a:gd name="connsiteX6" fmla="*/ 131488 w 445813"/>
                  <a:gd name="connsiteY6" fmla="*/ 247650 h 3766423"/>
                  <a:gd name="connsiteX7" fmla="*/ 172763 w 445813"/>
                  <a:gd name="connsiteY7" fmla="*/ 276225 h 3766423"/>
                  <a:gd name="connsiteX8" fmla="*/ 185463 w 445813"/>
                  <a:gd name="connsiteY8" fmla="*/ 327025 h 3766423"/>
                  <a:gd name="connsiteX9" fmla="*/ 239438 w 445813"/>
                  <a:gd name="connsiteY9" fmla="*/ 368300 h 3766423"/>
                  <a:gd name="connsiteX10" fmla="*/ 239438 w 445813"/>
                  <a:gd name="connsiteY10" fmla="*/ 412750 h 3766423"/>
                  <a:gd name="connsiteX11" fmla="*/ 207688 w 445813"/>
                  <a:gd name="connsiteY11" fmla="*/ 454025 h 3766423"/>
                  <a:gd name="connsiteX12" fmla="*/ 287063 w 445813"/>
                  <a:gd name="connsiteY12" fmla="*/ 479425 h 3766423"/>
                  <a:gd name="connsiteX13" fmla="*/ 302938 w 445813"/>
                  <a:gd name="connsiteY13" fmla="*/ 511175 h 3766423"/>
                  <a:gd name="connsiteX14" fmla="*/ 210863 w 445813"/>
                  <a:gd name="connsiteY14" fmla="*/ 581025 h 3766423"/>
                  <a:gd name="connsiteX15" fmla="*/ 160063 w 445813"/>
                  <a:gd name="connsiteY15" fmla="*/ 638175 h 3766423"/>
                  <a:gd name="connsiteX16" fmla="*/ 160063 w 445813"/>
                  <a:gd name="connsiteY16" fmla="*/ 695325 h 3766423"/>
                  <a:gd name="connsiteX17" fmla="*/ 185463 w 445813"/>
                  <a:gd name="connsiteY17" fmla="*/ 784225 h 3766423"/>
                  <a:gd name="connsiteX18" fmla="*/ 194988 w 445813"/>
                  <a:gd name="connsiteY18" fmla="*/ 835025 h 3766423"/>
                  <a:gd name="connsiteX19" fmla="*/ 204513 w 445813"/>
                  <a:gd name="connsiteY19" fmla="*/ 885825 h 3766423"/>
                  <a:gd name="connsiteX20" fmla="*/ 220388 w 445813"/>
                  <a:gd name="connsiteY20" fmla="*/ 923925 h 3766423"/>
                  <a:gd name="connsiteX21" fmla="*/ 163238 w 445813"/>
                  <a:gd name="connsiteY21" fmla="*/ 1022350 h 3766423"/>
                  <a:gd name="connsiteX22" fmla="*/ 96563 w 445813"/>
                  <a:gd name="connsiteY22" fmla="*/ 1057275 h 3766423"/>
                  <a:gd name="connsiteX23" fmla="*/ 52113 w 445813"/>
                  <a:gd name="connsiteY23" fmla="*/ 1143000 h 3766423"/>
                  <a:gd name="connsiteX24" fmla="*/ 20363 w 445813"/>
                  <a:gd name="connsiteY24" fmla="*/ 1244600 h 3766423"/>
                  <a:gd name="connsiteX25" fmla="*/ 1313 w 445813"/>
                  <a:gd name="connsiteY25" fmla="*/ 1346200 h 3766423"/>
                  <a:gd name="connsiteX26" fmla="*/ 10838 w 445813"/>
                  <a:gd name="connsiteY26" fmla="*/ 1438275 h 3766423"/>
                  <a:gd name="connsiteX27" fmla="*/ 83863 w 445813"/>
                  <a:gd name="connsiteY27" fmla="*/ 1511300 h 3766423"/>
                  <a:gd name="connsiteX28" fmla="*/ 112438 w 445813"/>
                  <a:gd name="connsiteY28" fmla="*/ 1558925 h 3766423"/>
                  <a:gd name="connsiteX29" fmla="*/ 150538 w 445813"/>
                  <a:gd name="connsiteY29" fmla="*/ 1590675 h 3766423"/>
                  <a:gd name="connsiteX30" fmla="*/ 169588 w 445813"/>
                  <a:gd name="connsiteY30" fmla="*/ 1644650 h 3766423"/>
                  <a:gd name="connsiteX31" fmla="*/ 226738 w 445813"/>
                  <a:gd name="connsiteY31" fmla="*/ 1685925 h 3766423"/>
                  <a:gd name="connsiteX32" fmla="*/ 264838 w 445813"/>
                  <a:gd name="connsiteY32" fmla="*/ 1730375 h 3766423"/>
                  <a:gd name="connsiteX33" fmla="*/ 277538 w 445813"/>
                  <a:gd name="connsiteY33" fmla="*/ 1758950 h 3766423"/>
                  <a:gd name="connsiteX34" fmla="*/ 277538 w 445813"/>
                  <a:gd name="connsiteY34" fmla="*/ 1828800 h 3766423"/>
                  <a:gd name="connsiteX35" fmla="*/ 325163 w 445813"/>
                  <a:gd name="connsiteY35" fmla="*/ 1905000 h 3766423"/>
                  <a:gd name="connsiteX36" fmla="*/ 363263 w 445813"/>
                  <a:gd name="connsiteY36" fmla="*/ 1962150 h 3766423"/>
                  <a:gd name="connsiteX37" fmla="*/ 369613 w 445813"/>
                  <a:gd name="connsiteY37" fmla="*/ 2028825 h 3766423"/>
                  <a:gd name="connsiteX38" fmla="*/ 407713 w 445813"/>
                  <a:gd name="connsiteY38" fmla="*/ 2085975 h 3766423"/>
                  <a:gd name="connsiteX39" fmla="*/ 414063 w 445813"/>
                  <a:gd name="connsiteY39" fmla="*/ 2255981 h 3766423"/>
                  <a:gd name="connsiteX40" fmla="*/ 242901 w 445813"/>
                  <a:gd name="connsiteY40" fmla="*/ 2278784 h 3766423"/>
                  <a:gd name="connsiteX41" fmla="*/ 201338 w 445813"/>
                  <a:gd name="connsiteY41" fmla="*/ 2390775 h 3766423"/>
                  <a:gd name="connsiteX42" fmla="*/ 210863 w 445813"/>
                  <a:gd name="connsiteY42" fmla="*/ 2454275 h 3766423"/>
                  <a:gd name="connsiteX43" fmla="*/ 226738 w 445813"/>
                  <a:gd name="connsiteY43" fmla="*/ 2482850 h 3766423"/>
                  <a:gd name="connsiteX44" fmla="*/ 226738 w 445813"/>
                  <a:gd name="connsiteY44" fmla="*/ 2527300 h 3766423"/>
                  <a:gd name="connsiteX45" fmla="*/ 236263 w 445813"/>
                  <a:gd name="connsiteY45" fmla="*/ 2603500 h 3766423"/>
                  <a:gd name="connsiteX46" fmla="*/ 204513 w 445813"/>
                  <a:gd name="connsiteY46" fmla="*/ 2825749 h 3766423"/>
                  <a:gd name="connsiteX47" fmla="*/ 153713 w 445813"/>
                  <a:gd name="connsiteY47" fmla="*/ 2917824 h 3766423"/>
                  <a:gd name="connsiteX48" fmla="*/ 80688 w 445813"/>
                  <a:gd name="connsiteY48" fmla="*/ 3063874 h 3766423"/>
                  <a:gd name="connsiteX49" fmla="*/ 42588 w 445813"/>
                  <a:gd name="connsiteY49" fmla="*/ 3133724 h 3766423"/>
                  <a:gd name="connsiteX50" fmla="*/ 17188 w 445813"/>
                  <a:gd name="connsiteY50" fmla="*/ 3203574 h 3766423"/>
                  <a:gd name="connsiteX51" fmla="*/ 10838 w 445813"/>
                  <a:gd name="connsiteY51" fmla="*/ 3390899 h 3766423"/>
                  <a:gd name="connsiteX52" fmla="*/ 39413 w 445813"/>
                  <a:gd name="connsiteY52" fmla="*/ 3482974 h 3766423"/>
                  <a:gd name="connsiteX53" fmla="*/ 52113 w 445813"/>
                  <a:gd name="connsiteY53" fmla="*/ 3616324 h 3766423"/>
                  <a:gd name="connsiteX54" fmla="*/ 90213 w 445813"/>
                  <a:gd name="connsiteY54" fmla="*/ 3682999 h 3766423"/>
                  <a:gd name="connsiteX55" fmla="*/ 85089 w 445813"/>
                  <a:gd name="connsiteY55" fmla="*/ 3766423 h 3766423"/>
                  <a:gd name="connsiteX0" fmla="*/ 445813 w 445813"/>
                  <a:gd name="connsiteY0" fmla="*/ 0 h 3682999"/>
                  <a:gd name="connsiteX1" fmla="*/ 407713 w 445813"/>
                  <a:gd name="connsiteY1" fmla="*/ 66675 h 3682999"/>
                  <a:gd name="connsiteX2" fmla="*/ 353738 w 445813"/>
                  <a:gd name="connsiteY2" fmla="*/ 85725 h 3682999"/>
                  <a:gd name="connsiteX3" fmla="*/ 283888 w 445813"/>
                  <a:gd name="connsiteY3" fmla="*/ 98425 h 3682999"/>
                  <a:gd name="connsiteX4" fmla="*/ 223563 w 445813"/>
                  <a:gd name="connsiteY4" fmla="*/ 133350 h 3682999"/>
                  <a:gd name="connsiteX5" fmla="*/ 121963 w 445813"/>
                  <a:gd name="connsiteY5" fmla="*/ 196850 h 3682999"/>
                  <a:gd name="connsiteX6" fmla="*/ 131488 w 445813"/>
                  <a:gd name="connsiteY6" fmla="*/ 247650 h 3682999"/>
                  <a:gd name="connsiteX7" fmla="*/ 172763 w 445813"/>
                  <a:gd name="connsiteY7" fmla="*/ 276225 h 3682999"/>
                  <a:gd name="connsiteX8" fmla="*/ 185463 w 445813"/>
                  <a:gd name="connsiteY8" fmla="*/ 327025 h 3682999"/>
                  <a:gd name="connsiteX9" fmla="*/ 239438 w 445813"/>
                  <a:gd name="connsiteY9" fmla="*/ 368300 h 3682999"/>
                  <a:gd name="connsiteX10" fmla="*/ 239438 w 445813"/>
                  <a:gd name="connsiteY10" fmla="*/ 412750 h 3682999"/>
                  <a:gd name="connsiteX11" fmla="*/ 207688 w 445813"/>
                  <a:gd name="connsiteY11" fmla="*/ 454025 h 3682999"/>
                  <a:gd name="connsiteX12" fmla="*/ 287063 w 445813"/>
                  <a:gd name="connsiteY12" fmla="*/ 479425 h 3682999"/>
                  <a:gd name="connsiteX13" fmla="*/ 302938 w 445813"/>
                  <a:gd name="connsiteY13" fmla="*/ 511175 h 3682999"/>
                  <a:gd name="connsiteX14" fmla="*/ 210863 w 445813"/>
                  <a:gd name="connsiteY14" fmla="*/ 581025 h 3682999"/>
                  <a:gd name="connsiteX15" fmla="*/ 160063 w 445813"/>
                  <a:gd name="connsiteY15" fmla="*/ 638175 h 3682999"/>
                  <a:gd name="connsiteX16" fmla="*/ 160063 w 445813"/>
                  <a:gd name="connsiteY16" fmla="*/ 695325 h 3682999"/>
                  <a:gd name="connsiteX17" fmla="*/ 185463 w 445813"/>
                  <a:gd name="connsiteY17" fmla="*/ 784225 h 3682999"/>
                  <a:gd name="connsiteX18" fmla="*/ 194988 w 445813"/>
                  <a:gd name="connsiteY18" fmla="*/ 835025 h 3682999"/>
                  <a:gd name="connsiteX19" fmla="*/ 204513 w 445813"/>
                  <a:gd name="connsiteY19" fmla="*/ 885825 h 3682999"/>
                  <a:gd name="connsiteX20" fmla="*/ 220388 w 445813"/>
                  <a:gd name="connsiteY20" fmla="*/ 923925 h 3682999"/>
                  <a:gd name="connsiteX21" fmla="*/ 163238 w 445813"/>
                  <a:gd name="connsiteY21" fmla="*/ 1022350 h 3682999"/>
                  <a:gd name="connsiteX22" fmla="*/ 96563 w 445813"/>
                  <a:gd name="connsiteY22" fmla="*/ 1057275 h 3682999"/>
                  <a:gd name="connsiteX23" fmla="*/ 52113 w 445813"/>
                  <a:gd name="connsiteY23" fmla="*/ 1143000 h 3682999"/>
                  <a:gd name="connsiteX24" fmla="*/ 20363 w 445813"/>
                  <a:gd name="connsiteY24" fmla="*/ 1244600 h 3682999"/>
                  <a:gd name="connsiteX25" fmla="*/ 1313 w 445813"/>
                  <a:gd name="connsiteY25" fmla="*/ 1346200 h 3682999"/>
                  <a:gd name="connsiteX26" fmla="*/ 10838 w 445813"/>
                  <a:gd name="connsiteY26" fmla="*/ 1438275 h 3682999"/>
                  <a:gd name="connsiteX27" fmla="*/ 83863 w 445813"/>
                  <a:gd name="connsiteY27" fmla="*/ 1511300 h 3682999"/>
                  <a:gd name="connsiteX28" fmla="*/ 112438 w 445813"/>
                  <a:gd name="connsiteY28" fmla="*/ 1558925 h 3682999"/>
                  <a:gd name="connsiteX29" fmla="*/ 150538 w 445813"/>
                  <a:gd name="connsiteY29" fmla="*/ 1590675 h 3682999"/>
                  <a:gd name="connsiteX30" fmla="*/ 169588 w 445813"/>
                  <a:gd name="connsiteY30" fmla="*/ 1644650 h 3682999"/>
                  <a:gd name="connsiteX31" fmla="*/ 226738 w 445813"/>
                  <a:gd name="connsiteY31" fmla="*/ 1685925 h 3682999"/>
                  <a:gd name="connsiteX32" fmla="*/ 264838 w 445813"/>
                  <a:gd name="connsiteY32" fmla="*/ 1730375 h 3682999"/>
                  <a:gd name="connsiteX33" fmla="*/ 277538 w 445813"/>
                  <a:gd name="connsiteY33" fmla="*/ 1758950 h 3682999"/>
                  <a:gd name="connsiteX34" fmla="*/ 277538 w 445813"/>
                  <a:gd name="connsiteY34" fmla="*/ 1828800 h 3682999"/>
                  <a:gd name="connsiteX35" fmla="*/ 325163 w 445813"/>
                  <a:gd name="connsiteY35" fmla="*/ 1905000 h 3682999"/>
                  <a:gd name="connsiteX36" fmla="*/ 363263 w 445813"/>
                  <a:gd name="connsiteY36" fmla="*/ 1962150 h 3682999"/>
                  <a:gd name="connsiteX37" fmla="*/ 369613 w 445813"/>
                  <a:gd name="connsiteY37" fmla="*/ 2028825 h 3682999"/>
                  <a:gd name="connsiteX38" fmla="*/ 407713 w 445813"/>
                  <a:gd name="connsiteY38" fmla="*/ 2085975 h 3682999"/>
                  <a:gd name="connsiteX39" fmla="*/ 414063 w 445813"/>
                  <a:gd name="connsiteY39" fmla="*/ 2255981 h 3682999"/>
                  <a:gd name="connsiteX40" fmla="*/ 242901 w 445813"/>
                  <a:gd name="connsiteY40" fmla="*/ 2278784 h 3682999"/>
                  <a:gd name="connsiteX41" fmla="*/ 201338 w 445813"/>
                  <a:gd name="connsiteY41" fmla="*/ 2390775 h 3682999"/>
                  <a:gd name="connsiteX42" fmla="*/ 210863 w 445813"/>
                  <a:gd name="connsiteY42" fmla="*/ 2454275 h 3682999"/>
                  <a:gd name="connsiteX43" fmla="*/ 226738 w 445813"/>
                  <a:gd name="connsiteY43" fmla="*/ 2482850 h 3682999"/>
                  <a:gd name="connsiteX44" fmla="*/ 226738 w 445813"/>
                  <a:gd name="connsiteY44" fmla="*/ 2527300 h 3682999"/>
                  <a:gd name="connsiteX45" fmla="*/ 236263 w 445813"/>
                  <a:gd name="connsiteY45" fmla="*/ 2603500 h 3682999"/>
                  <a:gd name="connsiteX46" fmla="*/ 204513 w 445813"/>
                  <a:gd name="connsiteY46" fmla="*/ 2825749 h 3682999"/>
                  <a:gd name="connsiteX47" fmla="*/ 153713 w 445813"/>
                  <a:gd name="connsiteY47" fmla="*/ 2917824 h 3682999"/>
                  <a:gd name="connsiteX48" fmla="*/ 80688 w 445813"/>
                  <a:gd name="connsiteY48" fmla="*/ 3063874 h 3682999"/>
                  <a:gd name="connsiteX49" fmla="*/ 42588 w 445813"/>
                  <a:gd name="connsiteY49" fmla="*/ 3133724 h 3682999"/>
                  <a:gd name="connsiteX50" fmla="*/ 17188 w 445813"/>
                  <a:gd name="connsiteY50" fmla="*/ 3203574 h 3682999"/>
                  <a:gd name="connsiteX51" fmla="*/ 10838 w 445813"/>
                  <a:gd name="connsiteY51" fmla="*/ 3390899 h 3682999"/>
                  <a:gd name="connsiteX52" fmla="*/ 39413 w 445813"/>
                  <a:gd name="connsiteY52" fmla="*/ 3482974 h 3682999"/>
                  <a:gd name="connsiteX53" fmla="*/ 52113 w 445813"/>
                  <a:gd name="connsiteY53" fmla="*/ 3616324 h 3682999"/>
                  <a:gd name="connsiteX54" fmla="*/ 90213 w 445813"/>
                  <a:gd name="connsiteY54" fmla="*/ 3682999 h 3682999"/>
                  <a:gd name="connsiteX0" fmla="*/ 445813 w 445813"/>
                  <a:gd name="connsiteY0" fmla="*/ 0 h 3616324"/>
                  <a:gd name="connsiteX1" fmla="*/ 407713 w 445813"/>
                  <a:gd name="connsiteY1" fmla="*/ 66675 h 3616324"/>
                  <a:gd name="connsiteX2" fmla="*/ 353738 w 445813"/>
                  <a:gd name="connsiteY2" fmla="*/ 85725 h 3616324"/>
                  <a:gd name="connsiteX3" fmla="*/ 283888 w 445813"/>
                  <a:gd name="connsiteY3" fmla="*/ 98425 h 3616324"/>
                  <a:gd name="connsiteX4" fmla="*/ 223563 w 445813"/>
                  <a:gd name="connsiteY4" fmla="*/ 133350 h 3616324"/>
                  <a:gd name="connsiteX5" fmla="*/ 121963 w 445813"/>
                  <a:gd name="connsiteY5" fmla="*/ 196850 h 3616324"/>
                  <a:gd name="connsiteX6" fmla="*/ 131488 w 445813"/>
                  <a:gd name="connsiteY6" fmla="*/ 247650 h 3616324"/>
                  <a:gd name="connsiteX7" fmla="*/ 172763 w 445813"/>
                  <a:gd name="connsiteY7" fmla="*/ 276225 h 3616324"/>
                  <a:gd name="connsiteX8" fmla="*/ 185463 w 445813"/>
                  <a:gd name="connsiteY8" fmla="*/ 327025 h 3616324"/>
                  <a:gd name="connsiteX9" fmla="*/ 239438 w 445813"/>
                  <a:gd name="connsiteY9" fmla="*/ 368300 h 3616324"/>
                  <a:gd name="connsiteX10" fmla="*/ 239438 w 445813"/>
                  <a:gd name="connsiteY10" fmla="*/ 412750 h 3616324"/>
                  <a:gd name="connsiteX11" fmla="*/ 207688 w 445813"/>
                  <a:gd name="connsiteY11" fmla="*/ 454025 h 3616324"/>
                  <a:gd name="connsiteX12" fmla="*/ 287063 w 445813"/>
                  <a:gd name="connsiteY12" fmla="*/ 479425 h 3616324"/>
                  <a:gd name="connsiteX13" fmla="*/ 302938 w 445813"/>
                  <a:gd name="connsiteY13" fmla="*/ 511175 h 3616324"/>
                  <a:gd name="connsiteX14" fmla="*/ 210863 w 445813"/>
                  <a:gd name="connsiteY14" fmla="*/ 581025 h 3616324"/>
                  <a:gd name="connsiteX15" fmla="*/ 160063 w 445813"/>
                  <a:gd name="connsiteY15" fmla="*/ 638175 h 3616324"/>
                  <a:gd name="connsiteX16" fmla="*/ 160063 w 445813"/>
                  <a:gd name="connsiteY16" fmla="*/ 695325 h 3616324"/>
                  <a:gd name="connsiteX17" fmla="*/ 185463 w 445813"/>
                  <a:gd name="connsiteY17" fmla="*/ 784225 h 3616324"/>
                  <a:gd name="connsiteX18" fmla="*/ 194988 w 445813"/>
                  <a:gd name="connsiteY18" fmla="*/ 835025 h 3616324"/>
                  <a:gd name="connsiteX19" fmla="*/ 204513 w 445813"/>
                  <a:gd name="connsiteY19" fmla="*/ 885825 h 3616324"/>
                  <a:gd name="connsiteX20" fmla="*/ 220388 w 445813"/>
                  <a:gd name="connsiteY20" fmla="*/ 923925 h 3616324"/>
                  <a:gd name="connsiteX21" fmla="*/ 163238 w 445813"/>
                  <a:gd name="connsiteY21" fmla="*/ 1022350 h 3616324"/>
                  <a:gd name="connsiteX22" fmla="*/ 96563 w 445813"/>
                  <a:gd name="connsiteY22" fmla="*/ 1057275 h 3616324"/>
                  <a:gd name="connsiteX23" fmla="*/ 52113 w 445813"/>
                  <a:gd name="connsiteY23" fmla="*/ 1143000 h 3616324"/>
                  <a:gd name="connsiteX24" fmla="*/ 20363 w 445813"/>
                  <a:gd name="connsiteY24" fmla="*/ 1244600 h 3616324"/>
                  <a:gd name="connsiteX25" fmla="*/ 1313 w 445813"/>
                  <a:gd name="connsiteY25" fmla="*/ 1346200 h 3616324"/>
                  <a:gd name="connsiteX26" fmla="*/ 10838 w 445813"/>
                  <a:gd name="connsiteY26" fmla="*/ 1438275 h 3616324"/>
                  <a:gd name="connsiteX27" fmla="*/ 83863 w 445813"/>
                  <a:gd name="connsiteY27" fmla="*/ 1511300 h 3616324"/>
                  <a:gd name="connsiteX28" fmla="*/ 112438 w 445813"/>
                  <a:gd name="connsiteY28" fmla="*/ 1558925 h 3616324"/>
                  <a:gd name="connsiteX29" fmla="*/ 150538 w 445813"/>
                  <a:gd name="connsiteY29" fmla="*/ 1590675 h 3616324"/>
                  <a:gd name="connsiteX30" fmla="*/ 169588 w 445813"/>
                  <a:gd name="connsiteY30" fmla="*/ 1644650 h 3616324"/>
                  <a:gd name="connsiteX31" fmla="*/ 226738 w 445813"/>
                  <a:gd name="connsiteY31" fmla="*/ 1685925 h 3616324"/>
                  <a:gd name="connsiteX32" fmla="*/ 264838 w 445813"/>
                  <a:gd name="connsiteY32" fmla="*/ 1730375 h 3616324"/>
                  <a:gd name="connsiteX33" fmla="*/ 277538 w 445813"/>
                  <a:gd name="connsiteY33" fmla="*/ 1758950 h 3616324"/>
                  <a:gd name="connsiteX34" fmla="*/ 277538 w 445813"/>
                  <a:gd name="connsiteY34" fmla="*/ 1828800 h 3616324"/>
                  <a:gd name="connsiteX35" fmla="*/ 325163 w 445813"/>
                  <a:gd name="connsiteY35" fmla="*/ 1905000 h 3616324"/>
                  <a:gd name="connsiteX36" fmla="*/ 363263 w 445813"/>
                  <a:gd name="connsiteY36" fmla="*/ 1962150 h 3616324"/>
                  <a:gd name="connsiteX37" fmla="*/ 369613 w 445813"/>
                  <a:gd name="connsiteY37" fmla="*/ 2028825 h 3616324"/>
                  <a:gd name="connsiteX38" fmla="*/ 407713 w 445813"/>
                  <a:gd name="connsiteY38" fmla="*/ 2085975 h 3616324"/>
                  <a:gd name="connsiteX39" fmla="*/ 414063 w 445813"/>
                  <a:gd name="connsiteY39" fmla="*/ 2255981 h 3616324"/>
                  <a:gd name="connsiteX40" fmla="*/ 242901 w 445813"/>
                  <a:gd name="connsiteY40" fmla="*/ 2278784 h 3616324"/>
                  <a:gd name="connsiteX41" fmla="*/ 201338 w 445813"/>
                  <a:gd name="connsiteY41" fmla="*/ 2390775 h 3616324"/>
                  <a:gd name="connsiteX42" fmla="*/ 210863 w 445813"/>
                  <a:gd name="connsiteY42" fmla="*/ 2454275 h 3616324"/>
                  <a:gd name="connsiteX43" fmla="*/ 226738 w 445813"/>
                  <a:gd name="connsiteY43" fmla="*/ 2482850 h 3616324"/>
                  <a:gd name="connsiteX44" fmla="*/ 226738 w 445813"/>
                  <a:gd name="connsiteY44" fmla="*/ 2527300 h 3616324"/>
                  <a:gd name="connsiteX45" fmla="*/ 236263 w 445813"/>
                  <a:gd name="connsiteY45" fmla="*/ 2603500 h 3616324"/>
                  <a:gd name="connsiteX46" fmla="*/ 204513 w 445813"/>
                  <a:gd name="connsiteY46" fmla="*/ 2825749 h 3616324"/>
                  <a:gd name="connsiteX47" fmla="*/ 153713 w 445813"/>
                  <a:gd name="connsiteY47" fmla="*/ 2917824 h 3616324"/>
                  <a:gd name="connsiteX48" fmla="*/ 80688 w 445813"/>
                  <a:gd name="connsiteY48" fmla="*/ 3063874 h 3616324"/>
                  <a:gd name="connsiteX49" fmla="*/ 42588 w 445813"/>
                  <a:gd name="connsiteY49" fmla="*/ 3133724 h 3616324"/>
                  <a:gd name="connsiteX50" fmla="*/ 17188 w 445813"/>
                  <a:gd name="connsiteY50" fmla="*/ 3203574 h 3616324"/>
                  <a:gd name="connsiteX51" fmla="*/ 10838 w 445813"/>
                  <a:gd name="connsiteY51" fmla="*/ 3390899 h 3616324"/>
                  <a:gd name="connsiteX52" fmla="*/ 39413 w 445813"/>
                  <a:gd name="connsiteY52" fmla="*/ 3482974 h 3616324"/>
                  <a:gd name="connsiteX53" fmla="*/ 52113 w 445813"/>
                  <a:gd name="connsiteY53" fmla="*/ 3616324 h 3616324"/>
                  <a:gd name="connsiteX0" fmla="*/ 445813 w 445813"/>
                  <a:gd name="connsiteY0" fmla="*/ 0 h 3482974"/>
                  <a:gd name="connsiteX1" fmla="*/ 407713 w 445813"/>
                  <a:gd name="connsiteY1" fmla="*/ 66675 h 3482974"/>
                  <a:gd name="connsiteX2" fmla="*/ 353738 w 445813"/>
                  <a:gd name="connsiteY2" fmla="*/ 85725 h 3482974"/>
                  <a:gd name="connsiteX3" fmla="*/ 283888 w 445813"/>
                  <a:gd name="connsiteY3" fmla="*/ 98425 h 3482974"/>
                  <a:gd name="connsiteX4" fmla="*/ 223563 w 445813"/>
                  <a:gd name="connsiteY4" fmla="*/ 133350 h 3482974"/>
                  <a:gd name="connsiteX5" fmla="*/ 121963 w 445813"/>
                  <a:gd name="connsiteY5" fmla="*/ 196850 h 3482974"/>
                  <a:gd name="connsiteX6" fmla="*/ 131488 w 445813"/>
                  <a:gd name="connsiteY6" fmla="*/ 247650 h 3482974"/>
                  <a:gd name="connsiteX7" fmla="*/ 172763 w 445813"/>
                  <a:gd name="connsiteY7" fmla="*/ 276225 h 3482974"/>
                  <a:gd name="connsiteX8" fmla="*/ 185463 w 445813"/>
                  <a:gd name="connsiteY8" fmla="*/ 327025 h 3482974"/>
                  <a:gd name="connsiteX9" fmla="*/ 239438 w 445813"/>
                  <a:gd name="connsiteY9" fmla="*/ 368300 h 3482974"/>
                  <a:gd name="connsiteX10" fmla="*/ 239438 w 445813"/>
                  <a:gd name="connsiteY10" fmla="*/ 412750 h 3482974"/>
                  <a:gd name="connsiteX11" fmla="*/ 207688 w 445813"/>
                  <a:gd name="connsiteY11" fmla="*/ 454025 h 3482974"/>
                  <a:gd name="connsiteX12" fmla="*/ 287063 w 445813"/>
                  <a:gd name="connsiteY12" fmla="*/ 479425 h 3482974"/>
                  <a:gd name="connsiteX13" fmla="*/ 302938 w 445813"/>
                  <a:gd name="connsiteY13" fmla="*/ 511175 h 3482974"/>
                  <a:gd name="connsiteX14" fmla="*/ 210863 w 445813"/>
                  <a:gd name="connsiteY14" fmla="*/ 581025 h 3482974"/>
                  <a:gd name="connsiteX15" fmla="*/ 160063 w 445813"/>
                  <a:gd name="connsiteY15" fmla="*/ 638175 h 3482974"/>
                  <a:gd name="connsiteX16" fmla="*/ 160063 w 445813"/>
                  <a:gd name="connsiteY16" fmla="*/ 695325 h 3482974"/>
                  <a:gd name="connsiteX17" fmla="*/ 185463 w 445813"/>
                  <a:gd name="connsiteY17" fmla="*/ 784225 h 3482974"/>
                  <a:gd name="connsiteX18" fmla="*/ 194988 w 445813"/>
                  <a:gd name="connsiteY18" fmla="*/ 835025 h 3482974"/>
                  <a:gd name="connsiteX19" fmla="*/ 204513 w 445813"/>
                  <a:gd name="connsiteY19" fmla="*/ 885825 h 3482974"/>
                  <a:gd name="connsiteX20" fmla="*/ 220388 w 445813"/>
                  <a:gd name="connsiteY20" fmla="*/ 923925 h 3482974"/>
                  <a:gd name="connsiteX21" fmla="*/ 163238 w 445813"/>
                  <a:gd name="connsiteY21" fmla="*/ 1022350 h 3482974"/>
                  <a:gd name="connsiteX22" fmla="*/ 96563 w 445813"/>
                  <a:gd name="connsiteY22" fmla="*/ 1057275 h 3482974"/>
                  <a:gd name="connsiteX23" fmla="*/ 52113 w 445813"/>
                  <a:gd name="connsiteY23" fmla="*/ 1143000 h 3482974"/>
                  <a:gd name="connsiteX24" fmla="*/ 20363 w 445813"/>
                  <a:gd name="connsiteY24" fmla="*/ 1244600 h 3482974"/>
                  <a:gd name="connsiteX25" fmla="*/ 1313 w 445813"/>
                  <a:gd name="connsiteY25" fmla="*/ 1346200 h 3482974"/>
                  <a:gd name="connsiteX26" fmla="*/ 10838 w 445813"/>
                  <a:gd name="connsiteY26" fmla="*/ 1438275 h 3482974"/>
                  <a:gd name="connsiteX27" fmla="*/ 83863 w 445813"/>
                  <a:gd name="connsiteY27" fmla="*/ 1511300 h 3482974"/>
                  <a:gd name="connsiteX28" fmla="*/ 112438 w 445813"/>
                  <a:gd name="connsiteY28" fmla="*/ 1558925 h 3482974"/>
                  <a:gd name="connsiteX29" fmla="*/ 150538 w 445813"/>
                  <a:gd name="connsiteY29" fmla="*/ 1590675 h 3482974"/>
                  <a:gd name="connsiteX30" fmla="*/ 169588 w 445813"/>
                  <a:gd name="connsiteY30" fmla="*/ 1644650 h 3482974"/>
                  <a:gd name="connsiteX31" fmla="*/ 226738 w 445813"/>
                  <a:gd name="connsiteY31" fmla="*/ 1685925 h 3482974"/>
                  <a:gd name="connsiteX32" fmla="*/ 264838 w 445813"/>
                  <a:gd name="connsiteY32" fmla="*/ 1730375 h 3482974"/>
                  <a:gd name="connsiteX33" fmla="*/ 277538 w 445813"/>
                  <a:gd name="connsiteY33" fmla="*/ 1758950 h 3482974"/>
                  <a:gd name="connsiteX34" fmla="*/ 277538 w 445813"/>
                  <a:gd name="connsiteY34" fmla="*/ 1828800 h 3482974"/>
                  <a:gd name="connsiteX35" fmla="*/ 325163 w 445813"/>
                  <a:gd name="connsiteY35" fmla="*/ 1905000 h 3482974"/>
                  <a:gd name="connsiteX36" fmla="*/ 363263 w 445813"/>
                  <a:gd name="connsiteY36" fmla="*/ 1962150 h 3482974"/>
                  <a:gd name="connsiteX37" fmla="*/ 369613 w 445813"/>
                  <a:gd name="connsiteY37" fmla="*/ 2028825 h 3482974"/>
                  <a:gd name="connsiteX38" fmla="*/ 407713 w 445813"/>
                  <a:gd name="connsiteY38" fmla="*/ 2085975 h 3482974"/>
                  <a:gd name="connsiteX39" fmla="*/ 414063 w 445813"/>
                  <a:gd name="connsiteY39" fmla="*/ 2255981 h 3482974"/>
                  <a:gd name="connsiteX40" fmla="*/ 242901 w 445813"/>
                  <a:gd name="connsiteY40" fmla="*/ 2278784 h 3482974"/>
                  <a:gd name="connsiteX41" fmla="*/ 201338 w 445813"/>
                  <a:gd name="connsiteY41" fmla="*/ 2390775 h 3482974"/>
                  <a:gd name="connsiteX42" fmla="*/ 210863 w 445813"/>
                  <a:gd name="connsiteY42" fmla="*/ 2454275 h 3482974"/>
                  <a:gd name="connsiteX43" fmla="*/ 226738 w 445813"/>
                  <a:gd name="connsiteY43" fmla="*/ 2482850 h 3482974"/>
                  <a:gd name="connsiteX44" fmla="*/ 226738 w 445813"/>
                  <a:gd name="connsiteY44" fmla="*/ 2527300 h 3482974"/>
                  <a:gd name="connsiteX45" fmla="*/ 236263 w 445813"/>
                  <a:gd name="connsiteY45" fmla="*/ 2603500 h 3482974"/>
                  <a:gd name="connsiteX46" fmla="*/ 204513 w 445813"/>
                  <a:gd name="connsiteY46" fmla="*/ 2825749 h 3482974"/>
                  <a:gd name="connsiteX47" fmla="*/ 153713 w 445813"/>
                  <a:gd name="connsiteY47" fmla="*/ 2917824 h 3482974"/>
                  <a:gd name="connsiteX48" fmla="*/ 80688 w 445813"/>
                  <a:gd name="connsiteY48" fmla="*/ 3063874 h 3482974"/>
                  <a:gd name="connsiteX49" fmla="*/ 42588 w 445813"/>
                  <a:gd name="connsiteY49" fmla="*/ 3133724 h 3482974"/>
                  <a:gd name="connsiteX50" fmla="*/ 17188 w 445813"/>
                  <a:gd name="connsiteY50" fmla="*/ 3203574 h 3482974"/>
                  <a:gd name="connsiteX51" fmla="*/ 10838 w 445813"/>
                  <a:gd name="connsiteY51" fmla="*/ 3390899 h 3482974"/>
                  <a:gd name="connsiteX52" fmla="*/ 39413 w 445813"/>
                  <a:gd name="connsiteY52" fmla="*/ 3482974 h 3482974"/>
                  <a:gd name="connsiteX0" fmla="*/ 445813 w 445813"/>
                  <a:gd name="connsiteY0" fmla="*/ 0 h 3390899"/>
                  <a:gd name="connsiteX1" fmla="*/ 407713 w 445813"/>
                  <a:gd name="connsiteY1" fmla="*/ 66675 h 3390899"/>
                  <a:gd name="connsiteX2" fmla="*/ 353738 w 445813"/>
                  <a:gd name="connsiteY2" fmla="*/ 85725 h 3390899"/>
                  <a:gd name="connsiteX3" fmla="*/ 283888 w 445813"/>
                  <a:gd name="connsiteY3" fmla="*/ 98425 h 3390899"/>
                  <a:gd name="connsiteX4" fmla="*/ 223563 w 445813"/>
                  <a:gd name="connsiteY4" fmla="*/ 133350 h 3390899"/>
                  <a:gd name="connsiteX5" fmla="*/ 121963 w 445813"/>
                  <a:gd name="connsiteY5" fmla="*/ 196850 h 3390899"/>
                  <a:gd name="connsiteX6" fmla="*/ 131488 w 445813"/>
                  <a:gd name="connsiteY6" fmla="*/ 247650 h 3390899"/>
                  <a:gd name="connsiteX7" fmla="*/ 172763 w 445813"/>
                  <a:gd name="connsiteY7" fmla="*/ 276225 h 3390899"/>
                  <a:gd name="connsiteX8" fmla="*/ 185463 w 445813"/>
                  <a:gd name="connsiteY8" fmla="*/ 327025 h 3390899"/>
                  <a:gd name="connsiteX9" fmla="*/ 239438 w 445813"/>
                  <a:gd name="connsiteY9" fmla="*/ 368300 h 3390899"/>
                  <a:gd name="connsiteX10" fmla="*/ 239438 w 445813"/>
                  <a:gd name="connsiteY10" fmla="*/ 412750 h 3390899"/>
                  <a:gd name="connsiteX11" fmla="*/ 207688 w 445813"/>
                  <a:gd name="connsiteY11" fmla="*/ 454025 h 3390899"/>
                  <a:gd name="connsiteX12" fmla="*/ 287063 w 445813"/>
                  <a:gd name="connsiteY12" fmla="*/ 479425 h 3390899"/>
                  <a:gd name="connsiteX13" fmla="*/ 302938 w 445813"/>
                  <a:gd name="connsiteY13" fmla="*/ 511175 h 3390899"/>
                  <a:gd name="connsiteX14" fmla="*/ 210863 w 445813"/>
                  <a:gd name="connsiteY14" fmla="*/ 581025 h 3390899"/>
                  <a:gd name="connsiteX15" fmla="*/ 160063 w 445813"/>
                  <a:gd name="connsiteY15" fmla="*/ 638175 h 3390899"/>
                  <a:gd name="connsiteX16" fmla="*/ 160063 w 445813"/>
                  <a:gd name="connsiteY16" fmla="*/ 695325 h 3390899"/>
                  <a:gd name="connsiteX17" fmla="*/ 185463 w 445813"/>
                  <a:gd name="connsiteY17" fmla="*/ 784225 h 3390899"/>
                  <a:gd name="connsiteX18" fmla="*/ 194988 w 445813"/>
                  <a:gd name="connsiteY18" fmla="*/ 835025 h 3390899"/>
                  <a:gd name="connsiteX19" fmla="*/ 204513 w 445813"/>
                  <a:gd name="connsiteY19" fmla="*/ 885825 h 3390899"/>
                  <a:gd name="connsiteX20" fmla="*/ 220388 w 445813"/>
                  <a:gd name="connsiteY20" fmla="*/ 923925 h 3390899"/>
                  <a:gd name="connsiteX21" fmla="*/ 163238 w 445813"/>
                  <a:gd name="connsiteY21" fmla="*/ 1022350 h 3390899"/>
                  <a:gd name="connsiteX22" fmla="*/ 96563 w 445813"/>
                  <a:gd name="connsiteY22" fmla="*/ 1057275 h 3390899"/>
                  <a:gd name="connsiteX23" fmla="*/ 52113 w 445813"/>
                  <a:gd name="connsiteY23" fmla="*/ 1143000 h 3390899"/>
                  <a:gd name="connsiteX24" fmla="*/ 20363 w 445813"/>
                  <a:gd name="connsiteY24" fmla="*/ 1244600 h 3390899"/>
                  <a:gd name="connsiteX25" fmla="*/ 1313 w 445813"/>
                  <a:gd name="connsiteY25" fmla="*/ 1346200 h 3390899"/>
                  <a:gd name="connsiteX26" fmla="*/ 10838 w 445813"/>
                  <a:gd name="connsiteY26" fmla="*/ 1438275 h 3390899"/>
                  <a:gd name="connsiteX27" fmla="*/ 83863 w 445813"/>
                  <a:gd name="connsiteY27" fmla="*/ 1511300 h 3390899"/>
                  <a:gd name="connsiteX28" fmla="*/ 112438 w 445813"/>
                  <a:gd name="connsiteY28" fmla="*/ 1558925 h 3390899"/>
                  <a:gd name="connsiteX29" fmla="*/ 150538 w 445813"/>
                  <a:gd name="connsiteY29" fmla="*/ 1590675 h 3390899"/>
                  <a:gd name="connsiteX30" fmla="*/ 169588 w 445813"/>
                  <a:gd name="connsiteY30" fmla="*/ 1644650 h 3390899"/>
                  <a:gd name="connsiteX31" fmla="*/ 226738 w 445813"/>
                  <a:gd name="connsiteY31" fmla="*/ 1685925 h 3390899"/>
                  <a:gd name="connsiteX32" fmla="*/ 264838 w 445813"/>
                  <a:gd name="connsiteY32" fmla="*/ 1730375 h 3390899"/>
                  <a:gd name="connsiteX33" fmla="*/ 277538 w 445813"/>
                  <a:gd name="connsiteY33" fmla="*/ 1758950 h 3390899"/>
                  <a:gd name="connsiteX34" fmla="*/ 277538 w 445813"/>
                  <a:gd name="connsiteY34" fmla="*/ 1828800 h 3390899"/>
                  <a:gd name="connsiteX35" fmla="*/ 325163 w 445813"/>
                  <a:gd name="connsiteY35" fmla="*/ 1905000 h 3390899"/>
                  <a:gd name="connsiteX36" fmla="*/ 363263 w 445813"/>
                  <a:gd name="connsiteY36" fmla="*/ 1962150 h 3390899"/>
                  <a:gd name="connsiteX37" fmla="*/ 369613 w 445813"/>
                  <a:gd name="connsiteY37" fmla="*/ 2028825 h 3390899"/>
                  <a:gd name="connsiteX38" fmla="*/ 407713 w 445813"/>
                  <a:gd name="connsiteY38" fmla="*/ 2085975 h 3390899"/>
                  <a:gd name="connsiteX39" fmla="*/ 414063 w 445813"/>
                  <a:gd name="connsiteY39" fmla="*/ 2255981 h 3390899"/>
                  <a:gd name="connsiteX40" fmla="*/ 242901 w 445813"/>
                  <a:gd name="connsiteY40" fmla="*/ 2278784 h 3390899"/>
                  <a:gd name="connsiteX41" fmla="*/ 201338 w 445813"/>
                  <a:gd name="connsiteY41" fmla="*/ 2390775 h 3390899"/>
                  <a:gd name="connsiteX42" fmla="*/ 210863 w 445813"/>
                  <a:gd name="connsiteY42" fmla="*/ 2454275 h 3390899"/>
                  <a:gd name="connsiteX43" fmla="*/ 226738 w 445813"/>
                  <a:gd name="connsiteY43" fmla="*/ 2482850 h 3390899"/>
                  <a:gd name="connsiteX44" fmla="*/ 226738 w 445813"/>
                  <a:gd name="connsiteY44" fmla="*/ 2527300 h 3390899"/>
                  <a:gd name="connsiteX45" fmla="*/ 236263 w 445813"/>
                  <a:gd name="connsiteY45" fmla="*/ 2603500 h 3390899"/>
                  <a:gd name="connsiteX46" fmla="*/ 204513 w 445813"/>
                  <a:gd name="connsiteY46" fmla="*/ 2825749 h 3390899"/>
                  <a:gd name="connsiteX47" fmla="*/ 153713 w 445813"/>
                  <a:gd name="connsiteY47" fmla="*/ 2917824 h 3390899"/>
                  <a:gd name="connsiteX48" fmla="*/ 80688 w 445813"/>
                  <a:gd name="connsiteY48" fmla="*/ 3063874 h 3390899"/>
                  <a:gd name="connsiteX49" fmla="*/ 42588 w 445813"/>
                  <a:gd name="connsiteY49" fmla="*/ 3133724 h 3390899"/>
                  <a:gd name="connsiteX50" fmla="*/ 17188 w 445813"/>
                  <a:gd name="connsiteY50" fmla="*/ 3203574 h 3390899"/>
                  <a:gd name="connsiteX51" fmla="*/ 10838 w 445813"/>
                  <a:gd name="connsiteY51" fmla="*/ 3390899 h 3390899"/>
                  <a:gd name="connsiteX0" fmla="*/ 445813 w 445813"/>
                  <a:gd name="connsiteY0" fmla="*/ 0 h 3203574"/>
                  <a:gd name="connsiteX1" fmla="*/ 407713 w 445813"/>
                  <a:gd name="connsiteY1" fmla="*/ 66675 h 3203574"/>
                  <a:gd name="connsiteX2" fmla="*/ 353738 w 445813"/>
                  <a:gd name="connsiteY2" fmla="*/ 85725 h 3203574"/>
                  <a:gd name="connsiteX3" fmla="*/ 283888 w 445813"/>
                  <a:gd name="connsiteY3" fmla="*/ 98425 h 3203574"/>
                  <a:gd name="connsiteX4" fmla="*/ 223563 w 445813"/>
                  <a:gd name="connsiteY4" fmla="*/ 133350 h 3203574"/>
                  <a:gd name="connsiteX5" fmla="*/ 121963 w 445813"/>
                  <a:gd name="connsiteY5" fmla="*/ 196850 h 3203574"/>
                  <a:gd name="connsiteX6" fmla="*/ 131488 w 445813"/>
                  <a:gd name="connsiteY6" fmla="*/ 247650 h 3203574"/>
                  <a:gd name="connsiteX7" fmla="*/ 172763 w 445813"/>
                  <a:gd name="connsiteY7" fmla="*/ 276225 h 3203574"/>
                  <a:gd name="connsiteX8" fmla="*/ 185463 w 445813"/>
                  <a:gd name="connsiteY8" fmla="*/ 327025 h 3203574"/>
                  <a:gd name="connsiteX9" fmla="*/ 239438 w 445813"/>
                  <a:gd name="connsiteY9" fmla="*/ 368300 h 3203574"/>
                  <a:gd name="connsiteX10" fmla="*/ 239438 w 445813"/>
                  <a:gd name="connsiteY10" fmla="*/ 412750 h 3203574"/>
                  <a:gd name="connsiteX11" fmla="*/ 207688 w 445813"/>
                  <a:gd name="connsiteY11" fmla="*/ 454025 h 3203574"/>
                  <a:gd name="connsiteX12" fmla="*/ 287063 w 445813"/>
                  <a:gd name="connsiteY12" fmla="*/ 479425 h 3203574"/>
                  <a:gd name="connsiteX13" fmla="*/ 302938 w 445813"/>
                  <a:gd name="connsiteY13" fmla="*/ 511175 h 3203574"/>
                  <a:gd name="connsiteX14" fmla="*/ 210863 w 445813"/>
                  <a:gd name="connsiteY14" fmla="*/ 581025 h 3203574"/>
                  <a:gd name="connsiteX15" fmla="*/ 160063 w 445813"/>
                  <a:gd name="connsiteY15" fmla="*/ 638175 h 3203574"/>
                  <a:gd name="connsiteX16" fmla="*/ 160063 w 445813"/>
                  <a:gd name="connsiteY16" fmla="*/ 695325 h 3203574"/>
                  <a:gd name="connsiteX17" fmla="*/ 185463 w 445813"/>
                  <a:gd name="connsiteY17" fmla="*/ 784225 h 3203574"/>
                  <a:gd name="connsiteX18" fmla="*/ 194988 w 445813"/>
                  <a:gd name="connsiteY18" fmla="*/ 835025 h 3203574"/>
                  <a:gd name="connsiteX19" fmla="*/ 204513 w 445813"/>
                  <a:gd name="connsiteY19" fmla="*/ 885825 h 3203574"/>
                  <a:gd name="connsiteX20" fmla="*/ 220388 w 445813"/>
                  <a:gd name="connsiteY20" fmla="*/ 923925 h 3203574"/>
                  <a:gd name="connsiteX21" fmla="*/ 163238 w 445813"/>
                  <a:gd name="connsiteY21" fmla="*/ 1022350 h 3203574"/>
                  <a:gd name="connsiteX22" fmla="*/ 96563 w 445813"/>
                  <a:gd name="connsiteY22" fmla="*/ 1057275 h 3203574"/>
                  <a:gd name="connsiteX23" fmla="*/ 52113 w 445813"/>
                  <a:gd name="connsiteY23" fmla="*/ 1143000 h 3203574"/>
                  <a:gd name="connsiteX24" fmla="*/ 20363 w 445813"/>
                  <a:gd name="connsiteY24" fmla="*/ 1244600 h 3203574"/>
                  <a:gd name="connsiteX25" fmla="*/ 1313 w 445813"/>
                  <a:gd name="connsiteY25" fmla="*/ 1346200 h 3203574"/>
                  <a:gd name="connsiteX26" fmla="*/ 10838 w 445813"/>
                  <a:gd name="connsiteY26" fmla="*/ 1438275 h 3203574"/>
                  <a:gd name="connsiteX27" fmla="*/ 83863 w 445813"/>
                  <a:gd name="connsiteY27" fmla="*/ 1511300 h 3203574"/>
                  <a:gd name="connsiteX28" fmla="*/ 112438 w 445813"/>
                  <a:gd name="connsiteY28" fmla="*/ 1558925 h 3203574"/>
                  <a:gd name="connsiteX29" fmla="*/ 150538 w 445813"/>
                  <a:gd name="connsiteY29" fmla="*/ 1590675 h 3203574"/>
                  <a:gd name="connsiteX30" fmla="*/ 169588 w 445813"/>
                  <a:gd name="connsiteY30" fmla="*/ 1644650 h 3203574"/>
                  <a:gd name="connsiteX31" fmla="*/ 226738 w 445813"/>
                  <a:gd name="connsiteY31" fmla="*/ 1685925 h 3203574"/>
                  <a:gd name="connsiteX32" fmla="*/ 264838 w 445813"/>
                  <a:gd name="connsiteY32" fmla="*/ 1730375 h 3203574"/>
                  <a:gd name="connsiteX33" fmla="*/ 277538 w 445813"/>
                  <a:gd name="connsiteY33" fmla="*/ 1758950 h 3203574"/>
                  <a:gd name="connsiteX34" fmla="*/ 277538 w 445813"/>
                  <a:gd name="connsiteY34" fmla="*/ 1828800 h 3203574"/>
                  <a:gd name="connsiteX35" fmla="*/ 325163 w 445813"/>
                  <a:gd name="connsiteY35" fmla="*/ 1905000 h 3203574"/>
                  <a:gd name="connsiteX36" fmla="*/ 363263 w 445813"/>
                  <a:gd name="connsiteY36" fmla="*/ 1962150 h 3203574"/>
                  <a:gd name="connsiteX37" fmla="*/ 369613 w 445813"/>
                  <a:gd name="connsiteY37" fmla="*/ 2028825 h 3203574"/>
                  <a:gd name="connsiteX38" fmla="*/ 407713 w 445813"/>
                  <a:gd name="connsiteY38" fmla="*/ 2085975 h 3203574"/>
                  <a:gd name="connsiteX39" fmla="*/ 414063 w 445813"/>
                  <a:gd name="connsiteY39" fmla="*/ 2255981 h 3203574"/>
                  <a:gd name="connsiteX40" fmla="*/ 242901 w 445813"/>
                  <a:gd name="connsiteY40" fmla="*/ 2278784 h 3203574"/>
                  <a:gd name="connsiteX41" fmla="*/ 201338 w 445813"/>
                  <a:gd name="connsiteY41" fmla="*/ 2390775 h 3203574"/>
                  <a:gd name="connsiteX42" fmla="*/ 210863 w 445813"/>
                  <a:gd name="connsiteY42" fmla="*/ 2454275 h 3203574"/>
                  <a:gd name="connsiteX43" fmla="*/ 226738 w 445813"/>
                  <a:gd name="connsiteY43" fmla="*/ 2482850 h 3203574"/>
                  <a:gd name="connsiteX44" fmla="*/ 226738 w 445813"/>
                  <a:gd name="connsiteY44" fmla="*/ 2527300 h 3203574"/>
                  <a:gd name="connsiteX45" fmla="*/ 236263 w 445813"/>
                  <a:gd name="connsiteY45" fmla="*/ 2603500 h 3203574"/>
                  <a:gd name="connsiteX46" fmla="*/ 204513 w 445813"/>
                  <a:gd name="connsiteY46" fmla="*/ 2825749 h 3203574"/>
                  <a:gd name="connsiteX47" fmla="*/ 153713 w 445813"/>
                  <a:gd name="connsiteY47" fmla="*/ 2917824 h 3203574"/>
                  <a:gd name="connsiteX48" fmla="*/ 80688 w 445813"/>
                  <a:gd name="connsiteY48" fmla="*/ 3063874 h 3203574"/>
                  <a:gd name="connsiteX49" fmla="*/ 42588 w 445813"/>
                  <a:gd name="connsiteY49" fmla="*/ 3133724 h 3203574"/>
                  <a:gd name="connsiteX50" fmla="*/ 17188 w 445813"/>
                  <a:gd name="connsiteY50" fmla="*/ 3203574 h 3203574"/>
                  <a:gd name="connsiteX0" fmla="*/ 445813 w 445813"/>
                  <a:gd name="connsiteY0" fmla="*/ 0 h 3133724"/>
                  <a:gd name="connsiteX1" fmla="*/ 407713 w 445813"/>
                  <a:gd name="connsiteY1" fmla="*/ 66675 h 3133724"/>
                  <a:gd name="connsiteX2" fmla="*/ 353738 w 445813"/>
                  <a:gd name="connsiteY2" fmla="*/ 85725 h 3133724"/>
                  <a:gd name="connsiteX3" fmla="*/ 283888 w 445813"/>
                  <a:gd name="connsiteY3" fmla="*/ 98425 h 3133724"/>
                  <a:gd name="connsiteX4" fmla="*/ 223563 w 445813"/>
                  <a:gd name="connsiteY4" fmla="*/ 133350 h 3133724"/>
                  <a:gd name="connsiteX5" fmla="*/ 121963 w 445813"/>
                  <a:gd name="connsiteY5" fmla="*/ 196850 h 3133724"/>
                  <a:gd name="connsiteX6" fmla="*/ 131488 w 445813"/>
                  <a:gd name="connsiteY6" fmla="*/ 247650 h 3133724"/>
                  <a:gd name="connsiteX7" fmla="*/ 172763 w 445813"/>
                  <a:gd name="connsiteY7" fmla="*/ 276225 h 3133724"/>
                  <a:gd name="connsiteX8" fmla="*/ 185463 w 445813"/>
                  <a:gd name="connsiteY8" fmla="*/ 327025 h 3133724"/>
                  <a:gd name="connsiteX9" fmla="*/ 239438 w 445813"/>
                  <a:gd name="connsiteY9" fmla="*/ 368300 h 3133724"/>
                  <a:gd name="connsiteX10" fmla="*/ 239438 w 445813"/>
                  <a:gd name="connsiteY10" fmla="*/ 412750 h 3133724"/>
                  <a:gd name="connsiteX11" fmla="*/ 207688 w 445813"/>
                  <a:gd name="connsiteY11" fmla="*/ 454025 h 3133724"/>
                  <a:gd name="connsiteX12" fmla="*/ 287063 w 445813"/>
                  <a:gd name="connsiteY12" fmla="*/ 479425 h 3133724"/>
                  <a:gd name="connsiteX13" fmla="*/ 302938 w 445813"/>
                  <a:gd name="connsiteY13" fmla="*/ 511175 h 3133724"/>
                  <a:gd name="connsiteX14" fmla="*/ 210863 w 445813"/>
                  <a:gd name="connsiteY14" fmla="*/ 581025 h 3133724"/>
                  <a:gd name="connsiteX15" fmla="*/ 160063 w 445813"/>
                  <a:gd name="connsiteY15" fmla="*/ 638175 h 3133724"/>
                  <a:gd name="connsiteX16" fmla="*/ 160063 w 445813"/>
                  <a:gd name="connsiteY16" fmla="*/ 695325 h 3133724"/>
                  <a:gd name="connsiteX17" fmla="*/ 185463 w 445813"/>
                  <a:gd name="connsiteY17" fmla="*/ 784225 h 3133724"/>
                  <a:gd name="connsiteX18" fmla="*/ 194988 w 445813"/>
                  <a:gd name="connsiteY18" fmla="*/ 835025 h 3133724"/>
                  <a:gd name="connsiteX19" fmla="*/ 204513 w 445813"/>
                  <a:gd name="connsiteY19" fmla="*/ 885825 h 3133724"/>
                  <a:gd name="connsiteX20" fmla="*/ 220388 w 445813"/>
                  <a:gd name="connsiteY20" fmla="*/ 923925 h 3133724"/>
                  <a:gd name="connsiteX21" fmla="*/ 163238 w 445813"/>
                  <a:gd name="connsiteY21" fmla="*/ 1022350 h 3133724"/>
                  <a:gd name="connsiteX22" fmla="*/ 96563 w 445813"/>
                  <a:gd name="connsiteY22" fmla="*/ 1057275 h 3133724"/>
                  <a:gd name="connsiteX23" fmla="*/ 52113 w 445813"/>
                  <a:gd name="connsiteY23" fmla="*/ 1143000 h 3133724"/>
                  <a:gd name="connsiteX24" fmla="*/ 20363 w 445813"/>
                  <a:gd name="connsiteY24" fmla="*/ 1244600 h 3133724"/>
                  <a:gd name="connsiteX25" fmla="*/ 1313 w 445813"/>
                  <a:gd name="connsiteY25" fmla="*/ 1346200 h 3133724"/>
                  <a:gd name="connsiteX26" fmla="*/ 10838 w 445813"/>
                  <a:gd name="connsiteY26" fmla="*/ 1438275 h 3133724"/>
                  <a:gd name="connsiteX27" fmla="*/ 83863 w 445813"/>
                  <a:gd name="connsiteY27" fmla="*/ 1511300 h 3133724"/>
                  <a:gd name="connsiteX28" fmla="*/ 112438 w 445813"/>
                  <a:gd name="connsiteY28" fmla="*/ 1558925 h 3133724"/>
                  <a:gd name="connsiteX29" fmla="*/ 150538 w 445813"/>
                  <a:gd name="connsiteY29" fmla="*/ 1590675 h 3133724"/>
                  <a:gd name="connsiteX30" fmla="*/ 169588 w 445813"/>
                  <a:gd name="connsiteY30" fmla="*/ 1644650 h 3133724"/>
                  <a:gd name="connsiteX31" fmla="*/ 226738 w 445813"/>
                  <a:gd name="connsiteY31" fmla="*/ 1685925 h 3133724"/>
                  <a:gd name="connsiteX32" fmla="*/ 264838 w 445813"/>
                  <a:gd name="connsiteY32" fmla="*/ 1730375 h 3133724"/>
                  <a:gd name="connsiteX33" fmla="*/ 277538 w 445813"/>
                  <a:gd name="connsiteY33" fmla="*/ 1758950 h 3133724"/>
                  <a:gd name="connsiteX34" fmla="*/ 277538 w 445813"/>
                  <a:gd name="connsiteY34" fmla="*/ 1828800 h 3133724"/>
                  <a:gd name="connsiteX35" fmla="*/ 325163 w 445813"/>
                  <a:gd name="connsiteY35" fmla="*/ 1905000 h 3133724"/>
                  <a:gd name="connsiteX36" fmla="*/ 363263 w 445813"/>
                  <a:gd name="connsiteY36" fmla="*/ 1962150 h 3133724"/>
                  <a:gd name="connsiteX37" fmla="*/ 369613 w 445813"/>
                  <a:gd name="connsiteY37" fmla="*/ 2028825 h 3133724"/>
                  <a:gd name="connsiteX38" fmla="*/ 407713 w 445813"/>
                  <a:gd name="connsiteY38" fmla="*/ 2085975 h 3133724"/>
                  <a:gd name="connsiteX39" fmla="*/ 414063 w 445813"/>
                  <a:gd name="connsiteY39" fmla="*/ 2255981 h 3133724"/>
                  <a:gd name="connsiteX40" fmla="*/ 242901 w 445813"/>
                  <a:gd name="connsiteY40" fmla="*/ 2278784 h 3133724"/>
                  <a:gd name="connsiteX41" fmla="*/ 201338 w 445813"/>
                  <a:gd name="connsiteY41" fmla="*/ 2390775 h 3133724"/>
                  <a:gd name="connsiteX42" fmla="*/ 210863 w 445813"/>
                  <a:gd name="connsiteY42" fmla="*/ 2454275 h 3133724"/>
                  <a:gd name="connsiteX43" fmla="*/ 226738 w 445813"/>
                  <a:gd name="connsiteY43" fmla="*/ 2482850 h 3133724"/>
                  <a:gd name="connsiteX44" fmla="*/ 226738 w 445813"/>
                  <a:gd name="connsiteY44" fmla="*/ 2527300 h 3133724"/>
                  <a:gd name="connsiteX45" fmla="*/ 236263 w 445813"/>
                  <a:gd name="connsiteY45" fmla="*/ 2603500 h 3133724"/>
                  <a:gd name="connsiteX46" fmla="*/ 204513 w 445813"/>
                  <a:gd name="connsiteY46" fmla="*/ 2825749 h 3133724"/>
                  <a:gd name="connsiteX47" fmla="*/ 153713 w 445813"/>
                  <a:gd name="connsiteY47" fmla="*/ 2917824 h 3133724"/>
                  <a:gd name="connsiteX48" fmla="*/ 80688 w 445813"/>
                  <a:gd name="connsiteY48" fmla="*/ 3063874 h 3133724"/>
                  <a:gd name="connsiteX49" fmla="*/ 42588 w 445813"/>
                  <a:gd name="connsiteY49" fmla="*/ 3133724 h 3133724"/>
                  <a:gd name="connsiteX0" fmla="*/ 445813 w 445813"/>
                  <a:gd name="connsiteY0" fmla="*/ 0 h 3133724"/>
                  <a:gd name="connsiteX1" fmla="*/ 407713 w 445813"/>
                  <a:gd name="connsiteY1" fmla="*/ 66675 h 3133724"/>
                  <a:gd name="connsiteX2" fmla="*/ 353738 w 445813"/>
                  <a:gd name="connsiteY2" fmla="*/ 85725 h 3133724"/>
                  <a:gd name="connsiteX3" fmla="*/ 283888 w 445813"/>
                  <a:gd name="connsiteY3" fmla="*/ 98425 h 3133724"/>
                  <a:gd name="connsiteX4" fmla="*/ 223563 w 445813"/>
                  <a:gd name="connsiteY4" fmla="*/ 133350 h 3133724"/>
                  <a:gd name="connsiteX5" fmla="*/ 121963 w 445813"/>
                  <a:gd name="connsiteY5" fmla="*/ 196850 h 3133724"/>
                  <a:gd name="connsiteX6" fmla="*/ 131488 w 445813"/>
                  <a:gd name="connsiteY6" fmla="*/ 247650 h 3133724"/>
                  <a:gd name="connsiteX7" fmla="*/ 172763 w 445813"/>
                  <a:gd name="connsiteY7" fmla="*/ 276225 h 3133724"/>
                  <a:gd name="connsiteX8" fmla="*/ 185463 w 445813"/>
                  <a:gd name="connsiteY8" fmla="*/ 327025 h 3133724"/>
                  <a:gd name="connsiteX9" fmla="*/ 239438 w 445813"/>
                  <a:gd name="connsiteY9" fmla="*/ 368300 h 3133724"/>
                  <a:gd name="connsiteX10" fmla="*/ 239438 w 445813"/>
                  <a:gd name="connsiteY10" fmla="*/ 412750 h 3133724"/>
                  <a:gd name="connsiteX11" fmla="*/ 207688 w 445813"/>
                  <a:gd name="connsiteY11" fmla="*/ 454025 h 3133724"/>
                  <a:gd name="connsiteX12" fmla="*/ 287063 w 445813"/>
                  <a:gd name="connsiteY12" fmla="*/ 479425 h 3133724"/>
                  <a:gd name="connsiteX13" fmla="*/ 302938 w 445813"/>
                  <a:gd name="connsiteY13" fmla="*/ 511175 h 3133724"/>
                  <a:gd name="connsiteX14" fmla="*/ 210863 w 445813"/>
                  <a:gd name="connsiteY14" fmla="*/ 581025 h 3133724"/>
                  <a:gd name="connsiteX15" fmla="*/ 160063 w 445813"/>
                  <a:gd name="connsiteY15" fmla="*/ 638175 h 3133724"/>
                  <a:gd name="connsiteX16" fmla="*/ 160063 w 445813"/>
                  <a:gd name="connsiteY16" fmla="*/ 695325 h 3133724"/>
                  <a:gd name="connsiteX17" fmla="*/ 185463 w 445813"/>
                  <a:gd name="connsiteY17" fmla="*/ 784225 h 3133724"/>
                  <a:gd name="connsiteX18" fmla="*/ 194988 w 445813"/>
                  <a:gd name="connsiteY18" fmla="*/ 835025 h 3133724"/>
                  <a:gd name="connsiteX19" fmla="*/ 204513 w 445813"/>
                  <a:gd name="connsiteY19" fmla="*/ 885825 h 3133724"/>
                  <a:gd name="connsiteX20" fmla="*/ 220388 w 445813"/>
                  <a:gd name="connsiteY20" fmla="*/ 923925 h 3133724"/>
                  <a:gd name="connsiteX21" fmla="*/ 163238 w 445813"/>
                  <a:gd name="connsiteY21" fmla="*/ 1022350 h 3133724"/>
                  <a:gd name="connsiteX22" fmla="*/ 96563 w 445813"/>
                  <a:gd name="connsiteY22" fmla="*/ 1057275 h 3133724"/>
                  <a:gd name="connsiteX23" fmla="*/ 52113 w 445813"/>
                  <a:gd name="connsiteY23" fmla="*/ 1143000 h 3133724"/>
                  <a:gd name="connsiteX24" fmla="*/ 20363 w 445813"/>
                  <a:gd name="connsiteY24" fmla="*/ 1244600 h 3133724"/>
                  <a:gd name="connsiteX25" fmla="*/ 1313 w 445813"/>
                  <a:gd name="connsiteY25" fmla="*/ 1346200 h 3133724"/>
                  <a:gd name="connsiteX26" fmla="*/ 10838 w 445813"/>
                  <a:gd name="connsiteY26" fmla="*/ 1438275 h 3133724"/>
                  <a:gd name="connsiteX27" fmla="*/ 83863 w 445813"/>
                  <a:gd name="connsiteY27" fmla="*/ 1511300 h 3133724"/>
                  <a:gd name="connsiteX28" fmla="*/ 112438 w 445813"/>
                  <a:gd name="connsiteY28" fmla="*/ 1558925 h 3133724"/>
                  <a:gd name="connsiteX29" fmla="*/ 150538 w 445813"/>
                  <a:gd name="connsiteY29" fmla="*/ 1590675 h 3133724"/>
                  <a:gd name="connsiteX30" fmla="*/ 169588 w 445813"/>
                  <a:gd name="connsiteY30" fmla="*/ 1644650 h 3133724"/>
                  <a:gd name="connsiteX31" fmla="*/ 226738 w 445813"/>
                  <a:gd name="connsiteY31" fmla="*/ 1685925 h 3133724"/>
                  <a:gd name="connsiteX32" fmla="*/ 264838 w 445813"/>
                  <a:gd name="connsiteY32" fmla="*/ 1730375 h 3133724"/>
                  <a:gd name="connsiteX33" fmla="*/ 277538 w 445813"/>
                  <a:gd name="connsiteY33" fmla="*/ 1758950 h 3133724"/>
                  <a:gd name="connsiteX34" fmla="*/ 277538 w 445813"/>
                  <a:gd name="connsiteY34" fmla="*/ 1828800 h 3133724"/>
                  <a:gd name="connsiteX35" fmla="*/ 325163 w 445813"/>
                  <a:gd name="connsiteY35" fmla="*/ 1905000 h 3133724"/>
                  <a:gd name="connsiteX36" fmla="*/ 363263 w 445813"/>
                  <a:gd name="connsiteY36" fmla="*/ 1962150 h 3133724"/>
                  <a:gd name="connsiteX37" fmla="*/ 369613 w 445813"/>
                  <a:gd name="connsiteY37" fmla="*/ 2028825 h 3133724"/>
                  <a:gd name="connsiteX38" fmla="*/ 407713 w 445813"/>
                  <a:gd name="connsiteY38" fmla="*/ 2085975 h 3133724"/>
                  <a:gd name="connsiteX39" fmla="*/ 414063 w 445813"/>
                  <a:gd name="connsiteY39" fmla="*/ 2255981 h 3133724"/>
                  <a:gd name="connsiteX40" fmla="*/ 242901 w 445813"/>
                  <a:gd name="connsiteY40" fmla="*/ 2278784 h 3133724"/>
                  <a:gd name="connsiteX41" fmla="*/ 201338 w 445813"/>
                  <a:gd name="connsiteY41" fmla="*/ 2390775 h 3133724"/>
                  <a:gd name="connsiteX42" fmla="*/ 210863 w 445813"/>
                  <a:gd name="connsiteY42" fmla="*/ 2454275 h 3133724"/>
                  <a:gd name="connsiteX43" fmla="*/ 226738 w 445813"/>
                  <a:gd name="connsiteY43" fmla="*/ 2482850 h 3133724"/>
                  <a:gd name="connsiteX44" fmla="*/ 226738 w 445813"/>
                  <a:gd name="connsiteY44" fmla="*/ 2527300 h 3133724"/>
                  <a:gd name="connsiteX45" fmla="*/ 236263 w 445813"/>
                  <a:gd name="connsiteY45" fmla="*/ 2603500 h 3133724"/>
                  <a:gd name="connsiteX46" fmla="*/ 204513 w 445813"/>
                  <a:gd name="connsiteY46" fmla="*/ 2825749 h 3133724"/>
                  <a:gd name="connsiteX47" fmla="*/ 153713 w 445813"/>
                  <a:gd name="connsiteY47" fmla="*/ 2917824 h 3133724"/>
                  <a:gd name="connsiteX48" fmla="*/ 80688 w 445813"/>
                  <a:gd name="connsiteY48" fmla="*/ 3063874 h 3133724"/>
                  <a:gd name="connsiteX49" fmla="*/ 48143 w 445813"/>
                  <a:gd name="connsiteY49" fmla="*/ 3092169 h 3133724"/>
                  <a:gd name="connsiteX50" fmla="*/ 42588 w 445813"/>
                  <a:gd name="connsiteY50" fmla="*/ 3133724 h 3133724"/>
                  <a:gd name="connsiteX0" fmla="*/ 445813 w 445813"/>
                  <a:gd name="connsiteY0" fmla="*/ 0 h 3133724"/>
                  <a:gd name="connsiteX1" fmla="*/ 407713 w 445813"/>
                  <a:gd name="connsiteY1" fmla="*/ 66675 h 3133724"/>
                  <a:gd name="connsiteX2" fmla="*/ 353738 w 445813"/>
                  <a:gd name="connsiteY2" fmla="*/ 85725 h 3133724"/>
                  <a:gd name="connsiteX3" fmla="*/ 283888 w 445813"/>
                  <a:gd name="connsiteY3" fmla="*/ 98425 h 3133724"/>
                  <a:gd name="connsiteX4" fmla="*/ 223563 w 445813"/>
                  <a:gd name="connsiteY4" fmla="*/ 133350 h 3133724"/>
                  <a:gd name="connsiteX5" fmla="*/ 121963 w 445813"/>
                  <a:gd name="connsiteY5" fmla="*/ 196850 h 3133724"/>
                  <a:gd name="connsiteX6" fmla="*/ 131488 w 445813"/>
                  <a:gd name="connsiteY6" fmla="*/ 247650 h 3133724"/>
                  <a:gd name="connsiteX7" fmla="*/ 172763 w 445813"/>
                  <a:gd name="connsiteY7" fmla="*/ 276225 h 3133724"/>
                  <a:gd name="connsiteX8" fmla="*/ 185463 w 445813"/>
                  <a:gd name="connsiteY8" fmla="*/ 327025 h 3133724"/>
                  <a:gd name="connsiteX9" fmla="*/ 239438 w 445813"/>
                  <a:gd name="connsiteY9" fmla="*/ 368300 h 3133724"/>
                  <a:gd name="connsiteX10" fmla="*/ 239438 w 445813"/>
                  <a:gd name="connsiteY10" fmla="*/ 412750 h 3133724"/>
                  <a:gd name="connsiteX11" fmla="*/ 207688 w 445813"/>
                  <a:gd name="connsiteY11" fmla="*/ 454025 h 3133724"/>
                  <a:gd name="connsiteX12" fmla="*/ 287063 w 445813"/>
                  <a:gd name="connsiteY12" fmla="*/ 479425 h 3133724"/>
                  <a:gd name="connsiteX13" fmla="*/ 302938 w 445813"/>
                  <a:gd name="connsiteY13" fmla="*/ 511175 h 3133724"/>
                  <a:gd name="connsiteX14" fmla="*/ 210863 w 445813"/>
                  <a:gd name="connsiteY14" fmla="*/ 581025 h 3133724"/>
                  <a:gd name="connsiteX15" fmla="*/ 160063 w 445813"/>
                  <a:gd name="connsiteY15" fmla="*/ 638175 h 3133724"/>
                  <a:gd name="connsiteX16" fmla="*/ 160063 w 445813"/>
                  <a:gd name="connsiteY16" fmla="*/ 695325 h 3133724"/>
                  <a:gd name="connsiteX17" fmla="*/ 185463 w 445813"/>
                  <a:gd name="connsiteY17" fmla="*/ 784225 h 3133724"/>
                  <a:gd name="connsiteX18" fmla="*/ 194988 w 445813"/>
                  <a:gd name="connsiteY18" fmla="*/ 835025 h 3133724"/>
                  <a:gd name="connsiteX19" fmla="*/ 204513 w 445813"/>
                  <a:gd name="connsiteY19" fmla="*/ 885825 h 3133724"/>
                  <a:gd name="connsiteX20" fmla="*/ 220388 w 445813"/>
                  <a:gd name="connsiteY20" fmla="*/ 923925 h 3133724"/>
                  <a:gd name="connsiteX21" fmla="*/ 163238 w 445813"/>
                  <a:gd name="connsiteY21" fmla="*/ 1022350 h 3133724"/>
                  <a:gd name="connsiteX22" fmla="*/ 96563 w 445813"/>
                  <a:gd name="connsiteY22" fmla="*/ 1057275 h 3133724"/>
                  <a:gd name="connsiteX23" fmla="*/ 52113 w 445813"/>
                  <a:gd name="connsiteY23" fmla="*/ 1143000 h 3133724"/>
                  <a:gd name="connsiteX24" fmla="*/ 20363 w 445813"/>
                  <a:gd name="connsiteY24" fmla="*/ 1244600 h 3133724"/>
                  <a:gd name="connsiteX25" fmla="*/ 1313 w 445813"/>
                  <a:gd name="connsiteY25" fmla="*/ 1346200 h 3133724"/>
                  <a:gd name="connsiteX26" fmla="*/ 10838 w 445813"/>
                  <a:gd name="connsiteY26" fmla="*/ 1438275 h 3133724"/>
                  <a:gd name="connsiteX27" fmla="*/ 83863 w 445813"/>
                  <a:gd name="connsiteY27" fmla="*/ 1511300 h 3133724"/>
                  <a:gd name="connsiteX28" fmla="*/ 112438 w 445813"/>
                  <a:gd name="connsiteY28" fmla="*/ 1558925 h 3133724"/>
                  <a:gd name="connsiteX29" fmla="*/ 150538 w 445813"/>
                  <a:gd name="connsiteY29" fmla="*/ 1590675 h 3133724"/>
                  <a:gd name="connsiteX30" fmla="*/ 169588 w 445813"/>
                  <a:gd name="connsiteY30" fmla="*/ 1644650 h 3133724"/>
                  <a:gd name="connsiteX31" fmla="*/ 226738 w 445813"/>
                  <a:gd name="connsiteY31" fmla="*/ 1685925 h 3133724"/>
                  <a:gd name="connsiteX32" fmla="*/ 264838 w 445813"/>
                  <a:gd name="connsiteY32" fmla="*/ 1730375 h 3133724"/>
                  <a:gd name="connsiteX33" fmla="*/ 277538 w 445813"/>
                  <a:gd name="connsiteY33" fmla="*/ 1758950 h 3133724"/>
                  <a:gd name="connsiteX34" fmla="*/ 277538 w 445813"/>
                  <a:gd name="connsiteY34" fmla="*/ 1828800 h 3133724"/>
                  <a:gd name="connsiteX35" fmla="*/ 325163 w 445813"/>
                  <a:gd name="connsiteY35" fmla="*/ 1905000 h 3133724"/>
                  <a:gd name="connsiteX36" fmla="*/ 363263 w 445813"/>
                  <a:gd name="connsiteY36" fmla="*/ 1962150 h 3133724"/>
                  <a:gd name="connsiteX37" fmla="*/ 369613 w 445813"/>
                  <a:gd name="connsiteY37" fmla="*/ 2028825 h 3133724"/>
                  <a:gd name="connsiteX38" fmla="*/ 407713 w 445813"/>
                  <a:gd name="connsiteY38" fmla="*/ 2085975 h 3133724"/>
                  <a:gd name="connsiteX39" fmla="*/ 414063 w 445813"/>
                  <a:gd name="connsiteY39" fmla="*/ 2255981 h 3133724"/>
                  <a:gd name="connsiteX40" fmla="*/ 242901 w 445813"/>
                  <a:gd name="connsiteY40" fmla="*/ 2278784 h 3133724"/>
                  <a:gd name="connsiteX41" fmla="*/ 201338 w 445813"/>
                  <a:gd name="connsiteY41" fmla="*/ 2390775 h 3133724"/>
                  <a:gd name="connsiteX42" fmla="*/ 210863 w 445813"/>
                  <a:gd name="connsiteY42" fmla="*/ 2454275 h 3133724"/>
                  <a:gd name="connsiteX43" fmla="*/ 226738 w 445813"/>
                  <a:gd name="connsiteY43" fmla="*/ 2482850 h 3133724"/>
                  <a:gd name="connsiteX44" fmla="*/ 226738 w 445813"/>
                  <a:gd name="connsiteY44" fmla="*/ 2527300 h 3133724"/>
                  <a:gd name="connsiteX45" fmla="*/ 236263 w 445813"/>
                  <a:gd name="connsiteY45" fmla="*/ 2603500 h 3133724"/>
                  <a:gd name="connsiteX46" fmla="*/ 204513 w 445813"/>
                  <a:gd name="connsiteY46" fmla="*/ 2825749 h 3133724"/>
                  <a:gd name="connsiteX47" fmla="*/ 153713 w 445813"/>
                  <a:gd name="connsiteY47" fmla="*/ 2917824 h 3133724"/>
                  <a:gd name="connsiteX48" fmla="*/ 48143 w 445813"/>
                  <a:gd name="connsiteY48" fmla="*/ 3092169 h 3133724"/>
                  <a:gd name="connsiteX49" fmla="*/ 42588 w 445813"/>
                  <a:gd name="connsiteY49" fmla="*/ 3133724 h 3133724"/>
                  <a:gd name="connsiteX0" fmla="*/ 445813 w 445813"/>
                  <a:gd name="connsiteY0" fmla="*/ 0 h 3092169"/>
                  <a:gd name="connsiteX1" fmla="*/ 407713 w 445813"/>
                  <a:gd name="connsiteY1" fmla="*/ 66675 h 3092169"/>
                  <a:gd name="connsiteX2" fmla="*/ 353738 w 445813"/>
                  <a:gd name="connsiteY2" fmla="*/ 85725 h 3092169"/>
                  <a:gd name="connsiteX3" fmla="*/ 283888 w 445813"/>
                  <a:gd name="connsiteY3" fmla="*/ 98425 h 3092169"/>
                  <a:gd name="connsiteX4" fmla="*/ 223563 w 445813"/>
                  <a:gd name="connsiteY4" fmla="*/ 133350 h 3092169"/>
                  <a:gd name="connsiteX5" fmla="*/ 121963 w 445813"/>
                  <a:gd name="connsiteY5" fmla="*/ 196850 h 3092169"/>
                  <a:gd name="connsiteX6" fmla="*/ 131488 w 445813"/>
                  <a:gd name="connsiteY6" fmla="*/ 247650 h 3092169"/>
                  <a:gd name="connsiteX7" fmla="*/ 172763 w 445813"/>
                  <a:gd name="connsiteY7" fmla="*/ 276225 h 3092169"/>
                  <a:gd name="connsiteX8" fmla="*/ 185463 w 445813"/>
                  <a:gd name="connsiteY8" fmla="*/ 327025 h 3092169"/>
                  <a:gd name="connsiteX9" fmla="*/ 239438 w 445813"/>
                  <a:gd name="connsiteY9" fmla="*/ 368300 h 3092169"/>
                  <a:gd name="connsiteX10" fmla="*/ 239438 w 445813"/>
                  <a:gd name="connsiteY10" fmla="*/ 412750 h 3092169"/>
                  <a:gd name="connsiteX11" fmla="*/ 207688 w 445813"/>
                  <a:gd name="connsiteY11" fmla="*/ 454025 h 3092169"/>
                  <a:gd name="connsiteX12" fmla="*/ 287063 w 445813"/>
                  <a:gd name="connsiteY12" fmla="*/ 479425 h 3092169"/>
                  <a:gd name="connsiteX13" fmla="*/ 302938 w 445813"/>
                  <a:gd name="connsiteY13" fmla="*/ 511175 h 3092169"/>
                  <a:gd name="connsiteX14" fmla="*/ 210863 w 445813"/>
                  <a:gd name="connsiteY14" fmla="*/ 581025 h 3092169"/>
                  <a:gd name="connsiteX15" fmla="*/ 160063 w 445813"/>
                  <a:gd name="connsiteY15" fmla="*/ 638175 h 3092169"/>
                  <a:gd name="connsiteX16" fmla="*/ 160063 w 445813"/>
                  <a:gd name="connsiteY16" fmla="*/ 695325 h 3092169"/>
                  <a:gd name="connsiteX17" fmla="*/ 185463 w 445813"/>
                  <a:gd name="connsiteY17" fmla="*/ 784225 h 3092169"/>
                  <a:gd name="connsiteX18" fmla="*/ 194988 w 445813"/>
                  <a:gd name="connsiteY18" fmla="*/ 835025 h 3092169"/>
                  <a:gd name="connsiteX19" fmla="*/ 204513 w 445813"/>
                  <a:gd name="connsiteY19" fmla="*/ 885825 h 3092169"/>
                  <a:gd name="connsiteX20" fmla="*/ 220388 w 445813"/>
                  <a:gd name="connsiteY20" fmla="*/ 923925 h 3092169"/>
                  <a:gd name="connsiteX21" fmla="*/ 163238 w 445813"/>
                  <a:gd name="connsiteY21" fmla="*/ 1022350 h 3092169"/>
                  <a:gd name="connsiteX22" fmla="*/ 96563 w 445813"/>
                  <a:gd name="connsiteY22" fmla="*/ 1057275 h 3092169"/>
                  <a:gd name="connsiteX23" fmla="*/ 52113 w 445813"/>
                  <a:gd name="connsiteY23" fmla="*/ 1143000 h 3092169"/>
                  <a:gd name="connsiteX24" fmla="*/ 20363 w 445813"/>
                  <a:gd name="connsiteY24" fmla="*/ 1244600 h 3092169"/>
                  <a:gd name="connsiteX25" fmla="*/ 1313 w 445813"/>
                  <a:gd name="connsiteY25" fmla="*/ 1346200 h 3092169"/>
                  <a:gd name="connsiteX26" fmla="*/ 10838 w 445813"/>
                  <a:gd name="connsiteY26" fmla="*/ 1438275 h 3092169"/>
                  <a:gd name="connsiteX27" fmla="*/ 83863 w 445813"/>
                  <a:gd name="connsiteY27" fmla="*/ 1511300 h 3092169"/>
                  <a:gd name="connsiteX28" fmla="*/ 112438 w 445813"/>
                  <a:gd name="connsiteY28" fmla="*/ 1558925 h 3092169"/>
                  <a:gd name="connsiteX29" fmla="*/ 150538 w 445813"/>
                  <a:gd name="connsiteY29" fmla="*/ 1590675 h 3092169"/>
                  <a:gd name="connsiteX30" fmla="*/ 169588 w 445813"/>
                  <a:gd name="connsiteY30" fmla="*/ 1644650 h 3092169"/>
                  <a:gd name="connsiteX31" fmla="*/ 226738 w 445813"/>
                  <a:gd name="connsiteY31" fmla="*/ 1685925 h 3092169"/>
                  <a:gd name="connsiteX32" fmla="*/ 264838 w 445813"/>
                  <a:gd name="connsiteY32" fmla="*/ 1730375 h 3092169"/>
                  <a:gd name="connsiteX33" fmla="*/ 277538 w 445813"/>
                  <a:gd name="connsiteY33" fmla="*/ 1758950 h 3092169"/>
                  <a:gd name="connsiteX34" fmla="*/ 277538 w 445813"/>
                  <a:gd name="connsiteY34" fmla="*/ 1828800 h 3092169"/>
                  <a:gd name="connsiteX35" fmla="*/ 325163 w 445813"/>
                  <a:gd name="connsiteY35" fmla="*/ 1905000 h 3092169"/>
                  <a:gd name="connsiteX36" fmla="*/ 363263 w 445813"/>
                  <a:gd name="connsiteY36" fmla="*/ 1962150 h 3092169"/>
                  <a:gd name="connsiteX37" fmla="*/ 369613 w 445813"/>
                  <a:gd name="connsiteY37" fmla="*/ 2028825 h 3092169"/>
                  <a:gd name="connsiteX38" fmla="*/ 407713 w 445813"/>
                  <a:gd name="connsiteY38" fmla="*/ 2085975 h 3092169"/>
                  <a:gd name="connsiteX39" fmla="*/ 414063 w 445813"/>
                  <a:gd name="connsiteY39" fmla="*/ 2255981 h 3092169"/>
                  <a:gd name="connsiteX40" fmla="*/ 242901 w 445813"/>
                  <a:gd name="connsiteY40" fmla="*/ 2278784 h 3092169"/>
                  <a:gd name="connsiteX41" fmla="*/ 201338 w 445813"/>
                  <a:gd name="connsiteY41" fmla="*/ 2390775 h 3092169"/>
                  <a:gd name="connsiteX42" fmla="*/ 210863 w 445813"/>
                  <a:gd name="connsiteY42" fmla="*/ 2454275 h 3092169"/>
                  <a:gd name="connsiteX43" fmla="*/ 226738 w 445813"/>
                  <a:gd name="connsiteY43" fmla="*/ 2482850 h 3092169"/>
                  <a:gd name="connsiteX44" fmla="*/ 226738 w 445813"/>
                  <a:gd name="connsiteY44" fmla="*/ 2527300 h 3092169"/>
                  <a:gd name="connsiteX45" fmla="*/ 236263 w 445813"/>
                  <a:gd name="connsiteY45" fmla="*/ 2603500 h 3092169"/>
                  <a:gd name="connsiteX46" fmla="*/ 204513 w 445813"/>
                  <a:gd name="connsiteY46" fmla="*/ 2825749 h 3092169"/>
                  <a:gd name="connsiteX47" fmla="*/ 153713 w 445813"/>
                  <a:gd name="connsiteY47" fmla="*/ 2917824 h 3092169"/>
                  <a:gd name="connsiteX48" fmla="*/ 48143 w 445813"/>
                  <a:gd name="connsiteY48" fmla="*/ 3092169 h 3092169"/>
                  <a:gd name="connsiteX0" fmla="*/ 445813 w 445813"/>
                  <a:gd name="connsiteY0" fmla="*/ 0 h 2917824"/>
                  <a:gd name="connsiteX1" fmla="*/ 407713 w 445813"/>
                  <a:gd name="connsiteY1" fmla="*/ 66675 h 2917824"/>
                  <a:gd name="connsiteX2" fmla="*/ 353738 w 445813"/>
                  <a:gd name="connsiteY2" fmla="*/ 85725 h 2917824"/>
                  <a:gd name="connsiteX3" fmla="*/ 283888 w 445813"/>
                  <a:gd name="connsiteY3" fmla="*/ 98425 h 2917824"/>
                  <a:gd name="connsiteX4" fmla="*/ 223563 w 445813"/>
                  <a:gd name="connsiteY4" fmla="*/ 133350 h 2917824"/>
                  <a:gd name="connsiteX5" fmla="*/ 121963 w 445813"/>
                  <a:gd name="connsiteY5" fmla="*/ 196850 h 2917824"/>
                  <a:gd name="connsiteX6" fmla="*/ 131488 w 445813"/>
                  <a:gd name="connsiteY6" fmla="*/ 247650 h 2917824"/>
                  <a:gd name="connsiteX7" fmla="*/ 172763 w 445813"/>
                  <a:gd name="connsiteY7" fmla="*/ 276225 h 2917824"/>
                  <a:gd name="connsiteX8" fmla="*/ 185463 w 445813"/>
                  <a:gd name="connsiteY8" fmla="*/ 327025 h 2917824"/>
                  <a:gd name="connsiteX9" fmla="*/ 239438 w 445813"/>
                  <a:gd name="connsiteY9" fmla="*/ 368300 h 2917824"/>
                  <a:gd name="connsiteX10" fmla="*/ 239438 w 445813"/>
                  <a:gd name="connsiteY10" fmla="*/ 412750 h 2917824"/>
                  <a:gd name="connsiteX11" fmla="*/ 207688 w 445813"/>
                  <a:gd name="connsiteY11" fmla="*/ 454025 h 2917824"/>
                  <a:gd name="connsiteX12" fmla="*/ 287063 w 445813"/>
                  <a:gd name="connsiteY12" fmla="*/ 479425 h 2917824"/>
                  <a:gd name="connsiteX13" fmla="*/ 302938 w 445813"/>
                  <a:gd name="connsiteY13" fmla="*/ 511175 h 2917824"/>
                  <a:gd name="connsiteX14" fmla="*/ 210863 w 445813"/>
                  <a:gd name="connsiteY14" fmla="*/ 581025 h 2917824"/>
                  <a:gd name="connsiteX15" fmla="*/ 160063 w 445813"/>
                  <a:gd name="connsiteY15" fmla="*/ 638175 h 2917824"/>
                  <a:gd name="connsiteX16" fmla="*/ 160063 w 445813"/>
                  <a:gd name="connsiteY16" fmla="*/ 695325 h 2917824"/>
                  <a:gd name="connsiteX17" fmla="*/ 185463 w 445813"/>
                  <a:gd name="connsiteY17" fmla="*/ 784225 h 2917824"/>
                  <a:gd name="connsiteX18" fmla="*/ 194988 w 445813"/>
                  <a:gd name="connsiteY18" fmla="*/ 835025 h 2917824"/>
                  <a:gd name="connsiteX19" fmla="*/ 204513 w 445813"/>
                  <a:gd name="connsiteY19" fmla="*/ 885825 h 2917824"/>
                  <a:gd name="connsiteX20" fmla="*/ 220388 w 445813"/>
                  <a:gd name="connsiteY20" fmla="*/ 923925 h 2917824"/>
                  <a:gd name="connsiteX21" fmla="*/ 163238 w 445813"/>
                  <a:gd name="connsiteY21" fmla="*/ 1022350 h 2917824"/>
                  <a:gd name="connsiteX22" fmla="*/ 96563 w 445813"/>
                  <a:gd name="connsiteY22" fmla="*/ 1057275 h 2917824"/>
                  <a:gd name="connsiteX23" fmla="*/ 52113 w 445813"/>
                  <a:gd name="connsiteY23" fmla="*/ 1143000 h 2917824"/>
                  <a:gd name="connsiteX24" fmla="*/ 20363 w 445813"/>
                  <a:gd name="connsiteY24" fmla="*/ 1244600 h 2917824"/>
                  <a:gd name="connsiteX25" fmla="*/ 1313 w 445813"/>
                  <a:gd name="connsiteY25" fmla="*/ 1346200 h 2917824"/>
                  <a:gd name="connsiteX26" fmla="*/ 10838 w 445813"/>
                  <a:gd name="connsiteY26" fmla="*/ 1438275 h 2917824"/>
                  <a:gd name="connsiteX27" fmla="*/ 83863 w 445813"/>
                  <a:gd name="connsiteY27" fmla="*/ 1511300 h 2917824"/>
                  <a:gd name="connsiteX28" fmla="*/ 112438 w 445813"/>
                  <a:gd name="connsiteY28" fmla="*/ 1558925 h 2917824"/>
                  <a:gd name="connsiteX29" fmla="*/ 150538 w 445813"/>
                  <a:gd name="connsiteY29" fmla="*/ 1590675 h 2917824"/>
                  <a:gd name="connsiteX30" fmla="*/ 169588 w 445813"/>
                  <a:gd name="connsiteY30" fmla="*/ 1644650 h 2917824"/>
                  <a:gd name="connsiteX31" fmla="*/ 226738 w 445813"/>
                  <a:gd name="connsiteY31" fmla="*/ 1685925 h 2917824"/>
                  <a:gd name="connsiteX32" fmla="*/ 264838 w 445813"/>
                  <a:gd name="connsiteY32" fmla="*/ 1730375 h 2917824"/>
                  <a:gd name="connsiteX33" fmla="*/ 277538 w 445813"/>
                  <a:gd name="connsiteY33" fmla="*/ 1758950 h 2917824"/>
                  <a:gd name="connsiteX34" fmla="*/ 277538 w 445813"/>
                  <a:gd name="connsiteY34" fmla="*/ 1828800 h 2917824"/>
                  <a:gd name="connsiteX35" fmla="*/ 325163 w 445813"/>
                  <a:gd name="connsiteY35" fmla="*/ 1905000 h 2917824"/>
                  <a:gd name="connsiteX36" fmla="*/ 363263 w 445813"/>
                  <a:gd name="connsiteY36" fmla="*/ 1962150 h 2917824"/>
                  <a:gd name="connsiteX37" fmla="*/ 369613 w 445813"/>
                  <a:gd name="connsiteY37" fmla="*/ 2028825 h 2917824"/>
                  <a:gd name="connsiteX38" fmla="*/ 407713 w 445813"/>
                  <a:gd name="connsiteY38" fmla="*/ 2085975 h 2917824"/>
                  <a:gd name="connsiteX39" fmla="*/ 414063 w 445813"/>
                  <a:gd name="connsiteY39" fmla="*/ 2255981 h 2917824"/>
                  <a:gd name="connsiteX40" fmla="*/ 242901 w 445813"/>
                  <a:gd name="connsiteY40" fmla="*/ 2278784 h 2917824"/>
                  <a:gd name="connsiteX41" fmla="*/ 201338 w 445813"/>
                  <a:gd name="connsiteY41" fmla="*/ 2390775 h 2917824"/>
                  <a:gd name="connsiteX42" fmla="*/ 210863 w 445813"/>
                  <a:gd name="connsiteY42" fmla="*/ 2454275 h 2917824"/>
                  <a:gd name="connsiteX43" fmla="*/ 226738 w 445813"/>
                  <a:gd name="connsiteY43" fmla="*/ 2482850 h 2917824"/>
                  <a:gd name="connsiteX44" fmla="*/ 226738 w 445813"/>
                  <a:gd name="connsiteY44" fmla="*/ 2527300 h 2917824"/>
                  <a:gd name="connsiteX45" fmla="*/ 236263 w 445813"/>
                  <a:gd name="connsiteY45" fmla="*/ 2603500 h 2917824"/>
                  <a:gd name="connsiteX46" fmla="*/ 204513 w 445813"/>
                  <a:gd name="connsiteY46" fmla="*/ 2825749 h 2917824"/>
                  <a:gd name="connsiteX47" fmla="*/ 153713 w 445813"/>
                  <a:gd name="connsiteY47" fmla="*/ 2917824 h 2917824"/>
                  <a:gd name="connsiteX0" fmla="*/ 445813 w 445813"/>
                  <a:gd name="connsiteY0" fmla="*/ 0 h 2917824"/>
                  <a:gd name="connsiteX1" fmla="*/ 407713 w 445813"/>
                  <a:gd name="connsiteY1" fmla="*/ 66675 h 2917824"/>
                  <a:gd name="connsiteX2" fmla="*/ 353738 w 445813"/>
                  <a:gd name="connsiteY2" fmla="*/ 85725 h 2917824"/>
                  <a:gd name="connsiteX3" fmla="*/ 283888 w 445813"/>
                  <a:gd name="connsiteY3" fmla="*/ 98425 h 2917824"/>
                  <a:gd name="connsiteX4" fmla="*/ 223563 w 445813"/>
                  <a:gd name="connsiteY4" fmla="*/ 133350 h 2917824"/>
                  <a:gd name="connsiteX5" fmla="*/ 121963 w 445813"/>
                  <a:gd name="connsiteY5" fmla="*/ 196850 h 2917824"/>
                  <a:gd name="connsiteX6" fmla="*/ 131488 w 445813"/>
                  <a:gd name="connsiteY6" fmla="*/ 247650 h 2917824"/>
                  <a:gd name="connsiteX7" fmla="*/ 172763 w 445813"/>
                  <a:gd name="connsiteY7" fmla="*/ 276225 h 2917824"/>
                  <a:gd name="connsiteX8" fmla="*/ 185463 w 445813"/>
                  <a:gd name="connsiteY8" fmla="*/ 327025 h 2917824"/>
                  <a:gd name="connsiteX9" fmla="*/ 239438 w 445813"/>
                  <a:gd name="connsiteY9" fmla="*/ 368300 h 2917824"/>
                  <a:gd name="connsiteX10" fmla="*/ 239438 w 445813"/>
                  <a:gd name="connsiteY10" fmla="*/ 412750 h 2917824"/>
                  <a:gd name="connsiteX11" fmla="*/ 207688 w 445813"/>
                  <a:gd name="connsiteY11" fmla="*/ 454025 h 2917824"/>
                  <a:gd name="connsiteX12" fmla="*/ 287063 w 445813"/>
                  <a:gd name="connsiteY12" fmla="*/ 479425 h 2917824"/>
                  <a:gd name="connsiteX13" fmla="*/ 302938 w 445813"/>
                  <a:gd name="connsiteY13" fmla="*/ 511175 h 2917824"/>
                  <a:gd name="connsiteX14" fmla="*/ 210863 w 445813"/>
                  <a:gd name="connsiteY14" fmla="*/ 581025 h 2917824"/>
                  <a:gd name="connsiteX15" fmla="*/ 160063 w 445813"/>
                  <a:gd name="connsiteY15" fmla="*/ 638175 h 2917824"/>
                  <a:gd name="connsiteX16" fmla="*/ 160063 w 445813"/>
                  <a:gd name="connsiteY16" fmla="*/ 695325 h 2917824"/>
                  <a:gd name="connsiteX17" fmla="*/ 185463 w 445813"/>
                  <a:gd name="connsiteY17" fmla="*/ 784225 h 2917824"/>
                  <a:gd name="connsiteX18" fmla="*/ 194988 w 445813"/>
                  <a:gd name="connsiteY18" fmla="*/ 835025 h 2917824"/>
                  <a:gd name="connsiteX19" fmla="*/ 204513 w 445813"/>
                  <a:gd name="connsiteY19" fmla="*/ 885825 h 2917824"/>
                  <a:gd name="connsiteX20" fmla="*/ 220388 w 445813"/>
                  <a:gd name="connsiteY20" fmla="*/ 923925 h 2917824"/>
                  <a:gd name="connsiteX21" fmla="*/ 163238 w 445813"/>
                  <a:gd name="connsiteY21" fmla="*/ 1022350 h 2917824"/>
                  <a:gd name="connsiteX22" fmla="*/ 96563 w 445813"/>
                  <a:gd name="connsiteY22" fmla="*/ 1057275 h 2917824"/>
                  <a:gd name="connsiteX23" fmla="*/ 52113 w 445813"/>
                  <a:gd name="connsiteY23" fmla="*/ 1143000 h 2917824"/>
                  <a:gd name="connsiteX24" fmla="*/ 20363 w 445813"/>
                  <a:gd name="connsiteY24" fmla="*/ 1244600 h 2917824"/>
                  <a:gd name="connsiteX25" fmla="*/ 1313 w 445813"/>
                  <a:gd name="connsiteY25" fmla="*/ 1346200 h 2917824"/>
                  <a:gd name="connsiteX26" fmla="*/ 10838 w 445813"/>
                  <a:gd name="connsiteY26" fmla="*/ 1438275 h 2917824"/>
                  <a:gd name="connsiteX27" fmla="*/ 83863 w 445813"/>
                  <a:gd name="connsiteY27" fmla="*/ 1511300 h 2917824"/>
                  <a:gd name="connsiteX28" fmla="*/ 112438 w 445813"/>
                  <a:gd name="connsiteY28" fmla="*/ 1558925 h 2917824"/>
                  <a:gd name="connsiteX29" fmla="*/ 150538 w 445813"/>
                  <a:gd name="connsiteY29" fmla="*/ 1590675 h 2917824"/>
                  <a:gd name="connsiteX30" fmla="*/ 169588 w 445813"/>
                  <a:gd name="connsiteY30" fmla="*/ 1644650 h 2917824"/>
                  <a:gd name="connsiteX31" fmla="*/ 226738 w 445813"/>
                  <a:gd name="connsiteY31" fmla="*/ 1685925 h 2917824"/>
                  <a:gd name="connsiteX32" fmla="*/ 264838 w 445813"/>
                  <a:gd name="connsiteY32" fmla="*/ 1730375 h 2917824"/>
                  <a:gd name="connsiteX33" fmla="*/ 277538 w 445813"/>
                  <a:gd name="connsiteY33" fmla="*/ 1758950 h 2917824"/>
                  <a:gd name="connsiteX34" fmla="*/ 277538 w 445813"/>
                  <a:gd name="connsiteY34" fmla="*/ 1828800 h 2917824"/>
                  <a:gd name="connsiteX35" fmla="*/ 325163 w 445813"/>
                  <a:gd name="connsiteY35" fmla="*/ 1905000 h 2917824"/>
                  <a:gd name="connsiteX36" fmla="*/ 363263 w 445813"/>
                  <a:gd name="connsiteY36" fmla="*/ 1962150 h 2917824"/>
                  <a:gd name="connsiteX37" fmla="*/ 369613 w 445813"/>
                  <a:gd name="connsiteY37" fmla="*/ 2028825 h 2917824"/>
                  <a:gd name="connsiteX38" fmla="*/ 407713 w 445813"/>
                  <a:gd name="connsiteY38" fmla="*/ 2085975 h 2917824"/>
                  <a:gd name="connsiteX39" fmla="*/ 414063 w 445813"/>
                  <a:gd name="connsiteY39" fmla="*/ 2255981 h 2917824"/>
                  <a:gd name="connsiteX40" fmla="*/ 242901 w 445813"/>
                  <a:gd name="connsiteY40" fmla="*/ 2278784 h 2917824"/>
                  <a:gd name="connsiteX41" fmla="*/ 201338 w 445813"/>
                  <a:gd name="connsiteY41" fmla="*/ 2390775 h 2917824"/>
                  <a:gd name="connsiteX42" fmla="*/ 210863 w 445813"/>
                  <a:gd name="connsiteY42" fmla="*/ 2454275 h 2917824"/>
                  <a:gd name="connsiteX43" fmla="*/ 226738 w 445813"/>
                  <a:gd name="connsiteY43" fmla="*/ 2482850 h 2917824"/>
                  <a:gd name="connsiteX44" fmla="*/ 226738 w 445813"/>
                  <a:gd name="connsiteY44" fmla="*/ 2527300 h 2917824"/>
                  <a:gd name="connsiteX45" fmla="*/ 236263 w 445813"/>
                  <a:gd name="connsiteY45" fmla="*/ 2603500 h 2917824"/>
                  <a:gd name="connsiteX46" fmla="*/ 153713 w 445813"/>
                  <a:gd name="connsiteY46" fmla="*/ 2917824 h 2917824"/>
                  <a:gd name="connsiteX0" fmla="*/ 445813 w 445813"/>
                  <a:gd name="connsiteY0" fmla="*/ 0 h 2603500"/>
                  <a:gd name="connsiteX1" fmla="*/ 407713 w 445813"/>
                  <a:gd name="connsiteY1" fmla="*/ 66675 h 2603500"/>
                  <a:gd name="connsiteX2" fmla="*/ 353738 w 445813"/>
                  <a:gd name="connsiteY2" fmla="*/ 85725 h 2603500"/>
                  <a:gd name="connsiteX3" fmla="*/ 283888 w 445813"/>
                  <a:gd name="connsiteY3" fmla="*/ 98425 h 2603500"/>
                  <a:gd name="connsiteX4" fmla="*/ 223563 w 445813"/>
                  <a:gd name="connsiteY4" fmla="*/ 133350 h 2603500"/>
                  <a:gd name="connsiteX5" fmla="*/ 121963 w 445813"/>
                  <a:gd name="connsiteY5" fmla="*/ 196850 h 2603500"/>
                  <a:gd name="connsiteX6" fmla="*/ 131488 w 445813"/>
                  <a:gd name="connsiteY6" fmla="*/ 247650 h 2603500"/>
                  <a:gd name="connsiteX7" fmla="*/ 172763 w 445813"/>
                  <a:gd name="connsiteY7" fmla="*/ 276225 h 2603500"/>
                  <a:gd name="connsiteX8" fmla="*/ 185463 w 445813"/>
                  <a:gd name="connsiteY8" fmla="*/ 327025 h 2603500"/>
                  <a:gd name="connsiteX9" fmla="*/ 239438 w 445813"/>
                  <a:gd name="connsiteY9" fmla="*/ 368300 h 2603500"/>
                  <a:gd name="connsiteX10" fmla="*/ 239438 w 445813"/>
                  <a:gd name="connsiteY10" fmla="*/ 412750 h 2603500"/>
                  <a:gd name="connsiteX11" fmla="*/ 207688 w 445813"/>
                  <a:gd name="connsiteY11" fmla="*/ 454025 h 2603500"/>
                  <a:gd name="connsiteX12" fmla="*/ 287063 w 445813"/>
                  <a:gd name="connsiteY12" fmla="*/ 479425 h 2603500"/>
                  <a:gd name="connsiteX13" fmla="*/ 302938 w 445813"/>
                  <a:gd name="connsiteY13" fmla="*/ 511175 h 2603500"/>
                  <a:gd name="connsiteX14" fmla="*/ 210863 w 445813"/>
                  <a:gd name="connsiteY14" fmla="*/ 581025 h 2603500"/>
                  <a:gd name="connsiteX15" fmla="*/ 160063 w 445813"/>
                  <a:gd name="connsiteY15" fmla="*/ 638175 h 2603500"/>
                  <a:gd name="connsiteX16" fmla="*/ 160063 w 445813"/>
                  <a:gd name="connsiteY16" fmla="*/ 695325 h 2603500"/>
                  <a:gd name="connsiteX17" fmla="*/ 185463 w 445813"/>
                  <a:gd name="connsiteY17" fmla="*/ 784225 h 2603500"/>
                  <a:gd name="connsiteX18" fmla="*/ 194988 w 445813"/>
                  <a:gd name="connsiteY18" fmla="*/ 835025 h 2603500"/>
                  <a:gd name="connsiteX19" fmla="*/ 204513 w 445813"/>
                  <a:gd name="connsiteY19" fmla="*/ 885825 h 2603500"/>
                  <a:gd name="connsiteX20" fmla="*/ 220388 w 445813"/>
                  <a:gd name="connsiteY20" fmla="*/ 923925 h 2603500"/>
                  <a:gd name="connsiteX21" fmla="*/ 163238 w 445813"/>
                  <a:gd name="connsiteY21" fmla="*/ 1022350 h 2603500"/>
                  <a:gd name="connsiteX22" fmla="*/ 96563 w 445813"/>
                  <a:gd name="connsiteY22" fmla="*/ 1057275 h 2603500"/>
                  <a:gd name="connsiteX23" fmla="*/ 52113 w 445813"/>
                  <a:gd name="connsiteY23" fmla="*/ 1143000 h 2603500"/>
                  <a:gd name="connsiteX24" fmla="*/ 20363 w 445813"/>
                  <a:gd name="connsiteY24" fmla="*/ 1244600 h 2603500"/>
                  <a:gd name="connsiteX25" fmla="*/ 1313 w 445813"/>
                  <a:gd name="connsiteY25" fmla="*/ 1346200 h 2603500"/>
                  <a:gd name="connsiteX26" fmla="*/ 10838 w 445813"/>
                  <a:gd name="connsiteY26" fmla="*/ 1438275 h 2603500"/>
                  <a:gd name="connsiteX27" fmla="*/ 83863 w 445813"/>
                  <a:gd name="connsiteY27" fmla="*/ 1511300 h 2603500"/>
                  <a:gd name="connsiteX28" fmla="*/ 112438 w 445813"/>
                  <a:gd name="connsiteY28" fmla="*/ 1558925 h 2603500"/>
                  <a:gd name="connsiteX29" fmla="*/ 150538 w 445813"/>
                  <a:gd name="connsiteY29" fmla="*/ 1590675 h 2603500"/>
                  <a:gd name="connsiteX30" fmla="*/ 169588 w 445813"/>
                  <a:gd name="connsiteY30" fmla="*/ 1644650 h 2603500"/>
                  <a:gd name="connsiteX31" fmla="*/ 226738 w 445813"/>
                  <a:gd name="connsiteY31" fmla="*/ 1685925 h 2603500"/>
                  <a:gd name="connsiteX32" fmla="*/ 264838 w 445813"/>
                  <a:gd name="connsiteY32" fmla="*/ 1730375 h 2603500"/>
                  <a:gd name="connsiteX33" fmla="*/ 277538 w 445813"/>
                  <a:gd name="connsiteY33" fmla="*/ 1758950 h 2603500"/>
                  <a:gd name="connsiteX34" fmla="*/ 277538 w 445813"/>
                  <a:gd name="connsiteY34" fmla="*/ 1828800 h 2603500"/>
                  <a:gd name="connsiteX35" fmla="*/ 325163 w 445813"/>
                  <a:gd name="connsiteY35" fmla="*/ 1905000 h 2603500"/>
                  <a:gd name="connsiteX36" fmla="*/ 363263 w 445813"/>
                  <a:gd name="connsiteY36" fmla="*/ 1962150 h 2603500"/>
                  <a:gd name="connsiteX37" fmla="*/ 369613 w 445813"/>
                  <a:gd name="connsiteY37" fmla="*/ 2028825 h 2603500"/>
                  <a:gd name="connsiteX38" fmla="*/ 407713 w 445813"/>
                  <a:gd name="connsiteY38" fmla="*/ 2085975 h 2603500"/>
                  <a:gd name="connsiteX39" fmla="*/ 414063 w 445813"/>
                  <a:gd name="connsiteY39" fmla="*/ 2255981 h 2603500"/>
                  <a:gd name="connsiteX40" fmla="*/ 242901 w 445813"/>
                  <a:gd name="connsiteY40" fmla="*/ 2278784 h 2603500"/>
                  <a:gd name="connsiteX41" fmla="*/ 201338 w 445813"/>
                  <a:gd name="connsiteY41" fmla="*/ 2390775 h 2603500"/>
                  <a:gd name="connsiteX42" fmla="*/ 210863 w 445813"/>
                  <a:gd name="connsiteY42" fmla="*/ 2454275 h 2603500"/>
                  <a:gd name="connsiteX43" fmla="*/ 226738 w 445813"/>
                  <a:gd name="connsiteY43" fmla="*/ 2482850 h 2603500"/>
                  <a:gd name="connsiteX44" fmla="*/ 226738 w 445813"/>
                  <a:gd name="connsiteY44" fmla="*/ 2527300 h 2603500"/>
                  <a:gd name="connsiteX45" fmla="*/ 236263 w 445813"/>
                  <a:gd name="connsiteY45" fmla="*/ 2603500 h 2603500"/>
                  <a:gd name="connsiteX0" fmla="*/ 445813 w 445813"/>
                  <a:gd name="connsiteY0" fmla="*/ 0 h 2527300"/>
                  <a:gd name="connsiteX1" fmla="*/ 407713 w 445813"/>
                  <a:gd name="connsiteY1" fmla="*/ 66675 h 2527300"/>
                  <a:gd name="connsiteX2" fmla="*/ 353738 w 445813"/>
                  <a:gd name="connsiteY2" fmla="*/ 85725 h 2527300"/>
                  <a:gd name="connsiteX3" fmla="*/ 283888 w 445813"/>
                  <a:gd name="connsiteY3" fmla="*/ 98425 h 2527300"/>
                  <a:gd name="connsiteX4" fmla="*/ 223563 w 445813"/>
                  <a:gd name="connsiteY4" fmla="*/ 133350 h 2527300"/>
                  <a:gd name="connsiteX5" fmla="*/ 121963 w 445813"/>
                  <a:gd name="connsiteY5" fmla="*/ 196850 h 2527300"/>
                  <a:gd name="connsiteX6" fmla="*/ 131488 w 445813"/>
                  <a:gd name="connsiteY6" fmla="*/ 247650 h 2527300"/>
                  <a:gd name="connsiteX7" fmla="*/ 172763 w 445813"/>
                  <a:gd name="connsiteY7" fmla="*/ 276225 h 2527300"/>
                  <a:gd name="connsiteX8" fmla="*/ 185463 w 445813"/>
                  <a:gd name="connsiteY8" fmla="*/ 327025 h 2527300"/>
                  <a:gd name="connsiteX9" fmla="*/ 239438 w 445813"/>
                  <a:gd name="connsiteY9" fmla="*/ 368300 h 2527300"/>
                  <a:gd name="connsiteX10" fmla="*/ 239438 w 445813"/>
                  <a:gd name="connsiteY10" fmla="*/ 412750 h 2527300"/>
                  <a:gd name="connsiteX11" fmla="*/ 207688 w 445813"/>
                  <a:gd name="connsiteY11" fmla="*/ 454025 h 2527300"/>
                  <a:gd name="connsiteX12" fmla="*/ 287063 w 445813"/>
                  <a:gd name="connsiteY12" fmla="*/ 479425 h 2527300"/>
                  <a:gd name="connsiteX13" fmla="*/ 302938 w 445813"/>
                  <a:gd name="connsiteY13" fmla="*/ 511175 h 2527300"/>
                  <a:gd name="connsiteX14" fmla="*/ 210863 w 445813"/>
                  <a:gd name="connsiteY14" fmla="*/ 581025 h 2527300"/>
                  <a:gd name="connsiteX15" fmla="*/ 160063 w 445813"/>
                  <a:gd name="connsiteY15" fmla="*/ 638175 h 2527300"/>
                  <a:gd name="connsiteX16" fmla="*/ 160063 w 445813"/>
                  <a:gd name="connsiteY16" fmla="*/ 695325 h 2527300"/>
                  <a:gd name="connsiteX17" fmla="*/ 185463 w 445813"/>
                  <a:gd name="connsiteY17" fmla="*/ 784225 h 2527300"/>
                  <a:gd name="connsiteX18" fmla="*/ 194988 w 445813"/>
                  <a:gd name="connsiteY18" fmla="*/ 835025 h 2527300"/>
                  <a:gd name="connsiteX19" fmla="*/ 204513 w 445813"/>
                  <a:gd name="connsiteY19" fmla="*/ 885825 h 2527300"/>
                  <a:gd name="connsiteX20" fmla="*/ 220388 w 445813"/>
                  <a:gd name="connsiteY20" fmla="*/ 923925 h 2527300"/>
                  <a:gd name="connsiteX21" fmla="*/ 163238 w 445813"/>
                  <a:gd name="connsiteY21" fmla="*/ 1022350 h 2527300"/>
                  <a:gd name="connsiteX22" fmla="*/ 96563 w 445813"/>
                  <a:gd name="connsiteY22" fmla="*/ 1057275 h 2527300"/>
                  <a:gd name="connsiteX23" fmla="*/ 52113 w 445813"/>
                  <a:gd name="connsiteY23" fmla="*/ 1143000 h 2527300"/>
                  <a:gd name="connsiteX24" fmla="*/ 20363 w 445813"/>
                  <a:gd name="connsiteY24" fmla="*/ 1244600 h 2527300"/>
                  <a:gd name="connsiteX25" fmla="*/ 1313 w 445813"/>
                  <a:gd name="connsiteY25" fmla="*/ 1346200 h 2527300"/>
                  <a:gd name="connsiteX26" fmla="*/ 10838 w 445813"/>
                  <a:gd name="connsiteY26" fmla="*/ 1438275 h 2527300"/>
                  <a:gd name="connsiteX27" fmla="*/ 83863 w 445813"/>
                  <a:gd name="connsiteY27" fmla="*/ 1511300 h 2527300"/>
                  <a:gd name="connsiteX28" fmla="*/ 112438 w 445813"/>
                  <a:gd name="connsiteY28" fmla="*/ 1558925 h 2527300"/>
                  <a:gd name="connsiteX29" fmla="*/ 150538 w 445813"/>
                  <a:gd name="connsiteY29" fmla="*/ 1590675 h 2527300"/>
                  <a:gd name="connsiteX30" fmla="*/ 169588 w 445813"/>
                  <a:gd name="connsiteY30" fmla="*/ 1644650 h 2527300"/>
                  <a:gd name="connsiteX31" fmla="*/ 226738 w 445813"/>
                  <a:gd name="connsiteY31" fmla="*/ 1685925 h 2527300"/>
                  <a:gd name="connsiteX32" fmla="*/ 264838 w 445813"/>
                  <a:gd name="connsiteY32" fmla="*/ 1730375 h 2527300"/>
                  <a:gd name="connsiteX33" fmla="*/ 277538 w 445813"/>
                  <a:gd name="connsiteY33" fmla="*/ 1758950 h 2527300"/>
                  <a:gd name="connsiteX34" fmla="*/ 277538 w 445813"/>
                  <a:gd name="connsiteY34" fmla="*/ 1828800 h 2527300"/>
                  <a:gd name="connsiteX35" fmla="*/ 325163 w 445813"/>
                  <a:gd name="connsiteY35" fmla="*/ 1905000 h 2527300"/>
                  <a:gd name="connsiteX36" fmla="*/ 363263 w 445813"/>
                  <a:gd name="connsiteY36" fmla="*/ 1962150 h 2527300"/>
                  <a:gd name="connsiteX37" fmla="*/ 369613 w 445813"/>
                  <a:gd name="connsiteY37" fmla="*/ 2028825 h 2527300"/>
                  <a:gd name="connsiteX38" fmla="*/ 407713 w 445813"/>
                  <a:gd name="connsiteY38" fmla="*/ 2085975 h 2527300"/>
                  <a:gd name="connsiteX39" fmla="*/ 414063 w 445813"/>
                  <a:gd name="connsiteY39" fmla="*/ 2255981 h 2527300"/>
                  <a:gd name="connsiteX40" fmla="*/ 242901 w 445813"/>
                  <a:gd name="connsiteY40" fmla="*/ 2278784 h 2527300"/>
                  <a:gd name="connsiteX41" fmla="*/ 201338 w 445813"/>
                  <a:gd name="connsiteY41" fmla="*/ 2390775 h 2527300"/>
                  <a:gd name="connsiteX42" fmla="*/ 210863 w 445813"/>
                  <a:gd name="connsiteY42" fmla="*/ 2454275 h 2527300"/>
                  <a:gd name="connsiteX43" fmla="*/ 226738 w 445813"/>
                  <a:gd name="connsiteY43" fmla="*/ 2482850 h 2527300"/>
                  <a:gd name="connsiteX44" fmla="*/ 226738 w 445813"/>
                  <a:gd name="connsiteY44" fmla="*/ 2527300 h 2527300"/>
                  <a:gd name="connsiteX0" fmla="*/ 445813 w 445813"/>
                  <a:gd name="connsiteY0" fmla="*/ 0 h 2482850"/>
                  <a:gd name="connsiteX1" fmla="*/ 407713 w 445813"/>
                  <a:gd name="connsiteY1" fmla="*/ 66675 h 2482850"/>
                  <a:gd name="connsiteX2" fmla="*/ 353738 w 445813"/>
                  <a:gd name="connsiteY2" fmla="*/ 85725 h 2482850"/>
                  <a:gd name="connsiteX3" fmla="*/ 283888 w 445813"/>
                  <a:gd name="connsiteY3" fmla="*/ 98425 h 2482850"/>
                  <a:gd name="connsiteX4" fmla="*/ 223563 w 445813"/>
                  <a:gd name="connsiteY4" fmla="*/ 133350 h 2482850"/>
                  <a:gd name="connsiteX5" fmla="*/ 121963 w 445813"/>
                  <a:gd name="connsiteY5" fmla="*/ 196850 h 2482850"/>
                  <a:gd name="connsiteX6" fmla="*/ 131488 w 445813"/>
                  <a:gd name="connsiteY6" fmla="*/ 247650 h 2482850"/>
                  <a:gd name="connsiteX7" fmla="*/ 172763 w 445813"/>
                  <a:gd name="connsiteY7" fmla="*/ 276225 h 2482850"/>
                  <a:gd name="connsiteX8" fmla="*/ 185463 w 445813"/>
                  <a:gd name="connsiteY8" fmla="*/ 327025 h 2482850"/>
                  <a:gd name="connsiteX9" fmla="*/ 239438 w 445813"/>
                  <a:gd name="connsiteY9" fmla="*/ 368300 h 2482850"/>
                  <a:gd name="connsiteX10" fmla="*/ 239438 w 445813"/>
                  <a:gd name="connsiteY10" fmla="*/ 412750 h 2482850"/>
                  <a:gd name="connsiteX11" fmla="*/ 207688 w 445813"/>
                  <a:gd name="connsiteY11" fmla="*/ 454025 h 2482850"/>
                  <a:gd name="connsiteX12" fmla="*/ 287063 w 445813"/>
                  <a:gd name="connsiteY12" fmla="*/ 479425 h 2482850"/>
                  <a:gd name="connsiteX13" fmla="*/ 302938 w 445813"/>
                  <a:gd name="connsiteY13" fmla="*/ 511175 h 2482850"/>
                  <a:gd name="connsiteX14" fmla="*/ 210863 w 445813"/>
                  <a:gd name="connsiteY14" fmla="*/ 581025 h 2482850"/>
                  <a:gd name="connsiteX15" fmla="*/ 160063 w 445813"/>
                  <a:gd name="connsiteY15" fmla="*/ 638175 h 2482850"/>
                  <a:gd name="connsiteX16" fmla="*/ 160063 w 445813"/>
                  <a:gd name="connsiteY16" fmla="*/ 695325 h 2482850"/>
                  <a:gd name="connsiteX17" fmla="*/ 185463 w 445813"/>
                  <a:gd name="connsiteY17" fmla="*/ 784225 h 2482850"/>
                  <a:gd name="connsiteX18" fmla="*/ 194988 w 445813"/>
                  <a:gd name="connsiteY18" fmla="*/ 835025 h 2482850"/>
                  <a:gd name="connsiteX19" fmla="*/ 204513 w 445813"/>
                  <a:gd name="connsiteY19" fmla="*/ 885825 h 2482850"/>
                  <a:gd name="connsiteX20" fmla="*/ 220388 w 445813"/>
                  <a:gd name="connsiteY20" fmla="*/ 923925 h 2482850"/>
                  <a:gd name="connsiteX21" fmla="*/ 163238 w 445813"/>
                  <a:gd name="connsiteY21" fmla="*/ 1022350 h 2482850"/>
                  <a:gd name="connsiteX22" fmla="*/ 96563 w 445813"/>
                  <a:gd name="connsiteY22" fmla="*/ 1057275 h 2482850"/>
                  <a:gd name="connsiteX23" fmla="*/ 52113 w 445813"/>
                  <a:gd name="connsiteY23" fmla="*/ 1143000 h 2482850"/>
                  <a:gd name="connsiteX24" fmla="*/ 20363 w 445813"/>
                  <a:gd name="connsiteY24" fmla="*/ 1244600 h 2482850"/>
                  <a:gd name="connsiteX25" fmla="*/ 1313 w 445813"/>
                  <a:gd name="connsiteY25" fmla="*/ 1346200 h 2482850"/>
                  <a:gd name="connsiteX26" fmla="*/ 10838 w 445813"/>
                  <a:gd name="connsiteY26" fmla="*/ 1438275 h 2482850"/>
                  <a:gd name="connsiteX27" fmla="*/ 83863 w 445813"/>
                  <a:gd name="connsiteY27" fmla="*/ 1511300 h 2482850"/>
                  <a:gd name="connsiteX28" fmla="*/ 112438 w 445813"/>
                  <a:gd name="connsiteY28" fmla="*/ 1558925 h 2482850"/>
                  <a:gd name="connsiteX29" fmla="*/ 150538 w 445813"/>
                  <a:gd name="connsiteY29" fmla="*/ 1590675 h 2482850"/>
                  <a:gd name="connsiteX30" fmla="*/ 169588 w 445813"/>
                  <a:gd name="connsiteY30" fmla="*/ 1644650 h 2482850"/>
                  <a:gd name="connsiteX31" fmla="*/ 226738 w 445813"/>
                  <a:gd name="connsiteY31" fmla="*/ 1685925 h 2482850"/>
                  <a:gd name="connsiteX32" fmla="*/ 264838 w 445813"/>
                  <a:gd name="connsiteY32" fmla="*/ 1730375 h 2482850"/>
                  <a:gd name="connsiteX33" fmla="*/ 277538 w 445813"/>
                  <a:gd name="connsiteY33" fmla="*/ 1758950 h 2482850"/>
                  <a:gd name="connsiteX34" fmla="*/ 277538 w 445813"/>
                  <a:gd name="connsiteY34" fmla="*/ 1828800 h 2482850"/>
                  <a:gd name="connsiteX35" fmla="*/ 325163 w 445813"/>
                  <a:gd name="connsiteY35" fmla="*/ 1905000 h 2482850"/>
                  <a:gd name="connsiteX36" fmla="*/ 363263 w 445813"/>
                  <a:gd name="connsiteY36" fmla="*/ 1962150 h 2482850"/>
                  <a:gd name="connsiteX37" fmla="*/ 369613 w 445813"/>
                  <a:gd name="connsiteY37" fmla="*/ 2028825 h 2482850"/>
                  <a:gd name="connsiteX38" fmla="*/ 407713 w 445813"/>
                  <a:gd name="connsiteY38" fmla="*/ 2085975 h 2482850"/>
                  <a:gd name="connsiteX39" fmla="*/ 414063 w 445813"/>
                  <a:gd name="connsiteY39" fmla="*/ 2255981 h 2482850"/>
                  <a:gd name="connsiteX40" fmla="*/ 242901 w 445813"/>
                  <a:gd name="connsiteY40" fmla="*/ 2278784 h 2482850"/>
                  <a:gd name="connsiteX41" fmla="*/ 201338 w 445813"/>
                  <a:gd name="connsiteY41" fmla="*/ 2390775 h 2482850"/>
                  <a:gd name="connsiteX42" fmla="*/ 210863 w 445813"/>
                  <a:gd name="connsiteY42" fmla="*/ 2454275 h 2482850"/>
                  <a:gd name="connsiteX43" fmla="*/ 226738 w 445813"/>
                  <a:gd name="connsiteY43" fmla="*/ 2482850 h 2482850"/>
                  <a:gd name="connsiteX0" fmla="*/ 445813 w 445813"/>
                  <a:gd name="connsiteY0" fmla="*/ 0 h 2454275"/>
                  <a:gd name="connsiteX1" fmla="*/ 407713 w 445813"/>
                  <a:gd name="connsiteY1" fmla="*/ 66675 h 2454275"/>
                  <a:gd name="connsiteX2" fmla="*/ 353738 w 445813"/>
                  <a:gd name="connsiteY2" fmla="*/ 85725 h 2454275"/>
                  <a:gd name="connsiteX3" fmla="*/ 283888 w 445813"/>
                  <a:gd name="connsiteY3" fmla="*/ 98425 h 2454275"/>
                  <a:gd name="connsiteX4" fmla="*/ 223563 w 445813"/>
                  <a:gd name="connsiteY4" fmla="*/ 133350 h 2454275"/>
                  <a:gd name="connsiteX5" fmla="*/ 121963 w 445813"/>
                  <a:gd name="connsiteY5" fmla="*/ 196850 h 2454275"/>
                  <a:gd name="connsiteX6" fmla="*/ 131488 w 445813"/>
                  <a:gd name="connsiteY6" fmla="*/ 247650 h 2454275"/>
                  <a:gd name="connsiteX7" fmla="*/ 172763 w 445813"/>
                  <a:gd name="connsiteY7" fmla="*/ 276225 h 2454275"/>
                  <a:gd name="connsiteX8" fmla="*/ 185463 w 445813"/>
                  <a:gd name="connsiteY8" fmla="*/ 327025 h 2454275"/>
                  <a:gd name="connsiteX9" fmla="*/ 239438 w 445813"/>
                  <a:gd name="connsiteY9" fmla="*/ 368300 h 2454275"/>
                  <a:gd name="connsiteX10" fmla="*/ 239438 w 445813"/>
                  <a:gd name="connsiteY10" fmla="*/ 412750 h 2454275"/>
                  <a:gd name="connsiteX11" fmla="*/ 207688 w 445813"/>
                  <a:gd name="connsiteY11" fmla="*/ 454025 h 2454275"/>
                  <a:gd name="connsiteX12" fmla="*/ 287063 w 445813"/>
                  <a:gd name="connsiteY12" fmla="*/ 479425 h 2454275"/>
                  <a:gd name="connsiteX13" fmla="*/ 302938 w 445813"/>
                  <a:gd name="connsiteY13" fmla="*/ 511175 h 2454275"/>
                  <a:gd name="connsiteX14" fmla="*/ 210863 w 445813"/>
                  <a:gd name="connsiteY14" fmla="*/ 581025 h 2454275"/>
                  <a:gd name="connsiteX15" fmla="*/ 160063 w 445813"/>
                  <a:gd name="connsiteY15" fmla="*/ 638175 h 2454275"/>
                  <a:gd name="connsiteX16" fmla="*/ 160063 w 445813"/>
                  <a:gd name="connsiteY16" fmla="*/ 695325 h 2454275"/>
                  <a:gd name="connsiteX17" fmla="*/ 185463 w 445813"/>
                  <a:gd name="connsiteY17" fmla="*/ 784225 h 2454275"/>
                  <a:gd name="connsiteX18" fmla="*/ 194988 w 445813"/>
                  <a:gd name="connsiteY18" fmla="*/ 835025 h 2454275"/>
                  <a:gd name="connsiteX19" fmla="*/ 204513 w 445813"/>
                  <a:gd name="connsiteY19" fmla="*/ 885825 h 2454275"/>
                  <a:gd name="connsiteX20" fmla="*/ 220388 w 445813"/>
                  <a:gd name="connsiteY20" fmla="*/ 923925 h 2454275"/>
                  <a:gd name="connsiteX21" fmla="*/ 163238 w 445813"/>
                  <a:gd name="connsiteY21" fmla="*/ 1022350 h 2454275"/>
                  <a:gd name="connsiteX22" fmla="*/ 96563 w 445813"/>
                  <a:gd name="connsiteY22" fmla="*/ 1057275 h 2454275"/>
                  <a:gd name="connsiteX23" fmla="*/ 52113 w 445813"/>
                  <a:gd name="connsiteY23" fmla="*/ 1143000 h 2454275"/>
                  <a:gd name="connsiteX24" fmla="*/ 20363 w 445813"/>
                  <a:gd name="connsiteY24" fmla="*/ 1244600 h 2454275"/>
                  <a:gd name="connsiteX25" fmla="*/ 1313 w 445813"/>
                  <a:gd name="connsiteY25" fmla="*/ 1346200 h 2454275"/>
                  <a:gd name="connsiteX26" fmla="*/ 10838 w 445813"/>
                  <a:gd name="connsiteY26" fmla="*/ 1438275 h 2454275"/>
                  <a:gd name="connsiteX27" fmla="*/ 83863 w 445813"/>
                  <a:gd name="connsiteY27" fmla="*/ 1511300 h 2454275"/>
                  <a:gd name="connsiteX28" fmla="*/ 112438 w 445813"/>
                  <a:gd name="connsiteY28" fmla="*/ 1558925 h 2454275"/>
                  <a:gd name="connsiteX29" fmla="*/ 150538 w 445813"/>
                  <a:gd name="connsiteY29" fmla="*/ 1590675 h 2454275"/>
                  <a:gd name="connsiteX30" fmla="*/ 169588 w 445813"/>
                  <a:gd name="connsiteY30" fmla="*/ 1644650 h 2454275"/>
                  <a:gd name="connsiteX31" fmla="*/ 226738 w 445813"/>
                  <a:gd name="connsiteY31" fmla="*/ 1685925 h 2454275"/>
                  <a:gd name="connsiteX32" fmla="*/ 264838 w 445813"/>
                  <a:gd name="connsiteY32" fmla="*/ 1730375 h 2454275"/>
                  <a:gd name="connsiteX33" fmla="*/ 277538 w 445813"/>
                  <a:gd name="connsiteY33" fmla="*/ 1758950 h 2454275"/>
                  <a:gd name="connsiteX34" fmla="*/ 277538 w 445813"/>
                  <a:gd name="connsiteY34" fmla="*/ 1828800 h 2454275"/>
                  <a:gd name="connsiteX35" fmla="*/ 325163 w 445813"/>
                  <a:gd name="connsiteY35" fmla="*/ 1905000 h 2454275"/>
                  <a:gd name="connsiteX36" fmla="*/ 363263 w 445813"/>
                  <a:gd name="connsiteY36" fmla="*/ 1962150 h 2454275"/>
                  <a:gd name="connsiteX37" fmla="*/ 369613 w 445813"/>
                  <a:gd name="connsiteY37" fmla="*/ 2028825 h 2454275"/>
                  <a:gd name="connsiteX38" fmla="*/ 407713 w 445813"/>
                  <a:gd name="connsiteY38" fmla="*/ 2085975 h 2454275"/>
                  <a:gd name="connsiteX39" fmla="*/ 414063 w 445813"/>
                  <a:gd name="connsiteY39" fmla="*/ 2255981 h 2454275"/>
                  <a:gd name="connsiteX40" fmla="*/ 242901 w 445813"/>
                  <a:gd name="connsiteY40" fmla="*/ 2278784 h 2454275"/>
                  <a:gd name="connsiteX41" fmla="*/ 201338 w 445813"/>
                  <a:gd name="connsiteY41" fmla="*/ 2390775 h 2454275"/>
                  <a:gd name="connsiteX42" fmla="*/ 210863 w 445813"/>
                  <a:gd name="connsiteY42" fmla="*/ 2454275 h 2454275"/>
                  <a:gd name="connsiteX0" fmla="*/ 445813 w 445813"/>
                  <a:gd name="connsiteY0" fmla="*/ 0 h 2390775"/>
                  <a:gd name="connsiteX1" fmla="*/ 407713 w 445813"/>
                  <a:gd name="connsiteY1" fmla="*/ 66675 h 2390775"/>
                  <a:gd name="connsiteX2" fmla="*/ 353738 w 445813"/>
                  <a:gd name="connsiteY2" fmla="*/ 85725 h 2390775"/>
                  <a:gd name="connsiteX3" fmla="*/ 283888 w 445813"/>
                  <a:gd name="connsiteY3" fmla="*/ 98425 h 2390775"/>
                  <a:gd name="connsiteX4" fmla="*/ 223563 w 445813"/>
                  <a:gd name="connsiteY4" fmla="*/ 133350 h 2390775"/>
                  <a:gd name="connsiteX5" fmla="*/ 121963 w 445813"/>
                  <a:gd name="connsiteY5" fmla="*/ 196850 h 2390775"/>
                  <a:gd name="connsiteX6" fmla="*/ 131488 w 445813"/>
                  <a:gd name="connsiteY6" fmla="*/ 247650 h 2390775"/>
                  <a:gd name="connsiteX7" fmla="*/ 172763 w 445813"/>
                  <a:gd name="connsiteY7" fmla="*/ 276225 h 2390775"/>
                  <a:gd name="connsiteX8" fmla="*/ 185463 w 445813"/>
                  <a:gd name="connsiteY8" fmla="*/ 327025 h 2390775"/>
                  <a:gd name="connsiteX9" fmla="*/ 239438 w 445813"/>
                  <a:gd name="connsiteY9" fmla="*/ 368300 h 2390775"/>
                  <a:gd name="connsiteX10" fmla="*/ 239438 w 445813"/>
                  <a:gd name="connsiteY10" fmla="*/ 412750 h 2390775"/>
                  <a:gd name="connsiteX11" fmla="*/ 207688 w 445813"/>
                  <a:gd name="connsiteY11" fmla="*/ 454025 h 2390775"/>
                  <a:gd name="connsiteX12" fmla="*/ 287063 w 445813"/>
                  <a:gd name="connsiteY12" fmla="*/ 479425 h 2390775"/>
                  <a:gd name="connsiteX13" fmla="*/ 302938 w 445813"/>
                  <a:gd name="connsiteY13" fmla="*/ 511175 h 2390775"/>
                  <a:gd name="connsiteX14" fmla="*/ 210863 w 445813"/>
                  <a:gd name="connsiteY14" fmla="*/ 581025 h 2390775"/>
                  <a:gd name="connsiteX15" fmla="*/ 160063 w 445813"/>
                  <a:gd name="connsiteY15" fmla="*/ 638175 h 2390775"/>
                  <a:gd name="connsiteX16" fmla="*/ 160063 w 445813"/>
                  <a:gd name="connsiteY16" fmla="*/ 695325 h 2390775"/>
                  <a:gd name="connsiteX17" fmla="*/ 185463 w 445813"/>
                  <a:gd name="connsiteY17" fmla="*/ 784225 h 2390775"/>
                  <a:gd name="connsiteX18" fmla="*/ 194988 w 445813"/>
                  <a:gd name="connsiteY18" fmla="*/ 835025 h 2390775"/>
                  <a:gd name="connsiteX19" fmla="*/ 204513 w 445813"/>
                  <a:gd name="connsiteY19" fmla="*/ 885825 h 2390775"/>
                  <a:gd name="connsiteX20" fmla="*/ 220388 w 445813"/>
                  <a:gd name="connsiteY20" fmla="*/ 923925 h 2390775"/>
                  <a:gd name="connsiteX21" fmla="*/ 163238 w 445813"/>
                  <a:gd name="connsiteY21" fmla="*/ 1022350 h 2390775"/>
                  <a:gd name="connsiteX22" fmla="*/ 96563 w 445813"/>
                  <a:gd name="connsiteY22" fmla="*/ 1057275 h 2390775"/>
                  <a:gd name="connsiteX23" fmla="*/ 52113 w 445813"/>
                  <a:gd name="connsiteY23" fmla="*/ 1143000 h 2390775"/>
                  <a:gd name="connsiteX24" fmla="*/ 20363 w 445813"/>
                  <a:gd name="connsiteY24" fmla="*/ 1244600 h 2390775"/>
                  <a:gd name="connsiteX25" fmla="*/ 1313 w 445813"/>
                  <a:gd name="connsiteY25" fmla="*/ 1346200 h 2390775"/>
                  <a:gd name="connsiteX26" fmla="*/ 10838 w 445813"/>
                  <a:gd name="connsiteY26" fmla="*/ 1438275 h 2390775"/>
                  <a:gd name="connsiteX27" fmla="*/ 83863 w 445813"/>
                  <a:gd name="connsiteY27" fmla="*/ 1511300 h 2390775"/>
                  <a:gd name="connsiteX28" fmla="*/ 112438 w 445813"/>
                  <a:gd name="connsiteY28" fmla="*/ 1558925 h 2390775"/>
                  <a:gd name="connsiteX29" fmla="*/ 150538 w 445813"/>
                  <a:gd name="connsiteY29" fmla="*/ 1590675 h 2390775"/>
                  <a:gd name="connsiteX30" fmla="*/ 169588 w 445813"/>
                  <a:gd name="connsiteY30" fmla="*/ 1644650 h 2390775"/>
                  <a:gd name="connsiteX31" fmla="*/ 226738 w 445813"/>
                  <a:gd name="connsiteY31" fmla="*/ 1685925 h 2390775"/>
                  <a:gd name="connsiteX32" fmla="*/ 264838 w 445813"/>
                  <a:gd name="connsiteY32" fmla="*/ 1730375 h 2390775"/>
                  <a:gd name="connsiteX33" fmla="*/ 277538 w 445813"/>
                  <a:gd name="connsiteY33" fmla="*/ 1758950 h 2390775"/>
                  <a:gd name="connsiteX34" fmla="*/ 277538 w 445813"/>
                  <a:gd name="connsiteY34" fmla="*/ 1828800 h 2390775"/>
                  <a:gd name="connsiteX35" fmla="*/ 325163 w 445813"/>
                  <a:gd name="connsiteY35" fmla="*/ 1905000 h 2390775"/>
                  <a:gd name="connsiteX36" fmla="*/ 363263 w 445813"/>
                  <a:gd name="connsiteY36" fmla="*/ 1962150 h 2390775"/>
                  <a:gd name="connsiteX37" fmla="*/ 369613 w 445813"/>
                  <a:gd name="connsiteY37" fmla="*/ 2028825 h 2390775"/>
                  <a:gd name="connsiteX38" fmla="*/ 407713 w 445813"/>
                  <a:gd name="connsiteY38" fmla="*/ 2085975 h 2390775"/>
                  <a:gd name="connsiteX39" fmla="*/ 414063 w 445813"/>
                  <a:gd name="connsiteY39" fmla="*/ 2255981 h 2390775"/>
                  <a:gd name="connsiteX40" fmla="*/ 242901 w 445813"/>
                  <a:gd name="connsiteY40" fmla="*/ 2278784 h 2390775"/>
                  <a:gd name="connsiteX41" fmla="*/ 201338 w 445813"/>
                  <a:gd name="connsiteY41" fmla="*/ 2390775 h 2390775"/>
                  <a:gd name="connsiteX0" fmla="*/ 445813 w 445813"/>
                  <a:gd name="connsiteY0" fmla="*/ 0 h 2291810"/>
                  <a:gd name="connsiteX1" fmla="*/ 407713 w 445813"/>
                  <a:gd name="connsiteY1" fmla="*/ 66675 h 2291810"/>
                  <a:gd name="connsiteX2" fmla="*/ 353738 w 445813"/>
                  <a:gd name="connsiteY2" fmla="*/ 85725 h 2291810"/>
                  <a:gd name="connsiteX3" fmla="*/ 283888 w 445813"/>
                  <a:gd name="connsiteY3" fmla="*/ 98425 h 2291810"/>
                  <a:gd name="connsiteX4" fmla="*/ 223563 w 445813"/>
                  <a:gd name="connsiteY4" fmla="*/ 133350 h 2291810"/>
                  <a:gd name="connsiteX5" fmla="*/ 121963 w 445813"/>
                  <a:gd name="connsiteY5" fmla="*/ 196850 h 2291810"/>
                  <a:gd name="connsiteX6" fmla="*/ 131488 w 445813"/>
                  <a:gd name="connsiteY6" fmla="*/ 247650 h 2291810"/>
                  <a:gd name="connsiteX7" fmla="*/ 172763 w 445813"/>
                  <a:gd name="connsiteY7" fmla="*/ 276225 h 2291810"/>
                  <a:gd name="connsiteX8" fmla="*/ 185463 w 445813"/>
                  <a:gd name="connsiteY8" fmla="*/ 327025 h 2291810"/>
                  <a:gd name="connsiteX9" fmla="*/ 239438 w 445813"/>
                  <a:gd name="connsiteY9" fmla="*/ 368300 h 2291810"/>
                  <a:gd name="connsiteX10" fmla="*/ 239438 w 445813"/>
                  <a:gd name="connsiteY10" fmla="*/ 412750 h 2291810"/>
                  <a:gd name="connsiteX11" fmla="*/ 207688 w 445813"/>
                  <a:gd name="connsiteY11" fmla="*/ 454025 h 2291810"/>
                  <a:gd name="connsiteX12" fmla="*/ 287063 w 445813"/>
                  <a:gd name="connsiteY12" fmla="*/ 479425 h 2291810"/>
                  <a:gd name="connsiteX13" fmla="*/ 302938 w 445813"/>
                  <a:gd name="connsiteY13" fmla="*/ 511175 h 2291810"/>
                  <a:gd name="connsiteX14" fmla="*/ 210863 w 445813"/>
                  <a:gd name="connsiteY14" fmla="*/ 581025 h 2291810"/>
                  <a:gd name="connsiteX15" fmla="*/ 160063 w 445813"/>
                  <a:gd name="connsiteY15" fmla="*/ 638175 h 2291810"/>
                  <a:gd name="connsiteX16" fmla="*/ 160063 w 445813"/>
                  <a:gd name="connsiteY16" fmla="*/ 695325 h 2291810"/>
                  <a:gd name="connsiteX17" fmla="*/ 185463 w 445813"/>
                  <a:gd name="connsiteY17" fmla="*/ 784225 h 2291810"/>
                  <a:gd name="connsiteX18" fmla="*/ 194988 w 445813"/>
                  <a:gd name="connsiteY18" fmla="*/ 835025 h 2291810"/>
                  <a:gd name="connsiteX19" fmla="*/ 204513 w 445813"/>
                  <a:gd name="connsiteY19" fmla="*/ 885825 h 2291810"/>
                  <a:gd name="connsiteX20" fmla="*/ 220388 w 445813"/>
                  <a:gd name="connsiteY20" fmla="*/ 923925 h 2291810"/>
                  <a:gd name="connsiteX21" fmla="*/ 163238 w 445813"/>
                  <a:gd name="connsiteY21" fmla="*/ 1022350 h 2291810"/>
                  <a:gd name="connsiteX22" fmla="*/ 96563 w 445813"/>
                  <a:gd name="connsiteY22" fmla="*/ 1057275 h 2291810"/>
                  <a:gd name="connsiteX23" fmla="*/ 52113 w 445813"/>
                  <a:gd name="connsiteY23" fmla="*/ 1143000 h 2291810"/>
                  <a:gd name="connsiteX24" fmla="*/ 20363 w 445813"/>
                  <a:gd name="connsiteY24" fmla="*/ 1244600 h 2291810"/>
                  <a:gd name="connsiteX25" fmla="*/ 1313 w 445813"/>
                  <a:gd name="connsiteY25" fmla="*/ 1346200 h 2291810"/>
                  <a:gd name="connsiteX26" fmla="*/ 10838 w 445813"/>
                  <a:gd name="connsiteY26" fmla="*/ 1438275 h 2291810"/>
                  <a:gd name="connsiteX27" fmla="*/ 83863 w 445813"/>
                  <a:gd name="connsiteY27" fmla="*/ 1511300 h 2291810"/>
                  <a:gd name="connsiteX28" fmla="*/ 112438 w 445813"/>
                  <a:gd name="connsiteY28" fmla="*/ 1558925 h 2291810"/>
                  <a:gd name="connsiteX29" fmla="*/ 150538 w 445813"/>
                  <a:gd name="connsiteY29" fmla="*/ 1590675 h 2291810"/>
                  <a:gd name="connsiteX30" fmla="*/ 169588 w 445813"/>
                  <a:gd name="connsiteY30" fmla="*/ 1644650 h 2291810"/>
                  <a:gd name="connsiteX31" fmla="*/ 226738 w 445813"/>
                  <a:gd name="connsiteY31" fmla="*/ 1685925 h 2291810"/>
                  <a:gd name="connsiteX32" fmla="*/ 264838 w 445813"/>
                  <a:gd name="connsiteY32" fmla="*/ 1730375 h 2291810"/>
                  <a:gd name="connsiteX33" fmla="*/ 277538 w 445813"/>
                  <a:gd name="connsiteY33" fmla="*/ 1758950 h 2291810"/>
                  <a:gd name="connsiteX34" fmla="*/ 277538 w 445813"/>
                  <a:gd name="connsiteY34" fmla="*/ 1828800 h 2291810"/>
                  <a:gd name="connsiteX35" fmla="*/ 325163 w 445813"/>
                  <a:gd name="connsiteY35" fmla="*/ 1905000 h 2291810"/>
                  <a:gd name="connsiteX36" fmla="*/ 363263 w 445813"/>
                  <a:gd name="connsiteY36" fmla="*/ 1962150 h 2291810"/>
                  <a:gd name="connsiteX37" fmla="*/ 369613 w 445813"/>
                  <a:gd name="connsiteY37" fmla="*/ 2028825 h 2291810"/>
                  <a:gd name="connsiteX38" fmla="*/ 407713 w 445813"/>
                  <a:gd name="connsiteY38" fmla="*/ 2085975 h 2291810"/>
                  <a:gd name="connsiteX39" fmla="*/ 414063 w 445813"/>
                  <a:gd name="connsiteY39" fmla="*/ 2255981 h 2291810"/>
                  <a:gd name="connsiteX40" fmla="*/ 242901 w 445813"/>
                  <a:gd name="connsiteY40" fmla="*/ 2278784 h 2291810"/>
                  <a:gd name="connsiteX0" fmla="*/ 445813 w 445813"/>
                  <a:gd name="connsiteY0" fmla="*/ 0 h 2255981"/>
                  <a:gd name="connsiteX1" fmla="*/ 407713 w 445813"/>
                  <a:gd name="connsiteY1" fmla="*/ 66675 h 2255981"/>
                  <a:gd name="connsiteX2" fmla="*/ 353738 w 445813"/>
                  <a:gd name="connsiteY2" fmla="*/ 85725 h 2255981"/>
                  <a:gd name="connsiteX3" fmla="*/ 283888 w 445813"/>
                  <a:gd name="connsiteY3" fmla="*/ 98425 h 2255981"/>
                  <a:gd name="connsiteX4" fmla="*/ 223563 w 445813"/>
                  <a:gd name="connsiteY4" fmla="*/ 133350 h 2255981"/>
                  <a:gd name="connsiteX5" fmla="*/ 121963 w 445813"/>
                  <a:gd name="connsiteY5" fmla="*/ 196850 h 2255981"/>
                  <a:gd name="connsiteX6" fmla="*/ 131488 w 445813"/>
                  <a:gd name="connsiteY6" fmla="*/ 247650 h 2255981"/>
                  <a:gd name="connsiteX7" fmla="*/ 172763 w 445813"/>
                  <a:gd name="connsiteY7" fmla="*/ 276225 h 2255981"/>
                  <a:gd name="connsiteX8" fmla="*/ 185463 w 445813"/>
                  <a:gd name="connsiteY8" fmla="*/ 327025 h 2255981"/>
                  <a:gd name="connsiteX9" fmla="*/ 239438 w 445813"/>
                  <a:gd name="connsiteY9" fmla="*/ 368300 h 2255981"/>
                  <a:gd name="connsiteX10" fmla="*/ 239438 w 445813"/>
                  <a:gd name="connsiteY10" fmla="*/ 412750 h 2255981"/>
                  <a:gd name="connsiteX11" fmla="*/ 207688 w 445813"/>
                  <a:gd name="connsiteY11" fmla="*/ 454025 h 2255981"/>
                  <a:gd name="connsiteX12" fmla="*/ 287063 w 445813"/>
                  <a:gd name="connsiteY12" fmla="*/ 479425 h 2255981"/>
                  <a:gd name="connsiteX13" fmla="*/ 302938 w 445813"/>
                  <a:gd name="connsiteY13" fmla="*/ 511175 h 2255981"/>
                  <a:gd name="connsiteX14" fmla="*/ 210863 w 445813"/>
                  <a:gd name="connsiteY14" fmla="*/ 581025 h 2255981"/>
                  <a:gd name="connsiteX15" fmla="*/ 160063 w 445813"/>
                  <a:gd name="connsiteY15" fmla="*/ 638175 h 2255981"/>
                  <a:gd name="connsiteX16" fmla="*/ 160063 w 445813"/>
                  <a:gd name="connsiteY16" fmla="*/ 695325 h 2255981"/>
                  <a:gd name="connsiteX17" fmla="*/ 185463 w 445813"/>
                  <a:gd name="connsiteY17" fmla="*/ 784225 h 2255981"/>
                  <a:gd name="connsiteX18" fmla="*/ 194988 w 445813"/>
                  <a:gd name="connsiteY18" fmla="*/ 835025 h 2255981"/>
                  <a:gd name="connsiteX19" fmla="*/ 204513 w 445813"/>
                  <a:gd name="connsiteY19" fmla="*/ 885825 h 2255981"/>
                  <a:gd name="connsiteX20" fmla="*/ 220388 w 445813"/>
                  <a:gd name="connsiteY20" fmla="*/ 923925 h 2255981"/>
                  <a:gd name="connsiteX21" fmla="*/ 163238 w 445813"/>
                  <a:gd name="connsiteY21" fmla="*/ 1022350 h 2255981"/>
                  <a:gd name="connsiteX22" fmla="*/ 96563 w 445813"/>
                  <a:gd name="connsiteY22" fmla="*/ 1057275 h 2255981"/>
                  <a:gd name="connsiteX23" fmla="*/ 52113 w 445813"/>
                  <a:gd name="connsiteY23" fmla="*/ 1143000 h 2255981"/>
                  <a:gd name="connsiteX24" fmla="*/ 20363 w 445813"/>
                  <a:gd name="connsiteY24" fmla="*/ 1244600 h 2255981"/>
                  <a:gd name="connsiteX25" fmla="*/ 1313 w 445813"/>
                  <a:gd name="connsiteY25" fmla="*/ 1346200 h 2255981"/>
                  <a:gd name="connsiteX26" fmla="*/ 10838 w 445813"/>
                  <a:gd name="connsiteY26" fmla="*/ 1438275 h 2255981"/>
                  <a:gd name="connsiteX27" fmla="*/ 83863 w 445813"/>
                  <a:gd name="connsiteY27" fmla="*/ 1511300 h 2255981"/>
                  <a:gd name="connsiteX28" fmla="*/ 112438 w 445813"/>
                  <a:gd name="connsiteY28" fmla="*/ 1558925 h 2255981"/>
                  <a:gd name="connsiteX29" fmla="*/ 150538 w 445813"/>
                  <a:gd name="connsiteY29" fmla="*/ 1590675 h 2255981"/>
                  <a:gd name="connsiteX30" fmla="*/ 169588 w 445813"/>
                  <a:gd name="connsiteY30" fmla="*/ 1644650 h 2255981"/>
                  <a:gd name="connsiteX31" fmla="*/ 226738 w 445813"/>
                  <a:gd name="connsiteY31" fmla="*/ 1685925 h 2255981"/>
                  <a:gd name="connsiteX32" fmla="*/ 264838 w 445813"/>
                  <a:gd name="connsiteY32" fmla="*/ 1730375 h 2255981"/>
                  <a:gd name="connsiteX33" fmla="*/ 277538 w 445813"/>
                  <a:gd name="connsiteY33" fmla="*/ 1758950 h 2255981"/>
                  <a:gd name="connsiteX34" fmla="*/ 277538 w 445813"/>
                  <a:gd name="connsiteY34" fmla="*/ 1828800 h 2255981"/>
                  <a:gd name="connsiteX35" fmla="*/ 325163 w 445813"/>
                  <a:gd name="connsiteY35" fmla="*/ 1905000 h 2255981"/>
                  <a:gd name="connsiteX36" fmla="*/ 363263 w 445813"/>
                  <a:gd name="connsiteY36" fmla="*/ 1962150 h 2255981"/>
                  <a:gd name="connsiteX37" fmla="*/ 369613 w 445813"/>
                  <a:gd name="connsiteY37" fmla="*/ 2028825 h 2255981"/>
                  <a:gd name="connsiteX38" fmla="*/ 407713 w 445813"/>
                  <a:gd name="connsiteY38" fmla="*/ 2085975 h 2255981"/>
                  <a:gd name="connsiteX39" fmla="*/ 414063 w 445813"/>
                  <a:gd name="connsiteY39" fmla="*/ 2255981 h 2255981"/>
                  <a:gd name="connsiteX0" fmla="*/ 445813 w 445813"/>
                  <a:gd name="connsiteY0" fmla="*/ 0 h 2085975"/>
                  <a:gd name="connsiteX1" fmla="*/ 407713 w 445813"/>
                  <a:gd name="connsiteY1" fmla="*/ 66675 h 2085975"/>
                  <a:gd name="connsiteX2" fmla="*/ 353738 w 445813"/>
                  <a:gd name="connsiteY2" fmla="*/ 85725 h 2085975"/>
                  <a:gd name="connsiteX3" fmla="*/ 283888 w 445813"/>
                  <a:gd name="connsiteY3" fmla="*/ 98425 h 2085975"/>
                  <a:gd name="connsiteX4" fmla="*/ 223563 w 445813"/>
                  <a:gd name="connsiteY4" fmla="*/ 133350 h 2085975"/>
                  <a:gd name="connsiteX5" fmla="*/ 121963 w 445813"/>
                  <a:gd name="connsiteY5" fmla="*/ 196850 h 2085975"/>
                  <a:gd name="connsiteX6" fmla="*/ 131488 w 445813"/>
                  <a:gd name="connsiteY6" fmla="*/ 247650 h 2085975"/>
                  <a:gd name="connsiteX7" fmla="*/ 172763 w 445813"/>
                  <a:gd name="connsiteY7" fmla="*/ 276225 h 2085975"/>
                  <a:gd name="connsiteX8" fmla="*/ 185463 w 445813"/>
                  <a:gd name="connsiteY8" fmla="*/ 327025 h 2085975"/>
                  <a:gd name="connsiteX9" fmla="*/ 239438 w 445813"/>
                  <a:gd name="connsiteY9" fmla="*/ 368300 h 2085975"/>
                  <a:gd name="connsiteX10" fmla="*/ 239438 w 445813"/>
                  <a:gd name="connsiteY10" fmla="*/ 412750 h 2085975"/>
                  <a:gd name="connsiteX11" fmla="*/ 207688 w 445813"/>
                  <a:gd name="connsiteY11" fmla="*/ 454025 h 2085975"/>
                  <a:gd name="connsiteX12" fmla="*/ 287063 w 445813"/>
                  <a:gd name="connsiteY12" fmla="*/ 479425 h 2085975"/>
                  <a:gd name="connsiteX13" fmla="*/ 302938 w 445813"/>
                  <a:gd name="connsiteY13" fmla="*/ 511175 h 2085975"/>
                  <a:gd name="connsiteX14" fmla="*/ 210863 w 445813"/>
                  <a:gd name="connsiteY14" fmla="*/ 581025 h 2085975"/>
                  <a:gd name="connsiteX15" fmla="*/ 160063 w 445813"/>
                  <a:gd name="connsiteY15" fmla="*/ 638175 h 2085975"/>
                  <a:gd name="connsiteX16" fmla="*/ 160063 w 445813"/>
                  <a:gd name="connsiteY16" fmla="*/ 695325 h 2085975"/>
                  <a:gd name="connsiteX17" fmla="*/ 185463 w 445813"/>
                  <a:gd name="connsiteY17" fmla="*/ 784225 h 2085975"/>
                  <a:gd name="connsiteX18" fmla="*/ 194988 w 445813"/>
                  <a:gd name="connsiteY18" fmla="*/ 835025 h 2085975"/>
                  <a:gd name="connsiteX19" fmla="*/ 204513 w 445813"/>
                  <a:gd name="connsiteY19" fmla="*/ 885825 h 2085975"/>
                  <a:gd name="connsiteX20" fmla="*/ 220388 w 445813"/>
                  <a:gd name="connsiteY20" fmla="*/ 923925 h 2085975"/>
                  <a:gd name="connsiteX21" fmla="*/ 163238 w 445813"/>
                  <a:gd name="connsiteY21" fmla="*/ 1022350 h 2085975"/>
                  <a:gd name="connsiteX22" fmla="*/ 96563 w 445813"/>
                  <a:gd name="connsiteY22" fmla="*/ 1057275 h 2085975"/>
                  <a:gd name="connsiteX23" fmla="*/ 52113 w 445813"/>
                  <a:gd name="connsiteY23" fmla="*/ 1143000 h 2085975"/>
                  <a:gd name="connsiteX24" fmla="*/ 20363 w 445813"/>
                  <a:gd name="connsiteY24" fmla="*/ 1244600 h 2085975"/>
                  <a:gd name="connsiteX25" fmla="*/ 1313 w 445813"/>
                  <a:gd name="connsiteY25" fmla="*/ 1346200 h 2085975"/>
                  <a:gd name="connsiteX26" fmla="*/ 10838 w 445813"/>
                  <a:gd name="connsiteY26" fmla="*/ 1438275 h 2085975"/>
                  <a:gd name="connsiteX27" fmla="*/ 83863 w 445813"/>
                  <a:gd name="connsiteY27" fmla="*/ 1511300 h 2085975"/>
                  <a:gd name="connsiteX28" fmla="*/ 112438 w 445813"/>
                  <a:gd name="connsiteY28" fmla="*/ 1558925 h 2085975"/>
                  <a:gd name="connsiteX29" fmla="*/ 150538 w 445813"/>
                  <a:gd name="connsiteY29" fmla="*/ 1590675 h 2085975"/>
                  <a:gd name="connsiteX30" fmla="*/ 169588 w 445813"/>
                  <a:gd name="connsiteY30" fmla="*/ 1644650 h 2085975"/>
                  <a:gd name="connsiteX31" fmla="*/ 226738 w 445813"/>
                  <a:gd name="connsiteY31" fmla="*/ 1685925 h 2085975"/>
                  <a:gd name="connsiteX32" fmla="*/ 264838 w 445813"/>
                  <a:gd name="connsiteY32" fmla="*/ 1730375 h 2085975"/>
                  <a:gd name="connsiteX33" fmla="*/ 277538 w 445813"/>
                  <a:gd name="connsiteY33" fmla="*/ 1758950 h 2085975"/>
                  <a:gd name="connsiteX34" fmla="*/ 277538 w 445813"/>
                  <a:gd name="connsiteY34" fmla="*/ 1828800 h 2085975"/>
                  <a:gd name="connsiteX35" fmla="*/ 325163 w 445813"/>
                  <a:gd name="connsiteY35" fmla="*/ 1905000 h 2085975"/>
                  <a:gd name="connsiteX36" fmla="*/ 363263 w 445813"/>
                  <a:gd name="connsiteY36" fmla="*/ 1962150 h 2085975"/>
                  <a:gd name="connsiteX37" fmla="*/ 369613 w 445813"/>
                  <a:gd name="connsiteY37" fmla="*/ 2028825 h 2085975"/>
                  <a:gd name="connsiteX38" fmla="*/ 407713 w 445813"/>
                  <a:gd name="connsiteY38" fmla="*/ 2085975 h 2085975"/>
                  <a:gd name="connsiteX0" fmla="*/ 445813 w 509313"/>
                  <a:gd name="connsiteY0" fmla="*/ 0 h 2261466"/>
                  <a:gd name="connsiteX1" fmla="*/ 407713 w 509313"/>
                  <a:gd name="connsiteY1" fmla="*/ 66675 h 2261466"/>
                  <a:gd name="connsiteX2" fmla="*/ 353738 w 509313"/>
                  <a:gd name="connsiteY2" fmla="*/ 85725 h 2261466"/>
                  <a:gd name="connsiteX3" fmla="*/ 283888 w 509313"/>
                  <a:gd name="connsiteY3" fmla="*/ 98425 h 2261466"/>
                  <a:gd name="connsiteX4" fmla="*/ 223563 w 509313"/>
                  <a:gd name="connsiteY4" fmla="*/ 133350 h 2261466"/>
                  <a:gd name="connsiteX5" fmla="*/ 121963 w 509313"/>
                  <a:gd name="connsiteY5" fmla="*/ 196850 h 2261466"/>
                  <a:gd name="connsiteX6" fmla="*/ 131488 w 509313"/>
                  <a:gd name="connsiteY6" fmla="*/ 247650 h 2261466"/>
                  <a:gd name="connsiteX7" fmla="*/ 172763 w 509313"/>
                  <a:gd name="connsiteY7" fmla="*/ 276225 h 2261466"/>
                  <a:gd name="connsiteX8" fmla="*/ 185463 w 509313"/>
                  <a:gd name="connsiteY8" fmla="*/ 327025 h 2261466"/>
                  <a:gd name="connsiteX9" fmla="*/ 239438 w 509313"/>
                  <a:gd name="connsiteY9" fmla="*/ 368300 h 2261466"/>
                  <a:gd name="connsiteX10" fmla="*/ 239438 w 509313"/>
                  <a:gd name="connsiteY10" fmla="*/ 412750 h 2261466"/>
                  <a:gd name="connsiteX11" fmla="*/ 207688 w 509313"/>
                  <a:gd name="connsiteY11" fmla="*/ 454025 h 2261466"/>
                  <a:gd name="connsiteX12" fmla="*/ 287063 w 509313"/>
                  <a:gd name="connsiteY12" fmla="*/ 479425 h 2261466"/>
                  <a:gd name="connsiteX13" fmla="*/ 302938 w 509313"/>
                  <a:gd name="connsiteY13" fmla="*/ 511175 h 2261466"/>
                  <a:gd name="connsiteX14" fmla="*/ 210863 w 509313"/>
                  <a:gd name="connsiteY14" fmla="*/ 581025 h 2261466"/>
                  <a:gd name="connsiteX15" fmla="*/ 160063 w 509313"/>
                  <a:gd name="connsiteY15" fmla="*/ 638175 h 2261466"/>
                  <a:gd name="connsiteX16" fmla="*/ 160063 w 509313"/>
                  <a:gd name="connsiteY16" fmla="*/ 695325 h 2261466"/>
                  <a:gd name="connsiteX17" fmla="*/ 185463 w 509313"/>
                  <a:gd name="connsiteY17" fmla="*/ 784225 h 2261466"/>
                  <a:gd name="connsiteX18" fmla="*/ 194988 w 509313"/>
                  <a:gd name="connsiteY18" fmla="*/ 835025 h 2261466"/>
                  <a:gd name="connsiteX19" fmla="*/ 204513 w 509313"/>
                  <a:gd name="connsiteY19" fmla="*/ 885825 h 2261466"/>
                  <a:gd name="connsiteX20" fmla="*/ 220388 w 509313"/>
                  <a:gd name="connsiteY20" fmla="*/ 923925 h 2261466"/>
                  <a:gd name="connsiteX21" fmla="*/ 163238 w 509313"/>
                  <a:gd name="connsiteY21" fmla="*/ 1022350 h 2261466"/>
                  <a:gd name="connsiteX22" fmla="*/ 96563 w 509313"/>
                  <a:gd name="connsiteY22" fmla="*/ 1057275 h 2261466"/>
                  <a:gd name="connsiteX23" fmla="*/ 52113 w 509313"/>
                  <a:gd name="connsiteY23" fmla="*/ 1143000 h 2261466"/>
                  <a:gd name="connsiteX24" fmla="*/ 20363 w 509313"/>
                  <a:gd name="connsiteY24" fmla="*/ 1244600 h 2261466"/>
                  <a:gd name="connsiteX25" fmla="*/ 1313 w 509313"/>
                  <a:gd name="connsiteY25" fmla="*/ 1346200 h 2261466"/>
                  <a:gd name="connsiteX26" fmla="*/ 10838 w 509313"/>
                  <a:gd name="connsiteY26" fmla="*/ 1438275 h 2261466"/>
                  <a:gd name="connsiteX27" fmla="*/ 83863 w 509313"/>
                  <a:gd name="connsiteY27" fmla="*/ 1511300 h 2261466"/>
                  <a:gd name="connsiteX28" fmla="*/ 112438 w 509313"/>
                  <a:gd name="connsiteY28" fmla="*/ 1558925 h 2261466"/>
                  <a:gd name="connsiteX29" fmla="*/ 150538 w 509313"/>
                  <a:gd name="connsiteY29" fmla="*/ 1590675 h 2261466"/>
                  <a:gd name="connsiteX30" fmla="*/ 169588 w 509313"/>
                  <a:gd name="connsiteY30" fmla="*/ 1644650 h 2261466"/>
                  <a:gd name="connsiteX31" fmla="*/ 226738 w 509313"/>
                  <a:gd name="connsiteY31" fmla="*/ 1685925 h 2261466"/>
                  <a:gd name="connsiteX32" fmla="*/ 264838 w 509313"/>
                  <a:gd name="connsiteY32" fmla="*/ 1730375 h 2261466"/>
                  <a:gd name="connsiteX33" fmla="*/ 277538 w 509313"/>
                  <a:gd name="connsiteY33" fmla="*/ 1758950 h 2261466"/>
                  <a:gd name="connsiteX34" fmla="*/ 277538 w 509313"/>
                  <a:gd name="connsiteY34" fmla="*/ 1828800 h 2261466"/>
                  <a:gd name="connsiteX35" fmla="*/ 325163 w 509313"/>
                  <a:gd name="connsiteY35" fmla="*/ 1905000 h 2261466"/>
                  <a:gd name="connsiteX36" fmla="*/ 363263 w 509313"/>
                  <a:gd name="connsiteY36" fmla="*/ 1962150 h 2261466"/>
                  <a:gd name="connsiteX37" fmla="*/ 369613 w 509313"/>
                  <a:gd name="connsiteY37" fmla="*/ 2028825 h 2261466"/>
                  <a:gd name="connsiteX38" fmla="*/ 509313 w 509313"/>
                  <a:gd name="connsiteY38" fmla="*/ 2261466 h 2261466"/>
                  <a:gd name="connsiteX0" fmla="*/ 445813 w 511375"/>
                  <a:gd name="connsiteY0" fmla="*/ 0 h 2261466"/>
                  <a:gd name="connsiteX1" fmla="*/ 407713 w 511375"/>
                  <a:gd name="connsiteY1" fmla="*/ 66675 h 2261466"/>
                  <a:gd name="connsiteX2" fmla="*/ 353738 w 511375"/>
                  <a:gd name="connsiteY2" fmla="*/ 85725 h 2261466"/>
                  <a:gd name="connsiteX3" fmla="*/ 283888 w 511375"/>
                  <a:gd name="connsiteY3" fmla="*/ 98425 h 2261466"/>
                  <a:gd name="connsiteX4" fmla="*/ 223563 w 511375"/>
                  <a:gd name="connsiteY4" fmla="*/ 133350 h 2261466"/>
                  <a:gd name="connsiteX5" fmla="*/ 121963 w 511375"/>
                  <a:gd name="connsiteY5" fmla="*/ 196850 h 2261466"/>
                  <a:gd name="connsiteX6" fmla="*/ 131488 w 511375"/>
                  <a:gd name="connsiteY6" fmla="*/ 247650 h 2261466"/>
                  <a:gd name="connsiteX7" fmla="*/ 172763 w 511375"/>
                  <a:gd name="connsiteY7" fmla="*/ 276225 h 2261466"/>
                  <a:gd name="connsiteX8" fmla="*/ 185463 w 511375"/>
                  <a:gd name="connsiteY8" fmla="*/ 327025 h 2261466"/>
                  <a:gd name="connsiteX9" fmla="*/ 239438 w 511375"/>
                  <a:gd name="connsiteY9" fmla="*/ 368300 h 2261466"/>
                  <a:gd name="connsiteX10" fmla="*/ 239438 w 511375"/>
                  <a:gd name="connsiteY10" fmla="*/ 412750 h 2261466"/>
                  <a:gd name="connsiteX11" fmla="*/ 207688 w 511375"/>
                  <a:gd name="connsiteY11" fmla="*/ 454025 h 2261466"/>
                  <a:gd name="connsiteX12" fmla="*/ 287063 w 511375"/>
                  <a:gd name="connsiteY12" fmla="*/ 479425 h 2261466"/>
                  <a:gd name="connsiteX13" fmla="*/ 302938 w 511375"/>
                  <a:gd name="connsiteY13" fmla="*/ 511175 h 2261466"/>
                  <a:gd name="connsiteX14" fmla="*/ 210863 w 511375"/>
                  <a:gd name="connsiteY14" fmla="*/ 581025 h 2261466"/>
                  <a:gd name="connsiteX15" fmla="*/ 160063 w 511375"/>
                  <a:gd name="connsiteY15" fmla="*/ 638175 h 2261466"/>
                  <a:gd name="connsiteX16" fmla="*/ 160063 w 511375"/>
                  <a:gd name="connsiteY16" fmla="*/ 695325 h 2261466"/>
                  <a:gd name="connsiteX17" fmla="*/ 185463 w 511375"/>
                  <a:gd name="connsiteY17" fmla="*/ 784225 h 2261466"/>
                  <a:gd name="connsiteX18" fmla="*/ 194988 w 511375"/>
                  <a:gd name="connsiteY18" fmla="*/ 835025 h 2261466"/>
                  <a:gd name="connsiteX19" fmla="*/ 204513 w 511375"/>
                  <a:gd name="connsiteY19" fmla="*/ 885825 h 2261466"/>
                  <a:gd name="connsiteX20" fmla="*/ 220388 w 511375"/>
                  <a:gd name="connsiteY20" fmla="*/ 923925 h 2261466"/>
                  <a:gd name="connsiteX21" fmla="*/ 163238 w 511375"/>
                  <a:gd name="connsiteY21" fmla="*/ 1022350 h 2261466"/>
                  <a:gd name="connsiteX22" fmla="*/ 96563 w 511375"/>
                  <a:gd name="connsiteY22" fmla="*/ 1057275 h 2261466"/>
                  <a:gd name="connsiteX23" fmla="*/ 52113 w 511375"/>
                  <a:gd name="connsiteY23" fmla="*/ 1143000 h 2261466"/>
                  <a:gd name="connsiteX24" fmla="*/ 20363 w 511375"/>
                  <a:gd name="connsiteY24" fmla="*/ 1244600 h 2261466"/>
                  <a:gd name="connsiteX25" fmla="*/ 1313 w 511375"/>
                  <a:gd name="connsiteY25" fmla="*/ 1346200 h 2261466"/>
                  <a:gd name="connsiteX26" fmla="*/ 10838 w 511375"/>
                  <a:gd name="connsiteY26" fmla="*/ 1438275 h 2261466"/>
                  <a:gd name="connsiteX27" fmla="*/ 83863 w 511375"/>
                  <a:gd name="connsiteY27" fmla="*/ 1511300 h 2261466"/>
                  <a:gd name="connsiteX28" fmla="*/ 112438 w 511375"/>
                  <a:gd name="connsiteY28" fmla="*/ 1558925 h 2261466"/>
                  <a:gd name="connsiteX29" fmla="*/ 150538 w 511375"/>
                  <a:gd name="connsiteY29" fmla="*/ 1590675 h 2261466"/>
                  <a:gd name="connsiteX30" fmla="*/ 169588 w 511375"/>
                  <a:gd name="connsiteY30" fmla="*/ 1644650 h 2261466"/>
                  <a:gd name="connsiteX31" fmla="*/ 226738 w 511375"/>
                  <a:gd name="connsiteY31" fmla="*/ 1685925 h 2261466"/>
                  <a:gd name="connsiteX32" fmla="*/ 264838 w 511375"/>
                  <a:gd name="connsiteY32" fmla="*/ 1730375 h 2261466"/>
                  <a:gd name="connsiteX33" fmla="*/ 277538 w 511375"/>
                  <a:gd name="connsiteY33" fmla="*/ 1758950 h 2261466"/>
                  <a:gd name="connsiteX34" fmla="*/ 277538 w 511375"/>
                  <a:gd name="connsiteY34" fmla="*/ 1828800 h 2261466"/>
                  <a:gd name="connsiteX35" fmla="*/ 325163 w 511375"/>
                  <a:gd name="connsiteY35" fmla="*/ 1905000 h 2261466"/>
                  <a:gd name="connsiteX36" fmla="*/ 363263 w 511375"/>
                  <a:gd name="connsiteY36" fmla="*/ 1962150 h 2261466"/>
                  <a:gd name="connsiteX37" fmla="*/ 369613 w 511375"/>
                  <a:gd name="connsiteY37" fmla="*/ 2028825 h 2261466"/>
                  <a:gd name="connsiteX38" fmla="*/ 509313 w 511375"/>
                  <a:gd name="connsiteY38" fmla="*/ 2261466 h 2261466"/>
                  <a:gd name="connsiteX0" fmla="*/ 445813 w 512284"/>
                  <a:gd name="connsiteY0" fmla="*/ 0 h 2261466"/>
                  <a:gd name="connsiteX1" fmla="*/ 407713 w 512284"/>
                  <a:gd name="connsiteY1" fmla="*/ 66675 h 2261466"/>
                  <a:gd name="connsiteX2" fmla="*/ 353738 w 512284"/>
                  <a:gd name="connsiteY2" fmla="*/ 85725 h 2261466"/>
                  <a:gd name="connsiteX3" fmla="*/ 283888 w 512284"/>
                  <a:gd name="connsiteY3" fmla="*/ 98425 h 2261466"/>
                  <a:gd name="connsiteX4" fmla="*/ 223563 w 512284"/>
                  <a:gd name="connsiteY4" fmla="*/ 133350 h 2261466"/>
                  <a:gd name="connsiteX5" fmla="*/ 121963 w 512284"/>
                  <a:gd name="connsiteY5" fmla="*/ 196850 h 2261466"/>
                  <a:gd name="connsiteX6" fmla="*/ 131488 w 512284"/>
                  <a:gd name="connsiteY6" fmla="*/ 247650 h 2261466"/>
                  <a:gd name="connsiteX7" fmla="*/ 172763 w 512284"/>
                  <a:gd name="connsiteY7" fmla="*/ 276225 h 2261466"/>
                  <a:gd name="connsiteX8" fmla="*/ 185463 w 512284"/>
                  <a:gd name="connsiteY8" fmla="*/ 327025 h 2261466"/>
                  <a:gd name="connsiteX9" fmla="*/ 239438 w 512284"/>
                  <a:gd name="connsiteY9" fmla="*/ 368300 h 2261466"/>
                  <a:gd name="connsiteX10" fmla="*/ 239438 w 512284"/>
                  <a:gd name="connsiteY10" fmla="*/ 412750 h 2261466"/>
                  <a:gd name="connsiteX11" fmla="*/ 207688 w 512284"/>
                  <a:gd name="connsiteY11" fmla="*/ 454025 h 2261466"/>
                  <a:gd name="connsiteX12" fmla="*/ 287063 w 512284"/>
                  <a:gd name="connsiteY12" fmla="*/ 479425 h 2261466"/>
                  <a:gd name="connsiteX13" fmla="*/ 302938 w 512284"/>
                  <a:gd name="connsiteY13" fmla="*/ 511175 h 2261466"/>
                  <a:gd name="connsiteX14" fmla="*/ 210863 w 512284"/>
                  <a:gd name="connsiteY14" fmla="*/ 581025 h 2261466"/>
                  <a:gd name="connsiteX15" fmla="*/ 160063 w 512284"/>
                  <a:gd name="connsiteY15" fmla="*/ 638175 h 2261466"/>
                  <a:gd name="connsiteX16" fmla="*/ 160063 w 512284"/>
                  <a:gd name="connsiteY16" fmla="*/ 695325 h 2261466"/>
                  <a:gd name="connsiteX17" fmla="*/ 185463 w 512284"/>
                  <a:gd name="connsiteY17" fmla="*/ 784225 h 2261466"/>
                  <a:gd name="connsiteX18" fmla="*/ 194988 w 512284"/>
                  <a:gd name="connsiteY18" fmla="*/ 835025 h 2261466"/>
                  <a:gd name="connsiteX19" fmla="*/ 204513 w 512284"/>
                  <a:gd name="connsiteY19" fmla="*/ 885825 h 2261466"/>
                  <a:gd name="connsiteX20" fmla="*/ 220388 w 512284"/>
                  <a:gd name="connsiteY20" fmla="*/ 923925 h 2261466"/>
                  <a:gd name="connsiteX21" fmla="*/ 163238 w 512284"/>
                  <a:gd name="connsiteY21" fmla="*/ 1022350 h 2261466"/>
                  <a:gd name="connsiteX22" fmla="*/ 96563 w 512284"/>
                  <a:gd name="connsiteY22" fmla="*/ 1057275 h 2261466"/>
                  <a:gd name="connsiteX23" fmla="*/ 52113 w 512284"/>
                  <a:gd name="connsiteY23" fmla="*/ 1143000 h 2261466"/>
                  <a:gd name="connsiteX24" fmla="*/ 20363 w 512284"/>
                  <a:gd name="connsiteY24" fmla="*/ 1244600 h 2261466"/>
                  <a:gd name="connsiteX25" fmla="*/ 1313 w 512284"/>
                  <a:gd name="connsiteY25" fmla="*/ 1346200 h 2261466"/>
                  <a:gd name="connsiteX26" fmla="*/ 10838 w 512284"/>
                  <a:gd name="connsiteY26" fmla="*/ 1438275 h 2261466"/>
                  <a:gd name="connsiteX27" fmla="*/ 83863 w 512284"/>
                  <a:gd name="connsiteY27" fmla="*/ 1511300 h 2261466"/>
                  <a:gd name="connsiteX28" fmla="*/ 112438 w 512284"/>
                  <a:gd name="connsiteY28" fmla="*/ 1558925 h 2261466"/>
                  <a:gd name="connsiteX29" fmla="*/ 150538 w 512284"/>
                  <a:gd name="connsiteY29" fmla="*/ 1590675 h 2261466"/>
                  <a:gd name="connsiteX30" fmla="*/ 169588 w 512284"/>
                  <a:gd name="connsiteY30" fmla="*/ 1644650 h 2261466"/>
                  <a:gd name="connsiteX31" fmla="*/ 226738 w 512284"/>
                  <a:gd name="connsiteY31" fmla="*/ 1685925 h 2261466"/>
                  <a:gd name="connsiteX32" fmla="*/ 264838 w 512284"/>
                  <a:gd name="connsiteY32" fmla="*/ 1730375 h 2261466"/>
                  <a:gd name="connsiteX33" fmla="*/ 277538 w 512284"/>
                  <a:gd name="connsiteY33" fmla="*/ 1758950 h 2261466"/>
                  <a:gd name="connsiteX34" fmla="*/ 277538 w 512284"/>
                  <a:gd name="connsiteY34" fmla="*/ 1828800 h 2261466"/>
                  <a:gd name="connsiteX35" fmla="*/ 325163 w 512284"/>
                  <a:gd name="connsiteY35" fmla="*/ 1905000 h 2261466"/>
                  <a:gd name="connsiteX36" fmla="*/ 363263 w 512284"/>
                  <a:gd name="connsiteY36" fmla="*/ 1962150 h 2261466"/>
                  <a:gd name="connsiteX37" fmla="*/ 415795 w 512284"/>
                  <a:gd name="connsiteY37" fmla="*/ 2038061 h 2261466"/>
                  <a:gd name="connsiteX38" fmla="*/ 509313 w 512284"/>
                  <a:gd name="connsiteY38" fmla="*/ 2261466 h 2261466"/>
                  <a:gd name="connsiteX0" fmla="*/ 407713 w 512284"/>
                  <a:gd name="connsiteY0" fmla="*/ 0 h 2194791"/>
                  <a:gd name="connsiteX1" fmla="*/ 353738 w 512284"/>
                  <a:gd name="connsiteY1" fmla="*/ 19050 h 2194791"/>
                  <a:gd name="connsiteX2" fmla="*/ 283888 w 512284"/>
                  <a:gd name="connsiteY2" fmla="*/ 31750 h 2194791"/>
                  <a:gd name="connsiteX3" fmla="*/ 223563 w 512284"/>
                  <a:gd name="connsiteY3" fmla="*/ 66675 h 2194791"/>
                  <a:gd name="connsiteX4" fmla="*/ 121963 w 512284"/>
                  <a:gd name="connsiteY4" fmla="*/ 130175 h 2194791"/>
                  <a:gd name="connsiteX5" fmla="*/ 131488 w 512284"/>
                  <a:gd name="connsiteY5" fmla="*/ 180975 h 2194791"/>
                  <a:gd name="connsiteX6" fmla="*/ 172763 w 512284"/>
                  <a:gd name="connsiteY6" fmla="*/ 209550 h 2194791"/>
                  <a:gd name="connsiteX7" fmla="*/ 185463 w 512284"/>
                  <a:gd name="connsiteY7" fmla="*/ 260350 h 2194791"/>
                  <a:gd name="connsiteX8" fmla="*/ 239438 w 512284"/>
                  <a:gd name="connsiteY8" fmla="*/ 301625 h 2194791"/>
                  <a:gd name="connsiteX9" fmla="*/ 239438 w 512284"/>
                  <a:gd name="connsiteY9" fmla="*/ 346075 h 2194791"/>
                  <a:gd name="connsiteX10" fmla="*/ 207688 w 512284"/>
                  <a:gd name="connsiteY10" fmla="*/ 387350 h 2194791"/>
                  <a:gd name="connsiteX11" fmla="*/ 287063 w 512284"/>
                  <a:gd name="connsiteY11" fmla="*/ 412750 h 2194791"/>
                  <a:gd name="connsiteX12" fmla="*/ 302938 w 512284"/>
                  <a:gd name="connsiteY12" fmla="*/ 444500 h 2194791"/>
                  <a:gd name="connsiteX13" fmla="*/ 210863 w 512284"/>
                  <a:gd name="connsiteY13" fmla="*/ 514350 h 2194791"/>
                  <a:gd name="connsiteX14" fmla="*/ 160063 w 512284"/>
                  <a:gd name="connsiteY14" fmla="*/ 571500 h 2194791"/>
                  <a:gd name="connsiteX15" fmla="*/ 160063 w 512284"/>
                  <a:gd name="connsiteY15" fmla="*/ 628650 h 2194791"/>
                  <a:gd name="connsiteX16" fmla="*/ 185463 w 512284"/>
                  <a:gd name="connsiteY16" fmla="*/ 717550 h 2194791"/>
                  <a:gd name="connsiteX17" fmla="*/ 194988 w 512284"/>
                  <a:gd name="connsiteY17" fmla="*/ 768350 h 2194791"/>
                  <a:gd name="connsiteX18" fmla="*/ 204513 w 512284"/>
                  <a:gd name="connsiteY18" fmla="*/ 819150 h 2194791"/>
                  <a:gd name="connsiteX19" fmla="*/ 220388 w 512284"/>
                  <a:gd name="connsiteY19" fmla="*/ 857250 h 2194791"/>
                  <a:gd name="connsiteX20" fmla="*/ 163238 w 512284"/>
                  <a:gd name="connsiteY20" fmla="*/ 955675 h 2194791"/>
                  <a:gd name="connsiteX21" fmla="*/ 96563 w 512284"/>
                  <a:gd name="connsiteY21" fmla="*/ 990600 h 2194791"/>
                  <a:gd name="connsiteX22" fmla="*/ 52113 w 512284"/>
                  <a:gd name="connsiteY22" fmla="*/ 1076325 h 2194791"/>
                  <a:gd name="connsiteX23" fmla="*/ 20363 w 512284"/>
                  <a:gd name="connsiteY23" fmla="*/ 1177925 h 2194791"/>
                  <a:gd name="connsiteX24" fmla="*/ 1313 w 512284"/>
                  <a:gd name="connsiteY24" fmla="*/ 1279525 h 2194791"/>
                  <a:gd name="connsiteX25" fmla="*/ 10838 w 512284"/>
                  <a:gd name="connsiteY25" fmla="*/ 1371600 h 2194791"/>
                  <a:gd name="connsiteX26" fmla="*/ 83863 w 512284"/>
                  <a:gd name="connsiteY26" fmla="*/ 1444625 h 2194791"/>
                  <a:gd name="connsiteX27" fmla="*/ 112438 w 512284"/>
                  <a:gd name="connsiteY27" fmla="*/ 1492250 h 2194791"/>
                  <a:gd name="connsiteX28" fmla="*/ 150538 w 512284"/>
                  <a:gd name="connsiteY28" fmla="*/ 1524000 h 2194791"/>
                  <a:gd name="connsiteX29" fmla="*/ 169588 w 512284"/>
                  <a:gd name="connsiteY29" fmla="*/ 1577975 h 2194791"/>
                  <a:gd name="connsiteX30" fmla="*/ 226738 w 512284"/>
                  <a:gd name="connsiteY30" fmla="*/ 1619250 h 2194791"/>
                  <a:gd name="connsiteX31" fmla="*/ 264838 w 512284"/>
                  <a:gd name="connsiteY31" fmla="*/ 1663700 h 2194791"/>
                  <a:gd name="connsiteX32" fmla="*/ 277538 w 512284"/>
                  <a:gd name="connsiteY32" fmla="*/ 1692275 h 2194791"/>
                  <a:gd name="connsiteX33" fmla="*/ 277538 w 512284"/>
                  <a:gd name="connsiteY33" fmla="*/ 1762125 h 2194791"/>
                  <a:gd name="connsiteX34" fmla="*/ 325163 w 512284"/>
                  <a:gd name="connsiteY34" fmla="*/ 1838325 h 2194791"/>
                  <a:gd name="connsiteX35" fmla="*/ 363263 w 512284"/>
                  <a:gd name="connsiteY35" fmla="*/ 1895475 h 2194791"/>
                  <a:gd name="connsiteX36" fmla="*/ 415795 w 512284"/>
                  <a:gd name="connsiteY36" fmla="*/ 1971386 h 2194791"/>
                  <a:gd name="connsiteX37" fmla="*/ 509313 w 512284"/>
                  <a:gd name="connsiteY37" fmla="*/ 2194791 h 2194791"/>
                  <a:gd name="connsiteX0" fmla="*/ 353738 w 512284"/>
                  <a:gd name="connsiteY0" fmla="*/ 0 h 2175741"/>
                  <a:gd name="connsiteX1" fmla="*/ 283888 w 512284"/>
                  <a:gd name="connsiteY1" fmla="*/ 12700 h 2175741"/>
                  <a:gd name="connsiteX2" fmla="*/ 223563 w 512284"/>
                  <a:gd name="connsiteY2" fmla="*/ 47625 h 2175741"/>
                  <a:gd name="connsiteX3" fmla="*/ 121963 w 512284"/>
                  <a:gd name="connsiteY3" fmla="*/ 111125 h 2175741"/>
                  <a:gd name="connsiteX4" fmla="*/ 131488 w 512284"/>
                  <a:gd name="connsiteY4" fmla="*/ 161925 h 2175741"/>
                  <a:gd name="connsiteX5" fmla="*/ 172763 w 512284"/>
                  <a:gd name="connsiteY5" fmla="*/ 190500 h 2175741"/>
                  <a:gd name="connsiteX6" fmla="*/ 185463 w 512284"/>
                  <a:gd name="connsiteY6" fmla="*/ 241300 h 2175741"/>
                  <a:gd name="connsiteX7" fmla="*/ 239438 w 512284"/>
                  <a:gd name="connsiteY7" fmla="*/ 282575 h 2175741"/>
                  <a:gd name="connsiteX8" fmla="*/ 239438 w 512284"/>
                  <a:gd name="connsiteY8" fmla="*/ 327025 h 2175741"/>
                  <a:gd name="connsiteX9" fmla="*/ 207688 w 512284"/>
                  <a:gd name="connsiteY9" fmla="*/ 368300 h 2175741"/>
                  <a:gd name="connsiteX10" fmla="*/ 287063 w 512284"/>
                  <a:gd name="connsiteY10" fmla="*/ 393700 h 2175741"/>
                  <a:gd name="connsiteX11" fmla="*/ 302938 w 512284"/>
                  <a:gd name="connsiteY11" fmla="*/ 425450 h 2175741"/>
                  <a:gd name="connsiteX12" fmla="*/ 210863 w 512284"/>
                  <a:gd name="connsiteY12" fmla="*/ 495300 h 2175741"/>
                  <a:gd name="connsiteX13" fmla="*/ 160063 w 512284"/>
                  <a:gd name="connsiteY13" fmla="*/ 552450 h 2175741"/>
                  <a:gd name="connsiteX14" fmla="*/ 160063 w 512284"/>
                  <a:gd name="connsiteY14" fmla="*/ 609600 h 2175741"/>
                  <a:gd name="connsiteX15" fmla="*/ 185463 w 512284"/>
                  <a:gd name="connsiteY15" fmla="*/ 698500 h 2175741"/>
                  <a:gd name="connsiteX16" fmla="*/ 194988 w 512284"/>
                  <a:gd name="connsiteY16" fmla="*/ 749300 h 2175741"/>
                  <a:gd name="connsiteX17" fmla="*/ 204513 w 512284"/>
                  <a:gd name="connsiteY17" fmla="*/ 800100 h 2175741"/>
                  <a:gd name="connsiteX18" fmla="*/ 220388 w 512284"/>
                  <a:gd name="connsiteY18" fmla="*/ 838200 h 2175741"/>
                  <a:gd name="connsiteX19" fmla="*/ 163238 w 512284"/>
                  <a:gd name="connsiteY19" fmla="*/ 936625 h 2175741"/>
                  <a:gd name="connsiteX20" fmla="*/ 96563 w 512284"/>
                  <a:gd name="connsiteY20" fmla="*/ 971550 h 2175741"/>
                  <a:gd name="connsiteX21" fmla="*/ 52113 w 512284"/>
                  <a:gd name="connsiteY21" fmla="*/ 1057275 h 2175741"/>
                  <a:gd name="connsiteX22" fmla="*/ 20363 w 512284"/>
                  <a:gd name="connsiteY22" fmla="*/ 1158875 h 2175741"/>
                  <a:gd name="connsiteX23" fmla="*/ 1313 w 512284"/>
                  <a:gd name="connsiteY23" fmla="*/ 1260475 h 2175741"/>
                  <a:gd name="connsiteX24" fmla="*/ 10838 w 512284"/>
                  <a:gd name="connsiteY24" fmla="*/ 1352550 h 2175741"/>
                  <a:gd name="connsiteX25" fmla="*/ 83863 w 512284"/>
                  <a:gd name="connsiteY25" fmla="*/ 1425575 h 2175741"/>
                  <a:gd name="connsiteX26" fmla="*/ 112438 w 512284"/>
                  <a:gd name="connsiteY26" fmla="*/ 1473200 h 2175741"/>
                  <a:gd name="connsiteX27" fmla="*/ 150538 w 512284"/>
                  <a:gd name="connsiteY27" fmla="*/ 1504950 h 2175741"/>
                  <a:gd name="connsiteX28" fmla="*/ 169588 w 512284"/>
                  <a:gd name="connsiteY28" fmla="*/ 1558925 h 2175741"/>
                  <a:gd name="connsiteX29" fmla="*/ 226738 w 512284"/>
                  <a:gd name="connsiteY29" fmla="*/ 1600200 h 2175741"/>
                  <a:gd name="connsiteX30" fmla="*/ 264838 w 512284"/>
                  <a:gd name="connsiteY30" fmla="*/ 1644650 h 2175741"/>
                  <a:gd name="connsiteX31" fmla="*/ 277538 w 512284"/>
                  <a:gd name="connsiteY31" fmla="*/ 1673225 h 2175741"/>
                  <a:gd name="connsiteX32" fmla="*/ 277538 w 512284"/>
                  <a:gd name="connsiteY32" fmla="*/ 1743075 h 2175741"/>
                  <a:gd name="connsiteX33" fmla="*/ 325163 w 512284"/>
                  <a:gd name="connsiteY33" fmla="*/ 1819275 h 2175741"/>
                  <a:gd name="connsiteX34" fmla="*/ 363263 w 512284"/>
                  <a:gd name="connsiteY34" fmla="*/ 1876425 h 2175741"/>
                  <a:gd name="connsiteX35" fmla="*/ 415795 w 512284"/>
                  <a:gd name="connsiteY35" fmla="*/ 1952336 h 2175741"/>
                  <a:gd name="connsiteX36" fmla="*/ 509313 w 512284"/>
                  <a:gd name="connsiteY36" fmla="*/ 2175741 h 2175741"/>
                  <a:gd name="connsiteX0" fmla="*/ 283888 w 512284"/>
                  <a:gd name="connsiteY0" fmla="*/ 0 h 2163041"/>
                  <a:gd name="connsiteX1" fmla="*/ 223563 w 512284"/>
                  <a:gd name="connsiteY1" fmla="*/ 34925 h 2163041"/>
                  <a:gd name="connsiteX2" fmla="*/ 121963 w 512284"/>
                  <a:gd name="connsiteY2" fmla="*/ 98425 h 2163041"/>
                  <a:gd name="connsiteX3" fmla="*/ 131488 w 512284"/>
                  <a:gd name="connsiteY3" fmla="*/ 149225 h 2163041"/>
                  <a:gd name="connsiteX4" fmla="*/ 172763 w 512284"/>
                  <a:gd name="connsiteY4" fmla="*/ 177800 h 2163041"/>
                  <a:gd name="connsiteX5" fmla="*/ 185463 w 512284"/>
                  <a:gd name="connsiteY5" fmla="*/ 228600 h 2163041"/>
                  <a:gd name="connsiteX6" fmla="*/ 239438 w 512284"/>
                  <a:gd name="connsiteY6" fmla="*/ 269875 h 2163041"/>
                  <a:gd name="connsiteX7" fmla="*/ 239438 w 512284"/>
                  <a:gd name="connsiteY7" fmla="*/ 314325 h 2163041"/>
                  <a:gd name="connsiteX8" fmla="*/ 207688 w 512284"/>
                  <a:gd name="connsiteY8" fmla="*/ 355600 h 2163041"/>
                  <a:gd name="connsiteX9" fmla="*/ 287063 w 512284"/>
                  <a:gd name="connsiteY9" fmla="*/ 381000 h 2163041"/>
                  <a:gd name="connsiteX10" fmla="*/ 302938 w 512284"/>
                  <a:gd name="connsiteY10" fmla="*/ 412750 h 2163041"/>
                  <a:gd name="connsiteX11" fmla="*/ 210863 w 512284"/>
                  <a:gd name="connsiteY11" fmla="*/ 482600 h 2163041"/>
                  <a:gd name="connsiteX12" fmla="*/ 160063 w 512284"/>
                  <a:gd name="connsiteY12" fmla="*/ 539750 h 2163041"/>
                  <a:gd name="connsiteX13" fmla="*/ 160063 w 512284"/>
                  <a:gd name="connsiteY13" fmla="*/ 596900 h 2163041"/>
                  <a:gd name="connsiteX14" fmla="*/ 185463 w 512284"/>
                  <a:gd name="connsiteY14" fmla="*/ 685800 h 2163041"/>
                  <a:gd name="connsiteX15" fmla="*/ 194988 w 512284"/>
                  <a:gd name="connsiteY15" fmla="*/ 736600 h 2163041"/>
                  <a:gd name="connsiteX16" fmla="*/ 204513 w 512284"/>
                  <a:gd name="connsiteY16" fmla="*/ 787400 h 2163041"/>
                  <a:gd name="connsiteX17" fmla="*/ 220388 w 512284"/>
                  <a:gd name="connsiteY17" fmla="*/ 825500 h 2163041"/>
                  <a:gd name="connsiteX18" fmla="*/ 163238 w 512284"/>
                  <a:gd name="connsiteY18" fmla="*/ 923925 h 2163041"/>
                  <a:gd name="connsiteX19" fmla="*/ 96563 w 512284"/>
                  <a:gd name="connsiteY19" fmla="*/ 958850 h 2163041"/>
                  <a:gd name="connsiteX20" fmla="*/ 52113 w 512284"/>
                  <a:gd name="connsiteY20" fmla="*/ 1044575 h 2163041"/>
                  <a:gd name="connsiteX21" fmla="*/ 20363 w 512284"/>
                  <a:gd name="connsiteY21" fmla="*/ 1146175 h 2163041"/>
                  <a:gd name="connsiteX22" fmla="*/ 1313 w 512284"/>
                  <a:gd name="connsiteY22" fmla="*/ 1247775 h 2163041"/>
                  <a:gd name="connsiteX23" fmla="*/ 10838 w 512284"/>
                  <a:gd name="connsiteY23" fmla="*/ 1339850 h 2163041"/>
                  <a:gd name="connsiteX24" fmla="*/ 83863 w 512284"/>
                  <a:gd name="connsiteY24" fmla="*/ 1412875 h 2163041"/>
                  <a:gd name="connsiteX25" fmla="*/ 112438 w 512284"/>
                  <a:gd name="connsiteY25" fmla="*/ 1460500 h 2163041"/>
                  <a:gd name="connsiteX26" fmla="*/ 150538 w 512284"/>
                  <a:gd name="connsiteY26" fmla="*/ 1492250 h 2163041"/>
                  <a:gd name="connsiteX27" fmla="*/ 169588 w 512284"/>
                  <a:gd name="connsiteY27" fmla="*/ 1546225 h 2163041"/>
                  <a:gd name="connsiteX28" fmla="*/ 226738 w 512284"/>
                  <a:gd name="connsiteY28" fmla="*/ 1587500 h 2163041"/>
                  <a:gd name="connsiteX29" fmla="*/ 264838 w 512284"/>
                  <a:gd name="connsiteY29" fmla="*/ 1631950 h 2163041"/>
                  <a:gd name="connsiteX30" fmla="*/ 277538 w 512284"/>
                  <a:gd name="connsiteY30" fmla="*/ 1660525 h 2163041"/>
                  <a:gd name="connsiteX31" fmla="*/ 277538 w 512284"/>
                  <a:gd name="connsiteY31" fmla="*/ 1730375 h 2163041"/>
                  <a:gd name="connsiteX32" fmla="*/ 325163 w 512284"/>
                  <a:gd name="connsiteY32" fmla="*/ 1806575 h 2163041"/>
                  <a:gd name="connsiteX33" fmla="*/ 363263 w 512284"/>
                  <a:gd name="connsiteY33" fmla="*/ 1863725 h 2163041"/>
                  <a:gd name="connsiteX34" fmla="*/ 415795 w 512284"/>
                  <a:gd name="connsiteY34" fmla="*/ 1939636 h 2163041"/>
                  <a:gd name="connsiteX35" fmla="*/ 509313 w 512284"/>
                  <a:gd name="connsiteY35" fmla="*/ 2163041 h 2163041"/>
                  <a:gd name="connsiteX0" fmla="*/ 223563 w 512284"/>
                  <a:gd name="connsiteY0" fmla="*/ 0 h 2128116"/>
                  <a:gd name="connsiteX1" fmla="*/ 121963 w 512284"/>
                  <a:gd name="connsiteY1" fmla="*/ 63500 h 2128116"/>
                  <a:gd name="connsiteX2" fmla="*/ 131488 w 512284"/>
                  <a:gd name="connsiteY2" fmla="*/ 114300 h 2128116"/>
                  <a:gd name="connsiteX3" fmla="*/ 172763 w 512284"/>
                  <a:gd name="connsiteY3" fmla="*/ 142875 h 2128116"/>
                  <a:gd name="connsiteX4" fmla="*/ 185463 w 512284"/>
                  <a:gd name="connsiteY4" fmla="*/ 193675 h 2128116"/>
                  <a:gd name="connsiteX5" fmla="*/ 239438 w 512284"/>
                  <a:gd name="connsiteY5" fmla="*/ 234950 h 2128116"/>
                  <a:gd name="connsiteX6" fmla="*/ 239438 w 512284"/>
                  <a:gd name="connsiteY6" fmla="*/ 279400 h 2128116"/>
                  <a:gd name="connsiteX7" fmla="*/ 207688 w 512284"/>
                  <a:gd name="connsiteY7" fmla="*/ 320675 h 2128116"/>
                  <a:gd name="connsiteX8" fmla="*/ 287063 w 512284"/>
                  <a:gd name="connsiteY8" fmla="*/ 346075 h 2128116"/>
                  <a:gd name="connsiteX9" fmla="*/ 302938 w 512284"/>
                  <a:gd name="connsiteY9" fmla="*/ 377825 h 2128116"/>
                  <a:gd name="connsiteX10" fmla="*/ 210863 w 512284"/>
                  <a:gd name="connsiteY10" fmla="*/ 447675 h 2128116"/>
                  <a:gd name="connsiteX11" fmla="*/ 160063 w 512284"/>
                  <a:gd name="connsiteY11" fmla="*/ 504825 h 2128116"/>
                  <a:gd name="connsiteX12" fmla="*/ 160063 w 512284"/>
                  <a:gd name="connsiteY12" fmla="*/ 561975 h 2128116"/>
                  <a:gd name="connsiteX13" fmla="*/ 185463 w 512284"/>
                  <a:gd name="connsiteY13" fmla="*/ 650875 h 2128116"/>
                  <a:gd name="connsiteX14" fmla="*/ 194988 w 512284"/>
                  <a:gd name="connsiteY14" fmla="*/ 701675 h 2128116"/>
                  <a:gd name="connsiteX15" fmla="*/ 204513 w 512284"/>
                  <a:gd name="connsiteY15" fmla="*/ 752475 h 2128116"/>
                  <a:gd name="connsiteX16" fmla="*/ 220388 w 512284"/>
                  <a:gd name="connsiteY16" fmla="*/ 790575 h 2128116"/>
                  <a:gd name="connsiteX17" fmla="*/ 163238 w 512284"/>
                  <a:gd name="connsiteY17" fmla="*/ 889000 h 2128116"/>
                  <a:gd name="connsiteX18" fmla="*/ 96563 w 512284"/>
                  <a:gd name="connsiteY18" fmla="*/ 923925 h 2128116"/>
                  <a:gd name="connsiteX19" fmla="*/ 52113 w 512284"/>
                  <a:gd name="connsiteY19" fmla="*/ 1009650 h 2128116"/>
                  <a:gd name="connsiteX20" fmla="*/ 20363 w 512284"/>
                  <a:gd name="connsiteY20" fmla="*/ 1111250 h 2128116"/>
                  <a:gd name="connsiteX21" fmla="*/ 1313 w 512284"/>
                  <a:gd name="connsiteY21" fmla="*/ 1212850 h 2128116"/>
                  <a:gd name="connsiteX22" fmla="*/ 10838 w 512284"/>
                  <a:gd name="connsiteY22" fmla="*/ 1304925 h 2128116"/>
                  <a:gd name="connsiteX23" fmla="*/ 83863 w 512284"/>
                  <a:gd name="connsiteY23" fmla="*/ 1377950 h 2128116"/>
                  <a:gd name="connsiteX24" fmla="*/ 112438 w 512284"/>
                  <a:gd name="connsiteY24" fmla="*/ 1425575 h 2128116"/>
                  <a:gd name="connsiteX25" fmla="*/ 150538 w 512284"/>
                  <a:gd name="connsiteY25" fmla="*/ 1457325 h 2128116"/>
                  <a:gd name="connsiteX26" fmla="*/ 169588 w 512284"/>
                  <a:gd name="connsiteY26" fmla="*/ 1511300 h 2128116"/>
                  <a:gd name="connsiteX27" fmla="*/ 226738 w 512284"/>
                  <a:gd name="connsiteY27" fmla="*/ 1552575 h 2128116"/>
                  <a:gd name="connsiteX28" fmla="*/ 264838 w 512284"/>
                  <a:gd name="connsiteY28" fmla="*/ 1597025 h 2128116"/>
                  <a:gd name="connsiteX29" fmla="*/ 277538 w 512284"/>
                  <a:gd name="connsiteY29" fmla="*/ 1625600 h 2128116"/>
                  <a:gd name="connsiteX30" fmla="*/ 277538 w 512284"/>
                  <a:gd name="connsiteY30" fmla="*/ 1695450 h 2128116"/>
                  <a:gd name="connsiteX31" fmla="*/ 325163 w 512284"/>
                  <a:gd name="connsiteY31" fmla="*/ 1771650 h 2128116"/>
                  <a:gd name="connsiteX32" fmla="*/ 363263 w 512284"/>
                  <a:gd name="connsiteY32" fmla="*/ 1828800 h 2128116"/>
                  <a:gd name="connsiteX33" fmla="*/ 415795 w 512284"/>
                  <a:gd name="connsiteY33" fmla="*/ 1904711 h 2128116"/>
                  <a:gd name="connsiteX34" fmla="*/ 509313 w 512284"/>
                  <a:gd name="connsiteY34" fmla="*/ 2128116 h 2128116"/>
                  <a:gd name="connsiteX0" fmla="*/ 121963 w 512284"/>
                  <a:gd name="connsiteY0" fmla="*/ 0 h 2064616"/>
                  <a:gd name="connsiteX1" fmla="*/ 131488 w 512284"/>
                  <a:gd name="connsiteY1" fmla="*/ 50800 h 2064616"/>
                  <a:gd name="connsiteX2" fmla="*/ 172763 w 512284"/>
                  <a:gd name="connsiteY2" fmla="*/ 79375 h 2064616"/>
                  <a:gd name="connsiteX3" fmla="*/ 185463 w 512284"/>
                  <a:gd name="connsiteY3" fmla="*/ 130175 h 2064616"/>
                  <a:gd name="connsiteX4" fmla="*/ 239438 w 512284"/>
                  <a:gd name="connsiteY4" fmla="*/ 171450 h 2064616"/>
                  <a:gd name="connsiteX5" fmla="*/ 239438 w 512284"/>
                  <a:gd name="connsiteY5" fmla="*/ 215900 h 2064616"/>
                  <a:gd name="connsiteX6" fmla="*/ 207688 w 512284"/>
                  <a:gd name="connsiteY6" fmla="*/ 257175 h 2064616"/>
                  <a:gd name="connsiteX7" fmla="*/ 287063 w 512284"/>
                  <a:gd name="connsiteY7" fmla="*/ 282575 h 2064616"/>
                  <a:gd name="connsiteX8" fmla="*/ 302938 w 512284"/>
                  <a:gd name="connsiteY8" fmla="*/ 314325 h 2064616"/>
                  <a:gd name="connsiteX9" fmla="*/ 210863 w 512284"/>
                  <a:gd name="connsiteY9" fmla="*/ 384175 h 2064616"/>
                  <a:gd name="connsiteX10" fmla="*/ 160063 w 512284"/>
                  <a:gd name="connsiteY10" fmla="*/ 441325 h 2064616"/>
                  <a:gd name="connsiteX11" fmla="*/ 160063 w 512284"/>
                  <a:gd name="connsiteY11" fmla="*/ 498475 h 2064616"/>
                  <a:gd name="connsiteX12" fmla="*/ 185463 w 512284"/>
                  <a:gd name="connsiteY12" fmla="*/ 587375 h 2064616"/>
                  <a:gd name="connsiteX13" fmla="*/ 194988 w 512284"/>
                  <a:gd name="connsiteY13" fmla="*/ 638175 h 2064616"/>
                  <a:gd name="connsiteX14" fmla="*/ 204513 w 512284"/>
                  <a:gd name="connsiteY14" fmla="*/ 688975 h 2064616"/>
                  <a:gd name="connsiteX15" fmla="*/ 220388 w 512284"/>
                  <a:gd name="connsiteY15" fmla="*/ 727075 h 2064616"/>
                  <a:gd name="connsiteX16" fmla="*/ 163238 w 512284"/>
                  <a:gd name="connsiteY16" fmla="*/ 825500 h 2064616"/>
                  <a:gd name="connsiteX17" fmla="*/ 96563 w 512284"/>
                  <a:gd name="connsiteY17" fmla="*/ 860425 h 2064616"/>
                  <a:gd name="connsiteX18" fmla="*/ 52113 w 512284"/>
                  <a:gd name="connsiteY18" fmla="*/ 946150 h 2064616"/>
                  <a:gd name="connsiteX19" fmla="*/ 20363 w 512284"/>
                  <a:gd name="connsiteY19" fmla="*/ 1047750 h 2064616"/>
                  <a:gd name="connsiteX20" fmla="*/ 1313 w 512284"/>
                  <a:gd name="connsiteY20" fmla="*/ 1149350 h 2064616"/>
                  <a:gd name="connsiteX21" fmla="*/ 10838 w 512284"/>
                  <a:gd name="connsiteY21" fmla="*/ 1241425 h 2064616"/>
                  <a:gd name="connsiteX22" fmla="*/ 83863 w 512284"/>
                  <a:gd name="connsiteY22" fmla="*/ 1314450 h 2064616"/>
                  <a:gd name="connsiteX23" fmla="*/ 112438 w 512284"/>
                  <a:gd name="connsiteY23" fmla="*/ 1362075 h 2064616"/>
                  <a:gd name="connsiteX24" fmla="*/ 150538 w 512284"/>
                  <a:gd name="connsiteY24" fmla="*/ 1393825 h 2064616"/>
                  <a:gd name="connsiteX25" fmla="*/ 169588 w 512284"/>
                  <a:gd name="connsiteY25" fmla="*/ 1447800 h 2064616"/>
                  <a:gd name="connsiteX26" fmla="*/ 226738 w 512284"/>
                  <a:gd name="connsiteY26" fmla="*/ 1489075 h 2064616"/>
                  <a:gd name="connsiteX27" fmla="*/ 264838 w 512284"/>
                  <a:gd name="connsiteY27" fmla="*/ 1533525 h 2064616"/>
                  <a:gd name="connsiteX28" fmla="*/ 277538 w 512284"/>
                  <a:gd name="connsiteY28" fmla="*/ 1562100 h 2064616"/>
                  <a:gd name="connsiteX29" fmla="*/ 277538 w 512284"/>
                  <a:gd name="connsiteY29" fmla="*/ 1631950 h 2064616"/>
                  <a:gd name="connsiteX30" fmla="*/ 325163 w 512284"/>
                  <a:gd name="connsiteY30" fmla="*/ 1708150 h 2064616"/>
                  <a:gd name="connsiteX31" fmla="*/ 363263 w 512284"/>
                  <a:gd name="connsiteY31" fmla="*/ 1765300 h 2064616"/>
                  <a:gd name="connsiteX32" fmla="*/ 415795 w 512284"/>
                  <a:gd name="connsiteY32" fmla="*/ 1841211 h 2064616"/>
                  <a:gd name="connsiteX33" fmla="*/ 509313 w 512284"/>
                  <a:gd name="connsiteY33" fmla="*/ 2064616 h 2064616"/>
                  <a:gd name="connsiteX0" fmla="*/ 131488 w 512284"/>
                  <a:gd name="connsiteY0" fmla="*/ 0 h 2013816"/>
                  <a:gd name="connsiteX1" fmla="*/ 172763 w 512284"/>
                  <a:gd name="connsiteY1" fmla="*/ 28575 h 2013816"/>
                  <a:gd name="connsiteX2" fmla="*/ 185463 w 512284"/>
                  <a:gd name="connsiteY2" fmla="*/ 79375 h 2013816"/>
                  <a:gd name="connsiteX3" fmla="*/ 239438 w 512284"/>
                  <a:gd name="connsiteY3" fmla="*/ 120650 h 2013816"/>
                  <a:gd name="connsiteX4" fmla="*/ 239438 w 512284"/>
                  <a:gd name="connsiteY4" fmla="*/ 165100 h 2013816"/>
                  <a:gd name="connsiteX5" fmla="*/ 207688 w 512284"/>
                  <a:gd name="connsiteY5" fmla="*/ 206375 h 2013816"/>
                  <a:gd name="connsiteX6" fmla="*/ 287063 w 512284"/>
                  <a:gd name="connsiteY6" fmla="*/ 231775 h 2013816"/>
                  <a:gd name="connsiteX7" fmla="*/ 302938 w 512284"/>
                  <a:gd name="connsiteY7" fmla="*/ 263525 h 2013816"/>
                  <a:gd name="connsiteX8" fmla="*/ 210863 w 512284"/>
                  <a:gd name="connsiteY8" fmla="*/ 333375 h 2013816"/>
                  <a:gd name="connsiteX9" fmla="*/ 160063 w 512284"/>
                  <a:gd name="connsiteY9" fmla="*/ 390525 h 2013816"/>
                  <a:gd name="connsiteX10" fmla="*/ 160063 w 512284"/>
                  <a:gd name="connsiteY10" fmla="*/ 447675 h 2013816"/>
                  <a:gd name="connsiteX11" fmla="*/ 185463 w 512284"/>
                  <a:gd name="connsiteY11" fmla="*/ 536575 h 2013816"/>
                  <a:gd name="connsiteX12" fmla="*/ 194988 w 512284"/>
                  <a:gd name="connsiteY12" fmla="*/ 587375 h 2013816"/>
                  <a:gd name="connsiteX13" fmla="*/ 204513 w 512284"/>
                  <a:gd name="connsiteY13" fmla="*/ 638175 h 2013816"/>
                  <a:gd name="connsiteX14" fmla="*/ 220388 w 512284"/>
                  <a:gd name="connsiteY14" fmla="*/ 676275 h 2013816"/>
                  <a:gd name="connsiteX15" fmla="*/ 163238 w 512284"/>
                  <a:gd name="connsiteY15" fmla="*/ 774700 h 2013816"/>
                  <a:gd name="connsiteX16" fmla="*/ 96563 w 512284"/>
                  <a:gd name="connsiteY16" fmla="*/ 809625 h 2013816"/>
                  <a:gd name="connsiteX17" fmla="*/ 52113 w 512284"/>
                  <a:gd name="connsiteY17" fmla="*/ 895350 h 2013816"/>
                  <a:gd name="connsiteX18" fmla="*/ 20363 w 512284"/>
                  <a:gd name="connsiteY18" fmla="*/ 996950 h 2013816"/>
                  <a:gd name="connsiteX19" fmla="*/ 1313 w 512284"/>
                  <a:gd name="connsiteY19" fmla="*/ 1098550 h 2013816"/>
                  <a:gd name="connsiteX20" fmla="*/ 10838 w 512284"/>
                  <a:gd name="connsiteY20" fmla="*/ 1190625 h 2013816"/>
                  <a:gd name="connsiteX21" fmla="*/ 83863 w 512284"/>
                  <a:gd name="connsiteY21" fmla="*/ 1263650 h 2013816"/>
                  <a:gd name="connsiteX22" fmla="*/ 112438 w 512284"/>
                  <a:gd name="connsiteY22" fmla="*/ 1311275 h 2013816"/>
                  <a:gd name="connsiteX23" fmla="*/ 150538 w 512284"/>
                  <a:gd name="connsiteY23" fmla="*/ 1343025 h 2013816"/>
                  <a:gd name="connsiteX24" fmla="*/ 169588 w 512284"/>
                  <a:gd name="connsiteY24" fmla="*/ 1397000 h 2013816"/>
                  <a:gd name="connsiteX25" fmla="*/ 226738 w 512284"/>
                  <a:gd name="connsiteY25" fmla="*/ 1438275 h 2013816"/>
                  <a:gd name="connsiteX26" fmla="*/ 264838 w 512284"/>
                  <a:gd name="connsiteY26" fmla="*/ 1482725 h 2013816"/>
                  <a:gd name="connsiteX27" fmla="*/ 277538 w 512284"/>
                  <a:gd name="connsiteY27" fmla="*/ 1511300 h 2013816"/>
                  <a:gd name="connsiteX28" fmla="*/ 277538 w 512284"/>
                  <a:gd name="connsiteY28" fmla="*/ 1581150 h 2013816"/>
                  <a:gd name="connsiteX29" fmla="*/ 325163 w 512284"/>
                  <a:gd name="connsiteY29" fmla="*/ 1657350 h 2013816"/>
                  <a:gd name="connsiteX30" fmla="*/ 363263 w 512284"/>
                  <a:gd name="connsiteY30" fmla="*/ 1714500 h 2013816"/>
                  <a:gd name="connsiteX31" fmla="*/ 415795 w 512284"/>
                  <a:gd name="connsiteY31" fmla="*/ 1790411 h 2013816"/>
                  <a:gd name="connsiteX32" fmla="*/ 509313 w 512284"/>
                  <a:gd name="connsiteY32" fmla="*/ 2013816 h 2013816"/>
                  <a:gd name="connsiteX0" fmla="*/ 172763 w 512284"/>
                  <a:gd name="connsiteY0" fmla="*/ 0 h 1985241"/>
                  <a:gd name="connsiteX1" fmla="*/ 185463 w 512284"/>
                  <a:gd name="connsiteY1" fmla="*/ 50800 h 1985241"/>
                  <a:gd name="connsiteX2" fmla="*/ 239438 w 512284"/>
                  <a:gd name="connsiteY2" fmla="*/ 92075 h 1985241"/>
                  <a:gd name="connsiteX3" fmla="*/ 239438 w 512284"/>
                  <a:gd name="connsiteY3" fmla="*/ 136525 h 1985241"/>
                  <a:gd name="connsiteX4" fmla="*/ 207688 w 512284"/>
                  <a:gd name="connsiteY4" fmla="*/ 177800 h 1985241"/>
                  <a:gd name="connsiteX5" fmla="*/ 287063 w 512284"/>
                  <a:gd name="connsiteY5" fmla="*/ 203200 h 1985241"/>
                  <a:gd name="connsiteX6" fmla="*/ 302938 w 512284"/>
                  <a:gd name="connsiteY6" fmla="*/ 234950 h 1985241"/>
                  <a:gd name="connsiteX7" fmla="*/ 210863 w 512284"/>
                  <a:gd name="connsiteY7" fmla="*/ 304800 h 1985241"/>
                  <a:gd name="connsiteX8" fmla="*/ 160063 w 512284"/>
                  <a:gd name="connsiteY8" fmla="*/ 361950 h 1985241"/>
                  <a:gd name="connsiteX9" fmla="*/ 160063 w 512284"/>
                  <a:gd name="connsiteY9" fmla="*/ 419100 h 1985241"/>
                  <a:gd name="connsiteX10" fmla="*/ 185463 w 512284"/>
                  <a:gd name="connsiteY10" fmla="*/ 508000 h 1985241"/>
                  <a:gd name="connsiteX11" fmla="*/ 194988 w 512284"/>
                  <a:gd name="connsiteY11" fmla="*/ 558800 h 1985241"/>
                  <a:gd name="connsiteX12" fmla="*/ 204513 w 512284"/>
                  <a:gd name="connsiteY12" fmla="*/ 609600 h 1985241"/>
                  <a:gd name="connsiteX13" fmla="*/ 220388 w 512284"/>
                  <a:gd name="connsiteY13" fmla="*/ 647700 h 1985241"/>
                  <a:gd name="connsiteX14" fmla="*/ 163238 w 512284"/>
                  <a:gd name="connsiteY14" fmla="*/ 746125 h 1985241"/>
                  <a:gd name="connsiteX15" fmla="*/ 96563 w 512284"/>
                  <a:gd name="connsiteY15" fmla="*/ 781050 h 1985241"/>
                  <a:gd name="connsiteX16" fmla="*/ 52113 w 512284"/>
                  <a:gd name="connsiteY16" fmla="*/ 866775 h 1985241"/>
                  <a:gd name="connsiteX17" fmla="*/ 20363 w 512284"/>
                  <a:gd name="connsiteY17" fmla="*/ 968375 h 1985241"/>
                  <a:gd name="connsiteX18" fmla="*/ 1313 w 512284"/>
                  <a:gd name="connsiteY18" fmla="*/ 1069975 h 1985241"/>
                  <a:gd name="connsiteX19" fmla="*/ 10838 w 512284"/>
                  <a:gd name="connsiteY19" fmla="*/ 1162050 h 1985241"/>
                  <a:gd name="connsiteX20" fmla="*/ 83863 w 512284"/>
                  <a:gd name="connsiteY20" fmla="*/ 1235075 h 1985241"/>
                  <a:gd name="connsiteX21" fmla="*/ 112438 w 512284"/>
                  <a:gd name="connsiteY21" fmla="*/ 1282700 h 1985241"/>
                  <a:gd name="connsiteX22" fmla="*/ 150538 w 512284"/>
                  <a:gd name="connsiteY22" fmla="*/ 1314450 h 1985241"/>
                  <a:gd name="connsiteX23" fmla="*/ 169588 w 512284"/>
                  <a:gd name="connsiteY23" fmla="*/ 1368425 h 1985241"/>
                  <a:gd name="connsiteX24" fmla="*/ 226738 w 512284"/>
                  <a:gd name="connsiteY24" fmla="*/ 1409700 h 1985241"/>
                  <a:gd name="connsiteX25" fmla="*/ 264838 w 512284"/>
                  <a:gd name="connsiteY25" fmla="*/ 1454150 h 1985241"/>
                  <a:gd name="connsiteX26" fmla="*/ 277538 w 512284"/>
                  <a:gd name="connsiteY26" fmla="*/ 1482725 h 1985241"/>
                  <a:gd name="connsiteX27" fmla="*/ 277538 w 512284"/>
                  <a:gd name="connsiteY27" fmla="*/ 1552575 h 1985241"/>
                  <a:gd name="connsiteX28" fmla="*/ 325163 w 512284"/>
                  <a:gd name="connsiteY28" fmla="*/ 1628775 h 1985241"/>
                  <a:gd name="connsiteX29" fmla="*/ 363263 w 512284"/>
                  <a:gd name="connsiteY29" fmla="*/ 1685925 h 1985241"/>
                  <a:gd name="connsiteX30" fmla="*/ 415795 w 512284"/>
                  <a:gd name="connsiteY30" fmla="*/ 1761836 h 1985241"/>
                  <a:gd name="connsiteX31" fmla="*/ 509313 w 512284"/>
                  <a:gd name="connsiteY31" fmla="*/ 1985241 h 1985241"/>
                  <a:gd name="connsiteX0" fmla="*/ 185463 w 512284"/>
                  <a:gd name="connsiteY0" fmla="*/ 0 h 1934441"/>
                  <a:gd name="connsiteX1" fmla="*/ 239438 w 512284"/>
                  <a:gd name="connsiteY1" fmla="*/ 41275 h 1934441"/>
                  <a:gd name="connsiteX2" fmla="*/ 239438 w 512284"/>
                  <a:gd name="connsiteY2" fmla="*/ 85725 h 1934441"/>
                  <a:gd name="connsiteX3" fmla="*/ 207688 w 512284"/>
                  <a:gd name="connsiteY3" fmla="*/ 127000 h 1934441"/>
                  <a:gd name="connsiteX4" fmla="*/ 287063 w 512284"/>
                  <a:gd name="connsiteY4" fmla="*/ 152400 h 1934441"/>
                  <a:gd name="connsiteX5" fmla="*/ 302938 w 512284"/>
                  <a:gd name="connsiteY5" fmla="*/ 184150 h 1934441"/>
                  <a:gd name="connsiteX6" fmla="*/ 210863 w 512284"/>
                  <a:gd name="connsiteY6" fmla="*/ 254000 h 1934441"/>
                  <a:gd name="connsiteX7" fmla="*/ 160063 w 512284"/>
                  <a:gd name="connsiteY7" fmla="*/ 311150 h 1934441"/>
                  <a:gd name="connsiteX8" fmla="*/ 160063 w 512284"/>
                  <a:gd name="connsiteY8" fmla="*/ 368300 h 1934441"/>
                  <a:gd name="connsiteX9" fmla="*/ 185463 w 512284"/>
                  <a:gd name="connsiteY9" fmla="*/ 457200 h 1934441"/>
                  <a:gd name="connsiteX10" fmla="*/ 194988 w 512284"/>
                  <a:gd name="connsiteY10" fmla="*/ 508000 h 1934441"/>
                  <a:gd name="connsiteX11" fmla="*/ 204513 w 512284"/>
                  <a:gd name="connsiteY11" fmla="*/ 558800 h 1934441"/>
                  <a:gd name="connsiteX12" fmla="*/ 220388 w 512284"/>
                  <a:gd name="connsiteY12" fmla="*/ 596900 h 1934441"/>
                  <a:gd name="connsiteX13" fmla="*/ 163238 w 512284"/>
                  <a:gd name="connsiteY13" fmla="*/ 695325 h 1934441"/>
                  <a:gd name="connsiteX14" fmla="*/ 96563 w 512284"/>
                  <a:gd name="connsiteY14" fmla="*/ 730250 h 1934441"/>
                  <a:gd name="connsiteX15" fmla="*/ 52113 w 512284"/>
                  <a:gd name="connsiteY15" fmla="*/ 815975 h 1934441"/>
                  <a:gd name="connsiteX16" fmla="*/ 20363 w 512284"/>
                  <a:gd name="connsiteY16" fmla="*/ 917575 h 1934441"/>
                  <a:gd name="connsiteX17" fmla="*/ 1313 w 512284"/>
                  <a:gd name="connsiteY17" fmla="*/ 1019175 h 1934441"/>
                  <a:gd name="connsiteX18" fmla="*/ 10838 w 512284"/>
                  <a:gd name="connsiteY18" fmla="*/ 1111250 h 1934441"/>
                  <a:gd name="connsiteX19" fmla="*/ 83863 w 512284"/>
                  <a:gd name="connsiteY19" fmla="*/ 1184275 h 1934441"/>
                  <a:gd name="connsiteX20" fmla="*/ 112438 w 512284"/>
                  <a:gd name="connsiteY20" fmla="*/ 1231900 h 1934441"/>
                  <a:gd name="connsiteX21" fmla="*/ 150538 w 512284"/>
                  <a:gd name="connsiteY21" fmla="*/ 1263650 h 1934441"/>
                  <a:gd name="connsiteX22" fmla="*/ 169588 w 512284"/>
                  <a:gd name="connsiteY22" fmla="*/ 1317625 h 1934441"/>
                  <a:gd name="connsiteX23" fmla="*/ 226738 w 512284"/>
                  <a:gd name="connsiteY23" fmla="*/ 1358900 h 1934441"/>
                  <a:gd name="connsiteX24" fmla="*/ 264838 w 512284"/>
                  <a:gd name="connsiteY24" fmla="*/ 1403350 h 1934441"/>
                  <a:gd name="connsiteX25" fmla="*/ 277538 w 512284"/>
                  <a:gd name="connsiteY25" fmla="*/ 1431925 h 1934441"/>
                  <a:gd name="connsiteX26" fmla="*/ 277538 w 512284"/>
                  <a:gd name="connsiteY26" fmla="*/ 1501775 h 1934441"/>
                  <a:gd name="connsiteX27" fmla="*/ 325163 w 512284"/>
                  <a:gd name="connsiteY27" fmla="*/ 1577975 h 1934441"/>
                  <a:gd name="connsiteX28" fmla="*/ 363263 w 512284"/>
                  <a:gd name="connsiteY28" fmla="*/ 1635125 h 1934441"/>
                  <a:gd name="connsiteX29" fmla="*/ 415795 w 512284"/>
                  <a:gd name="connsiteY29" fmla="*/ 1711036 h 1934441"/>
                  <a:gd name="connsiteX30" fmla="*/ 509313 w 512284"/>
                  <a:gd name="connsiteY30" fmla="*/ 1934441 h 1934441"/>
                  <a:gd name="connsiteX0" fmla="*/ 239438 w 512284"/>
                  <a:gd name="connsiteY0" fmla="*/ 0 h 1893166"/>
                  <a:gd name="connsiteX1" fmla="*/ 239438 w 512284"/>
                  <a:gd name="connsiteY1" fmla="*/ 44450 h 1893166"/>
                  <a:gd name="connsiteX2" fmla="*/ 207688 w 512284"/>
                  <a:gd name="connsiteY2" fmla="*/ 85725 h 1893166"/>
                  <a:gd name="connsiteX3" fmla="*/ 287063 w 512284"/>
                  <a:gd name="connsiteY3" fmla="*/ 111125 h 1893166"/>
                  <a:gd name="connsiteX4" fmla="*/ 302938 w 512284"/>
                  <a:gd name="connsiteY4" fmla="*/ 142875 h 1893166"/>
                  <a:gd name="connsiteX5" fmla="*/ 210863 w 512284"/>
                  <a:gd name="connsiteY5" fmla="*/ 212725 h 1893166"/>
                  <a:gd name="connsiteX6" fmla="*/ 160063 w 512284"/>
                  <a:gd name="connsiteY6" fmla="*/ 269875 h 1893166"/>
                  <a:gd name="connsiteX7" fmla="*/ 160063 w 512284"/>
                  <a:gd name="connsiteY7" fmla="*/ 327025 h 1893166"/>
                  <a:gd name="connsiteX8" fmla="*/ 185463 w 512284"/>
                  <a:gd name="connsiteY8" fmla="*/ 415925 h 1893166"/>
                  <a:gd name="connsiteX9" fmla="*/ 194988 w 512284"/>
                  <a:gd name="connsiteY9" fmla="*/ 466725 h 1893166"/>
                  <a:gd name="connsiteX10" fmla="*/ 204513 w 512284"/>
                  <a:gd name="connsiteY10" fmla="*/ 517525 h 1893166"/>
                  <a:gd name="connsiteX11" fmla="*/ 220388 w 512284"/>
                  <a:gd name="connsiteY11" fmla="*/ 555625 h 1893166"/>
                  <a:gd name="connsiteX12" fmla="*/ 163238 w 512284"/>
                  <a:gd name="connsiteY12" fmla="*/ 654050 h 1893166"/>
                  <a:gd name="connsiteX13" fmla="*/ 96563 w 512284"/>
                  <a:gd name="connsiteY13" fmla="*/ 688975 h 1893166"/>
                  <a:gd name="connsiteX14" fmla="*/ 52113 w 512284"/>
                  <a:gd name="connsiteY14" fmla="*/ 774700 h 1893166"/>
                  <a:gd name="connsiteX15" fmla="*/ 20363 w 512284"/>
                  <a:gd name="connsiteY15" fmla="*/ 876300 h 1893166"/>
                  <a:gd name="connsiteX16" fmla="*/ 1313 w 512284"/>
                  <a:gd name="connsiteY16" fmla="*/ 977900 h 1893166"/>
                  <a:gd name="connsiteX17" fmla="*/ 10838 w 512284"/>
                  <a:gd name="connsiteY17" fmla="*/ 1069975 h 1893166"/>
                  <a:gd name="connsiteX18" fmla="*/ 83863 w 512284"/>
                  <a:gd name="connsiteY18" fmla="*/ 1143000 h 1893166"/>
                  <a:gd name="connsiteX19" fmla="*/ 112438 w 512284"/>
                  <a:gd name="connsiteY19" fmla="*/ 1190625 h 1893166"/>
                  <a:gd name="connsiteX20" fmla="*/ 150538 w 512284"/>
                  <a:gd name="connsiteY20" fmla="*/ 1222375 h 1893166"/>
                  <a:gd name="connsiteX21" fmla="*/ 169588 w 512284"/>
                  <a:gd name="connsiteY21" fmla="*/ 1276350 h 1893166"/>
                  <a:gd name="connsiteX22" fmla="*/ 226738 w 512284"/>
                  <a:gd name="connsiteY22" fmla="*/ 1317625 h 1893166"/>
                  <a:gd name="connsiteX23" fmla="*/ 264838 w 512284"/>
                  <a:gd name="connsiteY23" fmla="*/ 1362075 h 1893166"/>
                  <a:gd name="connsiteX24" fmla="*/ 277538 w 512284"/>
                  <a:gd name="connsiteY24" fmla="*/ 1390650 h 1893166"/>
                  <a:gd name="connsiteX25" fmla="*/ 277538 w 512284"/>
                  <a:gd name="connsiteY25" fmla="*/ 1460500 h 1893166"/>
                  <a:gd name="connsiteX26" fmla="*/ 325163 w 512284"/>
                  <a:gd name="connsiteY26" fmla="*/ 1536700 h 1893166"/>
                  <a:gd name="connsiteX27" fmla="*/ 363263 w 512284"/>
                  <a:gd name="connsiteY27" fmla="*/ 1593850 h 1893166"/>
                  <a:gd name="connsiteX28" fmla="*/ 415795 w 512284"/>
                  <a:gd name="connsiteY28" fmla="*/ 1669761 h 1893166"/>
                  <a:gd name="connsiteX29" fmla="*/ 509313 w 512284"/>
                  <a:gd name="connsiteY29" fmla="*/ 1893166 h 1893166"/>
                  <a:gd name="connsiteX0" fmla="*/ 239438 w 512284"/>
                  <a:gd name="connsiteY0" fmla="*/ 0 h 1848716"/>
                  <a:gd name="connsiteX1" fmla="*/ 207688 w 512284"/>
                  <a:gd name="connsiteY1" fmla="*/ 41275 h 1848716"/>
                  <a:gd name="connsiteX2" fmla="*/ 287063 w 512284"/>
                  <a:gd name="connsiteY2" fmla="*/ 66675 h 1848716"/>
                  <a:gd name="connsiteX3" fmla="*/ 302938 w 512284"/>
                  <a:gd name="connsiteY3" fmla="*/ 98425 h 1848716"/>
                  <a:gd name="connsiteX4" fmla="*/ 210863 w 512284"/>
                  <a:gd name="connsiteY4" fmla="*/ 168275 h 1848716"/>
                  <a:gd name="connsiteX5" fmla="*/ 160063 w 512284"/>
                  <a:gd name="connsiteY5" fmla="*/ 225425 h 1848716"/>
                  <a:gd name="connsiteX6" fmla="*/ 160063 w 512284"/>
                  <a:gd name="connsiteY6" fmla="*/ 282575 h 1848716"/>
                  <a:gd name="connsiteX7" fmla="*/ 185463 w 512284"/>
                  <a:gd name="connsiteY7" fmla="*/ 371475 h 1848716"/>
                  <a:gd name="connsiteX8" fmla="*/ 194988 w 512284"/>
                  <a:gd name="connsiteY8" fmla="*/ 422275 h 1848716"/>
                  <a:gd name="connsiteX9" fmla="*/ 204513 w 512284"/>
                  <a:gd name="connsiteY9" fmla="*/ 473075 h 1848716"/>
                  <a:gd name="connsiteX10" fmla="*/ 220388 w 512284"/>
                  <a:gd name="connsiteY10" fmla="*/ 511175 h 1848716"/>
                  <a:gd name="connsiteX11" fmla="*/ 163238 w 512284"/>
                  <a:gd name="connsiteY11" fmla="*/ 609600 h 1848716"/>
                  <a:gd name="connsiteX12" fmla="*/ 96563 w 512284"/>
                  <a:gd name="connsiteY12" fmla="*/ 644525 h 1848716"/>
                  <a:gd name="connsiteX13" fmla="*/ 52113 w 512284"/>
                  <a:gd name="connsiteY13" fmla="*/ 730250 h 1848716"/>
                  <a:gd name="connsiteX14" fmla="*/ 20363 w 512284"/>
                  <a:gd name="connsiteY14" fmla="*/ 831850 h 1848716"/>
                  <a:gd name="connsiteX15" fmla="*/ 1313 w 512284"/>
                  <a:gd name="connsiteY15" fmla="*/ 933450 h 1848716"/>
                  <a:gd name="connsiteX16" fmla="*/ 10838 w 512284"/>
                  <a:gd name="connsiteY16" fmla="*/ 1025525 h 1848716"/>
                  <a:gd name="connsiteX17" fmla="*/ 83863 w 512284"/>
                  <a:gd name="connsiteY17" fmla="*/ 1098550 h 1848716"/>
                  <a:gd name="connsiteX18" fmla="*/ 112438 w 512284"/>
                  <a:gd name="connsiteY18" fmla="*/ 1146175 h 1848716"/>
                  <a:gd name="connsiteX19" fmla="*/ 150538 w 512284"/>
                  <a:gd name="connsiteY19" fmla="*/ 1177925 h 1848716"/>
                  <a:gd name="connsiteX20" fmla="*/ 169588 w 512284"/>
                  <a:gd name="connsiteY20" fmla="*/ 1231900 h 1848716"/>
                  <a:gd name="connsiteX21" fmla="*/ 226738 w 512284"/>
                  <a:gd name="connsiteY21" fmla="*/ 1273175 h 1848716"/>
                  <a:gd name="connsiteX22" fmla="*/ 264838 w 512284"/>
                  <a:gd name="connsiteY22" fmla="*/ 1317625 h 1848716"/>
                  <a:gd name="connsiteX23" fmla="*/ 277538 w 512284"/>
                  <a:gd name="connsiteY23" fmla="*/ 1346200 h 1848716"/>
                  <a:gd name="connsiteX24" fmla="*/ 277538 w 512284"/>
                  <a:gd name="connsiteY24" fmla="*/ 1416050 h 1848716"/>
                  <a:gd name="connsiteX25" fmla="*/ 325163 w 512284"/>
                  <a:gd name="connsiteY25" fmla="*/ 1492250 h 1848716"/>
                  <a:gd name="connsiteX26" fmla="*/ 363263 w 512284"/>
                  <a:gd name="connsiteY26" fmla="*/ 1549400 h 1848716"/>
                  <a:gd name="connsiteX27" fmla="*/ 415795 w 512284"/>
                  <a:gd name="connsiteY27" fmla="*/ 1625311 h 1848716"/>
                  <a:gd name="connsiteX28" fmla="*/ 509313 w 512284"/>
                  <a:gd name="connsiteY28" fmla="*/ 1848716 h 1848716"/>
                  <a:gd name="connsiteX0" fmla="*/ 207688 w 512284"/>
                  <a:gd name="connsiteY0" fmla="*/ 0 h 1807441"/>
                  <a:gd name="connsiteX1" fmla="*/ 287063 w 512284"/>
                  <a:gd name="connsiteY1" fmla="*/ 25400 h 1807441"/>
                  <a:gd name="connsiteX2" fmla="*/ 302938 w 512284"/>
                  <a:gd name="connsiteY2" fmla="*/ 57150 h 1807441"/>
                  <a:gd name="connsiteX3" fmla="*/ 210863 w 512284"/>
                  <a:gd name="connsiteY3" fmla="*/ 127000 h 1807441"/>
                  <a:gd name="connsiteX4" fmla="*/ 160063 w 512284"/>
                  <a:gd name="connsiteY4" fmla="*/ 184150 h 1807441"/>
                  <a:gd name="connsiteX5" fmla="*/ 160063 w 512284"/>
                  <a:gd name="connsiteY5" fmla="*/ 241300 h 1807441"/>
                  <a:gd name="connsiteX6" fmla="*/ 185463 w 512284"/>
                  <a:gd name="connsiteY6" fmla="*/ 330200 h 1807441"/>
                  <a:gd name="connsiteX7" fmla="*/ 194988 w 512284"/>
                  <a:gd name="connsiteY7" fmla="*/ 381000 h 1807441"/>
                  <a:gd name="connsiteX8" fmla="*/ 204513 w 512284"/>
                  <a:gd name="connsiteY8" fmla="*/ 431800 h 1807441"/>
                  <a:gd name="connsiteX9" fmla="*/ 220388 w 512284"/>
                  <a:gd name="connsiteY9" fmla="*/ 469900 h 1807441"/>
                  <a:gd name="connsiteX10" fmla="*/ 163238 w 512284"/>
                  <a:gd name="connsiteY10" fmla="*/ 568325 h 1807441"/>
                  <a:gd name="connsiteX11" fmla="*/ 96563 w 512284"/>
                  <a:gd name="connsiteY11" fmla="*/ 603250 h 1807441"/>
                  <a:gd name="connsiteX12" fmla="*/ 52113 w 512284"/>
                  <a:gd name="connsiteY12" fmla="*/ 688975 h 1807441"/>
                  <a:gd name="connsiteX13" fmla="*/ 20363 w 512284"/>
                  <a:gd name="connsiteY13" fmla="*/ 790575 h 1807441"/>
                  <a:gd name="connsiteX14" fmla="*/ 1313 w 512284"/>
                  <a:gd name="connsiteY14" fmla="*/ 892175 h 1807441"/>
                  <a:gd name="connsiteX15" fmla="*/ 10838 w 512284"/>
                  <a:gd name="connsiteY15" fmla="*/ 984250 h 1807441"/>
                  <a:gd name="connsiteX16" fmla="*/ 83863 w 512284"/>
                  <a:gd name="connsiteY16" fmla="*/ 1057275 h 1807441"/>
                  <a:gd name="connsiteX17" fmla="*/ 112438 w 512284"/>
                  <a:gd name="connsiteY17" fmla="*/ 1104900 h 1807441"/>
                  <a:gd name="connsiteX18" fmla="*/ 150538 w 512284"/>
                  <a:gd name="connsiteY18" fmla="*/ 1136650 h 1807441"/>
                  <a:gd name="connsiteX19" fmla="*/ 169588 w 512284"/>
                  <a:gd name="connsiteY19" fmla="*/ 1190625 h 1807441"/>
                  <a:gd name="connsiteX20" fmla="*/ 226738 w 512284"/>
                  <a:gd name="connsiteY20" fmla="*/ 1231900 h 1807441"/>
                  <a:gd name="connsiteX21" fmla="*/ 264838 w 512284"/>
                  <a:gd name="connsiteY21" fmla="*/ 1276350 h 1807441"/>
                  <a:gd name="connsiteX22" fmla="*/ 277538 w 512284"/>
                  <a:gd name="connsiteY22" fmla="*/ 1304925 h 1807441"/>
                  <a:gd name="connsiteX23" fmla="*/ 277538 w 512284"/>
                  <a:gd name="connsiteY23" fmla="*/ 1374775 h 1807441"/>
                  <a:gd name="connsiteX24" fmla="*/ 325163 w 512284"/>
                  <a:gd name="connsiteY24" fmla="*/ 1450975 h 1807441"/>
                  <a:gd name="connsiteX25" fmla="*/ 363263 w 512284"/>
                  <a:gd name="connsiteY25" fmla="*/ 1508125 h 1807441"/>
                  <a:gd name="connsiteX26" fmla="*/ 415795 w 512284"/>
                  <a:gd name="connsiteY26" fmla="*/ 1584036 h 1807441"/>
                  <a:gd name="connsiteX27" fmla="*/ 509313 w 512284"/>
                  <a:gd name="connsiteY27" fmla="*/ 1807441 h 1807441"/>
                  <a:gd name="connsiteX0" fmla="*/ 287063 w 512284"/>
                  <a:gd name="connsiteY0" fmla="*/ 0 h 1782041"/>
                  <a:gd name="connsiteX1" fmla="*/ 302938 w 512284"/>
                  <a:gd name="connsiteY1" fmla="*/ 31750 h 1782041"/>
                  <a:gd name="connsiteX2" fmla="*/ 210863 w 512284"/>
                  <a:gd name="connsiteY2" fmla="*/ 101600 h 1782041"/>
                  <a:gd name="connsiteX3" fmla="*/ 160063 w 512284"/>
                  <a:gd name="connsiteY3" fmla="*/ 158750 h 1782041"/>
                  <a:gd name="connsiteX4" fmla="*/ 160063 w 512284"/>
                  <a:gd name="connsiteY4" fmla="*/ 215900 h 1782041"/>
                  <a:gd name="connsiteX5" fmla="*/ 185463 w 512284"/>
                  <a:gd name="connsiteY5" fmla="*/ 304800 h 1782041"/>
                  <a:gd name="connsiteX6" fmla="*/ 194988 w 512284"/>
                  <a:gd name="connsiteY6" fmla="*/ 355600 h 1782041"/>
                  <a:gd name="connsiteX7" fmla="*/ 204513 w 512284"/>
                  <a:gd name="connsiteY7" fmla="*/ 406400 h 1782041"/>
                  <a:gd name="connsiteX8" fmla="*/ 220388 w 512284"/>
                  <a:gd name="connsiteY8" fmla="*/ 444500 h 1782041"/>
                  <a:gd name="connsiteX9" fmla="*/ 163238 w 512284"/>
                  <a:gd name="connsiteY9" fmla="*/ 542925 h 1782041"/>
                  <a:gd name="connsiteX10" fmla="*/ 96563 w 512284"/>
                  <a:gd name="connsiteY10" fmla="*/ 577850 h 1782041"/>
                  <a:gd name="connsiteX11" fmla="*/ 52113 w 512284"/>
                  <a:gd name="connsiteY11" fmla="*/ 663575 h 1782041"/>
                  <a:gd name="connsiteX12" fmla="*/ 20363 w 512284"/>
                  <a:gd name="connsiteY12" fmla="*/ 765175 h 1782041"/>
                  <a:gd name="connsiteX13" fmla="*/ 1313 w 512284"/>
                  <a:gd name="connsiteY13" fmla="*/ 866775 h 1782041"/>
                  <a:gd name="connsiteX14" fmla="*/ 10838 w 512284"/>
                  <a:gd name="connsiteY14" fmla="*/ 958850 h 1782041"/>
                  <a:gd name="connsiteX15" fmla="*/ 83863 w 512284"/>
                  <a:gd name="connsiteY15" fmla="*/ 1031875 h 1782041"/>
                  <a:gd name="connsiteX16" fmla="*/ 112438 w 512284"/>
                  <a:gd name="connsiteY16" fmla="*/ 1079500 h 1782041"/>
                  <a:gd name="connsiteX17" fmla="*/ 150538 w 512284"/>
                  <a:gd name="connsiteY17" fmla="*/ 1111250 h 1782041"/>
                  <a:gd name="connsiteX18" fmla="*/ 169588 w 512284"/>
                  <a:gd name="connsiteY18" fmla="*/ 1165225 h 1782041"/>
                  <a:gd name="connsiteX19" fmla="*/ 226738 w 512284"/>
                  <a:gd name="connsiteY19" fmla="*/ 1206500 h 1782041"/>
                  <a:gd name="connsiteX20" fmla="*/ 264838 w 512284"/>
                  <a:gd name="connsiteY20" fmla="*/ 1250950 h 1782041"/>
                  <a:gd name="connsiteX21" fmla="*/ 277538 w 512284"/>
                  <a:gd name="connsiteY21" fmla="*/ 1279525 h 1782041"/>
                  <a:gd name="connsiteX22" fmla="*/ 277538 w 512284"/>
                  <a:gd name="connsiteY22" fmla="*/ 1349375 h 1782041"/>
                  <a:gd name="connsiteX23" fmla="*/ 325163 w 512284"/>
                  <a:gd name="connsiteY23" fmla="*/ 1425575 h 1782041"/>
                  <a:gd name="connsiteX24" fmla="*/ 363263 w 512284"/>
                  <a:gd name="connsiteY24" fmla="*/ 1482725 h 1782041"/>
                  <a:gd name="connsiteX25" fmla="*/ 415795 w 512284"/>
                  <a:gd name="connsiteY25" fmla="*/ 1558636 h 1782041"/>
                  <a:gd name="connsiteX26" fmla="*/ 509313 w 512284"/>
                  <a:gd name="connsiteY26" fmla="*/ 1782041 h 1782041"/>
                  <a:gd name="connsiteX0" fmla="*/ 302938 w 512284"/>
                  <a:gd name="connsiteY0" fmla="*/ 0 h 1750291"/>
                  <a:gd name="connsiteX1" fmla="*/ 210863 w 512284"/>
                  <a:gd name="connsiteY1" fmla="*/ 69850 h 1750291"/>
                  <a:gd name="connsiteX2" fmla="*/ 160063 w 512284"/>
                  <a:gd name="connsiteY2" fmla="*/ 127000 h 1750291"/>
                  <a:gd name="connsiteX3" fmla="*/ 160063 w 512284"/>
                  <a:gd name="connsiteY3" fmla="*/ 184150 h 1750291"/>
                  <a:gd name="connsiteX4" fmla="*/ 185463 w 512284"/>
                  <a:gd name="connsiteY4" fmla="*/ 273050 h 1750291"/>
                  <a:gd name="connsiteX5" fmla="*/ 194988 w 512284"/>
                  <a:gd name="connsiteY5" fmla="*/ 323850 h 1750291"/>
                  <a:gd name="connsiteX6" fmla="*/ 204513 w 512284"/>
                  <a:gd name="connsiteY6" fmla="*/ 374650 h 1750291"/>
                  <a:gd name="connsiteX7" fmla="*/ 220388 w 512284"/>
                  <a:gd name="connsiteY7" fmla="*/ 412750 h 1750291"/>
                  <a:gd name="connsiteX8" fmla="*/ 163238 w 512284"/>
                  <a:gd name="connsiteY8" fmla="*/ 511175 h 1750291"/>
                  <a:gd name="connsiteX9" fmla="*/ 96563 w 512284"/>
                  <a:gd name="connsiteY9" fmla="*/ 546100 h 1750291"/>
                  <a:gd name="connsiteX10" fmla="*/ 52113 w 512284"/>
                  <a:gd name="connsiteY10" fmla="*/ 631825 h 1750291"/>
                  <a:gd name="connsiteX11" fmla="*/ 20363 w 512284"/>
                  <a:gd name="connsiteY11" fmla="*/ 733425 h 1750291"/>
                  <a:gd name="connsiteX12" fmla="*/ 1313 w 512284"/>
                  <a:gd name="connsiteY12" fmla="*/ 835025 h 1750291"/>
                  <a:gd name="connsiteX13" fmla="*/ 10838 w 512284"/>
                  <a:gd name="connsiteY13" fmla="*/ 927100 h 1750291"/>
                  <a:gd name="connsiteX14" fmla="*/ 83863 w 512284"/>
                  <a:gd name="connsiteY14" fmla="*/ 1000125 h 1750291"/>
                  <a:gd name="connsiteX15" fmla="*/ 112438 w 512284"/>
                  <a:gd name="connsiteY15" fmla="*/ 1047750 h 1750291"/>
                  <a:gd name="connsiteX16" fmla="*/ 150538 w 512284"/>
                  <a:gd name="connsiteY16" fmla="*/ 1079500 h 1750291"/>
                  <a:gd name="connsiteX17" fmla="*/ 169588 w 512284"/>
                  <a:gd name="connsiteY17" fmla="*/ 1133475 h 1750291"/>
                  <a:gd name="connsiteX18" fmla="*/ 226738 w 512284"/>
                  <a:gd name="connsiteY18" fmla="*/ 1174750 h 1750291"/>
                  <a:gd name="connsiteX19" fmla="*/ 264838 w 512284"/>
                  <a:gd name="connsiteY19" fmla="*/ 1219200 h 1750291"/>
                  <a:gd name="connsiteX20" fmla="*/ 277538 w 512284"/>
                  <a:gd name="connsiteY20" fmla="*/ 1247775 h 1750291"/>
                  <a:gd name="connsiteX21" fmla="*/ 277538 w 512284"/>
                  <a:gd name="connsiteY21" fmla="*/ 1317625 h 1750291"/>
                  <a:gd name="connsiteX22" fmla="*/ 325163 w 512284"/>
                  <a:gd name="connsiteY22" fmla="*/ 1393825 h 1750291"/>
                  <a:gd name="connsiteX23" fmla="*/ 363263 w 512284"/>
                  <a:gd name="connsiteY23" fmla="*/ 1450975 h 1750291"/>
                  <a:gd name="connsiteX24" fmla="*/ 415795 w 512284"/>
                  <a:gd name="connsiteY24" fmla="*/ 1526886 h 1750291"/>
                  <a:gd name="connsiteX25" fmla="*/ 509313 w 512284"/>
                  <a:gd name="connsiteY25" fmla="*/ 1750291 h 1750291"/>
                  <a:gd name="connsiteX0" fmla="*/ 302938 w 512284"/>
                  <a:gd name="connsiteY0" fmla="*/ 0 h 1775691"/>
                  <a:gd name="connsiteX1" fmla="*/ 210863 w 512284"/>
                  <a:gd name="connsiteY1" fmla="*/ 69850 h 1775691"/>
                  <a:gd name="connsiteX2" fmla="*/ 160063 w 512284"/>
                  <a:gd name="connsiteY2" fmla="*/ 127000 h 1775691"/>
                  <a:gd name="connsiteX3" fmla="*/ 160063 w 512284"/>
                  <a:gd name="connsiteY3" fmla="*/ 184150 h 1775691"/>
                  <a:gd name="connsiteX4" fmla="*/ 185463 w 512284"/>
                  <a:gd name="connsiteY4" fmla="*/ 273050 h 1775691"/>
                  <a:gd name="connsiteX5" fmla="*/ 194988 w 512284"/>
                  <a:gd name="connsiteY5" fmla="*/ 323850 h 1775691"/>
                  <a:gd name="connsiteX6" fmla="*/ 204513 w 512284"/>
                  <a:gd name="connsiteY6" fmla="*/ 374650 h 1775691"/>
                  <a:gd name="connsiteX7" fmla="*/ 220388 w 512284"/>
                  <a:gd name="connsiteY7" fmla="*/ 412750 h 1775691"/>
                  <a:gd name="connsiteX8" fmla="*/ 163238 w 512284"/>
                  <a:gd name="connsiteY8" fmla="*/ 511175 h 1775691"/>
                  <a:gd name="connsiteX9" fmla="*/ 96563 w 512284"/>
                  <a:gd name="connsiteY9" fmla="*/ 546100 h 1775691"/>
                  <a:gd name="connsiteX10" fmla="*/ 52113 w 512284"/>
                  <a:gd name="connsiteY10" fmla="*/ 631825 h 1775691"/>
                  <a:gd name="connsiteX11" fmla="*/ 20363 w 512284"/>
                  <a:gd name="connsiteY11" fmla="*/ 733425 h 1775691"/>
                  <a:gd name="connsiteX12" fmla="*/ 1313 w 512284"/>
                  <a:gd name="connsiteY12" fmla="*/ 835025 h 1775691"/>
                  <a:gd name="connsiteX13" fmla="*/ 10838 w 512284"/>
                  <a:gd name="connsiteY13" fmla="*/ 927100 h 1775691"/>
                  <a:gd name="connsiteX14" fmla="*/ 83863 w 512284"/>
                  <a:gd name="connsiteY14" fmla="*/ 1000125 h 1775691"/>
                  <a:gd name="connsiteX15" fmla="*/ 112438 w 512284"/>
                  <a:gd name="connsiteY15" fmla="*/ 1047750 h 1775691"/>
                  <a:gd name="connsiteX16" fmla="*/ 150538 w 512284"/>
                  <a:gd name="connsiteY16" fmla="*/ 1079500 h 1775691"/>
                  <a:gd name="connsiteX17" fmla="*/ 169588 w 512284"/>
                  <a:gd name="connsiteY17" fmla="*/ 1133475 h 1775691"/>
                  <a:gd name="connsiteX18" fmla="*/ 226738 w 512284"/>
                  <a:gd name="connsiteY18" fmla="*/ 1174750 h 1775691"/>
                  <a:gd name="connsiteX19" fmla="*/ 264838 w 512284"/>
                  <a:gd name="connsiteY19" fmla="*/ 1219200 h 1775691"/>
                  <a:gd name="connsiteX20" fmla="*/ 277538 w 512284"/>
                  <a:gd name="connsiteY20" fmla="*/ 1247775 h 1775691"/>
                  <a:gd name="connsiteX21" fmla="*/ 277538 w 512284"/>
                  <a:gd name="connsiteY21" fmla="*/ 1317625 h 1775691"/>
                  <a:gd name="connsiteX22" fmla="*/ 325163 w 512284"/>
                  <a:gd name="connsiteY22" fmla="*/ 1393825 h 1775691"/>
                  <a:gd name="connsiteX23" fmla="*/ 363263 w 512284"/>
                  <a:gd name="connsiteY23" fmla="*/ 1450975 h 1775691"/>
                  <a:gd name="connsiteX24" fmla="*/ 415795 w 512284"/>
                  <a:gd name="connsiteY24" fmla="*/ 1526886 h 1775691"/>
                  <a:gd name="connsiteX25" fmla="*/ 509313 w 512284"/>
                  <a:gd name="connsiteY25" fmla="*/ 1775691 h 1775691"/>
                  <a:gd name="connsiteX0" fmla="*/ 302938 w 517807"/>
                  <a:gd name="connsiteY0" fmla="*/ 0 h 1751878"/>
                  <a:gd name="connsiteX1" fmla="*/ 210863 w 517807"/>
                  <a:gd name="connsiteY1" fmla="*/ 69850 h 1751878"/>
                  <a:gd name="connsiteX2" fmla="*/ 160063 w 517807"/>
                  <a:gd name="connsiteY2" fmla="*/ 127000 h 1751878"/>
                  <a:gd name="connsiteX3" fmla="*/ 160063 w 517807"/>
                  <a:gd name="connsiteY3" fmla="*/ 184150 h 1751878"/>
                  <a:gd name="connsiteX4" fmla="*/ 185463 w 517807"/>
                  <a:gd name="connsiteY4" fmla="*/ 273050 h 1751878"/>
                  <a:gd name="connsiteX5" fmla="*/ 194988 w 517807"/>
                  <a:gd name="connsiteY5" fmla="*/ 323850 h 1751878"/>
                  <a:gd name="connsiteX6" fmla="*/ 204513 w 517807"/>
                  <a:gd name="connsiteY6" fmla="*/ 374650 h 1751878"/>
                  <a:gd name="connsiteX7" fmla="*/ 220388 w 517807"/>
                  <a:gd name="connsiteY7" fmla="*/ 412750 h 1751878"/>
                  <a:gd name="connsiteX8" fmla="*/ 163238 w 517807"/>
                  <a:gd name="connsiteY8" fmla="*/ 511175 h 1751878"/>
                  <a:gd name="connsiteX9" fmla="*/ 96563 w 517807"/>
                  <a:gd name="connsiteY9" fmla="*/ 546100 h 1751878"/>
                  <a:gd name="connsiteX10" fmla="*/ 52113 w 517807"/>
                  <a:gd name="connsiteY10" fmla="*/ 631825 h 1751878"/>
                  <a:gd name="connsiteX11" fmla="*/ 20363 w 517807"/>
                  <a:gd name="connsiteY11" fmla="*/ 733425 h 1751878"/>
                  <a:gd name="connsiteX12" fmla="*/ 1313 w 517807"/>
                  <a:gd name="connsiteY12" fmla="*/ 835025 h 1751878"/>
                  <a:gd name="connsiteX13" fmla="*/ 10838 w 517807"/>
                  <a:gd name="connsiteY13" fmla="*/ 927100 h 1751878"/>
                  <a:gd name="connsiteX14" fmla="*/ 83863 w 517807"/>
                  <a:gd name="connsiteY14" fmla="*/ 1000125 h 1751878"/>
                  <a:gd name="connsiteX15" fmla="*/ 112438 w 517807"/>
                  <a:gd name="connsiteY15" fmla="*/ 1047750 h 1751878"/>
                  <a:gd name="connsiteX16" fmla="*/ 150538 w 517807"/>
                  <a:gd name="connsiteY16" fmla="*/ 1079500 h 1751878"/>
                  <a:gd name="connsiteX17" fmla="*/ 169588 w 517807"/>
                  <a:gd name="connsiteY17" fmla="*/ 1133475 h 1751878"/>
                  <a:gd name="connsiteX18" fmla="*/ 226738 w 517807"/>
                  <a:gd name="connsiteY18" fmla="*/ 1174750 h 1751878"/>
                  <a:gd name="connsiteX19" fmla="*/ 264838 w 517807"/>
                  <a:gd name="connsiteY19" fmla="*/ 1219200 h 1751878"/>
                  <a:gd name="connsiteX20" fmla="*/ 277538 w 517807"/>
                  <a:gd name="connsiteY20" fmla="*/ 1247775 h 1751878"/>
                  <a:gd name="connsiteX21" fmla="*/ 277538 w 517807"/>
                  <a:gd name="connsiteY21" fmla="*/ 1317625 h 1751878"/>
                  <a:gd name="connsiteX22" fmla="*/ 325163 w 517807"/>
                  <a:gd name="connsiteY22" fmla="*/ 1393825 h 1751878"/>
                  <a:gd name="connsiteX23" fmla="*/ 363263 w 517807"/>
                  <a:gd name="connsiteY23" fmla="*/ 1450975 h 1751878"/>
                  <a:gd name="connsiteX24" fmla="*/ 415795 w 517807"/>
                  <a:gd name="connsiteY24" fmla="*/ 1526886 h 1751878"/>
                  <a:gd name="connsiteX25" fmla="*/ 514964 w 517807"/>
                  <a:gd name="connsiteY25" fmla="*/ 1751878 h 17518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517807" h="1751878">
                    <a:moveTo>
                      <a:pt x="302938" y="0"/>
                    </a:moveTo>
                    <a:cubicBezTo>
                      <a:pt x="290238" y="16933"/>
                      <a:pt x="234675" y="48683"/>
                      <a:pt x="210863" y="69850"/>
                    </a:cubicBezTo>
                    <a:cubicBezTo>
                      <a:pt x="187050" y="91017"/>
                      <a:pt x="168530" y="107950"/>
                      <a:pt x="160063" y="127000"/>
                    </a:cubicBezTo>
                    <a:cubicBezTo>
                      <a:pt x="151596" y="146050"/>
                      <a:pt x="155830" y="159808"/>
                      <a:pt x="160063" y="184150"/>
                    </a:cubicBezTo>
                    <a:cubicBezTo>
                      <a:pt x="164296" y="208492"/>
                      <a:pt x="179642" y="249767"/>
                      <a:pt x="185463" y="273050"/>
                    </a:cubicBezTo>
                    <a:cubicBezTo>
                      <a:pt x="191284" y="296333"/>
                      <a:pt x="194988" y="323850"/>
                      <a:pt x="194988" y="323850"/>
                    </a:cubicBezTo>
                    <a:cubicBezTo>
                      <a:pt x="198163" y="340783"/>
                      <a:pt x="200280" y="359833"/>
                      <a:pt x="204513" y="374650"/>
                    </a:cubicBezTo>
                    <a:cubicBezTo>
                      <a:pt x="208746" y="389467"/>
                      <a:pt x="227267" y="389996"/>
                      <a:pt x="220388" y="412750"/>
                    </a:cubicBezTo>
                    <a:cubicBezTo>
                      <a:pt x="213509" y="435504"/>
                      <a:pt x="183875" y="488950"/>
                      <a:pt x="163238" y="511175"/>
                    </a:cubicBezTo>
                    <a:cubicBezTo>
                      <a:pt x="142601" y="533400"/>
                      <a:pt x="115084" y="525992"/>
                      <a:pt x="96563" y="546100"/>
                    </a:cubicBezTo>
                    <a:cubicBezTo>
                      <a:pt x="78042" y="566208"/>
                      <a:pt x="64813" y="600604"/>
                      <a:pt x="52113" y="631825"/>
                    </a:cubicBezTo>
                    <a:cubicBezTo>
                      <a:pt x="39413" y="663046"/>
                      <a:pt x="28830" y="699558"/>
                      <a:pt x="20363" y="733425"/>
                    </a:cubicBezTo>
                    <a:cubicBezTo>
                      <a:pt x="11896" y="767292"/>
                      <a:pt x="2900" y="802746"/>
                      <a:pt x="1313" y="835025"/>
                    </a:cubicBezTo>
                    <a:cubicBezTo>
                      <a:pt x="-274" y="867304"/>
                      <a:pt x="-2920" y="899583"/>
                      <a:pt x="10838" y="927100"/>
                    </a:cubicBezTo>
                    <a:cubicBezTo>
                      <a:pt x="24596" y="954617"/>
                      <a:pt x="66930" y="980017"/>
                      <a:pt x="83863" y="1000125"/>
                    </a:cubicBezTo>
                    <a:cubicBezTo>
                      <a:pt x="100796" y="1020233"/>
                      <a:pt x="101326" y="1034521"/>
                      <a:pt x="112438" y="1047750"/>
                    </a:cubicBezTo>
                    <a:cubicBezTo>
                      <a:pt x="123550" y="1060979"/>
                      <a:pt x="141013" y="1065213"/>
                      <a:pt x="150538" y="1079500"/>
                    </a:cubicBezTo>
                    <a:cubicBezTo>
                      <a:pt x="160063" y="1093787"/>
                      <a:pt x="156888" y="1117600"/>
                      <a:pt x="169588" y="1133475"/>
                    </a:cubicBezTo>
                    <a:cubicBezTo>
                      <a:pt x="182288" y="1149350"/>
                      <a:pt x="210863" y="1160463"/>
                      <a:pt x="226738" y="1174750"/>
                    </a:cubicBezTo>
                    <a:cubicBezTo>
                      <a:pt x="242613" y="1189038"/>
                      <a:pt x="256371" y="1207029"/>
                      <a:pt x="264838" y="1219200"/>
                    </a:cubicBezTo>
                    <a:cubicBezTo>
                      <a:pt x="273305" y="1231371"/>
                      <a:pt x="275421" y="1231371"/>
                      <a:pt x="277538" y="1247775"/>
                    </a:cubicBezTo>
                    <a:cubicBezTo>
                      <a:pt x="279655" y="1264179"/>
                      <a:pt x="269601" y="1293283"/>
                      <a:pt x="277538" y="1317625"/>
                    </a:cubicBezTo>
                    <a:cubicBezTo>
                      <a:pt x="285475" y="1341967"/>
                      <a:pt x="310875" y="1371600"/>
                      <a:pt x="325163" y="1393825"/>
                    </a:cubicBezTo>
                    <a:cubicBezTo>
                      <a:pt x="339451" y="1416050"/>
                      <a:pt x="348158" y="1428798"/>
                      <a:pt x="363263" y="1450975"/>
                    </a:cubicBezTo>
                    <a:cubicBezTo>
                      <a:pt x="378368" y="1473152"/>
                      <a:pt x="390512" y="1476736"/>
                      <a:pt x="415795" y="1526886"/>
                    </a:cubicBezTo>
                    <a:cubicBezTo>
                      <a:pt x="441079" y="1577037"/>
                      <a:pt x="535265" y="1601644"/>
                      <a:pt x="514964" y="1751878"/>
                    </a:cubicBezTo>
                  </a:path>
                </a:pathLst>
              </a:custGeom>
              <a:noFill/>
              <a:ln w="15875" cmpd="sng">
                <a:solidFill>
                  <a:srgbClr val="9E3422"/>
                </a:solidFill>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51" name="Rectangle 50"/>
              <p:cNvSpPr/>
              <p:nvPr/>
            </p:nvSpPr>
            <p:spPr>
              <a:xfrm>
                <a:off x="736600" y="2124823"/>
                <a:ext cx="3644226" cy="4286477"/>
              </a:xfrm>
              <a:prstGeom prst="rect">
                <a:avLst/>
              </a:prstGeom>
              <a:ln w="9525">
                <a:solidFill>
                  <a:schemeClr val="accent3"/>
                </a:solidFill>
              </a:ln>
              <a:effectLst/>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p>
                <a:pPr>
                  <a:lnSpc>
                    <a:spcPct val="90000"/>
                  </a:lnSpc>
                  <a:spcBef>
                    <a:spcPts val="341"/>
                  </a:spcBef>
                </a:pPr>
                <a:endParaRPr lang="en-US" sz="1300" b="0" dirty="0"/>
              </a:p>
            </p:txBody>
          </p:sp>
          <p:sp>
            <p:nvSpPr>
              <p:cNvPr id="53" name="Oval 52"/>
              <p:cNvSpPr/>
              <p:nvPr/>
            </p:nvSpPr>
            <p:spPr>
              <a:xfrm>
                <a:off x="2961879" y="4125033"/>
                <a:ext cx="88779" cy="88779"/>
              </a:xfrm>
              <a:prstGeom prst="ellipse">
                <a:avLst/>
              </a:prstGeom>
              <a:solidFill>
                <a:srgbClr val="FF6400"/>
              </a:solidFill>
              <a:ln w="15875" cmpd="sng">
                <a:solidFill>
                  <a:schemeClr val="bg1"/>
                </a:solidFill>
              </a:ln>
              <a:effectLst/>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p>
                <a:pPr>
                  <a:lnSpc>
                    <a:spcPct val="90000"/>
                  </a:lnSpc>
                  <a:spcBef>
                    <a:spcPts val="341"/>
                  </a:spcBef>
                </a:pPr>
                <a:endParaRPr lang="en-US" sz="1300" b="0" dirty="0"/>
              </a:p>
            </p:txBody>
          </p:sp>
          <p:sp>
            <p:nvSpPr>
              <p:cNvPr id="54" name="Oval 53"/>
              <p:cNvSpPr/>
              <p:nvPr/>
            </p:nvSpPr>
            <p:spPr>
              <a:xfrm>
                <a:off x="3058706" y="4328327"/>
                <a:ext cx="88779" cy="88779"/>
              </a:xfrm>
              <a:prstGeom prst="ellipse">
                <a:avLst/>
              </a:prstGeom>
              <a:solidFill>
                <a:srgbClr val="FF6400"/>
              </a:solidFill>
              <a:ln w="15875" cmpd="sng">
                <a:solidFill>
                  <a:schemeClr val="bg1"/>
                </a:solidFill>
              </a:ln>
              <a:effectLst/>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p>
                <a:pPr>
                  <a:lnSpc>
                    <a:spcPct val="90000"/>
                  </a:lnSpc>
                  <a:spcBef>
                    <a:spcPts val="341"/>
                  </a:spcBef>
                </a:pPr>
                <a:endParaRPr lang="en-US" sz="1300" b="0" dirty="0"/>
              </a:p>
            </p:txBody>
          </p:sp>
          <p:sp>
            <p:nvSpPr>
              <p:cNvPr id="55" name="Oval 54"/>
              <p:cNvSpPr/>
              <p:nvPr/>
            </p:nvSpPr>
            <p:spPr>
              <a:xfrm>
                <a:off x="2678709" y="4133371"/>
                <a:ext cx="88779" cy="88779"/>
              </a:xfrm>
              <a:prstGeom prst="ellipse">
                <a:avLst/>
              </a:prstGeom>
              <a:solidFill>
                <a:srgbClr val="FF6400"/>
              </a:solidFill>
              <a:ln w="15875" cmpd="sng">
                <a:solidFill>
                  <a:schemeClr val="bg1"/>
                </a:solidFill>
              </a:ln>
              <a:effectLst/>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p>
                <a:pPr>
                  <a:lnSpc>
                    <a:spcPct val="90000"/>
                  </a:lnSpc>
                  <a:spcBef>
                    <a:spcPts val="341"/>
                  </a:spcBef>
                </a:pPr>
                <a:endParaRPr lang="en-US" sz="1300" b="0" dirty="0"/>
              </a:p>
            </p:txBody>
          </p:sp>
          <p:sp>
            <p:nvSpPr>
              <p:cNvPr id="56" name="Oval 55"/>
              <p:cNvSpPr/>
              <p:nvPr/>
            </p:nvSpPr>
            <p:spPr>
              <a:xfrm>
                <a:off x="2124669" y="3760021"/>
                <a:ext cx="88779" cy="88779"/>
              </a:xfrm>
              <a:prstGeom prst="ellipse">
                <a:avLst/>
              </a:prstGeom>
              <a:solidFill>
                <a:srgbClr val="FF6400"/>
              </a:solidFill>
              <a:ln w="15875" cmpd="sng">
                <a:solidFill>
                  <a:schemeClr val="bg1"/>
                </a:solidFill>
              </a:ln>
              <a:effectLst/>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p>
                <a:pPr>
                  <a:lnSpc>
                    <a:spcPct val="90000"/>
                  </a:lnSpc>
                  <a:spcBef>
                    <a:spcPts val="341"/>
                  </a:spcBef>
                </a:pPr>
                <a:endParaRPr lang="en-US" sz="1300" b="0" dirty="0"/>
              </a:p>
            </p:txBody>
          </p:sp>
          <p:sp>
            <p:nvSpPr>
              <p:cNvPr id="57" name="Oval 56"/>
              <p:cNvSpPr/>
              <p:nvPr/>
            </p:nvSpPr>
            <p:spPr>
              <a:xfrm>
                <a:off x="2003058" y="4347987"/>
                <a:ext cx="88779" cy="88779"/>
              </a:xfrm>
              <a:prstGeom prst="ellipse">
                <a:avLst/>
              </a:prstGeom>
              <a:solidFill>
                <a:srgbClr val="FF6400"/>
              </a:solidFill>
              <a:ln w="15875" cmpd="sng">
                <a:solidFill>
                  <a:schemeClr val="bg1"/>
                </a:solidFill>
              </a:ln>
              <a:effectLst/>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p>
                <a:pPr>
                  <a:lnSpc>
                    <a:spcPct val="90000"/>
                  </a:lnSpc>
                  <a:spcBef>
                    <a:spcPts val="341"/>
                  </a:spcBef>
                </a:pPr>
                <a:endParaRPr lang="en-US" sz="1300" b="0" dirty="0"/>
              </a:p>
            </p:txBody>
          </p:sp>
          <p:sp>
            <p:nvSpPr>
              <p:cNvPr id="58" name="Oval 57"/>
              <p:cNvSpPr/>
              <p:nvPr/>
            </p:nvSpPr>
            <p:spPr>
              <a:xfrm>
                <a:off x="2798744" y="5178986"/>
                <a:ext cx="88779" cy="88779"/>
              </a:xfrm>
              <a:prstGeom prst="ellipse">
                <a:avLst/>
              </a:prstGeom>
              <a:solidFill>
                <a:srgbClr val="FF6400"/>
              </a:solidFill>
              <a:ln w="15875" cmpd="sng">
                <a:solidFill>
                  <a:schemeClr val="bg1"/>
                </a:solidFill>
              </a:ln>
              <a:effectLst/>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p>
                <a:pPr>
                  <a:lnSpc>
                    <a:spcPct val="90000"/>
                  </a:lnSpc>
                  <a:spcBef>
                    <a:spcPts val="341"/>
                  </a:spcBef>
                </a:pPr>
                <a:endParaRPr lang="en-US" sz="1300" b="0" dirty="0"/>
              </a:p>
            </p:txBody>
          </p:sp>
          <p:sp>
            <p:nvSpPr>
              <p:cNvPr id="59" name="Oval 58"/>
              <p:cNvSpPr/>
              <p:nvPr/>
            </p:nvSpPr>
            <p:spPr>
              <a:xfrm>
                <a:off x="2767488" y="4882455"/>
                <a:ext cx="88779" cy="88779"/>
              </a:xfrm>
              <a:prstGeom prst="ellipse">
                <a:avLst/>
              </a:prstGeom>
              <a:solidFill>
                <a:srgbClr val="FF6400"/>
              </a:solidFill>
              <a:ln w="15875" cmpd="sng">
                <a:solidFill>
                  <a:schemeClr val="bg1"/>
                </a:solidFill>
              </a:ln>
              <a:effectLst/>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p>
                <a:pPr>
                  <a:lnSpc>
                    <a:spcPct val="90000"/>
                  </a:lnSpc>
                  <a:spcBef>
                    <a:spcPts val="341"/>
                  </a:spcBef>
                </a:pPr>
                <a:endParaRPr lang="en-US" sz="1300" b="0" dirty="0"/>
              </a:p>
            </p:txBody>
          </p:sp>
          <p:sp>
            <p:nvSpPr>
              <p:cNvPr id="60" name="Oval 59"/>
              <p:cNvSpPr/>
              <p:nvPr/>
            </p:nvSpPr>
            <p:spPr>
              <a:xfrm>
                <a:off x="2695019" y="6314184"/>
                <a:ext cx="88779" cy="88779"/>
              </a:xfrm>
              <a:prstGeom prst="ellipse">
                <a:avLst/>
              </a:prstGeom>
              <a:solidFill>
                <a:srgbClr val="FF6400"/>
              </a:solidFill>
              <a:ln w="15875" cmpd="sng">
                <a:solidFill>
                  <a:schemeClr val="bg1"/>
                </a:solidFill>
              </a:ln>
              <a:effectLst/>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p>
                <a:pPr>
                  <a:lnSpc>
                    <a:spcPct val="90000"/>
                  </a:lnSpc>
                  <a:spcBef>
                    <a:spcPts val="341"/>
                  </a:spcBef>
                </a:pPr>
                <a:endParaRPr lang="en-US" sz="1300" b="0" dirty="0"/>
              </a:p>
            </p:txBody>
          </p:sp>
          <p:sp>
            <p:nvSpPr>
              <p:cNvPr id="61" name="Oval 60"/>
              <p:cNvSpPr/>
              <p:nvPr/>
            </p:nvSpPr>
            <p:spPr>
              <a:xfrm>
                <a:off x="2531697" y="6173431"/>
                <a:ext cx="88779" cy="88779"/>
              </a:xfrm>
              <a:prstGeom prst="ellipse">
                <a:avLst/>
              </a:prstGeom>
              <a:solidFill>
                <a:srgbClr val="FF6400"/>
              </a:solidFill>
              <a:ln w="15875" cmpd="sng">
                <a:solidFill>
                  <a:schemeClr val="bg1"/>
                </a:solidFill>
              </a:ln>
              <a:effectLst/>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p>
                <a:pPr>
                  <a:lnSpc>
                    <a:spcPct val="90000"/>
                  </a:lnSpc>
                  <a:spcBef>
                    <a:spcPts val="341"/>
                  </a:spcBef>
                </a:pPr>
                <a:endParaRPr lang="en-US" sz="1300" b="0" dirty="0"/>
              </a:p>
            </p:txBody>
          </p:sp>
          <p:cxnSp>
            <p:nvCxnSpPr>
              <p:cNvPr id="66" name="Straight Connector 65"/>
              <p:cNvCxnSpPr>
                <a:stCxn id="62" idx="1"/>
                <a:endCxn id="35" idx="3"/>
              </p:cNvCxnSpPr>
              <p:nvPr/>
            </p:nvCxnSpPr>
            <p:spPr>
              <a:xfrm flipH="1" flipV="1">
                <a:off x="3297463" y="3682300"/>
                <a:ext cx="263892" cy="8539"/>
              </a:xfrm>
              <a:prstGeom prst="line">
                <a:avLst/>
              </a:prstGeom>
              <a:ln w="19050">
                <a:solidFill>
                  <a:schemeClr val="accent6"/>
                </a:solidFill>
                <a:tailEnd type="triangle" w="sm" len="sm"/>
              </a:ln>
            </p:spPr>
            <p:style>
              <a:lnRef idx="2">
                <a:schemeClr val="dk1"/>
              </a:lnRef>
              <a:fillRef idx="0">
                <a:schemeClr val="dk1"/>
              </a:fillRef>
              <a:effectRef idx="1">
                <a:schemeClr val="dk1"/>
              </a:effectRef>
              <a:fontRef idx="minor">
                <a:schemeClr val="tx1"/>
              </a:fontRef>
            </p:style>
          </p:cxnSp>
          <p:sp>
            <p:nvSpPr>
              <p:cNvPr id="72" name="TextBox 71"/>
              <p:cNvSpPr txBox="1"/>
              <p:nvPr/>
            </p:nvSpPr>
            <p:spPr>
              <a:xfrm>
                <a:off x="2535922" y="3269839"/>
                <a:ext cx="395999" cy="258532"/>
              </a:xfrm>
              <a:prstGeom prst="rect">
                <a:avLst/>
              </a:prstGeom>
              <a:solidFill>
                <a:srgbClr val="00B050"/>
              </a:solidFill>
              <a:ln w="9525">
                <a:noFill/>
              </a:ln>
            </p:spPr>
            <p:txBody>
              <a:bodyPr vert="horz" wrap="square" lIns="35941" tIns="0" rIns="0" bIns="0" rtlCol="0" anchor="ctr">
                <a:spAutoFit/>
              </a:bodyPr>
              <a:lstStyle/>
              <a:p>
                <a:pPr algn="ctr">
                  <a:lnSpc>
                    <a:spcPct val="90000"/>
                  </a:lnSpc>
                  <a:spcBef>
                    <a:spcPts val="341"/>
                  </a:spcBef>
                  <a:buClr>
                    <a:srgbClr val="000000"/>
                  </a:buClr>
                  <a:buSzPct val="100000"/>
                </a:pPr>
                <a:r>
                  <a:rPr lang="en-US" sz="700" dirty="0">
                    <a:solidFill>
                      <a:schemeClr val="accent1"/>
                    </a:solidFill>
                    <a:latin typeface="+mn-lt"/>
                    <a:cs typeface="Arial Narrow" pitchFamily="34" charset="0"/>
                  </a:rPr>
                  <a:t>Central</a:t>
                </a:r>
                <a:br>
                  <a:rPr lang="en-US" sz="700" dirty="0">
                    <a:solidFill>
                      <a:schemeClr val="accent1"/>
                    </a:solidFill>
                    <a:latin typeface="+mn-lt"/>
                    <a:cs typeface="Arial Narrow" pitchFamily="34" charset="0"/>
                  </a:rPr>
                </a:br>
                <a:r>
                  <a:rPr lang="en-US" sz="700" dirty="0">
                    <a:solidFill>
                      <a:schemeClr val="accent1"/>
                    </a:solidFill>
                    <a:latin typeface="+mn-lt"/>
                    <a:cs typeface="Arial Narrow" pitchFamily="34" charset="0"/>
                  </a:rPr>
                  <a:t>corridor</a:t>
                </a:r>
              </a:p>
            </p:txBody>
          </p:sp>
          <p:cxnSp>
            <p:nvCxnSpPr>
              <p:cNvPr id="73" name="Straight Connector 72"/>
              <p:cNvCxnSpPr>
                <a:stCxn id="72" idx="2"/>
                <a:endCxn id="40" idx="4"/>
              </p:cNvCxnSpPr>
              <p:nvPr/>
            </p:nvCxnSpPr>
            <p:spPr>
              <a:xfrm flipH="1">
                <a:off x="2676648" y="3528371"/>
                <a:ext cx="57273" cy="141145"/>
              </a:xfrm>
              <a:prstGeom prst="line">
                <a:avLst/>
              </a:prstGeom>
              <a:ln w="19050">
                <a:solidFill>
                  <a:srgbClr val="00B050"/>
                </a:solidFill>
                <a:tailEnd type="triangle" w="sm" len="sm"/>
              </a:ln>
            </p:spPr>
            <p:style>
              <a:lnRef idx="2">
                <a:schemeClr val="dk1"/>
              </a:lnRef>
              <a:fillRef idx="0">
                <a:schemeClr val="dk1"/>
              </a:fillRef>
              <a:effectRef idx="1">
                <a:schemeClr val="dk1"/>
              </a:effectRef>
              <a:fontRef idx="minor">
                <a:schemeClr val="tx1"/>
              </a:fontRef>
            </p:style>
          </p:cxnSp>
          <p:sp>
            <p:nvSpPr>
              <p:cNvPr id="77" name="TextBox 76"/>
              <p:cNvSpPr txBox="1"/>
              <p:nvPr/>
            </p:nvSpPr>
            <p:spPr>
              <a:xfrm>
                <a:off x="3814176" y="4200622"/>
                <a:ext cx="540000" cy="258532"/>
              </a:xfrm>
              <a:prstGeom prst="rect">
                <a:avLst/>
              </a:prstGeom>
              <a:solidFill>
                <a:schemeClr val="tx2"/>
              </a:solidFill>
              <a:ln w="9525">
                <a:noFill/>
              </a:ln>
            </p:spPr>
            <p:txBody>
              <a:bodyPr vert="horz" wrap="square" lIns="35941" tIns="0" rIns="0" bIns="0" rtlCol="0">
                <a:spAutoFit/>
              </a:bodyPr>
              <a:lstStyle/>
              <a:p>
                <a:pPr>
                  <a:lnSpc>
                    <a:spcPct val="90000"/>
                  </a:lnSpc>
                  <a:spcBef>
                    <a:spcPts val="341"/>
                  </a:spcBef>
                  <a:buClr>
                    <a:srgbClr val="000000"/>
                  </a:buClr>
                  <a:buSzPct val="100000"/>
                </a:pPr>
                <a:r>
                  <a:rPr lang="en-US" sz="700" dirty="0">
                    <a:solidFill>
                      <a:schemeClr val="accent1"/>
                    </a:solidFill>
                    <a:latin typeface="+mn-lt"/>
                    <a:cs typeface="Arial Narrow" pitchFamily="34" charset="0"/>
                  </a:rPr>
                  <a:t>East – West corridor</a:t>
                </a:r>
              </a:p>
            </p:txBody>
          </p:sp>
          <p:cxnSp>
            <p:nvCxnSpPr>
              <p:cNvPr id="78" name="Straight Connector 77"/>
              <p:cNvCxnSpPr>
                <a:stCxn id="77" idx="1"/>
                <a:endCxn id="42" idx="33"/>
              </p:cNvCxnSpPr>
              <p:nvPr/>
            </p:nvCxnSpPr>
            <p:spPr>
              <a:xfrm flipH="1">
                <a:off x="3614504" y="4329888"/>
                <a:ext cx="199672" cy="14696"/>
              </a:xfrm>
              <a:prstGeom prst="line">
                <a:avLst/>
              </a:prstGeom>
              <a:ln w="19050">
                <a:solidFill>
                  <a:schemeClr val="tx2"/>
                </a:solidFill>
                <a:tailEnd type="triangle" w="sm" len="sm"/>
              </a:ln>
            </p:spPr>
            <p:style>
              <a:lnRef idx="2">
                <a:schemeClr val="dk1"/>
              </a:lnRef>
              <a:fillRef idx="0">
                <a:schemeClr val="dk1"/>
              </a:fillRef>
              <a:effectRef idx="1">
                <a:schemeClr val="dk1"/>
              </a:effectRef>
              <a:fontRef idx="minor">
                <a:schemeClr val="tx1"/>
              </a:fontRef>
            </p:style>
          </p:cxnSp>
          <p:sp>
            <p:nvSpPr>
              <p:cNvPr id="62" name="TextBox 61"/>
              <p:cNvSpPr txBox="1"/>
              <p:nvPr/>
            </p:nvSpPr>
            <p:spPr>
              <a:xfrm>
                <a:off x="3561355" y="3561572"/>
                <a:ext cx="432000" cy="258532"/>
              </a:xfrm>
              <a:prstGeom prst="rect">
                <a:avLst/>
              </a:prstGeom>
              <a:solidFill>
                <a:schemeClr val="accent6"/>
              </a:solidFill>
              <a:ln w="9525">
                <a:noFill/>
              </a:ln>
            </p:spPr>
            <p:txBody>
              <a:bodyPr vert="horz" wrap="square" lIns="35941" tIns="0" rIns="0" bIns="0" rtlCol="0">
                <a:spAutoFit/>
              </a:bodyPr>
              <a:lstStyle/>
              <a:p>
                <a:pPr>
                  <a:lnSpc>
                    <a:spcPct val="90000"/>
                  </a:lnSpc>
                  <a:spcBef>
                    <a:spcPts val="341"/>
                  </a:spcBef>
                  <a:buClr>
                    <a:srgbClr val="000000"/>
                  </a:buClr>
                  <a:buSzPct val="100000"/>
                </a:pPr>
                <a:r>
                  <a:rPr lang="en-US" sz="700" dirty="0">
                    <a:solidFill>
                      <a:schemeClr val="accent1"/>
                    </a:solidFill>
                    <a:latin typeface="+mn-lt"/>
                    <a:cs typeface="Arial Narrow" pitchFamily="34" charset="0"/>
                  </a:rPr>
                  <a:t>Eastern corridor</a:t>
                </a:r>
              </a:p>
            </p:txBody>
          </p:sp>
          <p:sp>
            <p:nvSpPr>
              <p:cNvPr id="86" name="TextBox 85"/>
              <p:cNvSpPr txBox="1"/>
              <p:nvPr/>
            </p:nvSpPr>
            <p:spPr>
              <a:xfrm>
                <a:off x="2906632" y="2251638"/>
                <a:ext cx="777246" cy="258532"/>
              </a:xfrm>
              <a:prstGeom prst="rect">
                <a:avLst/>
              </a:prstGeom>
              <a:solidFill>
                <a:srgbClr val="990000"/>
              </a:solidFill>
              <a:ln w="9525">
                <a:solidFill>
                  <a:srgbClr val="990000"/>
                </a:solidFill>
              </a:ln>
            </p:spPr>
            <p:txBody>
              <a:bodyPr vert="horz" wrap="square" lIns="35941" tIns="0" rIns="0" bIns="0" rtlCol="0" anchor="ctr">
                <a:spAutoFit/>
              </a:bodyPr>
              <a:lstStyle/>
              <a:p>
                <a:pPr>
                  <a:lnSpc>
                    <a:spcPct val="90000"/>
                  </a:lnSpc>
                  <a:spcBef>
                    <a:spcPts val="341"/>
                  </a:spcBef>
                  <a:buClr>
                    <a:srgbClr val="000000"/>
                  </a:buClr>
                  <a:buSzPct val="100000"/>
                </a:pPr>
                <a:r>
                  <a:rPr lang="en-US" sz="700" dirty="0">
                    <a:solidFill>
                      <a:schemeClr val="accent1"/>
                    </a:solidFill>
                    <a:latin typeface="+mn-lt"/>
                    <a:cs typeface="Arial Narrow" pitchFamily="34" charset="0"/>
                  </a:rPr>
                  <a:t>North-South corridor</a:t>
                </a:r>
              </a:p>
            </p:txBody>
          </p:sp>
          <p:cxnSp>
            <p:nvCxnSpPr>
              <p:cNvPr id="90" name="Straight Connector 89"/>
              <p:cNvCxnSpPr>
                <a:stCxn id="91" idx="3"/>
                <a:endCxn id="43" idx="24"/>
              </p:cNvCxnSpPr>
              <p:nvPr/>
            </p:nvCxnSpPr>
            <p:spPr>
              <a:xfrm flipV="1">
                <a:off x="1381682" y="3819836"/>
                <a:ext cx="164063" cy="22655"/>
              </a:xfrm>
              <a:prstGeom prst="line">
                <a:avLst/>
              </a:prstGeom>
              <a:ln w="19050">
                <a:solidFill>
                  <a:srgbClr val="AE7FC3"/>
                </a:solidFill>
                <a:tailEnd type="triangle" w="sm" len="sm"/>
              </a:ln>
            </p:spPr>
            <p:style>
              <a:lnRef idx="2">
                <a:schemeClr val="dk1"/>
              </a:lnRef>
              <a:fillRef idx="0">
                <a:schemeClr val="dk1"/>
              </a:fillRef>
              <a:effectRef idx="1">
                <a:schemeClr val="dk1"/>
              </a:effectRef>
              <a:fontRef idx="minor">
                <a:schemeClr val="tx1"/>
              </a:fontRef>
            </p:style>
          </p:cxnSp>
          <p:sp>
            <p:nvSpPr>
              <p:cNvPr id="91" name="TextBox 90"/>
              <p:cNvSpPr txBox="1"/>
              <p:nvPr/>
            </p:nvSpPr>
            <p:spPr>
              <a:xfrm>
                <a:off x="949682" y="3713224"/>
                <a:ext cx="432000" cy="258532"/>
              </a:xfrm>
              <a:prstGeom prst="rect">
                <a:avLst/>
              </a:prstGeom>
              <a:solidFill>
                <a:srgbClr val="AE7FC3"/>
              </a:solidFill>
              <a:ln w="9525">
                <a:noFill/>
              </a:ln>
            </p:spPr>
            <p:txBody>
              <a:bodyPr vert="horz" wrap="square" lIns="35941" tIns="0" rIns="0" bIns="0" rtlCol="0">
                <a:spAutoFit/>
              </a:bodyPr>
              <a:lstStyle/>
              <a:p>
                <a:pPr>
                  <a:lnSpc>
                    <a:spcPct val="90000"/>
                  </a:lnSpc>
                  <a:spcBef>
                    <a:spcPts val="341"/>
                  </a:spcBef>
                  <a:buClr>
                    <a:srgbClr val="000000"/>
                  </a:buClr>
                  <a:buSzPct val="100000"/>
                </a:pPr>
                <a:r>
                  <a:rPr lang="en-US" sz="700" dirty="0">
                    <a:solidFill>
                      <a:schemeClr val="accent1"/>
                    </a:solidFill>
                    <a:latin typeface="+mn-lt"/>
                    <a:cs typeface="Arial Narrow" pitchFamily="34" charset="0"/>
                  </a:rPr>
                  <a:t>Western</a:t>
                </a:r>
                <a:br>
                  <a:rPr lang="en-US" sz="700" dirty="0">
                    <a:solidFill>
                      <a:schemeClr val="accent1"/>
                    </a:solidFill>
                    <a:latin typeface="+mn-lt"/>
                    <a:cs typeface="Arial Narrow" pitchFamily="34" charset="0"/>
                  </a:rPr>
                </a:br>
                <a:r>
                  <a:rPr lang="en-US" sz="700" dirty="0">
                    <a:solidFill>
                      <a:schemeClr val="accent1"/>
                    </a:solidFill>
                    <a:latin typeface="+mn-lt"/>
                    <a:cs typeface="Arial Narrow" pitchFamily="34" charset="0"/>
                  </a:rPr>
                  <a:t>corridor</a:t>
                </a:r>
              </a:p>
            </p:txBody>
          </p:sp>
          <p:sp>
            <p:nvSpPr>
              <p:cNvPr id="93" name="TextBox 92"/>
              <p:cNvSpPr txBox="1"/>
              <p:nvPr/>
            </p:nvSpPr>
            <p:spPr>
              <a:xfrm>
                <a:off x="2556663" y="5468868"/>
                <a:ext cx="432000" cy="295465"/>
              </a:xfrm>
              <a:prstGeom prst="rect">
                <a:avLst/>
              </a:prstGeom>
              <a:solidFill>
                <a:srgbClr val="7030A0"/>
              </a:solidFill>
              <a:ln w="9525">
                <a:noFill/>
              </a:ln>
            </p:spPr>
            <p:txBody>
              <a:bodyPr vert="horz" wrap="square" lIns="35941" tIns="0" rIns="0" bIns="0" rtlCol="0" anchor="ctr">
                <a:spAutoFit/>
              </a:bodyPr>
              <a:lstStyle/>
              <a:p>
                <a:pPr>
                  <a:lnSpc>
                    <a:spcPct val="80000"/>
                  </a:lnSpc>
                  <a:spcBef>
                    <a:spcPts val="0"/>
                  </a:spcBef>
                  <a:buClr>
                    <a:srgbClr val="000000"/>
                  </a:buClr>
                  <a:buSzPct val="100000"/>
                </a:pPr>
                <a:r>
                  <a:rPr lang="en-US" sz="600" kern="0" dirty="0">
                    <a:solidFill>
                      <a:schemeClr val="accent1"/>
                    </a:solidFill>
                    <a:latin typeface="+mn-lt"/>
                    <a:cs typeface="Arial Narrow" pitchFamily="34" charset="0"/>
                  </a:rPr>
                  <a:t>Southern Coastal </a:t>
                </a:r>
                <a:br>
                  <a:rPr lang="en-US" sz="600" kern="0" dirty="0">
                    <a:solidFill>
                      <a:schemeClr val="accent1"/>
                    </a:solidFill>
                    <a:latin typeface="+mn-lt"/>
                    <a:cs typeface="Arial Narrow" pitchFamily="34" charset="0"/>
                  </a:rPr>
                </a:br>
                <a:r>
                  <a:rPr lang="en-US" sz="600" kern="0" dirty="0">
                    <a:solidFill>
                      <a:schemeClr val="accent1"/>
                    </a:solidFill>
                    <a:latin typeface="+mn-lt"/>
                    <a:cs typeface="Arial Narrow" pitchFamily="34" charset="0"/>
                  </a:rPr>
                  <a:t>corridor</a:t>
                </a:r>
              </a:p>
            </p:txBody>
          </p:sp>
          <p:sp>
            <p:nvSpPr>
              <p:cNvPr id="68" name="Oval 67"/>
              <p:cNvSpPr/>
              <p:nvPr/>
            </p:nvSpPr>
            <p:spPr>
              <a:xfrm>
                <a:off x="2177396" y="4838066"/>
                <a:ext cx="88779" cy="88779"/>
              </a:xfrm>
              <a:prstGeom prst="ellipse">
                <a:avLst/>
              </a:prstGeom>
              <a:solidFill>
                <a:srgbClr val="FF6400"/>
              </a:solidFill>
              <a:ln w="15875" cmpd="sng">
                <a:solidFill>
                  <a:schemeClr val="bg1"/>
                </a:solidFill>
              </a:ln>
              <a:effectLst/>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p>
                <a:pPr>
                  <a:lnSpc>
                    <a:spcPct val="90000"/>
                  </a:lnSpc>
                  <a:spcBef>
                    <a:spcPts val="341"/>
                  </a:spcBef>
                </a:pPr>
                <a:endParaRPr lang="en-US" sz="1300" b="0" dirty="0"/>
              </a:p>
            </p:txBody>
          </p:sp>
          <p:sp>
            <p:nvSpPr>
              <p:cNvPr id="64" name="Oval 63"/>
              <p:cNvSpPr>
                <a:spLocks noChangeAspect="1"/>
              </p:cNvSpPr>
              <p:nvPr/>
            </p:nvSpPr>
            <p:spPr>
              <a:xfrm rot="8020156">
                <a:off x="2123796" y="3753636"/>
                <a:ext cx="126000" cy="126000"/>
              </a:xfrm>
              <a:prstGeom prst="ellipse">
                <a:avLst/>
              </a:prstGeom>
              <a:solidFill>
                <a:srgbClr val="FF0000"/>
              </a:solidFill>
              <a:effectLst>
                <a:glow rad="63500">
                  <a:schemeClr val="accent1">
                    <a:satMod val="175000"/>
                    <a:alpha val="40000"/>
                  </a:schemeClr>
                </a:glow>
                <a:outerShdw blurRad="40000" dist="23000" dir="5400000" rotWithShape="0">
                  <a:srgbClr val="000000">
                    <a:alpha val="35000"/>
                  </a:srgbClr>
                </a:outerShdw>
              </a:effectLst>
            </p:spPr>
            <p:style>
              <a:lnRef idx="0">
                <a:schemeClr val="accent2"/>
              </a:lnRef>
              <a:fillRef idx="3">
                <a:schemeClr val="accent2"/>
              </a:fillRef>
              <a:effectRef idx="3">
                <a:schemeClr val="accent2"/>
              </a:effectRef>
              <a:fontRef idx="minor">
                <a:schemeClr val="lt1"/>
              </a:fontRef>
            </p:style>
            <p:txBody>
              <a:bodyPr rtlCol="0" anchor="ctr"/>
              <a:lstStyle/>
              <a:p>
                <a:pPr algn="ctr"/>
                <a:endParaRPr lang="th-TH"/>
              </a:p>
            </p:txBody>
          </p:sp>
          <p:sp>
            <p:nvSpPr>
              <p:cNvPr id="65" name="Oval 64"/>
              <p:cNvSpPr>
                <a:spLocks noChangeAspect="1"/>
              </p:cNvSpPr>
              <p:nvPr/>
            </p:nvSpPr>
            <p:spPr>
              <a:xfrm rot="8020156">
                <a:off x="2686584" y="4131332"/>
                <a:ext cx="126000" cy="126000"/>
              </a:xfrm>
              <a:prstGeom prst="ellipse">
                <a:avLst/>
              </a:prstGeom>
              <a:solidFill>
                <a:srgbClr val="FF0000"/>
              </a:solidFill>
              <a:effectLst>
                <a:glow rad="63500">
                  <a:schemeClr val="accent1">
                    <a:satMod val="175000"/>
                    <a:alpha val="40000"/>
                  </a:schemeClr>
                </a:glow>
                <a:outerShdw blurRad="40000" dist="23000" dir="5400000" rotWithShape="0">
                  <a:srgbClr val="000000">
                    <a:alpha val="35000"/>
                  </a:srgbClr>
                </a:outerShdw>
              </a:effectLst>
            </p:spPr>
            <p:style>
              <a:lnRef idx="0">
                <a:schemeClr val="accent2"/>
              </a:lnRef>
              <a:fillRef idx="3">
                <a:schemeClr val="accent2"/>
              </a:fillRef>
              <a:effectRef idx="3">
                <a:schemeClr val="accent2"/>
              </a:effectRef>
              <a:fontRef idx="minor">
                <a:schemeClr val="lt1"/>
              </a:fontRef>
            </p:style>
            <p:txBody>
              <a:bodyPr rtlCol="0" anchor="ctr"/>
              <a:lstStyle/>
              <a:p>
                <a:pPr algn="ctr"/>
                <a:endParaRPr lang="th-TH"/>
              </a:p>
            </p:txBody>
          </p:sp>
          <p:sp>
            <p:nvSpPr>
              <p:cNvPr id="67" name="Oval 66"/>
              <p:cNvSpPr>
                <a:spLocks noChangeAspect="1"/>
              </p:cNvSpPr>
              <p:nvPr/>
            </p:nvSpPr>
            <p:spPr>
              <a:xfrm rot="8020156">
                <a:off x="2021890" y="4331718"/>
                <a:ext cx="126000" cy="126000"/>
              </a:xfrm>
              <a:prstGeom prst="ellipse">
                <a:avLst/>
              </a:prstGeom>
              <a:solidFill>
                <a:srgbClr val="0000FF"/>
              </a:solidFill>
              <a:effectLst>
                <a:glow rad="63500">
                  <a:schemeClr val="accent1">
                    <a:satMod val="175000"/>
                    <a:alpha val="40000"/>
                  </a:schemeClr>
                </a:glow>
                <a:outerShdw blurRad="40000" dist="23000" dir="5400000" rotWithShape="0">
                  <a:srgbClr val="000000">
                    <a:alpha val="35000"/>
                  </a:srgbClr>
                </a:outerShdw>
              </a:effectLst>
            </p:spPr>
            <p:style>
              <a:lnRef idx="0">
                <a:schemeClr val="accent2"/>
              </a:lnRef>
              <a:fillRef idx="3">
                <a:schemeClr val="accent2"/>
              </a:fillRef>
              <a:effectRef idx="3">
                <a:schemeClr val="accent2"/>
              </a:effectRef>
              <a:fontRef idx="minor">
                <a:schemeClr val="lt1"/>
              </a:fontRef>
            </p:style>
            <p:txBody>
              <a:bodyPr rtlCol="0" anchor="ctr"/>
              <a:lstStyle/>
              <a:p>
                <a:pPr algn="ctr"/>
                <a:endParaRPr lang="th-TH"/>
              </a:p>
            </p:txBody>
          </p:sp>
          <p:sp>
            <p:nvSpPr>
              <p:cNvPr id="71" name="Oval 70"/>
              <p:cNvSpPr>
                <a:spLocks noChangeAspect="1"/>
              </p:cNvSpPr>
              <p:nvPr/>
            </p:nvSpPr>
            <p:spPr>
              <a:xfrm rot="8020156">
                <a:off x="2178862" y="4833020"/>
                <a:ext cx="126000" cy="126000"/>
              </a:xfrm>
              <a:prstGeom prst="ellipse">
                <a:avLst/>
              </a:prstGeom>
              <a:solidFill>
                <a:srgbClr val="FF0000"/>
              </a:solidFill>
              <a:effectLst>
                <a:glow rad="63500">
                  <a:schemeClr val="accent1">
                    <a:satMod val="175000"/>
                    <a:alpha val="40000"/>
                  </a:schemeClr>
                </a:glow>
                <a:outerShdw blurRad="40000" dist="23000" dir="5400000" rotWithShape="0">
                  <a:srgbClr val="000000">
                    <a:alpha val="35000"/>
                  </a:srgbClr>
                </a:outerShdw>
              </a:effectLst>
            </p:spPr>
            <p:style>
              <a:lnRef idx="0">
                <a:schemeClr val="accent2"/>
              </a:lnRef>
              <a:fillRef idx="3">
                <a:schemeClr val="accent2"/>
              </a:fillRef>
              <a:effectRef idx="3">
                <a:schemeClr val="accent2"/>
              </a:effectRef>
              <a:fontRef idx="minor">
                <a:schemeClr val="lt1"/>
              </a:fontRef>
            </p:style>
            <p:txBody>
              <a:bodyPr rtlCol="0" anchor="ctr"/>
              <a:lstStyle/>
              <a:p>
                <a:pPr algn="ctr"/>
                <a:endParaRPr lang="th-TH"/>
              </a:p>
            </p:txBody>
          </p:sp>
          <p:sp>
            <p:nvSpPr>
              <p:cNvPr id="74" name="Oval 73"/>
              <p:cNvSpPr>
                <a:spLocks noChangeAspect="1"/>
              </p:cNvSpPr>
              <p:nvPr/>
            </p:nvSpPr>
            <p:spPr>
              <a:xfrm rot="8020156">
                <a:off x="2960540" y="4123550"/>
                <a:ext cx="126000" cy="126000"/>
              </a:xfrm>
              <a:prstGeom prst="ellipse">
                <a:avLst/>
              </a:prstGeom>
              <a:solidFill>
                <a:srgbClr val="FF0000"/>
              </a:solidFill>
              <a:effectLst>
                <a:glow rad="63500">
                  <a:schemeClr val="accent1">
                    <a:satMod val="175000"/>
                    <a:alpha val="40000"/>
                  </a:schemeClr>
                </a:glow>
                <a:outerShdw blurRad="40000" dist="23000" dir="5400000" rotWithShape="0">
                  <a:srgbClr val="000000">
                    <a:alpha val="35000"/>
                  </a:srgbClr>
                </a:outerShdw>
              </a:effectLst>
            </p:spPr>
            <p:style>
              <a:lnRef idx="0">
                <a:schemeClr val="accent2"/>
              </a:lnRef>
              <a:fillRef idx="3">
                <a:schemeClr val="accent2"/>
              </a:fillRef>
              <a:effectRef idx="3">
                <a:schemeClr val="accent2"/>
              </a:effectRef>
              <a:fontRef idx="minor">
                <a:schemeClr val="lt1"/>
              </a:fontRef>
            </p:style>
            <p:txBody>
              <a:bodyPr rtlCol="0" anchor="ctr"/>
              <a:lstStyle/>
              <a:p>
                <a:pPr algn="ctr"/>
                <a:endParaRPr lang="th-TH"/>
              </a:p>
            </p:txBody>
          </p:sp>
          <p:sp>
            <p:nvSpPr>
              <p:cNvPr id="75" name="Oval 74"/>
              <p:cNvSpPr>
                <a:spLocks noChangeAspect="1"/>
              </p:cNvSpPr>
              <p:nvPr/>
            </p:nvSpPr>
            <p:spPr>
              <a:xfrm rot="8020156">
                <a:off x="3063592" y="4321198"/>
                <a:ext cx="126000" cy="126000"/>
              </a:xfrm>
              <a:prstGeom prst="ellipse">
                <a:avLst/>
              </a:prstGeom>
              <a:solidFill>
                <a:srgbClr val="0000FF"/>
              </a:solidFill>
              <a:effectLst>
                <a:glow rad="63500">
                  <a:schemeClr val="accent1">
                    <a:satMod val="175000"/>
                    <a:alpha val="40000"/>
                  </a:schemeClr>
                </a:glow>
                <a:outerShdw blurRad="40000" dist="23000" dir="5400000" rotWithShape="0">
                  <a:srgbClr val="000000">
                    <a:alpha val="35000"/>
                  </a:srgbClr>
                </a:outerShdw>
              </a:effectLst>
            </p:spPr>
            <p:style>
              <a:lnRef idx="0">
                <a:schemeClr val="accent2"/>
              </a:lnRef>
              <a:fillRef idx="3">
                <a:schemeClr val="accent2"/>
              </a:fillRef>
              <a:effectRef idx="3">
                <a:schemeClr val="accent2"/>
              </a:effectRef>
              <a:fontRef idx="minor">
                <a:schemeClr val="lt1"/>
              </a:fontRef>
            </p:style>
            <p:txBody>
              <a:bodyPr rtlCol="0" anchor="ctr"/>
              <a:lstStyle/>
              <a:p>
                <a:pPr algn="ctr"/>
                <a:endParaRPr lang="th-TH"/>
              </a:p>
            </p:txBody>
          </p:sp>
          <p:sp>
            <p:nvSpPr>
              <p:cNvPr id="76" name="Oval 75"/>
              <p:cNvSpPr>
                <a:spLocks noChangeAspect="1"/>
              </p:cNvSpPr>
              <p:nvPr/>
            </p:nvSpPr>
            <p:spPr>
              <a:xfrm rot="8020156">
                <a:off x="2742338" y="4855880"/>
                <a:ext cx="126000" cy="126000"/>
              </a:xfrm>
              <a:prstGeom prst="ellipse">
                <a:avLst/>
              </a:prstGeom>
              <a:solidFill>
                <a:srgbClr val="0000FF"/>
              </a:solidFill>
              <a:effectLst>
                <a:glow rad="63500">
                  <a:schemeClr val="accent1">
                    <a:satMod val="175000"/>
                    <a:alpha val="40000"/>
                  </a:schemeClr>
                </a:glow>
                <a:outerShdw blurRad="40000" dist="23000" dir="5400000" rotWithShape="0">
                  <a:srgbClr val="000000">
                    <a:alpha val="35000"/>
                  </a:srgbClr>
                </a:outerShdw>
              </a:effectLst>
            </p:spPr>
            <p:style>
              <a:lnRef idx="0">
                <a:schemeClr val="accent2"/>
              </a:lnRef>
              <a:fillRef idx="3">
                <a:schemeClr val="accent2"/>
              </a:fillRef>
              <a:effectRef idx="3">
                <a:schemeClr val="accent2"/>
              </a:effectRef>
              <a:fontRef idx="minor">
                <a:schemeClr val="lt1"/>
              </a:fontRef>
            </p:style>
            <p:txBody>
              <a:bodyPr rtlCol="0" anchor="ctr"/>
              <a:lstStyle/>
              <a:p>
                <a:pPr algn="ctr"/>
                <a:endParaRPr lang="th-TH"/>
              </a:p>
            </p:txBody>
          </p:sp>
          <p:sp>
            <p:nvSpPr>
              <p:cNvPr id="80" name="Oval 79"/>
              <p:cNvSpPr>
                <a:spLocks noChangeAspect="1"/>
              </p:cNvSpPr>
              <p:nvPr/>
            </p:nvSpPr>
            <p:spPr>
              <a:xfrm rot="8020156">
                <a:off x="2524338" y="6176326"/>
                <a:ext cx="126000" cy="126000"/>
              </a:xfrm>
              <a:prstGeom prst="ellipse">
                <a:avLst/>
              </a:prstGeom>
              <a:solidFill>
                <a:srgbClr val="0000FF"/>
              </a:solidFill>
              <a:effectLst>
                <a:glow rad="63500">
                  <a:schemeClr val="accent1">
                    <a:satMod val="175000"/>
                    <a:alpha val="40000"/>
                  </a:schemeClr>
                </a:glow>
                <a:outerShdw blurRad="40000" dist="23000" dir="5400000" rotWithShape="0">
                  <a:srgbClr val="000000">
                    <a:alpha val="35000"/>
                  </a:srgbClr>
                </a:outerShdw>
              </a:effectLst>
            </p:spPr>
            <p:style>
              <a:lnRef idx="0">
                <a:schemeClr val="accent2"/>
              </a:lnRef>
              <a:fillRef idx="3">
                <a:schemeClr val="accent2"/>
              </a:fillRef>
              <a:effectRef idx="3">
                <a:schemeClr val="accent2"/>
              </a:effectRef>
              <a:fontRef idx="minor">
                <a:schemeClr val="lt1"/>
              </a:fontRef>
            </p:style>
            <p:txBody>
              <a:bodyPr rtlCol="0" anchor="ctr"/>
              <a:lstStyle/>
              <a:p>
                <a:pPr algn="ctr"/>
                <a:endParaRPr lang="th-TH"/>
              </a:p>
            </p:txBody>
          </p:sp>
          <p:sp>
            <p:nvSpPr>
              <p:cNvPr id="81" name="Oval 80"/>
              <p:cNvSpPr>
                <a:spLocks noChangeAspect="1"/>
              </p:cNvSpPr>
              <p:nvPr/>
            </p:nvSpPr>
            <p:spPr>
              <a:xfrm rot="8020156">
                <a:off x="2697076" y="6274806"/>
                <a:ext cx="126000" cy="126000"/>
              </a:xfrm>
              <a:prstGeom prst="ellipse">
                <a:avLst/>
              </a:prstGeom>
              <a:solidFill>
                <a:srgbClr val="FF0000"/>
              </a:solidFill>
              <a:effectLst>
                <a:glow rad="63500">
                  <a:schemeClr val="accent1">
                    <a:satMod val="175000"/>
                    <a:alpha val="40000"/>
                  </a:schemeClr>
                </a:glow>
                <a:outerShdw blurRad="40000" dist="23000" dir="5400000" rotWithShape="0">
                  <a:srgbClr val="000000">
                    <a:alpha val="35000"/>
                  </a:srgbClr>
                </a:outerShdw>
              </a:effectLst>
            </p:spPr>
            <p:style>
              <a:lnRef idx="0">
                <a:schemeClr val="accent2"/>
              </a:lnRef>
              <a:fillRef idx="3">
                <a:schemeClr val="accent2"/>
              </a:fillRef>
              <a:effectRef idx="3">
                <a:schemeClr val="accent2"/>
              </a:effectRef>
              <a:fontRef idx="minor">
                <a:schemeClr val="lt1"/>
              </a:fontRef>
            </p:style>
            <p:txBody>
              <a:bodyPr rtlCol="0" anchor="ctr"/>
              <a:lstStyle/>
              <a:p>
                <a:pPr algn="ctr"/>
                <a:endParaRPr lang="th-TH"/>
              </a:p>
            </p:txBody>
          </p:sp>
          <p:cxnSp>
            <p:nvCxnSpPr>
              <p:cNvPr id="87" name="Straight Connector 86"/>
              <p:cNvCxnSpPr>
                <a:stCxn id="86" idx="1"/>
                <a:endCxn id="44" idx="8"/>
              </p:cNvCxnSpPr>
              <p:nvPr/>
            </p:nvCxnSpPr>
            <p:spPr>
              <a:xfrm flipH="1">
                <a:off x="2730667" y="2380904"/>
                <a:ext cx="175965" cy="151033"/>
              </a:xfrm>
              <a:prstGeom prst="line">
                <a:avLst/>
              </a:prstGeom>
              <a:ln w="19050">
                <a:solidFill>
                  <a:srgbClr val="990000"/>
                </a:solidFill>
                <a:tailEnd type="triangle" w="sm" len="sm"/>
              </a:ln>
            </p:spPr>
            <p:style>
              <a:lnRef idx="2">
                <a:schemeClr val="dk1"/>
              </a:lnRef>
              <a:fillRef idx="0">
                <a:schemeClr val="dk1"/>
              </a:fillRef>
              <a:effectRef idx="1">
                <a:schemeClr val="dk1"/>
              </a:effectRef>
              <a:fontRef idx="minor">
                <a:schemeClr val="tx1"/>
              </a:fontRef>
            </p:style>
          </p:cxnSp>
          <p:cxnSp>
            <p:nvCxnSpPr>
              <p:cNvPr id="88" name="Straight Connector 87"/>
              <p:cNvCxnSpPr>
                <a:stCxn id="95" idx="2"/>
                <a:endCxn id="39" idx="35"/>
              </p:cNvCxnSpPr>
              <p:nvPr/>
            </p:nvCxnSpPr>
            <p:spPr>
              <a:xfrm flipH="1">
                <a:off x="2138931" y="2506359"/>
                <a:ext cx="56823" cy="120548"/>
              </a:xfrm>
              <a:prstGeom prst="line">
                <a:avLst/>
              </a:prstGeom>
              <a:ln w="19050">
                <a:solidFill>
                  <a:srgbClr val="92D050"/>
                </a:solidFill>
                <a:tailEnd type="triangle" w="sm" len="sm"/>
              </a:ln>
            </p:spPr>
            <p:style>
              <a:lnRef idx="2">
                <a:schemeClr val="dk1"/>
              </a:lnRef>
              <a:fillRef idx="0">
                <a:schemeClr val="dk1"/>
              </a:fillRef>
              <a:effectRef idx="1">
                <a:schemeClr val="dk1"/>
              </a:effectRef>
              <a:fontRef idx="minor">
                <a:schemeClr val="tx1"/>
              </a:fontRef>
            </p:style>
          </p:cxnSp>
          <p:sp>
            <p:nvSpPr>
              <p:cNvPr id="36" name="Freeform 35"/>
              <p:cNvSpPr/>
              <p:nvPr/>
            </p:nvSpPr>
            <p:spPr>
              <a:xfrm>
                <a:off x="2433923" y="4918378"/>
                <a:ext cx="960519" cy="952554"/>
              </a:xfrm>
              <a:custGeom>
                <a:avLst/>
                <a:gdLst>
                  <a:gd name="connsiteX0" fmla="*/ 0 w 1404680"/>
                  <a:gd name="connsiteY0" fmla="*/ 0 h 1393032"/>
                  <a:gd name="connsiteX1" fmla="*/ 128587 w 1404680"/>
                  <a:gd name="connsiteY1" fmla="*/ 28575 h 1393032"/>
                  <a:gd name="connsiteX2" fmla="*/ 152400 w 1404680"/>
                  <a:gd name="connsiteY2" fmla="*/ 64294 h 1393032"/>
                  <a:gd name="connsiteX3" fmla="*/ 142875 w 1404680"/>
                  <a:gd name="connsiteY3" fmla="*/ 154782 h 1393032"/>
                  <a:gd name="connsiteX4" fmla="*/ 133350 w 1404680"/>
                  <a:gd name="connsiteY4" fmla="*/ 192882 h 1393032"/>
                  <a:gd name="connsiteX5" fmla="*/ 154781 w 1404680"/>
                  <a:gd name="connsiteY5" fmla="*/ 238125 h 1393032"/>
                  <a:gd name="connsiteX6" fmla="*/ 247650 w 1404680"/>
                  <a:gd name="connsiteY6" fmla="*/ 261938 h 1393032"/>
                  <a:gd name="connsiteX7" fmla="*/ 314325 w 1404680"/>
                  <a:gd name="connsiteY7" fmla="*/ 259557 h 1393032"/>
                  <a:gd name="connsiteX8" fmla="*/ 376237 w 1404680"/>
                  <a:gd name="connsiteY8" fmla="*/ 295275 h 1393032"/>
                  <a:gd name="connsiteX9" fmla="*/ 407194 w 1404680"/>
                  <a:gd name="connsiteY9" fmla="*/ 295275 h 1393032"/>
                  <a:gd name="connsiteX10" fmla="*/ 440531 w 1404680"/>
                  <a:gd name="connsiteY10" fmla="*/ 335757 h 1393032"/>
                  <a:gd name="connsiteX11" fmla="*/ 483394 w 1404680"/>
                  <a:gd name="connsiteY11" fmla="*/ 342900 h 1393032"/>
                  <a:gd name="connsiteX12" fmla="*/ 540544 w 1404680"/>
                  <a:gd name="connsiteY12" fmla="*/ 390525 h 1393032"/>
                  <a:gd name="connsiteX13" fmla="*/ 578644 w 1404680"/>
                  <a:gd name="connsiteY13" fmla="*/ 400050 h 1393032"/>
                  <a:gd name="connsiteX14" fmla="*/ 631031 w 1404680"/>
                  <a:gd name="connsiteY14" fmla="*/ 485775 h 1393032"/>
                  <a:gd name="connsiteX15" fmla="*/ 652462 w 1404680"/>
                  <a:gd name="connsiteY15" fmla="*/ 526257 h 1393032"/>
                  <a:gd name="connsiteX16" fmla="*/ 673894 w 1404680"/>
                  <a:gd name="connsiteY16" fmla="*/ 573882 h 1393032"/>
                  <a:gd name="connsiteX17" fmla="*/ 752475 w 1404680"/>
                  <a:gd name="connsiteY17" fmla="*/ 585788 h 1393032"/>
                  <a:gd name="connsiteX18" fmla="*/ 759619 w 1404680"/>
                  <a:gd name="connsiteY18" fmla="*/ 631032 h 1393032"/>
                  <a:gd name="connsiteX19" fmla="*/ 831056 w 1404680"/>
                  <a:gd name="connsiteY19" fmla="*/ 671513 h 1393032"/>
                  <a:gd name="connsiteX20" fmla="*/ 907256 w 1404680"/>
                  <a:gd name="connsiteY20" fmla="*/ 692944 h 1393032"/>
                  <a:gd name="connsiteX21" fmla="*/ 912019 w 1404680"/>
                  <a:gd name="connsiteY21" fmla="*/ 781050 h 1393032"/>
                  <a:gd name="connsiteX22" fmla="*/ 897731 w 1404680"/>
                  <a:gd name="connsiteY22" fmla="*/ 833438 h 1393032"/>
                  <a:gd name="connsiteX23" fmla="*/ 969169 w 1404680"/>
                  <a:gd name="connsiteY23" fmla="*/ 816769 h 1393032"/>
                  <a:gd name="connsiteX24" fmla="*/ 1045369 w 1404680"/>
                  <a:gd name="connsiteY24" fmla="*/ 840582 h 1393032"/>
                  <a:gd name="connsiteX25" fmla="*/ 1078706 w 1404680"/>
                  <a:gd name="connsiteY25" fmla="*/ 835819 h 1393032"/>
                  <a:gd name="connsiteX26" fmla="*/ 1092994 w 1404680"/>
                  <a:gd name="connsiteY26" fmla="*/ 864394 h 1393032"/>
                  <a:gd name="connsiteX27" fmla="*/ 1126331 w 1404680"/>
                  <a:gd name="connsiteY27" fmla="*/ 857250 h 1393032"/>
                  <a:gd name="connsiteX28" fmla="*/ 1154906 w 1404680"/>
                  <a:gd name="connsiteY28" fmla="*/ 907257 h 1393032"/>
                  <a:gd name="connsiteX29" fmla="*/ 1233487 w 1404680"/>
                  <a:gd name="connsiteY29" fmla="*/ 914400 h 1393032"/>
                  <a:gd name="connsiteX30" fmla="*/ 1326356 w 1404680"/>
                  <a:gd name="connsiteY30" fmla="*/ 978694 h 1393032"/>
                  <a:gd name="connsiteX31" fmla="*/ 1369219 w 1404680"/>
                  <a:gd name="connsiteY31" fmla="*/ 1035844 h 1393032"/>
                  <a:gd name="connsiteX32" fmla="*/ 1402556 w 1404680"/>
                  <a:gd name="connsiteY32" fmla="*/ 1078707 h 1393032"/>
                  <a:gd name="connsiteX33" fmla="*/ 1397794 w 1404680"/>
                  <a:gd name="connsiteY33" fmla="*/ 1109663 h 1393032"/>
                  <a:gd name="connsiteX34" fmla="*/ 1369219 w 1404680"/>
                  <a:gd name="connsiteY34" fmla="*/ 1140619 h 1393032"/>
                  <a:gd name="connsiteX35" fmla="*/ 1376362 w 1404680"/>
                  <a:gd name="connsiteY35" fmla="*/ 1188244 h 1393032"/>
                  <a:gd name="connsiteX36" fmla="*/ 1347787 w 1404680"/>
                  <a:gd name="connsiteY36" fmla="*/ 1257300 h 1393032"/>
                  <a:gd name="connsiteX37" fmla="*/ 1335881 w 1404680"/>
                  <a:gd name="connsiteY37" fmla="*/ 1331119 h 1393032"/>
                  <a:gd name="connsiteX38" fmla="*/ 1323975 w 1404680"/>
                  <a:gd name="connsiteY38" fmla="*/ 1393032 h 1393032"/>
                  <a:gd name="connsiteX0" fmla="*/ 0 w 1404680"/>
                  <a:gd name="connsiteY0" fmla="*/ 0 h 1393032"/>
                  <a:gd name="connsiteX1" fmla="*/ 128587 w 1404680"/>
                  <a:gd name="connsiteY1" fmla="*/ 28575 h 1393032"/>
                  <a:gd name="connsiteX2" fmla="*/ 152400 w 1404680"/>
                  <a:gd name="connsiteY2" fmla="*/ 64294 h 1393032"/>
                  <a:gd name="connsiteX3" fmla="*/ 142875 w 1404680"/>
                  <a:gd name="connsiteY3" fmla="*/ 154782 h 1393032"/>
                  <a:gd name="connsiteX4" fmla="*/ 133350 w 1404680"/>
                  <a:gd name="connsiteY4" fmla="*/ 192882 h 1393032"/>
                  <a:gd name="connsiteX5" fmla="*/ 154781 w 1404680"/>
                  <a:gd name="connsiteY5" fmla="*/ 238125 h 1393032"/>
                  <a:gd name="connsiteX6" fmla="*/ 247650 w 1404680"/>
                  <a:gd name="connsiteY6" fmla="*/ 261938 h 1393032"/>
                  <a:gd name="connsiteX7" fmla="*/ 314325 w 1404680"/>
                  <a:gd name="connsiteY7" fmla="*/ 259557 h 1393032"/>
                  <a:gd name="connsiteX8" fmla="*/ 376237 w 1404680"/>
                  <a:gd name="connsiteY8" fmla="*/ 295275 h 1393032"/>
                  <a:gd name="connsiteX9" fmla="*/ 407194 w 1404680"/>
                  <a:gd name="connsiteY9" fmla="*/ 295275 h 1393032"/>
                  <a:gd name="connsiteX10" fmla="*/ 440531 w 1404680"/>
                  <a:gd name="connsiteY10" fmla="*/ 335757 h 1393032"/>
                  <a:gd name="connsiteX11" fmla="*/ 483394 w 1404680"/>
                  <a:gd name="connsiteY11" fmla="*/ 342900 h 1393032"/>
                  <a:gd name="connsiteX12" fmla="*/ 540544 w 1404680"/>
                  <a:gd name="connsiteY12" fmla="*/ 390525 h 1393032"/>
                  <a:gd name="connsiteX13" fmla="*/ 578644 w 1404680"/>
                  <a:gd name="connsiteY13" fmla="*/ 400050 h 1393032"/>
                  <a:gd name="connsiteX14" fmla="*/ 631031 w 1404680"/>
                  <a:gd name="connsiteY14" fmla="*/ 485775 h 1393032"/>
                  <a:gd name="connsiteX15" fmla="*/ 652462 w 1404680"/>
                  <a:gd name="connsiteY15" fmla="*/ 526257 h 1393032"/>
                  <a:gd name="connsiteX16" fmla="*/ 680244 w 1404680"/>
                  <a:gd name="connsiteY16" fmla="*/ 529432 h 1393032"/>
                  <a:gd name="connsiteX17" fmla="*/ 752475 w 1404680"/>
                  <a:gd name="connsiteY17" fmla="*/ 585788 h 1393032"/>
                  <a:gd name="connsiteX18" fmla="*/ 759619 w 1404680"/>
                  <a:gd name="connsiteY18" fmla="*/ 631032 h 1393032"/>
                  <a:gd name="connsiteX19" fmla="*/ 831056 w 1404680"/>
                  <a:gd name="connsiteY19" fmla="*/ 671513 h 1393032"/>
                  <a:gd name="connsiteX20" fmla="*/ 907256 w 1404680"/>
                  <a:gd name="connsiteY20" fmla="*/ 692944 h 1393032"/>
                  <a:gd name="connsiteX21" fmla="*/ 912019 w 1404680"/>
                  <a:gd name="connsiteY21" fmla="*/ 781050 h 1393032"/>
                  <a:gd name="connsiteX22" fmla="*/ 897731 w 1404680"/>
                  <a:gd name="connsiteY22" fmla="*/ 833438 h 1393032"/>
                  <a:gd name="connsiteX23" fmla="*/ 969169 w 1404680"/>
                  <a:gd name="connsiteY23" fmla="*/ 816769 h 1393032"/>
                  <a:gd name="connsiteX24" fmla="*/ 1045369 w 1404680"/>
                  <a:gd name="connsiteY24" fmla="*/ 840582 h 1393032"/>
                  <a:gd name="connsiteX25" fmla="*/ 1078706 w 1404680"/>
                  <a:gd name="connsiteY25" fmla="*/ 835819 h 1393032"/>
                  <a:gd name="connsiteX26" fmla="*/ 1092994 w 1404680"/>
                  <a:gd name="connsiteY26" fmla="*/ 864394 h 1393032"/>
                  <a:gd name="connsiteX27" fmla="*/ 1126331 w 1404680"/>
                  <a:gd name="connsiteY27" fmla="*/ 857250 h 1393032"/>
                  <a:gd name="connsiteX28" fmla="*/ 1154906 w 1404680"/>
                  <a:gd name="connsiteY28" fmla="*/ 907257 h 1393032"/>
                  <a:gd name="connsiteX29" fmla="*/ 1233487 w 1404680"/>
                  <a:gd name="connsiteY29" fmla="*/ 914400 h 1393032"/>
                  <a:gd name="connsiteX30" fmla="*/ 1326356 w 1404680"/>
                  <a:gd name="connsiteY30" fmla="*/ 978694 h 1393032"/>
                  <a:gd name="connsiteX31" fmla="*/ 1369219 w 1404680"/>
                  <a:gd name="connsiteY31" fmla="*/ 1035844 h 1393032"/>
                  <a:gd name="connsiteX32" fmla="*/ 1402556 w 1404680"/>
                  <a:gd name="connsiteY32" fmla="*/ 1078707 h 1393032"/>
                  <a:gd name="connsiteX33" fmla="*/ 1397794 w 1404680"/>
                  <a:gd name="connsiteY33" fmla="*/ 1109663 h 1393032"/>
                  <a:gd name="connsiteX34" fmla="*/ 1369219 w 1404680"/>
                  <a:gd name="connsiteY34" fmla="*/ 1140619 h 1393032"/>
                  <a:gd name="connsiteX35" fmla="*/ 1376362 w 1404680"/>
                  <a:gd name="connsiteY35" fmla="*/ 1188244 h 1393032"/>
                  <a:gd name="connsiteX36" fmla="*/ 1347787 w 1404680"/>
                  <a:gd name="connsiteY36" fmla="*/ 1257300 h 1393032"/>
                  <a:gd name="connsiteX37" fmla="*/ 1335881 w 1404680"/>
                  <a:gd name="connsiteY37" fmla="*/ 1331119 h 1393032"/>
                  <a:gd name="connsiteX38" fmla="*/ 1323975 w 1404680"/>
                  <a:gd name="connsiteY38" fmla="*/ 1393032 h 1393032"/>
                  <a:gd name="connsiteX0" fmla="*/ 0 w 1404680"/>
                  <a:gd name="connsiteY0" fmla="*/ 0 h 1393032"/>
                  <a:gd name="connsiteX1" fmla="*/ 128587 w 1404680"/>
                  <a:gd name="connsiteY1" fmla="*/ 28575 h 1393032"/>
                  <a:gd name="connsiteX2" fmla="*/ 152400 w 1404680"/>
                  <a:gd name="connsiteY2" fmla="*/ 64294 h 1393032"/>
                  <a:gd name="connsiteX3" fmla="*/ 142875 w 1404680"/>
                  <a:gd name="connsiteY3" fmla="*/ 154782 h 1393032"/>
                  <a:gd name="connsiteX4" fmla="*/ 133350 w 1404680"/>
                  <a:gd name="connsiteY4" fmla="*/ 192882 h 1393032"/>
                  <a:gd name="connsiteX5" fmla="*/ 154781 w 1404680"/>
                  <a:gd name="connsiteY5" fmla="*/ 238125 h 1393032"/>
                  <a:gd name="connsiteX6" fmla="*/ 247650 w 1404680"/>
                  <a:gd name="connsiteY6" fmla="*/ 261938 h 1393032"/>
                  <a:gd name="connsiteX7" fmla="*/ 314325 w 1404680"/>
                  <a:gd name="connsiteY7" fmla="*/ 259557 h 1393032"/>
                  <a:gd name="connsiteX8" fmla="*/ 376237 w 1404680"/>
                  <a:gd name="connsiteY8" fmla="*/ 295275 h 1393032"/>
                  <a:gd name="connsiteX9" fmla="*/ 407194 w 1404680"/>
                  <a:gd name="connsiteY9" fmla="*/ 295275 h 1393032"/>
                  <a:gd name="connsiteX10" fmla="*/ 440531 w 1404680"/>
                  <a:gd name="connsiteY10" fmla="*/ 335757 h 1393032"/>
                  <a:gd name="connsiteX11" fmla="*/ 483394 w 1404680"/>
                  <a:gd name="connsiteY11" fmla="*/ 342900 h 1393032"/>
                  <a:gd name="connsiteX12" fmla="*/ 540544 w 1404680"/>
                  <a:gd name="connsiteY12" fmla="*/ 390525 h 1393032"/>
                  <a:gd name="connsiteX13" fmla="*/ 578644 w 1404680"/>
                  <a:gd name="connsiteY13" fmla="*/ 400050 h 1393032"/>
                  <a:gd name="connsiteX14" fmla="*/ 631031 w 1404680"/>
                  <a:gd name="connsiteY14" fmla="*/ 485775 h 1393032"/>
                  <a:gd name="connsiteX15" fmla="*/ 652462 w 1404680"/>
                  <a:gd name="connsiteY15" fmla="*/ 526257 h 1393032"/>
                  <a:gd name="connsiteX16" fmla="*/ 680244 w 1404680"/>
                  <a:gd name="connsiteY16" fmla="*/ 529432 h 1393032"/>
                  <a:gd name="connsiteX17" fmla="*/ 752475 w 1404680"/>
                  <a:gd name="connsiteY17" fmla="*/ 585788 h 1393032"/>
                  <a:gd name="connsiteX18" fmla="*/ 759619 w 1404680"/>
                  <a:gd name="connsiteY18" fmla="*/ 631032 h 1393032"/>
                  <a:gd name="connsiteX19" fmla="*/ 831056 w 1404680"/>
                  <a:gd name="connsiteY19" fmla="*/ 671513 h 1393032"/>
                  <a:gd name="connsiteX20" fmla="*/ 907256 w 1404680"/>
                  <a:gd name="connsiteY20" fmla="*/ 692944 h 1393032"/>
                  <a:gd name="connsiteX21" fmla="*/ 912019 w 1404680"/>
                  <a:gd name="connsiteY21" fmla="*/ 781050 h 1393032"/>
                  <a:gd name="connsiteX22" fmla="*/ 935831 w 1404680"/>
                  <a:gd name="connsiteY22" fmla="*/ 858838 h 1393032"/>
                  <a:gd name="connsiteX23" fmla="*/ 969169 w 1404680"/>
                  <a:gd name="connsiteY23" fmla="*/ 816769 h 1393032"/>
                  <a:gd name="connsiteX24" fmla="*/ 1045369 w 1404680"/>
                  <a:gd name="connsiteY24" fmla="*/ 840582 h 1393032"/>
                  <a:gd name="connsiteX25" fmla="*/ 1078706 w 1404680"/>
                  <a:gd name="connsiteY25" fmla="*/ 835819 h 1393032"/>
                  <a:gd name="connsiteX26" fmla="*/ 1092994 w 1404680"/>
                  <a:gd name="connsiteY26" fmla="*/ 864394 h 1393032"/>
                  <a:gd name="connsiteX27" fmla="*/ 1126331 w 1404680"/>
                  <a:gd name="connsiteY27" fmla="*/ 857250 h 1393032"/>
                  <a:gd name="connsiteX28" fmla="*/ 1154906 w 1404680"/>
                  <a:gd name="connsiteY28" fmla="*/ 907257 h 1393032"/>
                  <a:gd name="connsiteX29" fmla="*/ 1233487 w 1404680"/>
                  <a:gd name="connsiteY29" fmla="*/ 914400 h 1393032"/>
                  <a:gd name="connsiteX30" fmla="*/ 1326356 w 1404680"/>
                  <a:gd name="connsiteY30" fmla="*/ 978694 h 1393032"/>
                  <a:gd name="connsiteX31" fmla="*/ 1369219 w 1404680"/>
                  <a:gd name="connsiteY31" fmla="*/ 1035844 h 1393032"/>
                  <a:gd name="connsiteX32" fmla="*/ 1402556 w 1404680"/>
                  <a:gd name="connsiteY32" fmla="*/ 1078707 h 1393032"/>
                  <a:gd name="connsiteX33" fmla="*/ 1397794 w 1404680"/>
                  <a:gd name="connsiteY33" fmla="*/ 1109663 h 1393032"/>
                  <a:gd name="connsiteX34" fmla="*/ 1369219 w 1404680"/>
                  <a:gd name="connsiteY34" fmla="*/ 1140619 h 1393032"/>
                  <a:gd name="connsiteX35" fmla="*/ 1376362 w 1404680"/>
                  <a:gd name="connsiteY35" fmla="*/ 1188244 h 1393032"/>
                  <a:gd name="connsiteX36" fmla="*/ 1347787 w 1404680"/>
                  <a:gd name="connsiteY36" fmla="*/ 1257300 h 1393032"/>
                  <a:gd name="connsiteX37" fmla="*/ 1335881 w 1404680"/>
                  <a:gd name="connsiteY37" fmla="*/ 1331119 h 1393032"/>
                  <a:gd name="connsiteX38" fmla="*/ 1323975 w 1404680"/>
                  <a:gd name="connsiteY38" fmla="*/ 1393032 h 1393032"/>
                  <a:gd name="connsiteX0" fmla="*/ 0 w 1404680"/>
                  <a:gd name="connsiteY0" fmla="*/ 0 h 1393032"/>
                  <a:gd name="connsiteX1" fmla="*/ 128587 w 1404680"/>
                  <a:gd name="connsiteY1" fmla="*/ 28575 h 1393032"/>
                  <a:gd name="connsiteX2" fmla="*/ 152400 w 1404680"/>
                  <a:gd name="connsiteY2" fmla="*/ 64294 h 1393032"/>
                  <a:gd name="connsiteX3" fmla="*/ 142875 w 1404680"/>
                  <a:gd name="connsiteY3" fmla="*/ 154782 h 1393032"/>
                  <a:gd name="connsiteX4" fmla="*/ 133350 w 1404680"/>
                  <a:gd name="connsiteY4" fmla="*/ 192882 h 1393032"/>
                  <a:gd name="connsiteX5" fmla="*/ 154781 w 1404680"/>
                  <a:gd name="connsiteY5" fmla="*/ 238125 h 1393032"/>
                  <a:gd name="connsiteX6" fmla="*/ 247650 w 1404680"/>
                  <a:gd name="connsiteY6" fmla="*/ 261938 h 1393032"/>
                  <a:gd name="connsiteX7" fmla="*/ 314325 w 1404680"/>
                  <a:gd name="connsiteY7" fmla="*/ 259557 h 1393032"/>
                  <a:gd name="connsiteX8" fmla="*/ 376237 w 1404680"/>
                  <a:gd name="connsiteY8" fmla="*/ 295275 h 1393032"/>
                  <a:gd name="connsiteX9" fmla="*/ 407194 w 1404680"/>
                  <a:gd name="connsiteY9" fmla="*/ 295275 h 1393032"/>
                  <a:gd name="connsiteX10" fmla="*/ 440531 w 1404680"/>
                  <a:gd name="connsiteY10" fmla="*/ 335757 h 1393032"/>
                  <a:gd name="connsiteX11" fmla="*/ 483394 w 1404680"/>
                  <a:gd name="connsiteY11" fmla="*/ 342900 h 1393032"/>
                  <a:gd name="connsiteX12" fmla="*/ 540544 w 1404680"/>
                  <a:gd name="connsiteY12" fmla="*/ 390525 h 1393032"/>
                  <a:gd name="connsiteX13" fmla="*/ 578644 w 1404680"/>
                  <a:gd name="connsiteY13" fmla="*/ 400050 h 1393032"/>
                  <a:gd name="connsiteX14" fmla="*/ 631031 w 1404680"/>
                  <a:gd name="connsiteY14" fmla="*/ 485775 h 1393032"/>
                  <a:gd name="connsiteX15" fmla="*/ 652462 w 1404680"/>
                  <a:gd name="connsiteY15" fmla="*/ 526257 h 1393032"/>
                  <a:gd name="connsiteX16" fmla="*/ 680244 w 1404680"/>
                  <a:gd name="connsiteY16" fmla="*/ 529432 h 1393032"/>
                  <a:gd name="connsiteX17" fmla="*/ 752475 w 1404680"/>
                  <a:gd name="connsiteY17" fmla="*/ 585788 h 1393032"/>
                  <a:gd name="connsiteX18" fmla="*/ 759619 w 1404680"/>
                  <a:gd name="connsiteY18" fmla="*/ 631032 h 1393032"/>
                  <a:gd name="connsiteX19" fmla="*/ 831056 w 1404680"/>
                  <a:gd name="connsiteY19" fmla="*/ 671513 h 1393032"/>
                  <a:gd name="connsiteX20" fmla="*/ 907256 w 1404680"/>
                  <a:gd name="connsiteY20" fmla="*/ 692944 h 1393032"/>
                  <a:gd name="connsiteX21" fmla="*/ 912019 w 1404680"/>
                  <a:gd name="connsiteY21" fmla="*/ 781050 h 1393032"/>
                  <a:gd name="connsiteX22" fmla="*/ 935831 w 1404680"/>
                  <a:gd name="connsiteY22" fmla="*/ 858838 h 1393032"/>
                  <a:gd name="connsiteX23" fmla="*/ 1007269 w 1404680"/>
                  <a:gd name="connsiteY23" fmla="*/ 829469 h 1393032"/>
                  <a:gd name="connsiteX24" fmla="*/ 1045369 w 1404680"/>
                  <a:gd name="connsiteY24" fmla="*/ 840582 h 1393032"/>
                  <a:gd name="connsiteX25" fmla="*/ 1078706 w 1404680"/>
                  <a:gd name="connsiteY25" fmla="*/ 835819 h 1393032"/>
                  <a:gd name="connsiteX26" fmla="*/ 1092994 w 1404680"/>
                  <a:gd name="connsiteY26" fmla="*/ 864394 h 1393032"/>
                  <a:gd name="connsiteX27" fmla="*/ 1126331 w 1404680"/>
                  <a:gd name="connsiteY27" fmla="*/ 857250 h 1393032"/>
                  <a:gd name="connsiteX28" fmla="*/ 1154906 w 1404680"/>
                  <a:gd name="connsiteY28" fmla="*/ 907257 h 1393032"/>
                  <a:gd name="connsiteX29" fmla="*/ 1233487 w 1404680"/>
                  <a:gd name="connsiteY29" fmla="*/ 914400 h 1393032"/>
                  <a:gd name="connsiteX30" fmla="*/ 1326356 w 1404680"/>
                  <a:gd name="connsiteY30" fmla="*/ 978694 h 1393032"/>
                  <a:gd name="connsiteX31" fmla="*/ 1369219 w 1404680"/>
                  <a:gd name="connsiteY31" fmla="*/ 1035844 h 1393032"/>
                  <a:gd name="connsiteX32" fmla="*/ 1402556 w 1404680"/>
                  <a:gd name="connsiteY32" fmla="*/ 1078707 h 1393032"/>
                  <a:gd name="connsiteX33" fmla="*/ 1397794 w 1404680"/>
                  <a:gd name="connsiteY33" fmla="*/ 1109663 h 1393032"/>
                  <a:gd name="connsiteX34" fmla="*/ 1369219 w 1404680"/>
                  <a:gd name="connsiteY34" fmla="*/ 1140619 h 1393032"/>
                  <a:gd name="connsiteX35" fmla="*/ 1376362 w 1404680"/>
                  <a:gd name="connsiteY35" fmla="*/ 1188244 h 1393032"/>
                  <a:gd name="connsiteX36" fmla="*/ 1347787 w 1404680"/>
                  <a:gd name="connsiteY36" fmla="*/ 1257300 h 1393032"/>
                  <a:gd name="connsiteX37" fmla="*/ 1335881 w 1404680"/>
                  <a:gd name="connsiteY37" fmla="*/ 1331119 h 1393032"/>
                  <a:gd name="connsiteX38" fmla="*/ 1323975 w 1404680"/>
                  <a:gd name="connsiteY38" fmla="*/ 1393032 h 1393032"/>
                  <a:gd name="connsiteX0" fmla="*/ 0 w 1404680"/>
                  <a:gd name="connsiteY0" fmla="*/ 0 h 1393032"/>
                  <a:gd name="connsiteX1" fmla="*/ 128587 w 1404680"/>
                  <a:gd name="connsiteY1" fmla="*/ 28575 h 1393032"/>
                  <a:gd name="connsiteX2" fmla="*/ 152400 w 1404680"/>
                  <a:gd name="connsiteY2" fmla="*/ 64294 h 1393032"/>
                  <a:gd name="connsiteX3" fmla="*/ 142875 w 1404680"/>
                  <a:gd name="connsiteY3" fmla="*/ 154782 h 1393032"/>
                  <a:gd name="connsiteX4" fmla="*/ 133350 w 1404680"/>
                  <a:gd name="connsiteY4" fmla="*/ 192882 h 1393032"/>
                  <a:gd name="connsiteX5" fmla="*/ 154781 w 1404680"/>
                  <a:gd name="connsiteY5" fmla="*/ 238125 h 1393032"/>
                  <a:gd name="connsiteX6" fmla="*/ 247650 w 1404680"/>
                  <a:gd name="connsiteY6" fmla="*/ 261938 h 1393032"/>
                  <a:gd name="connsiteX7" fmla="*/ 314325 w 1404680"/>
                  <a:gd name="connsiteY7" fmla="*/ 259557 h 1393032"/>
                  <a:gd name="connsiteX8" fmla="*/ 376237 w 1404680"/>
                  <a:gd name="connsiteY8" fmla="*/ 295275 h 1393032"/>
                  <a:gd name="connsiteX9" fmla="*/ 407194 w 1404680"/>
                  <a:gd name="connsiteY9" fmla="*/ 295275 h 1393032"/>
                  <a:gd name="connsiteX10" fmla="*/ 440531 w 1404680"/>
                  <a:gd name="connsiteY10" fmla="*/ 335757 h 1393032"/>
                  <a:gd name="connsiteX11" fmla="*/ 483394 w 1404680"/>
                  <a:gd name="connsiteY11" fmla="*/ 342900 h 1393032"/>
                  <a:gd name="connsiteX12" fmla="*/ 540544 w 1404680"/>
                  <a:gd name="connsiteY12" fmla="*/ 390525 h 1393032"/>
                  <a:gd name="connsiteX13" fmla="*/ 578644 w 1404680"/>
                  <a:gd name="connsiteY13" fmla="*/ 400050 h 1393032"/>
                  <a:gd name="connsiteX14" fmla="*/ 631031 w 1404680"/>
                  <a:gd name="connsiteY14" fmla="*/ 485775 h 1393032"/>
                  <a:gd name="connsiteX15" fmla="*/ 652462 w 1404680"/>
                  <a:gd name="connsiteY15" fmla="*/ 526257 h 1393032"/>
                  <a:gd name="connsiteX16" fmla="*/ 680244 w 1404680"/>
                  <a:gd name="connsiteY16" fmla="*/ 529432 h 1393032"/>
                  <a:gd name="connsiteX17" fmla="*/ 752475 w 1404680"/>
                  <a:gd name="connsiteY17" fmla="*/ 585788 h 1393032"/>
                  <a:gd name="connsiteX18" fmla="*/ 759619 w 1404680"/>
                  <a:gd name="connsiteY18" fmla="*/ 631032 h 1393032"/>
                  <a:gd name="connsiteX19" fmla="*/ 831056 w 1404680"/>
                  <a:gd name="connsiteY19" fmla="*/ 671513 h 1393032"/>
                  <a:gd name="connsiteX20" fmla="*/ 907256 w 1404680"/>
                  <a:gd name="connsiteY20" fmla="*/ 692944 h 1393032"/>
                  <a:gd name="connsiteX21" fmla="*/ 937419 w 1404680"/>
                  <a:gd name="connsiteY21" fmla="*/ 793750 h 1393032"/>
                  <a:gd name="connsiteX22" fmla="*/ 935831 w 1404680"/>
                  <a:gd name="connsiteY22" fmla="*/ 858838 h 1393032"/>
                  <a:gd name="connsiteX23" fmla="*/ 1007269 w 1404680"/>
                  <a:gd name="connsiteY23" fmla="*/ 829469 h 1393032"/>
                  <a:gd name="connsiteX24" fmla="*/ 1045369 w 1404680"/>
                  <a:gd name="connsiteY24" fmla="*/ 840582 h 1393032"/>
                  <a:gd name="connsiteX25" fmla="*/ 1078706 w 1404680"/>
                  <a:gd name="connsiteY25" fmla="*/ 835819 h 1393032"/>
                  <a:gd name="connsiteX26" fmla="*/ 1092994 w 1404680"/>
                  <a:gd name="connsiteY26" fmla="*/ 864394 h 1393032"/>
                  <a:gd name="connsiteX27" fmla="*/ 1126331 w 1404680"/>
                  <a:gd name="connsiteY27" fmla="*/ 857250 h 1393032"/>
                  <a:gd name="connsiteX28" fmla="*/ 1154906 w 1404680"/>
                  <a:gd name="connsiteY28" fmla="*/ 907257 h 1393032"/>
                  <a:gd name="connsiteX29" fmla="*/ 1233487 w 1404680"/>
                  <a:gd name="connsiteY29" fmla="*/ 914400 h 1393032"/>
                  <a:gd name="connsiteX30" fmla="*/ 1326356 w 1404680"/>
                  <a:gd name="connsiteY30" fmla="*/ 978694 h 1393032"/>
                  <a:gd name="connsiteX31" fmla="*/ 1369219 w 1404680"/>
                  <a:gd name="connsiteY31" fmla="*/ 1035844 h 1393032"/>
                  <a:gd name="connsiteX32" fmla="*/ 1402556 w 1404680"/>
                  <a:gd name="connsiteY32" fmla="*/ 1078707 h 1393032"/>
                  <a:gd name="connsiteX33" fmla="*/ 1397794 w 1404680"/>
                  <a:gd name="connsiteY33" fmla="*/ 1109663 h 1393032"/>
                  <a:gd name="connsiteX34" fmla="*/ 1369219 w 1404680"/>
                  <a:gd name="connsiteY34" fmla="*/ 1140619 h 1393032"/>
                  <a:gd name="connsiteX35" fmla="*/ 1376362 w 1404680"/>
                  <a:gd name="connsiteY35" fmla="*/ 1188244 h 1393032"/>
                  <a:gd name="connsiteX36" fmla="*/ 1347787 w 1404680"/>
                  <a:gd name="connsiteY36" fmla="*/ 1257300 h 1393032"/>
                  <a:gd name="connsiteX37" fmla="*/ 1335881 w 1404680"/>
                  <a:gd name="connsiteY37" fmla="*/ 1331119 h 1393032"/>
                  <a:gd name="connsiteX38" fmla="*/ 1323975 w 1404680"/>
                  <a:gd name="connsiteY38" fmla="*/ 1393032 h 13930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1404680" h="1393032">
                    <a:moveTo>
                      <a:pt x="0" y="0"/>
                    </a:moveTo>
                    <a:cubicBezTo>
                      <a:pt x="51593" y="8929"/>
                      <a:pt x="103187" y="17859"/>
                      <a:pt x="128587" y="28575"/>
                    </a:cubicBezTo>
                    <a:cubicBezTo>
                      <a:pt x="153987" y="39291"/>
                      <a:pt x="150019" y="43260"/>
                      <a:pt x="152400" y="64294"/>
                    </a:cubicBezTo>
                    <a:cubicBezTo>
                      <a:pt x="154781" y="85328"/>
                      <a:pt x="146050" y="133351"/>
                      <a:pt x="142875" y="154782"/>
                    </a:cubicBezTo>
                    <a:cubicBezTo>
                      <a:pt x="139700" y="176213"/>
                      <a:pt x="131366" y="178991"/>
                      <a:pt x="133350" y="192882"/>
                    </a:cubicBezTo>
                    <a:cubicBezTo>
                      <a:pt x="135334" y="206773"/>
                      <a:pt x="135731" y="226616"/>
                      <a:pt x="154781" y="238125"/>
                    </a:cubicBezTo>
                    <a:cubicBezTo>
                      <a:pt x="173831" y="249634"/>
                      <a:pt x="221059" y="258366"/>
                      <a:pt x="247650" y="261938"/>
                    </a:cubicBezTo>
                    <a:cubicBezTo>
                      <a:pt x="274241" y="265510"/>
                      <a:pt x="292894" y="254001"/>
                      <a:pt x="314325" y="259557"/>
                    </a:cubicBezTo>
                    <a:cubicBezTo>
                      <a:pt x="335756" y="265113"/>
                      <a:pt x="360759" y="289322"/>
                      <a:pt x="376237" y="295275"/>
                    </a:cubicBezTo>
                    <a:cubicBezTo>
                      <a:pt x="391715" y="301228"/>
                      <a:pt x="396478" y="288528"/>
                      <a:pt x="407194" y="295275"/>
                    </a:cubicBezTo>
                    <a:cubicBezTo>
                      <a:pt x="417910" y="302022"/>
                      <a:pt x="427831" y="327820"/>
                      <a:pt x="440531" y="335757"/>
                    </a:cubicBezTo>
                    <a:cubicBezTo>
                      <a:pt x="453231" y="343694"/>
                      <a:pt x="466725" y="333772"/>
                      <a:pt x="483394" y="342900"/>
                    </a:cubicBezTo>
                    <a:cubicBezTo>
                      <a:pt x="500063" y="352028"/>
                      <a:pt x="524669" y="381000"/>
                      <a:pt x="540544" y="390525"/>
                    </a:cubicBezTo>
                    <a:cubicBezTo>
                      <a:pt x="556419" y="400050"/>
                      <a:pt x="563563" y="384175"/>
                      <a:pt x="578644" y="400050"/>
                    </a:cubicBezTo>
                    <a:cubicBezTo>
                      <a:pt x="593725" y="415925"/>
                      <a:pt x="618728" y="464741"/>
                      <a:pt x="631031" y="485775"/>
                    </a:cubicBezTo>
                    <a:cubicBezTo>
                      <a:pt x="643334" y="506810"/>
                      <a:pt x="644260" y="518981"/>
                      <a:pt x="652462" y="526257"/>
                    </a:cubicBezTo>
                    <a:cubicBezTo>
                      <a:pt x="660664" y="533533"/>
                      <a:pt x="663575" y="519510"/>
                      <a:pt x="680244" y="529432"/>
                    </a:cubicBezTo>
                    <a:cubicBezTo>
                      <a:pt x="696913" y="539354"/>
                      <a:pt x="739246" y="568855"/>
                      <a:pt x="752475" y="585788"/>
                    </a:cubicBezTo>
                    <a:cubicBezTo>
                      <a:pt x="765704" y="602721"/>
                      <a:pt x="746522" y="616745"/>
                      <a:pt x="759619" y="631032"/>
                    </a:cubicBezTo>
                    <a:cubicBezTo>
                      <a:pt x="772716" y="645319"/>
                      <a:pt x="806450" y="661194"/>
                      <a:pt x="831056" y="671513"/>
                    </a:cubicBezTo>
                    <a:cubicBezTo>
                      <a:pt x="855662" y="681832"/>
                      <a:pt x="889529" y="672571"/>
                      <a:pt x="907256" y="692944"/>
                    </a:cubicBezTo>
                    <a:cubicBezTo>
                      <a:pt x="924983" y="713317"/>
                      <a:pt x="932657" y="766101"/>
                      <a:pt x="937419" y="793750"/>
                    </a:cubicBezTo>
                    <a:cubicBezTo>
                      <a:pt x="942181" y="821399"/>
                      <a:pt x="924189" y="852885"/>
                      <a:pt x="935831" y="858838"/>
                    </a:cubicBezTo>
                    <a:cubicBezTo>
                      <a:pt x="947473" y="864791"/>
                      <a:pt x="989013" y="832512"/>
                      <a:pt x="1007269" y="829469"/>
                    </a:cubicBezTo>
                    <a:cubicBezTo>
                      <a:pt x="1025525" y="826426"/>
                      <a:pt x="1033463" y="839524"/>
                      <a:pt x="1045369" y="840582"/>
                    </a:cubicBezTo>
                    <a:cubicBezTo>
                      <a:pt x="1057275" y="841640"/>
                      <a:pt x="1070769" y="831850"/>
                      <a:pt x="1078706" y="835819"/>
                    </a:cubicBezTo>
                    <a:cubicBezTo>
                      <a:pt x="1086643" y="839788"/>
                      <a:pt x="1085057" y="860822"/>
                      <a:pt x="1092994" y="864394"/>
                    </a:cubicBezTo>
                    <a:cubicBezTo>
                      <a:pt x="1100931" y="867966"/>
                      <a:pt x="1116012" y="850106"/>
                      <a:pt x="1126331" y="857250"/>
                    </a:cubicBezTo>
                    <a:cubicBezTo>
                      <a:pt x="1136650" y="864394"/>
                      <a:pt x="1137047" y="897732"/>
                      <a:pt x="1154906" y="907257"/>
                    </a:cubicBezTo>
                    <a:cubicBezTo>
                      <a:pt x="1172765" y="916782"/>
                      <a:pt x="1204912" y="902494"/>
                      <a:pt x="1233487" y="914400"/>
                    </a:cubicBezTo>
                    <a:cubicBezTo>
                      <a:pt x="1262062" y="926306"/>
                      <a:pt x="1303734" y="958453"/>
                      <a:pt x="1326356" y="978694"/>
                    </a:cubicBezTo>
                    <a:cubicBezTo>
                      <a:pt x="1348978" y="998935"/>
                      <a:pt x="1356519" y="1019175"/>
                      <a:pt x="1369219" y="1035844"/>
                    </a:cubicBezTo>
                    <a:cubicBezTo>
                      <a:pt x="1381919" y="1052513"/>
                      <a:pt x="1397794" y="1066404"/>
                      <a:pt x="1402556" y="1078707"/>
                    </a:cubicBezTo>
                    <a:cubicBezTo>
                      <a:pt x="1407318" y="1091010"/>
                      <a:pt x="1403350" y="1099344"/>
                      <a:pt x="1397794" y="1109663"/>
                    </a:cubicBezTo>
                    <a:cubicBezTo>
                      <a:pt x="1392238" y="1119982"/>
                      <a:pt x="1372791" y="1127522"/>
                      <a:pt x="1369219" y="1140619"/>
                    </a:cubicBezTo>
                    <a:cubicBezTo>
                      <a:pt x="1365647" y="1153716"/>
                      <a:pt x="1379934" y="1168797"/>
                      <a:pt x="1376362" y="1188244"/>
                    </a:cubicBezTo>
                    <a:cubicBezTo>
                      <a:pt x="1372790" y="1207691"/>
                      <a:pt x="1354534" y="1233488"/>
                      <a:pt x="1347787" y="1257300"/>
                    </a:cubicBezTo>
                    <a:cubicBezTo>
                      <a:pt x="1341040" y="1281112"/>
                      <a:pt x="1339850" y="1308497"/>
                      <a:pt x="1335881" y="1331119"/>
                    </a:cubicBezTo>
                    <a:cubicBezTo>
                      <a:pt x="1331912" y="1353741"/>
                      <a:pt x="1323975" y="1393032"/>
                      <a:pt x="1323975" y="1393032"/>
                    </a:cubicBezTo>
                  </a:path>
                </a:pathLst>
              </a:custGeom>
              <a:noFill/>
              <a:ln w="15875" cmpd="sng">
                <a:solidFill>
                  <a:srgbClr val="7030A0"/>
                </a:solidFill>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79" name="Oval 78"/>
              <p:cNvSpPr>
                <a:spLocks noChangeAspect="1"/>
              </p:cNvSpPr>
              <p:nvPr/>
            </p:nvSpPr>
            <p:spPr>
              <a:xfrm rot="8020156">
                <a:off x="2796042" y="5141030"/>
                <a:ext cx="126000" cy="126000"/>
              </a:xfrm>
              <a:prstGeom prst="ellipse">
                <a:avLst/>
              </a:prstGeom>
              <a:solidFill>
                <a:srgbClr val="0000FF"/>
              </a:solidFill>
              <a:effectLst>
                <a:glow rad="63500">
                  <a:schemeClr val="accent1">
                    <a:satMod val="175000"/>
                    <a:alpha val="40000"/>
                  </a:schemeClr>
                </a:glow>
                <a:outerShdw blurRad="40000" dist="23000" dir="5400000" rotWithShape="0">
                  <a:srgbClr val="000000">
                    <a:alpha val="35000"/>
                  </a:srgbClr>
                </a:outerShdw>
              </a:effectLst>
            </p:spPr>
            <p:style>
              <a:lnRef idx="0">
                <a:schemeClr val="accent2"/>
              </a:lnRef>
              <a:fillRef idx="3">
                <a:schemeClr val="accent2"/>
              </a:fillRef>
              <a:effectRef idx="3">
                <a:schemeClr val="accent2"/>
              </a:effectRef>
              <a:fontRef idx="minor">
                <a:schemeClr val="lt1"/>
              </a:fontRef>
            </p:style>
            <p:txBody>
              <a:bodyPr rtlCol="0" anchor="ctr"/>
              <a:lstStyle/>
              <a:p>
                <a:pPr algn="ctr"/>
                <a:endParaRPr lang="th-TH"/>
              </a:p>
            </p:txBody>
          </p:sp>
          <p:cxnSp>
            <p:nvCxnSpPr>
              <p:cNvPr id="92" name="Straight Connector 91"/>
              <p:cNvCxnSpPr>
                <a:stCxn id="93" idx="0"/>
                <a:endCxn id="36" idx="16"/>
              </p:cNvCxnSpPr>
              <p:nvPr/>
            </p:nvCxnSpPr>
            <p:spPr>
              <a:xfrm flipV="1">
                <a:off x="2772663" y="5280403"/>
                <a:ext cx="126411" cy="188465"/>
              </a:xfrm>
              <a:prstGeom prst="line">
                <a:avLst/>
              </a:prstGeom>
              <a:ln w="19050">
                <a:solidFill>
                  <a:srgbClr val="7030A0"/>
                </a:solidFill>
                <a:tailEnd type="triangle" w="sm" len="sm"/>
              </a:ln>
            </p:spPr>
            <p:style>
              <a:lnRef idx="2">
                <a:schemeClr val="dk1"/>
              </a:lnRef>
              <a:fillRef idx="0">
                <a:schemeClr val="dk1"/>
              </a:fillRef>
              <a:effectRef idx="1">
                <a:schemeClr val="dk1"/>
              </a:effectRef>
              <a:fontRef idx="minor">
                <a:schemeClr val="tx1"/>
              </a:fontRef>
            </p:style>
          </p:cxnSp>
        </p:grpSp>
        <p:sp>
          <p:nvSpPr>
            <p:cNvPr id="95" name="TextBox 94"/>
            <p:cNvSpPr txBox="1"/>
            <p:nvPr/>
          </p:nvSpPr>
          <p:spPr>
            <a:xfrm>
              <a:off x="1961754" y="2247827"/>
              <a:ext cx="468000" cy="258532"/>
            </a:xfrm>
            <a:prstGeom prst="rect">
              <a:avLst/>
            </a:prstGeom>
            <a:solidFill>
              <a:srgbClr val="92D050"/>
            </a:solidFill>
            <a:ln w="9525">
              <a:noFill/>
            </a:ln>
          </p:spPr>
          <p:txBody>
            <a:bodyPr vert="horz" wrap="square" lIns="35941" tIns="0" rIns="0" bIns="0" rtlCol="0" anchor="ctr">
              <a:spAutoFit/>
            </a:bodyPr>
            <a:lstStyle/>
            <a:p>
              <a:pPr>
                <a:lnSpc>
                  <a:spcPct val="90000"/>
                </a:lnSpc>
                <a:spcBef>
                  <a:spcPts val="341"/>
                </a:spcBef>
                <a:buClr>
                  <a:srgbClr val="000000"/>
                </a:buClr>
                <a:buSzPct val="100000"/>
              </a:pPr>
              <a:r>
                <a:rPr lang="en-US" sz="700" dirty="0">
                  <a:solidFill>
                    <a:schemeClr val="accent1"/>
                  </a:solidFill>
                  <a:latin typeface="+mn-lt"/>
                  <a:cs typeface="Arial Narrow" pitchFamily="34" charset="0"/>
                </a:rPr>
                <a:t>Northern corridor</a:t>
              </a:r>
            </a:p>
          </p:txBody>
        </p:sp>
        <p:sp>
          <p:nvSpPr>
            <p:cNvPr id="129" name="TextBox 128"/>
            <p:cNvSpPr txBox="1"/>
            <p:nvPr/>
          </p:nvSpPr>
          <p:spPr>
            <a:xfrm>
              <a:off x="1444895" y="5076551"/>
              <a:ext cx="504000" cy="258532"/>
            </a:xfrm>
            <a:prstGeom prst="rect">
              <a:avLst/>
            </a:prstGeom>
            <a:solidFill>
              <a:srgbClr val="004A48"/>
            </a:solidFill>
            <a:ln w="9525">
              <a:noFill/>
            </a:ln>
          </p:spPr>
          <p:txBody>
            <a:bodyPr vert="horz" wrap="square" lIns="35941" tIns="0" rIns="0" bIns="0" rtlCol="0" anchor="ctr">
              <a:spAutoFit/>
            </a:bodyPr>
            <a:lstStyle/>
            <a:p>
              <a:pPr algn="ctr">
                <a:lnSpc>
                  <a:spcPct val="90000"/>
                </a:lnSpc>
                <a:spcBef>
                  <a:spcPts val="341"/>
                </a:spcBef>
                <a:buClr>
                  <a:srgbClr val="000000"/>
                </a:buClr>
                <a:buSzPct val="100000"/>
              </a:pPr>
              <a:r>
                <a:rPr lang="en-US" sz="700" dirty="0">
                  <a:solidFill>
                    <a:schemeClr val="accent1"/>
                  </a:solidFill>
                  <a:latin typeface="+mn-lt"/>
                  <a:cs typeface="Arial Narrow" pitchFamily="34" charset="0"/>
                </a:rPr>
                <a:t>Southern</a:t>
              </a:r>
              <a:br>
                <a:rPr lang="en-US" sz="700" dirty="0">
                  <a:solidFill>
                    <a:schemeClr val="accent1"/>
                  </a:solidFill>
                  <a:latin typeface="+mn-lt"/>
                  <a:cs typeface="Arial Narrow" pitchFamily="34" charset="0"/>
                </a:rPr>
              </a:br>
              <a:r>
                <a:rPr lang="en-US" sz="700" dirty="0">
                  <a:solidFill>
                    <a:schemeClr val="accent1"/>
                  </a:solidFill>
                  <a:latin typeface="+mn-lt"/>
                  <a:cs typeface="Arial Narrow" pitchFamily="34" charset="0"/>
                </a:rPr>
                <a:t>corridor</a:t>
              </a:r>
            </a:p>
          </p:txBody>
        </p:sp>
        <p:cxnSp>
          <p:nvCxnSpPr>
            <p:cNvPr id="133" name="Straight Connector 132"/>
            <p:cNvCxnSpPr>
              <a:stCxn id="129" idx="3"/>
              <a:endCxn id="38" idx="2"/>
            </p:cNvCxnSpPr>
            <p:nvPr/>
          </p:nvCxnSpPr>
          <p:spPr>
            <a:xfrm flipV="1">
              <a:off x="1948894" y="4901108"/>
              <a:ext cx="131690" cy="304709"/>
            </a:xfrm>
            <a:prstGeom prst="line">
              <a:avLst/>
            </a:prstGeom>
            <a:ln w="19050">
              <a:solidFill>
                <a:srgbClr val="004A48"/>
              </a:solidFill>
              <a:tailEnd type="triangle" w="sm" len="sm"/>
            </a:ln>
          </p:spPr>
          <p:style>
            <a:lnRef idx="2">
              <a:schemeClr val="dk1"/>
            </a:lnRef>
            <a:fillRef idx="0">
              <a:schemeClr val="dk1"/>
            </a:fillRef>
            <a:effectRef idx="1">
              <a:schemeClr val="dk1"/>
            </a:effectRef>
            <a:fontRef idx="minor">
              <a:schemeClr val="tx1"/>
            </a:fontRef>
          </p:style>
        </p:cxnSp>
      </p:grpSp>
      <p:sp>
        <p:nvSpPr>
          <p:cNvPr id="148" name="TextBox 147"/>
          <p:cNvSpPr txBox="1"/>
          <p:nvPr/>
        </p:nvSpPr>
        <p:spPr>
          <a:xfrm>
            <a:off x="1564295" y="3474327"/>
            <a:ext cx="234038" cy="110800"/>
          </a:xfrm>
          <a:prstGeom prst="rect">
            <a:avLst/>
          </a:prstGeom>
          <a:noFill/>
          <a:ln w="9525">
            <a:noFill/>
          </a:ln>
        </p:spPr>
        <p:txBody>
          <a:bodyPr vert="horz" wrap="none" lIns="0" tIns="0" rIns="0" bIns="0" rtlCol="0" anchor="ctr">
            <a:spAutoFit/>
          </a:bodyPr>
          <a:lstStyle/>
          <a:p>
            <a:pPr algn="ctr">
              <a:lnSpc>
                <a:spcPct val="90000"/>
              </a:lnSpc>
              <a:spcBef>
                <a:spcPts val="341"/>
              </a:spcBef>
              <a:buClr>
                <a:srgbClr val="000000"/>
              </a:buClr>
              <a:buSzPct val="100000"/>
            </a:pPr>
            <a:r>
              <a:rPr lang="en-US" sz="800" dirty="0">
                <a:ln w="1905"/>
                <a:gradFill>
                  <a:gsLst>
                    <a:gs pos="0">
                      <a:schemeClr val="accent6">
                        <a:shade val="20000"/>
                        <a:satMod val="200000"/>
                      </a:schemeClr>
                    </a:gs>
                    <a:gs pos="78000">
                      <a:schemeClr val="accent6">
                        <a:tint val="90000"/>
                        <a:shade val="89000"/>
                        <a:satMod val="220000"/>
                      </a:schemeClr>
                    </a:gs>
                    <a:gs pos="100000">
                      <a:schemeClr val="accent6">
                        <a:tint val="12000"/>
                        <a:satMod val="255000"/>
                      </a:schemeClr>
                    </a:gs>
                  </a:gsLst>
                  <a:lin ang="5400000"/>
                </a:gradFill>
                <a:effectLst>
                  <a:innerShdw blurRad="69850" dist="43180" dir="5400000">
                    <a:srgbClr val="000000">
                      <a:alpha val="65000"/>
                    </a:srgbClr>
                  </a:innerShdw>
                </a:effectLst>
                <a:latin typeface="+mn-lt"/>
                <a:cs typeface="Arial Narrow" pitchFamily="34" charset="0"/>
              </a:rPr>
              <a:t>Dawei</a:t>
            </a:r>
          </a:p>
        </p:txBody>
      </p:sp>
      <p:sp>
        <p:nvSpPr>
          <p:cNvPr id="83" name="Oval 82"/>
          <p:cNvSpPr>
            <a:spLocks noChangeAspect="1"/>
          </p:cNvSpPr>
          <p:nvPr/>
        </p:nvSpPr>
        <p:spPr>
          <a:xfrm rot="8020156">
            <a:off x="719254" y="4723981"/>
            <a:ext cx="81000" cy="99692"/>
          </a:xfrm>
          <a:prstGeom prst="ellipse">
            <a:avLst/>
          </a:prstGeom>
          <a:solidFill>
            <a:srgbClr val="0000FF"/>
          </a:solidFill>
          <a:effectLst>
            <a:glow rad="63500">
              <a:schemeClr val="accent1">
                <a:satMod val="175000"/>
                <a:alpha val="40000"/>
              </a:schemeClr>
            </a:glow>
            <a:outerShdw blurRad="40000" dist="23000" dir="5400000" rotWithShape="0">
              <a:srgbClr val="000000">
                <a:alpha val="35000"/>
              </a:srgbClr>
            </a:outerShdw>
          </a:effectLst>
        </p:spPr>
        <p:style>
          <a:lnRef idx="0">
            <a:schemeClr val="accent2"/>
          </a:lnRef>
          <a:fillRef idx="3">
            <a:schemeClr val="accent2"/>
          </a:fillRef>
          <a:effectRef idx="3">
            <a:schemeClr val="accent2"/>
          </a:effectRef>
          <a:fontRef idx="minor">
            <a:schemeClr val="lt1"/>
          </a:fontRef>
        </p:style>
        <p:txBody>
          <a:bodyPr lIns="77925" tIns="38963" rIns="77925" bIns="38963" rtlCol="0" anchor="ctr"/>
          <a:lstStyle/>
          <a:p>
            <a:pPr algn="ctr"/>
            <a:endParaRPr lang="th-TH"/>
          </a:p>
        </p:txBody>
      </p:sp>
      <p:sp>
        <p:nvSpPr>
          <p:cNvPr id="84" name="Source"/>
          <p:cNvSpPr txBox="1"/>
          <p:nvPr/>
        </p:nvSpPr>
        <p:spPr>
          <a:xfrm>
            <a:off x="2149867" y="4714259"/>
            <a:ext cx="860813" cy="110800"/>
          </a:xfrm>
          <a:prstGeom prst="rect">
            <a:avLst/>
          </a:prstGeom>
          <a:noFill/>
          <a:ln w="9525">
            <a:noFill/>
          </a:ln>
        </p:spPr>
        <p:txBody>
          <a:bodyPr vert="horz" wrap="none" lIns="0" tIns="0" rIns="0" bIns="0" rtlCol="0" anchor="b" anchorCtr="0">
            <a:spAutoFit/>
          </a:bodyPr>
          <a:lstStyle/>
          <a:p>
            <a:pPr>
              <a:lnSpc>
                <a:spcPct val="90000"/>
              </a:lnSpc>
              <a:buSzPct val="100000"/>
            </a:pPr>
            <a:r>
              <a:rPr lang="en-US" sz="800" b="0" dirty="0">
                <a:latin typeface="+mn-lt"/>
                <a:sym typeface="+mn-lt"/>
              </a:rPr>
              <a:t>Target  2</a:t>
            </a:r>
            <a:r>
              <a:rPr lang="en-US" sz="800" b="0" baseline="30000" dirty="0">
                <a:latin typeface="+mn-lt"/>
                <a:sym typeface="+mn-lt"/>
              </a:rPr>
              <a:t>nd</a:t>
            </a:r>
            <a:r>
              <a:rPr lang="en-US" sz="800" b="0" dirty="0">
                <a:latin typeface="+mn-lt"/>
                <a:sym typeface="+mn-lt"/>
              </a:rPr>
              <a:t> phase SEZ </a:t>
            </a:r>
          </a:p>
        </p:txBody>
      </p:sp>
      <p:sp>
        <p:nvSpPr>
          <p:cNvPr id="85" name="Oval 84"/>
          <p:cNvSpPr>
            <a:spLocks noChangeAspect="1"/>
          </p:cNvSpPr>
          <p:nvPr/>
        </p:nvSpPr>
        <p:spPr>
          <a:xfrm rot="8020156">
            <a:off x="2017514" y="4730512"/>
            <a:ext cx="81000" cy="99692"/>
          </a:xfrm>
          <a:prstGeom prst="ellipse">
            <a:avLst/>
          </a:prstGeom>
          <a:solidFill>
            <a:srgbClr val="FF0000"/>
          </a:solidFill>
          <a:effectLst>
            <a:glow rad="63500">
              <a:schemeClr val="accent1">
                <a:satMod val="175000"/>
                <a:alpha val="40000"/>
              </a:schemeClr>
            </a:glow>
            <a:outerShdw blurRad="40000" dist="23000" dir="5400000" rotWithShape="0">
              <a:srgbClr val="000000">
                <a:alpha val="35000"/>
              </a:srgbClr>
            </a:outerShdw>
          </a:effectLst>
        </p:spPr>
        <p:style>
          <a:lnRef idx="0">
            <a:schemeClr val="accent2"/>
          </a:lnRef>
          <a:fillRef idx="3">
            <a:schemeClr val="accent2"/>
          </a:fillRef>
          <a:effectRef idx="3">
            <a:schemeClr val="accent2"/>
          </a:effectRef>
          <a:fontRef idx="minor">
            <a:schemeClr val="lt1"/>
          </a:fontRef>
        </p:style>
        <p:txBody>
          <a:bodyPr lIns="77925" tIns="38963" rIns="77925" bIns="38963" rtlCol="0" anchor="ctr"/>
          <a:lstStyle/>
          <a:p>
            <a:pPr algn="ctr"/>
            <a:endParaRPr lang="th-TH"/>
          </a:p>
        </p:txBody>
      </p:sp>
    </p:spTree>
    <p:extLst>
      <p:ext uri="{BB962C8B-B14F-4D97-AF65-F5344CB8AC3E}">
        <p14:creationId xmlns:p14="http://schemas.microsoft.com/office/powerpoint/2010/main" xmlns="" val="3578476616"/>
      </p:ext>
    </p:extLst>
  </p:cSld>
  <p:clrMapOvr>
    <a:masterClrMapping/>
  </p:clrMapOvr>
  <p:transition spd="med">
    <p:fade thruBlk="1"/>
  </p:transition>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2"/>
          <p:cNvSpPr>
            <a:spLocks noGrp="1"/>
          </p:cNvSpPr>
          <p:nvPr>
            <p:ph type="title"/>
          </p:nvPr>
        </p:nvSpPr>
        <p:spPr>
          <a:xfrm>
            <a:off x="388044" y="342695"/>
            <a:ext cx="8431336" cy="560923"/>
          </a:xfrm>
        </p:spPr>
        <p:txBody>
          <a:bodyPr/>
          <a:lstStyle/>
          <a:p>
            <a:r>
              <a:rPr lang="th-TH" sz="2700" b="1" dirty="0">
                <a:latin typeface="TH SarabunPSK" pitchFamily="34" charset="-34"/>
                <a:cs typeface="TH SarabunPSK" pitchFamily="34" charset="-34"/>
              </a:rPr>
              <a:t>รัฐบาลอำนวยความสะดวกการจัดหาที่ดินเพื่อใช้ประโยชน์ในเขตเศรษฐกิจพิเศษ โดยให้หน่วยงานภาครัฐ หรือเอกชน หรือการนิคมอุตสาหกรรมแห่งประเทศไทยเช่า </a:t>
            </a:r>
            <a:r>
              <a:rPr lang="en-US" sz="2700" b="1" dirty="0">
                <a:latin typeface="TH SarabunPSK" pitchFamily="34" charset="-34"/>
                <a:cs typeface="TH SarabunPSK" pitchFamily="34" charset="-34"/>
              </a:rPr>
              <a:t>  </a:t>
            </a:r>
          </a:p>
        </p:txBody>
      </p:sp>
      <p:grpSp>
        <p:nvGrpSpPr>
          <p:cNvPr id="2" name="Group 2"/>
          <p:cNvGrpSpPr/>
          <p:nvPr/>
        </p:nvGrpSpPr>
        <p:grpSpPr>
          <a:xfrm>
            <a:off x="365394" y="1212011"/>
            <a:ext cx="8486819" cy="3618225"/>
            <a:chOff x="395843" y="1616010"/>
            <a:chExt cx="9194054" cy="4824299"/>
          </a:xfrm>
        </p:grpSpPr>
        <p:grpSp>
          <p:nvGrpSpPr>
            <p:cNvPr id="3" name="Group 19"/>
            <p:cNvGrpSpPr/>
            <p:nvPr/>
          </p:nvGrpSpPr>
          <p:grpSpPr>
            <a:xfrm>
              <a:off x="395843" y="1616010"/>
              <a:ext cx="7577157" cy="4824299"/>
              <a:chOff x="282791" y="1771650"/>
              <a:chExt cx="7577157" cy="4824299"/>
            </a:xfrm>
          </p:grpSpPr>
          <p:sp>
            <p:nvSpPr>
              <p:cNvPr id="12" name="Rectangle 11"/>
              <p:cNvSpPr/>
              <p:nvPr/>
            </p:nvSpPr>
            <p:spPr>
              <a:xfrm>
                <a:off x="1785140" y="1985338"/>
                <a:ext cx="6074808" cy="1894535"/>
              </a:xfrm>
              <a:prstGeom prst="rect">
                <a:avLst/>
              </a:prstGeom>
            </p:spPr>
            <p:txBody>
              <a:bodyPr wrap="square">
                <a:spAutoFit/>
              </a:bodyPr>
              <a:lstStyle/>
              <a:p>
                <a:pPr marL="173167" indent="-173167" defTabSz="854710">
                  <a:lnSpc>
                    <a:spcPct val="90000"/>
                  </a:lnSpc>
                  <a:spcBef>
                    <a:spcPts val="511"/>
                  </a:spcBef>
                  <a:spcAft>
                    <a:spcPct val="35000"/>
                  </a:spcAft>
                </a:pPr>
                <a:r>
                  <a:rPr lang="en-US" sz="1500" b="0" dirty="0">
                    <a:latin typeface="TH SarabunPSK" pitchFamily="34" charset="-34"/>
                    <a:cs typeface="TH SarabunPSK" pitchFamily="34" charset="-34"/>
                  </a:rPr>
                  <a:t>&lt;</a:t>
                </a:r>
                <a:r>
                  <a:rPr lang="en-US" sz="1500" dirty="0">
                    <a:latin typeface="TH SarabunPSK" pitchFamily="34" charset="-34"/>
                    <a:cs typeface="TH SarabunPSK" pitchFamily="34" charset="-34"/>
                  </a:rPr>
                  <a:t>  </a:t>
                </a:r>
                <a:r>
                  <a:rPr lang="th-TH" sz="1500" b="0" spc="26" dirty="0">
                    <a:latin typeface="TH SarabunPSK" pitchFamily="34" charset="-34"/>
                    <a:ea typeface="Cordia New"/>
                    <a:cs typeface="TH SarabunPSK" pitchFamily="34" charset="-34"/>
                  </a:rPr>
                  <a:t>รัฐบาลได้จัดหาที่ดินของรัฐสำหรับใช้ประโยชน์ในเขตเศรษฐกิจพิเศษ เพื่อแก้ปัญหาราคาที่ดินที่เพิ่มสูงจากการเก็งกำไรที่ดิน </a:t>
                </a:r>
                <a:r>
                  <a:rPr lang="en-US" sz="1500" b="0" spc="26" dirty="0">
                    <a:latin typeface="TH SarabunPSK" pitchFamily="34" charset="-34"/>
                    <a:ea typeface="Cordia New"/>
                    <a:cs typeface="TH SarabunPSK" pitchFamily="34" charset="-34"/>
                  </a:rPr>
                  <a:t> </a:t>
                </a:r>
              </a:p>
              <a:p>
                <a:pPr marL="173167" indent="-173167" defTabSz="854710">
                  <a:lnSpc>
                    <a:spcPct val="90000"/>
                  </a:lnSpc>
                  <a:spcBef>
                    <a:spcPts val="511"/>
                  </a:spcBef>
                  <a:spcAft>
                    <a:spcPct val="35000"/>
                  </a:spcAft>
                </a:pPr>
                <a:r>
                  <a:rPr lang="en-US" sz="1500" b="0" spc="26" dirty="0">
                    <a:latin typeface="TH SarabunPSK" pitchFamily="34" charset="-34"/>
                    <a:ea typeface="Cordia New"/>
                    <a:cs typeface="TH SarabunPSK" pitchFamily="34" charset="-34"/>
                  </a:rPr>
                  <a:t>&lt;  </a:t>
                </a:r>
                <a:r>
                  <a:rPr lang="th-TH" sz="1500" b="0" spc="26" dirty="0">
                    <a:latin typeface="TH SarabunPSK" pitchFamily="34" charset="-34"/>
                    <a:ea typeface="Cordia New"/>
                    <a:cs typeface="TH SarabunPSK" pitchFamily="34" charset="-34"/>
                  </a:rPr>
                  <a:t>ที่ดินของรัฐบางส่วนใน </a:t>
                </a:r>
                <a:r>
                  <a:rPr lang="en-US" sz="1500" b="0" spc="26" dirty="0">
                    <a:latin typeface="TH SarabunPSK" pitchFamily="34" charset="-34"/>
                    <a:ea typeface="Cordia New"/>
                    <a:cs typeface="TH SarabunPSK" pitchFamily="34" charset="-34"/>
                  </a:rPr>
                  <a:t>6 </a:t>
                </a:r>
                <a:r>
                  <a:rPr lang="th-TH" sz="1500" b="0" spc="26" dirty="0">
                    <a:latin typeface="TH SarabunPSK" pitchFamily="34" charset="-34"/>
                    <a:ea typeface="Cordia New"/>
                    <a:cs typeface="TH SarabunPSK" pitchFamily="34" charset="-34"/>
                  </a:rPr>
                  <a:t>เขตเศรษฐกิจพิเศษ ได้แก่ ตาก สระแก้ว ตราด มุกดาหาร สงขลา และหนองคาย ได้ถูกเพิกถอนสภาพและโอนมาเป็นกรรมสิทธิ์ของกรมธนารักษ์เพื่อบริหารจัดการการให้เช่า</a:t>
                </a:r>
                <a:endParaRPr lang="en-US" sz="1500" b="0" dirty="0">
                  <a:latin typeface="TH SarabunPSK" pitchFamily="34" charset="-34"/>
                  <a:cs typeface="TH SarabunPSK" pitchFamily="34" charset="-34"/>
                </a:endParaRPr>
              </a:p>
              <a:p>
                <a:pPr marL="173167" indent="-173167" defTabSz="854710">
                  <a:lnSpc>
                    <a:spcPct val="90000"/>
                  </a:lnSpc>
                  <a:spcBef>
                    <a:spcPts val="511"/>
                  </a:spcBef>
                  <a:spcAft>
                    <a:spcPct val="35000"/>
                  </a:spcAft>
                </a:pPr>
                <a:r>
                  <a:rPr lang="en-US" sz="1500" b="0" spc="26" dirty="0">
                    <a:latin typeface="TH SarabunPSK" pitchFamily="34" charset="-34"/>
                    <a:ea typeface="Cordia New"/>
                    <a:cs typeface="TH SarabunPSK" pitchFamily="34" charset="-34"/>
                  </a:rPr>
                  <a:t>&lt;  </a:t>
                </a:r>
                <a:r>
                  <a:rPr lang="th-TH" sz="1500" b="0" spc="26" dirty="0">
                    <a:latin typeface="TH SarabunPSK" pitchFamily="34" charset="-34"/>
                    <a:ea typeface="Cordia New"/>
                    <a:cs typeface="TH SarabunPSK" pitchFamily="34" charset="-34"/>
                  </a:rPr>
                  <a:t>กรมธนารักษ์เป็นผู้กำหนดหลักเกณฑ์การเช่า และอยู่ระหว่างพิจารณาอัตราค่าเช่าที่เหมาะสมต่อไป </a:t>
                </a:r>
                <a:endParaRPr lang="en-US" sz="1500" b="0" dirty="0">
                  <a:latin typeface="TH SarabunPSK" pitchFamily="34" charset="-34"/>
                  <a:cs typeface="TH SarabunPSK" pitchFamily="34" charset="-34"/>
                </a:endParaRPr>
              </a:p>
            </p:txBody>
          </p:sp>
          <p:sp>
            <p:nvSpPr>
              <p:cNvPr id="13" name="Rectangle 12"/>
              <p:cNvSpPr/>
              <p:nvPr/>
            </p:nvSpPr>
            <p:spPr>
              <a:xfrm>
                <a:off x="1770436" y="4639859"/>
                <a:ext cx="5992236" cy="1956090"/>
              </a:xfrm>
              <a:prstGeom prst="rect">
                <a:avLst/>
              </a:prstGeom>
            </p:spPr>
            <p:txBody>
              <a:bodyPr wrap="square">
                <a:spAutoFit/>
              </a:bodyPr>
              <a:lstStyle/>
              <a:p>
                <a:pPr marL="173167" indent="-173167" defTabSz="854710">
                  <a:lnSpc>
                    <a:spcPct val="90000"/>
                  </a:lnSpc>
                  <a:spcBef>
                    <a:spcPts val="511"/>
                  </a:spcBef>
                  <a:spcAft>
                    <a:spcPts val="0"/>
                  </a:spcAft>
                </a:pPr>
                <a:r>
                  <a:rPr lang="en-US" sz="1500" b="0" dirty="0">
                    <a:latin typeface="TH SarabunPSK" pitchFamily="34" charset="-34"/>
                    <a:cs typeface="TH SarabunPSK" pitchFamily="34" charset="-34"/>
                  </a:rPr>
                  <a:t>&lt;</a:t>
                </a:r>
                <a:r>
                  <a:rPr lang="en-US" sz="1500" dirty="0">
                    <a:latin typeface="TH SarabunPSK" pitchFamily="34" charset="-34"/>
                    <a:cs typeface="TH SarabunPSK" pitchFamily="34" charset="-34"/>
                  </a:rPr>
                  <a:t> </a:t>
                </a:r>
                <a:r>
                  <a:rPr lang="th-TH" sz="1500" dirty="0">
                    <a:latin typeface="TH SarabunPSK" pitchFamily="34" charset="-34"/>
                    <a:cs typeface="TH SarabunPSK" pitchFamily="34" charset="-34"/>
                  </a:rPr>
                  <a:t>  </a:t>
                </a:r>
                <a:r>
                  <a:rPr lang="th-TH" sz="1500" b="0" dirty="0">
                    <a:latin typeface="TH SarabunPSK" pitchFamily="34" charset="-34"/>
                    <a:cs typeface="TH SarabunPSK" pitchFamily="34" charset="-34"/>
                  </a:rPr>
                  <a:t>สิ</a:t>
                </a:r>
                <a:r>
                  <a:rPr lang="th-TH" sz="1500" b="0" spc="26" dirty="0">
                    <a:latin typeface="TH SarabunPSK" pitchFamily="34" charset="-34"/>
                    <a:ea typeface="Cordia New"/>
                    <a:cs typeface="TH SarabunPSK" pitchFamily="34" charset="-34"/>
                  </a:rPr>
                  <a:t>ทธิในการเช่าอสังหาริมทรัพย์เพื่อพาณิชยกรรมและอุตสาหกรรมเกินกว่า </a:t>
                </a:r>
                <a:r>
                  <a:rPr lang="en-US" sz="1500" b="0" spc="26" dirty="0">
                    <a:latin typeface="TH SarabunPSK" pitchFamily="34" charset="-34"/>
                    <a:ea typeface="Cordia New"/>
                    <a:cs typeface="TH SarabunPSK" pitchFamily="34" charset="-34"/>
                  </a:rPr>
                  <a:t>30 </a:t>
                </a:r>
                <a:r>
                  <a:rPr lang="th-TH" sz="1500" b="0" spc="26" dirty="0">
                    <a:latin typeface="TH SarabunPSK" pitchFamily="34" charset="-34"/>
                    <a:ea typeface="Cordia New"/>
                    <a:cs typeface="TH SarabunPSK" pitchFamily="34" charset="-34"/>
                  </a:rPr>
                  <a:t>ปี แต่ไม่เกิน </a:t>
                </a:r>
                <a:r>
                  <a:rPr lang="en-US" sz="1500" b="0" spc="26" dirty="0">
                    <a:latin typeface="TH SarabunPSK" pitchFamily="34" charset="-34"/>
                    <a:ea typeface="Cordia New"/>
                    <a:cs typeface="TH SarabunPSK" pitchFamily="34" charset="-34"/>
                  </a:rPr>
                  <a:t> </a:t>
                </a:r>
                <a:br>
                  <a:rPr lang="en-US" sz="1500" b="0" spc="26" dirty="0">
                    <a:latin typeface="TH SarabunPSK" pitchFamily="34" charset="-34"/>
                    <a:ea typeface="Cordia New"/>
                    <a:cs typeface="TH SarabunPSK" pitchFamily="34" charset="-34"/>
                  </a:rPr>
                </a:br>
                <a:r>
                  <a:rPr lang="en-US" sz="1500" b="0" spc="26" dirty="0">
                    <a:latin typeface="TH SarabunPSK" pitchFamily="34" charset="-34"/>
                    <a:ea typeface="Cordia New"/>
                    <a:cs typeface="TH SarabunPSK" pitchFamily="34" charset="-34"/>
                  </a:rPr>
                  <a:t> 50 </a:t>
                </a:r>
                <a:r>
                  <a:rPr lang="th-TH" sz="1500" b="0" spc="26" dirty="0">
                    <a:latin typeface="TH SarabunPSK" pitchFamily="34" charset="-34"/>
                    <a:ea typeface="Cordia New"/>
                    <a:cs typeface="TH SarabunPSK" pitchFamily="34" charset="-34"/>
                  </a:rPr>
                  <a:t>ปี กรณีครบกำหนดสัญญาแล้วสามารถต่อระยะเวลาการเช่าได้อีกมีกำหนดไม่เกิน </a:t>
                </a:r>
                <a:r>
                  <a:rPr lang="en-US" sz="1500" b="0" spc="26" dirty="0">
                    <a:latin typeface="TH SarabunPSK" pitchFamily="34" charset="-34"/>
                    <a:ea typeface="Cordia New"/>
                    <a:cs typeface="TH SarabunPSK" pitchFamily="34" charset="-34"/>
                  </a:rPr>
                  <a:t>50 </a:t>
                </a:r>
                <a:r>
                  <a:rPr lang="th-TH" sz="1500" b="0" spc="26" dirty="0">
                    <a:latin typeface="TH SarabunPSK" pitchFamily="34" charset="-34"/>
                    <a:ea typeface="Cordia New"/>
                    <a:cs typeface="TH SarabunPSK" pitchFamily="34" charset="-34"/>
                  </a:rPr>
                  <a:t>ปี </a:t>
                </a:r>
                <a:endParaRPr lang="en-US" sz="1500" b="0" spc="26" dirty="0">
                  <a:latin typeface="TH SarabunPSK" pitchFamily="34" charset="-34"/>
                  <a:ea typeface="Cordia New"/>
                  <a:cs typeface="TH SarabunPSK" pitchFamily="34" charset="-34"/>
                </a:endParaRPr>
              </a:p>
              <a:p>
                <a:pPr marL="173167" indent="-173167" defTabSz="854710">
                  <a:lnSpc>
                    <a:spcPct val="90000"/>
                  </a:lnSpc>
                  <a:spcBef>
                    <a:spcPts val="511"/>
                  </a:spcBef>
                  <a:spcAft>
                    <a:spcPts val="0"/>
                  </a:spcAft>
                </a:pPr>
                <a:r>
                  <a:rPr lang="en-US" sz="1500" b="0" spc="26" dirty="0">
                    <a:latin typeface="TH SarabunPSK" pitchFamily="34" charset="-34"/>
                    <a:ea typeface="Cordia New"/>
                    <a:cs typeface="TH SarabunPSK" pitchFamily="34" charset="-34"/>
                  </a:rPr>
                  <a:t>&lt;  </a:t>
                </a:r>
                <a:r>
                  <a:rPr lang="th-TH" sz="1500" b="0" spc="26" dirty="0">
                    <a:latin typeface="TH SarabunPSK" pitchFamily="34" charset="-34"/>
                    <a:ea typeface="Cordia New"/>
                    <a:cs typeface="TH SarabunPSK" pitchFamily="34" charset="-34"/>
                  </a:rPr>
                  <a:t>กรณีได้ </a:t>
                </a:r>
                <a:r>
                  <a:rPr lang="en-US" sz="1500" b="0" spc="26" dirty="0">
                    <a:latin typeface="TH SarabunPSK" pitchFamily="34" charset="-34"/>
                    <a:ea typeface="Cordia New"/>
                    <a:cs typeface="TH SarabunPSK" pitchFamily="34" charset="-34"/>
                  </a:rPr>
                  <a:t>BOI </a:t>
                </a:r>
                <a:r>
                  <a:rPr lang="th-TH" sz="1500" b="0" spc="26" dirty="0">
                    <a:latin typeface="TH SarabunPSK" pitchFamily="34" charset="-34"/>
                    <a:ea typeface="Cordia New"/>
                    <a:cs typeface="TH SarabunPSK" pitchFamily="34" charset="-34"/>
                  </a:rPr>
                  <a:t>พ.ร.บ. ส่งเสริมการลงทุน พ.ศ. </a:t>
                </a:r>
                <a:r>
                  <a:rPr lang="en-US" sz="1500" b="0" spc="26" dirty="0">
                    <a:latin typeface="TH SarabunPSK" pitchFamily="34" charset="-34"/>
                    <a:ea typeface="Cordia New"/>
                    <a:cs typeface="TH SarabunPSK" pitchFamily="34" charset="-34"/>
                  </a:rPr>
                  <a:t>2520 </a:t>
                </a:r>
                <a:r>
                  <a:rPr lang="th-TH" sz="1500" b="0" spc="26" dirty="0">
                    <a:latin typeface="TH SarabunPSK" pitchFamily="34" charset="-34"/>
                    <a:ea typeface="Cordia New"/>
                    <a:cs typeface="TH SarabunPSK" pitchFamily="34" charset="-34"/>
                  </a:rPr>
                  <a:t>ให้นักลงทุนสามารถถือกรรมสิทธิ์ที่ดินเพื่อประกอบกิจการที่ได้รับการส่งเสริมฯ ตามจำนวนที่คณะกรรมการส่งเสริมการลงทุนกำหนด</a:t>
                </a:r>
                <a:r>
                  <a:rPr lang="en-US" sz="1500" b="0" spc="26" dirty="0">
                    <a:latin typeface="TH SarabunPSK" pitchFamily="34" charset="-34"/>
                    <a:ea typeface="Cordia New"/>
                    <a:cs typeface="TH SarabunPSK" pitchFamily="34" charset="-34"/>
                  </a:rPr>
                  <a:t> </a:t>
                </a:r>
              </a:p>
              <a:p>
                <a:pPr marL="173167" indent="-173167" defTabSz="854710">
                  <a:lnSpc>
                    <a:spcPct val="90000"/>
                  </a:lnSpc>
                  <a:spcBef>
                    <a:spcPts val="511"/>
                  </a:spcBef>
                  <a:spcAft>
                    <a:spcPts val="0"/>
                  </a:spcAft>
                </a:pPr>
                <a:r>
                  <a:rPr lang="en-US" sz="1500" b="0" spc="26" dirty="0">
                    <a:latin typeface="TH SarabunPSK" pitchFamily="34" charset="-34"/>
                    <a:ea typeface="Cordia New"/>
                    <a:cs typeface="TH SarabunPSK" pitchFamily="34" charset="-34"/>
                  </a:rPr>
                  <a:t>&lt;	</a:t>
                </a:r>
                <a:r>
                  <a:rPr lang="th-TH" sz="1500" b="0" spc="26" dirty="0">
                    <a:latin typeface="TH SarabunPSK" pitchFamily="34" charset="-34"/>
                    <a:ea typeface="Cordia New"/>
                    <a:cs typeface="TH SarabunPSK" pitchFamily="34" charset="-34"/>
                  </a:rPr>
                  <a:t>โดยหากเลิกหรือโอนกิจการให้ผู้อื่น ผู้ได้รับการส่งเสริมฯ ต้องจำหน่ายที่ดินนั้นภายใน </a:t>
                </a:r>
                <a:r>
                  <a:rPr lang="en-US" sz="1500" b="0" spc="26" dirty="0">
                    <a:latin typeface="TH SarabunPSK" pitchFamily="34" charset="-34"/>
                    <a:ea typeface="Cordia New"/>
                    <a:cs typeface="TH SarabunPSK" pitchFamily="34" charset="-34"/>
                  </a:rPr>
                  <a:t>1 </a:t>
                </a:r>
                <a:r>
                  <a:rPr lang="th-TH" sz="1500" b="0" spc="26" dirty="0">
                    <a:latin typeface="TH SarabunPSK" pitchFamily="34" charset="-34"/>
                    <a:ea typeface="Cordia New"/>
                    <a:cs typeface="TH SarabunPSK" pitchFamily="34" charset="-34"/>
                  </a:rPr>
                  <a:t>ปี  นับตั้งแต่วันที่เลิกหรือโอนกิจการ</a:t>
                </a:r>
                <a:endParaRPr lang="en-US" sz="1500" b="0" spc="26" dirty="0">
                  <a:latin typeface="TH SarabunPSK" pitchFamily="34" charset="-34"/>
                  <a:ea typeface="Cordia New"/>
                  <a:cs typeface="TH SarabunPSK" pitchFamily="34" charset="-34"/>
                </a:endParaRPr>
              </a:p>
            </p:txBody>
          </p:sp>
          <p:cxnSp>
            <p:nvCxnSpPr>
              <p:cNvPr id="14" name="Horizontal Line"/>
              <p:cNvCxnSpPr>
                <a:cxnSpLocks/>
              </p:cNvCxnSpPr>
              <p:nvPr/>
            </p:nvCxnSpPr>
            <p:spPr>
              <a:xfrm flipV="1">
                <a:off x="309558" y="1771650"/>
                <a:ext cx="7491417" cy="7437"/>
              </a:xfrm>
              <a:prstGeom prst="line">
                <a:avLst/>
              </a:prstGeom>
              <a:ln w="22225">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16" name="Horizontal Line"/>
              <p:cNvCxnSpPr>
                <a:cxnSpLocks/>
              </p:cNvCxnSpPr>
              <p:nvPr/>
            </p:nvCxnSpPr>
            <p:spPr>
              <a:xfrm flipV="1">
                <a:off x="347658" y="4210050"/>
                <a:ext cx="7491417" cy="7437"/>
              </a:xfrm>
              <a:prstGeom prst="line">
                <a:avLst/>
              </a:prstGeom>
              <a:ln w="22225">
                <a:solidFill>
                  <a:schemeClr val="accent3"/>
                </a:solidFill>
              </a:ln>
              <a:effectLst/>
            </p:spPr>
            <p:style>
              <a:lnRef idx="1">
                <a:schemeClr val="accent1"/>
              </a:lnRef>
              <a:fillRef idx="0">
                <a:schemeClr val="accent1"/>
              </a:fillRef>
              <a:effectRef idx="0">
                <a:schemeClr val="accent1"/>
              </a:effectRef>
              <a:fontRef idx="minor">
                <a:schemeClr val="tx1"/>
              </a:fontRef>
            </p:style>
          </p:cxnSp>
          <p:sp>
            <p:nvSpPr>
              <p:cNvPr id="17" name="Rectangle 16"/>
              <p:cNvSpPr/>
              <p:nvPr/>
            </p:nvSpPr>
            <p:spPr>
              <a:xfrm>
                <a:off x="301016" y="1914524"/>
                <a:ext cx="1470634" cy="2200276"/>
              </a:xfrm>
              <a:prstGeom prst="rect">
                <a:avLst/>
              </a:prstGeom>
              <a:solidFill>
                <a:schemeClr val="accent6">
                  <a:lumMod val="50000"/>
                </a:schemeClr>
              </a:solidFill>
              <a:ln w="9525">
                <a:solidFill>
                  <a:schemeClr val="accent3"/>
                </a:solidFill>
              </a:ln>
              <a:effectLst/>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p>
                <a:pPr>
                  <a:lnSpc>
                    <a:spcPct val="90000"/>
                  </a:lnSpc>
                  <a:spcBef>
                    <a:spcPts val="341"/>
                  </a:spcBef>
                </a:pPr>
                <a:r>
                  <a:rPr lang="th-TH" sz="2400" dirty="0">
                    <a:solidFill>
                      <a:schemeClr val="bg1"/>
                    </a:solidFill>
                    <a:latin typeface="TH SarabunPSK" pitchFamily="34" charset="-34"/>
                    <a:cs typeface="TH SarabunPSK" pitchFamily="34" charset="-34"/>
                  </a:rPr>
                  <a:t>การจัดหาที่ดิน</a:t>
                </a:r>
              </a:p>
            </p:txBody>
          </p:sp>
          <p:sp>
            <p:nvSpPr>
              <p:cNvPr id="18" name="Rectangle 17"/>
              <p:cNvSpPr/>
              <p:nvPr/>
            </p:nvSpPr>
            <p:spPr>
              <a:xfrm>
                <a:off x="282791" y="4314826"/>
                <a:ext cx="1460284" cy="2280528"/>
              </a:xfrm>
              <a:prstGeom prst="rect">
                <a:avLst/>
              </a:prstGeom>
              <a:solidFill>
                <a:schemeClr val="accent6">
                  <a:lumMod val="50000"/>
                </a:schemeClr>
              </a:solidFill>
              <a:ln w="9525">
                <a:solidFill>
                  <a:schemeClr val="accent3"/>
                </a:solidFill>
              </a:ln>
              <a:effectLst/>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p>
                <a:pPr>
                  <a:lnSpc>
                    <a:spcPct val="90000"/>
                  </a:lnSpc>
                  <a:spcBef>
                    <a:spcPts val="341"/>
                  </a:spcBef>
                </a:pPr>
                <a:r>
                  <a:rPr lang="th-TH" sz="2400" dirty="0">
                    <a:solidFill>
                      <a:schemeClr val="bg1"/>
                    </a:solidFill>
                    <a:latin typeface="TH SarabunPSK" pitchFamily="34" charset="-34"/>
                    <a:cs typeface="TH SarabunPSK" pitchFamily="34" charset="-34"/>
                  </a:rPr>
                  <a:t>การเช่าที่ดินของคนต่างชาติ </a:t>
                </a:r>
                <a:br>
                  <a:rPr lang="th-TH" sz="2400" dirty="0">
                    <a:solidFill>
                      <a:schemeClr val="bg1"/>
                    </a:solidFill>
                    <a:latin typeface="TH SarabunPSK" pitchFamily="34" charset="-34"/>
                    <a:cs typeface="TH SarabunPSK" pitchFamily="34" charset="-34"/>
                  </a:rPr>
                </a:br>
                <a:endParaRPr lang="th-TH" sz="2400" dirty="0">
                  <a:solidFill>
                    <a:schemeClr val="bg1"/>
                  </a:solidFill>
                  <a:latin typeface="TH SarabunPSK" pitchFamily="34" charset="-34"/>
                  <a:cs typeface="TH SarabunPSK" pitchFamily="34" charset="-34"/>
                </a:endParaRPr>
              </a:p>
            </p:txBody>
          </p:sp>
        </p:grpSp>
        <p:pic>
          <p:nvPicPr>
            <p:cNvPr id="15" name="Picture 2" descr="Myanmar Implements New Special Economic Zone to Boost Trade with China"/>
            <p:cNvPicPr>
              <a:picLocks noChangeAspect="1" noChangeArrowheads="1"/>
            </p:cNvPicPr>
            <p:nvPr/>
          </p:nvPicPr>
          <p:blipFill rotWithShape="1">
            <a:blip r:embed="rId2" cstate="print">
              <a:extLst>
                <a:ext uri="{28A0092B-C50C-407E-A947-70E740481C1C}">
                  <a14:useLocalDpi xmlns:a14="http://schemas.microsoft.com/office/drawing/2010/main" xmlns="" val="0"/>
                </a:ext>
              </a:extLst>
            </a:blip>
            <a:srcRect l="14466" t="3170"/>
            <a:stretch/>
          </p:blipFill>
          <p:spPr bwMode="auto">
            <a:xfrm>
              <a:off x="8003887" y="3514162"/>
              <a:ext cx="1586010" cy="1036666"/>
            </a:xfrm>
            <a:prstGeom prst="rect">
              <a:avLst/>
            </a:prstGeom>
            <a:noFill/>
            <a:extLst>
              <a:ext uri="{909E8E84-426E-40DD-AFC4-6F175D3DCCD1}">
                <a14:hiddenFill xmlns:a14="http://schemas.microsoft.com/office/drawing/2010/main" xmlns="">
                  <a:solidFill>
                    <a:srgbClr val="FFFFFF"/>
                  </a:solidFill>
                </a14:hiddenFill>
              </a:ext>
            </a:extLst>
          </p:spPr>
        </p:pic>
        <p:pic>
          <p:nvPicPr>
            <p:cNvPr id="21" name="Picture 20" descr="images.jpg"/>
            <p:cNvPicPr>
              <a:picLocks noChangeAspect="1"/>
            </p:cNvPicPr>
            <p:nvPr/>
          </p:nvPicPr>
          <p:blipFill rotWithShape="1">
            <a:blip r:embed="rId3" cstate="print"/>
            <a:srcRect b="9351"/>
            <a:stretch/>
          </p:blipFill>
          <p:spPr>
            <a:xfrm>
              <a:off x="7965110" y="4916658"/>
              <a:ext cx="1606858" cy="1089694"/>
            </a:xfrm>
            <a:prstGeom prst="rect">
              <a:avLst/>
            </a:prstGeom>
            <a:noFill/>
          </p:spPr>
        </p:pic>
      </p:grpSp>
      <p:pic>
        <p:nvPicPr>
          <p:cNvPr id="22" name="rg_hi" descr="http://t1.gstatic.com/images?q=tbn:ANd9GcRUDkLlOEUMtrgE5mevFmWsaOm1rxnm9hJsU2dF9hsUsRDrUhEq0A"/>
          <p:cNvPicPr/>
          <p:nvPr/>
        </p:nvPicPr>
        <p:blipFill>
          <a:blip r:embed="rId4" cstate="print"/>
          <a:srcRect/>
          <a:stretch>
            <a:fillRect/>
          </a:stretch>
        </p:blipFill>
        <p:spPr bwMode="auto">
          <a:xfrm>
            <a:off x="7371666" y="1513421"/>
            <a:ext cx="1464009" cy="799474"/>
          </a:xfrm>
          <a:prstGeom prst="rect">
            <a:avLst/>
          </a:prstGeom>
          <a:noFill/>
        </p:spPr>
      </p:pic>
      <p:sp>
        <p:nvSpPr>
          <p:cNvPr id="19" name="Rectangle 18"/>
          <p:cNvSpPr/>
          <p:nvPr/>
        </p:nvSpPr>
        <p:spPr>
          <a:xfrm>
            <a:off x="1792302" y="3087226"/>
            <a:ext cx="5517589" cy="340297"/>
          </a:xfrm>
          <a:prstGeom prst="rect">
            <a:avLst/>
          </a:prstGeom>
        </p:spPr>
        <p:txBody>
          <a:bodyPr wrap="square" lIns="77925" tIns="38963" rIns="77925" bIns="38963">
            <a:spAutoFit/>
          </a:bodyPr>
          <a:lstStyle/>
          <a:p>
            <a:r>
              <a:rPr lang="th-TH" sz="1700" spc="26" dirty="0">
                <a:latin typeface="TH SarabunPSK" pitchFamily="34" charset="-34"/>
                <a:ea typeface="Cordia New"/>
                <a:cs typeface="TH SarabunPSK" pitchFamily="34" charset="-34"/>
              </a:rPr>
              <a:t>ตาม พ.ร.บ. เช่าที่ดินเพื่อพาณิชยกรรมและอุตสาหกรรม พ.ศ.</a:t>
            </a:r>
            <a:r>
              <a:rPr lang="en-US" sz="1700" spc="26" dirty="0">
                <a:latin typeface="TH SarabunPSK" pitchFamily="34" charset="-34"/>
                <a:ea typeface="Cordia New"/>
                <a:cs typeface="TH SarabunPSK" pitchFamily="34" charset="-34"/>
              </a:rPr>
              <a:t>2542</a:t>
            </a:r>
            <a:r>
              <a:rPr lang="th-TH" sz="1700" spc="26" dirty="0">
                <a:latin typeface="TH SarabunPSK" pitchFamily="34" charset="-34"/>
                <a:ea typeface="Cordia New"/>
                <a:cs typeface="TH SarabunPSK" pitchFamily="34" charset="-34"/>
              </a:rPr>
              <a:t> </a:t>
            </a:r>
          </a:p>
        </p:txBody>
      </p:sp>
    </p:spTree>
    <p:extLst>
      <p:ext uri="{BB962C8B-B14F-4D97-AF65-F5344CB8AC3E}">
        <p14:creationId xmlns:p14="http://schemas.microsoft.com/office/powerpoint/2010/main" xmlns="" val="1006978098"/>
      </p:ext>
    </p:extLst>
  </p:cSld>
  <p:clrMapOvr>
    <a:masterClrMapping/>
  </p:clrMapOvr>
  <p:transition spd="med">
    <p:fade thruBlk="1"/>
  </p:transition>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2"/>
          <p:cNvSpPr>
            <a:spLocks noGrp="1"/>
          </p:cNvSpPr>
          <p:nvPr>
            <p:ph type="title"/>
          </p:nvPr>
        </p:nvSpPr>
        <p:spPr>
          <a:xfrm>
            <a:off x="724883" y="123481"/>
            <a:ext cx="8618006" cy="560923"/>
          </a:xfrm>
        </p:spPr>
        <p:txBody>
          <a:bodyPr/>
          <a:lstStyle/>
          <a:p>
            <a:r>
              <a:rPr lang="th-TH" sz="2700" b="1" dirty="0">
                <a:latin typeface="TH SarabunPSK" pitchFamily="34" charset="-34"/>
                <a:cs typeface="TH SarabunPSK" pitchFamily="34" charset="-34"/>
              </a:rPr>
              <a:t>รัฐบาลเตรียมแผนพัฒนาโครงสร้างพื้นฐาน การบริหารจัดการแรงงานต่างด้าว </a:t>
            </a:r>
            <a:br>
              <a:rPr lang="th-TH" sz="2700" b="1" dirty="0">
                <a:latin typeface="TH SarabunPSK" pitchFamily="34" charset="-34"/>
                <a:cs typeface="TH SarabunPSK" pitchFamily="34" charset="-34"/>
              </a:rPr>
            </a:br>
            <a:r>
              <a:rPr lang="th-TH" sz="2700" b="1" dirty="0">
                <a:latin typeface="TH SarabunPSK" pitchFamily="34" charset="-34"/>
                <a:cs typeface="TH SarabunPSK" pitchFamily="34" charset="-34"/>
              </a:rPr>
              <a:t>และศูนย์บริการเบ็ดเสร็จ เพื่อสนับสนุนการพัฒนาเขตเศรษฐกิจพิเศษ </a:t>
            </a:r>
            <a:r>
              <a:rPr lang="en-US" sz="2700" b="1" dirty="0">
                <a:latin typeface="TH SarabunPSK" pitchFamily="34" charset="-34"/>
                <a:cs typeface="TH SarabunPSK" pitchFamily="34" charset="-34"/>
              </a:rPr>
              <a:t> </a:t>
            </a:r>
          </a:p>
        </p:txBody>
      </p:sp>
      <p:grpSp>
        <p:nvGrpSpPr>
          <p:cNvPr id="4" name="Group 3"/>
          <p:cNvGrpSpPr/>
          <p:nvPr/>
        </p:nvGrpSpPr>
        <p:grpSpPr>
          <a:xfrm>
            <a:off x="326431" y="985737"/>
            <a:ext cx="8767794" cy="4110859"/>
            <a:chOff x="344056" y="1681309"/>
            <a:chExt cx="9498444" cy="5481144"/>
          </a:xfrm>
        </p:grpSpPr>
        <p:sp>
          <p:nvSpPr>
            <p:cNvPr id="8" name="Rectangle 7"/>
            <p:cNvSpPr/>
            <p:nvPr/>
          </p:nvSpPr>
          <p:spPr>
            <a:xfrm>
              <a:off x="344056" y="1735729"/>
              <a:ext cx="3931920" cy="5113646"/>
            </a:xfrm>
            <a:prstGeom prst="rect">
              <a:avLst/>
            </a:prstGeom>
            <a:solidFill>
              <a:schemeClr val="bg1">
                <a:lumMod val="85000"/>
              </a:schemeClr>
            </a:solidFill>
            <a:ln w="9525">
              <a:noFill/>
            </a:ln>
            <a:effectLst/>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p>
              <a:pPr>
                <a:lnSpc>
                  <a:spcPct val="90000"/>
                </a:lnSpc>
                <a:spcBef>
                  <a:spcPts val="341"/>
                </a:spcBef>
              </a:pPr>
              <a:endParaRPr lang="th-TH" sz="1300" b="0" dirty="0"/>
            </a:p>
          </p:txBody>
        </p:sp>
        <p:sp>
          <p:nvSpPr>
            <p:cNvPr id="15" name="Rectangle 14"/>
            <p:cNvSpPr/>
            <p:nvPr/>
          </p:nvSpPr>
          <p:spPr>
            <a:xfrm>
              <a:off x="4438316" y="1738251"/>
              <a:ext cx="249798" cy="2760904"/>
            </a:xfrm>
            <a:prstGeom prst="rect">
              <a:avLst/>
            </a:prstGeom>
            <a:solidFill>
              <a:schemeClr val="accent6">
                <a:lumMod val="20000"/>
                <a:lumOff val="80000"/>
              </a:schemeClr>
            </a:solidFill>
            <a:ln w="9525">
              <a:noFill/>
            </a:ln>
            <a:effectLst/>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p>
              <a:pPr>
                <a:lnSpc>
                  <a:spcPct val="90000"/>
                </a:lnSpc>
                <a:spcBef>
                  <a:spcPts val="341"/>
                </a:spcBef>
              </a:pPr>
              <a:endParaRPr lang="th-TH" sz="1300" b="0" dirty="0"/>
            </a:p>
          </p:txBody>
        </p:sp>
        <p:sp>
          <p:nvSpPr>
            <p:cNvPr id="17" name="Rectangle 16"/>
            <p:cNvSpPr/>
            <p:nvPr/>
          </p:nvSpPr>
          <p:spPr>
            <a:xfrm>
              <a:off x="4450038" y="4865652"/>
              <a:ext cx="194533" cy="1981109"/>
            </a:xfrm>
            <a:prstGeom prst="rect">
              <a:avLst/>
            </a:prstGeom>
            <a:solidFill>
              <a:schemeClr val="accent6">
                <a:lumMod val="75000"/>
              </a:schemeClr>
            </a:solidFill>
            <a:ln w="9525">
              <a:noFill/>
            </a:ln>
            <a:effectLst/>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p>
              <a:pPr>
                <a:lnSpc>
                  <a:spcPct val="90000"/>
                </a:lnSpc>
                <a:spcBef>
                  <a:spcPts val="341"/>
                </a:spcBef>
              </a:pPr>
              <a:endParaRPr lang="th-TH" sz="1300" b="0" dirty="0"/>
            </a:p>
          </p:txBody>
        </p:sp>
        <p:sp>
          <p:nvSpPr>
            <p:cNvPr id="21" name="ListLeanHorizontalTextTopic1"/>
            <p:cNvSpPr txBox="1">
              <a:spLocks/>
            </p:cNvSpPr>
            <p:nvPr/>
          </p:nvSpPr>
          <p:spPr>
            <a:xfrm>
              <a:off x="4796926" y="1701541"/>
              <a:ext cx="5045574" cy="1976426"/>
            </a:xfrm>
            <a:prstGeom prst="rect">
              <a:avLst/>
            </a:prstGeom>
            <a:noFill/>
            <a:ln w="9525">
              <a:noFill/>
            </a:ln>
          </p:spPr>
          <p:txBody>
            <a:bodyPr vert="horz" wrap="square" lIns="0" tIns="0" rIns="0" bIns="72000" rtlCol="0" anchor="b">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151521" indent="-151521">
                <a:lnSpc>
                  <a:spcPct val="90000"/>
                </a:lnSpc>
                <a:spcBef>
                  <a:spcPts val="341"/>
                </a:spcBef>
                <a:buSzPct val="100000"/>
              </a:pPr>
              <a:r>
                <a:rPr lang="en-US" sz="1300" b="0" dirty="0">
                  <a:latin typeface="Arial Narrow"/>
                  <a:cs typeface="Arial Narrow" pitchFamily="34" charset="0"/>
                </a:rPr>
                <a:t>&gt; </a:t>
              </a:r>
              <a:r>
                <a:rPr lang="th-TH" sz="1300" b="0" dirty="0">
                  <a:latin typeface="Arial Narrow"/>
                  <a:cs typeface="Arial Narrow" pitchFamily="34" charset="0"/>
                </a:rPr>
                <a:t> </a:t>
              </a:r>
              <a:r>
                <a:rPr lang="th-TH" sz="1500" dirty="0">
                  <a:latin typeface="TH SarabunPSK" pitchFamily="34" charset="-34"/>
                  <a:cs typeface="TH SarabunPSK" pitchFamily="34" charset="-34"/>
                </a:rPr>
                <a:t>คณะรัฐมนตรี</a:t>
              </a:r>
              <a:r>
                <a:rPr lang="th-TH" sz="1300" b="0" dirty="0">
                  <a:latin typeface="Arial Narrow"/>
                  <a:cs typeface="Arial Narrow" pitchFamily="34" charset="0"/>
                </a:rPr>
                <a:t> </a:t>
              </a:r>
              <a:r>
                <a:rPr lang="th-TH" sz="1500" dirty="0">
                  <a:latin typeface="TH SarabunPSK" pitchFamily="34" charset="-34"/>
                  <a:cs typeface="TH SarabunPSK" pitchFamily="34" charset="-34"/>
                </a:rPr>
                <a:t>เห็นชอบในหลักการแผนโครงสร้างพื้นฐานและด่านศุลกากร</a:t>
              </a:r>
              <a:br>
                <a:rPr lang="th-TH" sz="1500" dirty="0">
                  <a:latin typeface="TH SarabunPSK" pitchFamily="34" charset="-34"/>
                  <a:cs typeface="TH SarabunPSK" pitchFamily="34" charset="-34"/>
                </a:rPr>
              </a:br>
              <a:r>
                <a:rPr lang="th-TH" sz="1500" dirty="0">
                  <a:latin typeface="TH SarabunPSK" pitchFamily="34" charset="-34"/>
                  <a:cs typeface="TH SarabunPSK" pitchFamily="34" charset="-34"/>
                </a:rPr>
                <a:t>ปี </a:t>
              </a:r>
              <a:r>
                <a:rPr lang="en-US" sz="1500" dirty="0">
                  <a:latin typeface="TH SarabunPSK" pitchFamily="34" charset="-34"/>
                  <a:cs typeface="TH SarabunPSK" pitchFamily="34" charset="-34"/>
                </a:rPr>
                <a:t>2557</a:t>
              </a:r>
              <a:r>
                <a:rPr lang="th-TH" sz="1500" dirty="0">
                  <a:latin typeface="TH SarabunPSK" pitchFamily="34" charset="-34"/>
                  <a:cs typeface="TH SarabunPSK" pitchFamily="34" charset="-34"/>
                </a:rPr>
                <a:t>-</a:t>
              </a:r>
              <a:r>
                <a:rPr lang="en-US" sz="1500" dirty="0">
                  <a:latin typeface="TH SarabunPSK" pitchFamily="34" charset="-34"/>
                  <a:cs typeface="TH SarabunPSK" pitchFamily="34" charset="-34"/>
                </a:rPr>
                <a:t>2565</a:t>
              </a:r>
              <a:r>
                <a:rPr lang="en-US" sz="1400" b="0" dirty="0">
                  <a:latin typeface="TH SarabunPSK" pitchFamily="34" charset="-34"/>
                  <a:cs typeface="TH SarabunPSK" pitchFamily="34" charset="-34"/>
                </a:rPr>
                <a:t> </a:t>
              </a:r>
              <a:endParaRPr lang="en-US" sz="1300" b="0" dirty="0">
                <a:latin typeface="TH SarabunPSK" pitchFamily="34" charset="-34"/>
                <a:cs typeface="TH SarabunPSK" pitchFamily="34" charset="-34"/>
              </a:endParaRPr>
            </a:p>
            <a:p>
              <a:pPr marL="151521" indent="-151521">
                <a:lnSpc>
                  <a:spcPct val="90000"/>
                </a:lnSpc>
                <a:spcBef>
                  <a:spcPts val="341"/>
                </a:spcBef>
                <a:buSzPct val="100000"/>
              </a:pPr>
              <a:r>
                <a:rPr lang="en-US" sz="1300" b="0" dirty="0">
                  <a:latin typeface="Arial Narrow"/>
                  <a:cs typeface="Arial Narrow" pitchFamily="34" charset="0"/>
                </a:rPr>
                <a:t>&gt;  </a:t>
              </a:r>
              <a:r>
                <a:rPr lang="th-TH" sz="1500" dirty="0">
                  <a:latin typeface="TH SarabunPSK" pitchFamily="34" charset="-34"/>
                  <a:cs typeface="TH SarabunPSK" pitchFamily="34" charset="-34"/>
                </a:rPr>
                <a:t>เห็นชอบโครงการเร่งด่วน พ.ศ. </a:t>
              </a:r>
              <a:r>
                <a:rPr lang="en-US" sz="1500" dirty="0">
                  <a:latin typeface="TH SarabunPSK" pitchFamily="34" charset="-34"/>
                  <a:cs typeface="TH SarabunPSK" pitchFamily="34" charset="-34"/>
                </a:rPr>
                <a:t>2558</a:t>
              </a:r>
              <a:r>
                <a:rPr lang="th-TH" sz="1500" dirty="0">
                  <a:latin typeface="TH SarabunPSK" pitchFamily="34" charset="-34"/>
                  <a:cs typeface="TH SarabunPSK" pitchFamily="34" charset="-34"/>
                </a:rPr>
                <a:t> รวม </a:t>
              </a:r>
              <a:r>
                <a:rPr lang="en-US" sz="1500" dirty="0">
                  <a:latin typeface="TH SarabunPSK" pitchFamily="34" charset="-34"/>
                  <a:cs typeface="TH SarabunPSK" pitchFamily="34" charset="-34"/>
                </a:rPr>
                <a:t>52</a:t>
              </a:r>
              <a:r>
                <a:rPr lang="th-TH" sz="1500" dirty="0">
                  <a:latin typeface="TH SarabunPSK" pitchFamily="34" charset="-34"/>
                  <a:cs typeface="TH SarabunPSK" pitchFamily="34" charset="-34"/>
                </a:rPr>
                <a:t> โครงการ วงเงิน 2</a:t>
              </a:r>
              <a:r>
                <a:rPr lang="en-US" sz="1500" dirty="0">
                  <a:latin typeface="TH SarabunPSK" pitchFamily="34" charset="-34"/>
                  <a:cs typeface="TH SarabunPSK" pitchFamily="34" charset="-34"/>
                </a:rPr>
                <a:t>,642</a:t>
              </a:r>
              <a:r>
                <a:rPr lang="th-TH" sz="1500" dirty="0">
                  <a:latin typeface="TH SarabunPSK" pitchFamily="34" charset="-34"/>
                  <a:cs typeface="TH SarabunPSK" pitchFamily="34" charset="-34"/>
                </a:rPr>
                <a:t>.88 ลบ. </a:t>
              </a:r>
              <a:br>
                <a:rPr lang="th-TH" sz="1500" dirty="0">
                  <a:latin typeface="TH SarabunPSK" pitchFamily="34" charset="-34"/>
                  <a:cs typeface="TH SarabunPSK" pitchFamily="34" charset="-34"/>
                </a:rPr>
              </a:br>
              <a:r>
                <a:rPr lang="th-TH" sz="1500" dirty="0">
                  <a:latin typeface="TH SarabunPSK" pitchFamily="34" charset="-34"/>
                  <a:cs typeface="TH SarabunPSK" pitchFamily="34" charset="-34"/>
                </a:rPr>
                <a:t>จากงบกลางปี 2558 และให้หน่วยงานทำความตกลงรายละเอียดกับ </a:t>
              </a:r>
              <a:r>
                <a:rPr lang="th-TH" sz="1500" dirty="0" err="1">
                  <a:latin typeface="TH SarabunPSK" pitchFamily="34" charset="-34"/>
                  <a:cs typeface="TH SarabunPSK" pitchFamily="34" charset="-34"/>
                </a:rPr>
                <a:t>สงป</a:t>
              </a:r>
              <a:r>
                <a:rPr lang="th-TH" sz="1500" dirty="0">
                  <a:latin typeface="TH SarabunPSK" pitchFamily="34" charset="-34"/>
                  <a:cs typeface="TH SarabunPSK" pitchFamily="34" charset="-34"/>
                </a:rPr>
                <a:t>. ต่อไป</a:t>
              </a:r>
              <a:r>
                <a:rPr lang="en-US" sz="1500" dirty="0">
                  <a:latin typeface="TH SarabunPSK" pitchFamily="34" charset="-34"/>
                  <a:cs typeface="TH SarabunPSK" pitchFamily="34" charset="-34"/>
                </a:rPr>
                <a:t>  </a:t>
              </a:r>
              <a:r>
                <a:rPr lang="en-US" sz="1300" b="0" dirty="0">
                  <a:latin typeface="Arial Narrow"/>
                  <a:cs typeface="Arial Narrow" pitchFamily="34" charset="0"/>
                </a:rPr>
                <a:t/>
              </a:r>
              <a:br>
                <a:rPr lang="en-US" sz="1300" b="0" dirty="0">
                  <a:latin typeface="Arial Narrow"/>
                  <a:cs typeface="Arial Narrow" pitchFamily="34" charset="0"/>
                </a:rPr>
              </a:br>
              <a:r>
                <a:rPr lang="en-US" sz="1300" b="0" dirty="0">
                  <a:latin typeface="Arial Narrow"/>
                  <a:cs typeface="Arial Narrow" pitchFamily="34" charset="0"/>
                </a:rPr>
                <a:t>     </a:t>
              </a:r>
              <a:br>
                <a:rPr lang="en-US" sz="1300" b="0" dirty="0">
                  <a:latin typeface="Arial Narrow"/>
                  <a:cs typeface="Arial Narrow" pitchFamily="34" charset="0"/>
                </a:rPr>
              </a:br>
              <a:r>
                <a:rPr lang="en-US" sz="1300" b="0" dirty="0">
                  <a:latin typeface="Arial Narrow"/>
                  <a:cs typeface="Arial Narrow" pitchFamily="34" charset="0"/>
                </a:rPr>
                <a:t>     </a:t>
              </a:r>
              <a:br>
                <a:rPr lang="en-US" sz="1300" b="0" dirty="0">
                  <a:latin typeface="Arial Narrow"/>
                  <a:cs typeface="Arial Narrow" pitchFamily="34" charset="0"/>
                </a:rPr>
              </a:br>
              <a:endParaRPr lang="en-US" sz="1300" b="0" dirty="0">
                <a:latin typeface="Arial Narrow"/>
                <a:cs typeface="Arial Narrow" pitchFamily="34" charset="0"/>
              </a:endParaRPr>
            </a:p>
          </p:txBody>
        </p:sp>
        <p:sp>
          <p:nvSpPr>
            <p:cNvPr id="22" name="Rectangle 21"/>
            <p:cNvSpPr/>
            <p:nvPr/>
          </p:nvSpPr>
          <p:spPr>
            <a:xfrm>
              <a:off x="4738914" y="5613311"/>
              <a:ext cx="4953000" cy="1549142"/>
            </a:xfrm>
            <a:prstGeom prst="rect">
              <a:avLst/>
            </a:prstGeom>
          </p:spPr>
          <p:txBody>
            <a:bodyPr>
              <a:spAutoFit/>
            </a:bodyPr>
            <a:lstStyle/>
            <a:p>
              <a:pPr>
                <a:spcBef>
                  <a:spcPts val="511"/>
                </a:spcBef>
              </a:pPr>
              <a:r>
                <a:rPr lang="en-US" sz="1300" kern="0" dirty="0">
                  <a:solidFill>
                    <a:schemeClr val="accent4">
                      <a:lumMod val="25000"/>
                    </a:schemeClr>
                  </a:solidFill>
                  <a:latin typeface="+mn-lt"/>
                  <a:ea typeface="Tahoma" pitchFamily="34" charset="0"/>
                  <a:cs typeface="Tahoma" pitchFamily="34" charset="0"/>
                </a:rPr>
                <a:t>&gt;  </a:t>
              </a:r>
              <a:r>
                <a:rPr lang="th-TH" sz="1200" kern="0" dirty="0">
                  <a:solidFill>
                    <a:schemeClr val="accent4">
                      <a:lumMod val="25000"/>
                    </a:schemeClr>
                  </a:solidFill>
                  <a:latin typeface="+mn-lt"/>
                  <a:ea typeface="Tahoma" pitchFamily="34" charset="0"/>
                  <a:cs typeface="Tahoma" pitchFamily="34" charset="0"/>
                </a:rPr>
                <a:t>โครงการลงทุนในปี </a:t>
              </a:r>
              <a:r>
                <a:rPr lang="en-US" sz="1200" kern="0" dirty="0">
                  <a:solidFill>
                    <a:schemeClr val="accent4">
                      <a:lumMod val="25000"/>
                    </a:schemeClr>
                  </a:solidFill>
                  <a:latin typeface="+mn-lt"/>
                  <a:ea typeface="Tahoma" pitchFamily="34" charset="0"/>
                  <a:cs typeface="Tahoma" pitchFamily="34" charset="0"/>
                </a:rPr>
                <a:t>2558 </a:t>
              </a:r>
              <a:r>
                <a:rPr lang="th-TH" sz="1200" kern="0" dirty="0">
                  <a:solidFill>
                    <a:schemeClr val="accent4">
                      <a:lumMod val="25000"/>
                    </a:schemeClr>
                  </a:solidFill>
                  <a:latin typeface="+mn-lt"/>
                  <a:ea typeface="Tahoma" pitchFamily="34" charset="0"/>
                  <a:cs typeface="Tahoma" pitchFamily="34" charset="0"/>
                </a:rPr>
                <a:t>แยกตามจังหวัด</a:t>
              </a:r>
              <a:r>
                <a:rPr lang="en-US" sz="1200" kern="0" dirty="0">
                  <a:solidFill>
                    <a:schemeClr val="accent4">
                      <a:lumMod val="25000"/>
                    </a:schemeClr>
                  </a:solidFill>
                  <a:latin typeface="+mn-lt"/>
                  <a:ea typeface="Tahoma" pitchFamily="34" charset="0"/>
                  <a:cs typeface="Tahoma" pitchFamily="34" charset="0"/>
                </a:rPr>
                <a:t> :</a:t>
              </a:r>
            </a:p>
            <a:p>
              <a:pPr indent="151521">
                <a:spcBef>
                  <a:spcPts val="511"/>
                </a:spcBef>
              </a:pPr>
              <a:r>
                <a:rPr lang="en-US" sz="1200" kern="0" dirty="0">
                  <a:latin typeface="+mn-lt"/>
                  <a:ea typeface="Tahoma" pitchFamily="34" charset="0"/>
                  <a:cs typeface="Tahoma" pitchFamily="34" charset="0"/>
                </a:rPr>
                <a:t>   -  </a:t>
              </a:r>
              <a:r>
                <a:rPr lang="th-TH" sz="1000" kern="0" dirty="0">
                  <a:latin typeface="+mn-lt"/>
                  <a:ea typeface="Tahoma" pitchFamily="34" charset="0"/>
                  <a:cs typeface="Tahoma" pitchFamily="34" charset="0"/>
                </a:rPr>
                <a:t>ตาก</a:t>
              </a:r>
              <a:r>
                <a:rPr lang="en-US" sz="1000" kern="0" dirty="0">
                  <a:latin typeface="+mn-lt"/>
                  <a:ea typeface="Tahoma" pitchFamily="34" charset="0"/>
                  <a:cs typeface="Tahoma" pitchFamily="34" charset="0"/>
                </a:rPr>
                <a:t>               44%         -  </a:t>
              </a:r>
              <a:r>
                <a:rPr lang="th-TH" sz="1000" kern="0" dirty="0">
                  <a:latin typeface="+mn-lt"/>
                  <a:ea typeface="Tahoma" pitchFamily="34" charset="0"/>
                  <a:cs typeface="Tahoma" pitchFamily="34" charset="0"/>
                </a:rPr>
                <a:t>ตราด</a:t>
              </a:r>
              <a:r>
                <a:rPr lang="en-US" sz="1000" kern="0" dirty="0">
                  <a:latin typeface="+mn-lt"/>
                  <a:ea typeface="Tahoma" pitchFamily="34" charset="0"/>
                  <a:cs typeface="Tahoma" pitchFamily="34" charset="0"/>
                </a:rPr>
                <a:t>                4 %</a:t>
              </a:r>
            </a:p>
            <a:p>
              <a:pPr indent="151521">
                <a:spcBef>
                  <a:spcPts val="511"/>
                </a:spcBef>
              </a:pPr>
              <a:r>
                <a:rPr lang="en-US" sz="1000" kern="0" dirty="0">
                  <a:latin typeface="+mn-lt"/>
                  <a:ea typeface="Tahoma" pitchFamily="34" charset="0"/>
                  <a:cs typeface="Tahoma" pitchFamily="34" charset="0"/>
                </a:rPr>
                <a:t>   -  </a:t>
              </a:r>
              <a:r>
                <a:rPr lang="th-TH" sz="1000" kern="0" dirty="0">
                  <a:latin typeface="+mn-lt"/>
                  <a:ea typeface="Tahoma" pitchFamily="34" charset="0"/>
                  <a:cs typeface="Tahoma" pitchFamily="34" charset="0"/>
                </a:rPr>
                <a:t>สงขลา</a:t>
              </a:r>
              <a:r>
                <a:rPr lang="en-US" sz="1000" kern="0" dirty="0">
                  <a:latin typeface="+mn-lt"/>
                  <a:ea typeface="Tahoma" pitchFamily="34" charset="0"/>
                  <a:cs typeface="Tahoma" pitchFamily="34" charset="0"/>
                </a:rPr>
                <a:t>          33%         -  </a:t>
              </a:r>
              <a:r>
                <a:rPr lang="th-TH" sz="1000" kern="0" dirty="0">
                  <a:latin typeface="+mn-lt"/>
                  <a:ea typeface="Tahoma" pitchFamily="34" charset="0"/>
                  <a:cs typeface="Tahoma" pitchFamily="34" charset="0"/>
                </a:rPr>
                <a:t>มุกดาหาร</a:t>
              </a:r>
              <a:r>
                <a:rPr lang="en-US" sz="1000" kern="0" dirty="0">
                  <a:latin typeface="+mn-lt"/>
                  <a:ea typeface="Tahoma" pitchFamily="34" charset="0"/>
                  <a:cs typeface="Tahoma" pitchFamily="34" charset="0"/>
                </a:rPr>
                <a:t>      15 %  </a:t>
              </a:r>
            </a:p>
            <a:p>
              <a:pPr indent="151521">
                <a:spcBef>
                  <a:spcPts val="511"/>
                </a:spcBef>
              </a:pPr>
              <a:r>
                <a:rPr lang="en-US" sz="1000" kern="0" dirty="0">
                  <a:latin typeface="+mn-lt"/>
                  <a:ea typeface="Tahoma" pitchFamily="34" charset="0"/>
                  <a:cs typeface="Tahoma" pitchFamily="34" charset="0"/>
                </a:rPr>
                <a:t>   -  </a:t>
              </a:r>
              <a:r>
                <a:rPr lang="th-TH" sz="1000" kern="0" dirty="0">
                  <a:latin typeface="+mn-lt"/>
                  <a:ea typeface="Tahoma" pitchFamily="34" charset="0"/>
                  <a:cs typeface="Tahoma" pitchFamily="34" charset="0"/>
                </a:rPr>
                <a:t>สระแก้ว</a:t>
              </a:r>
              <a:r>
                <a:rPr lang="en-US" sz="1000" kern="0" dirty="0">
                  <a:latin typeface="+mn-lt"/>
                  <a:ea typeface="Tahoma" pitchFamily="34" charset="0"/>
                  <a:cs typeface="Tahoma" pitchFamily="34" charset="0"/>
                </a:rPr>
                <a:t>          3%         -  </a:t>
              </a:r>
              <a:r>
                <a:rPr lang="th-TH" sz="1000" kern="0" dirty="0">
                  <a:latin typeface="+mn-lt"/>
                  <a:ea typeface="Tahoma" pitchFamily="34" charset="0"/>
                  <a:cs typeface="Tahoma" pitchFamily="34" charset="0"/>
                </a:rPr>
                <a:t>หนองคาย</a:t>
              </a:r>
              <a:r>
                <a:rPr lang="en-US" sz="1000" kern="0" dirty="0">
                  <a:latin typeface="+mn-lt"/>
                  <a:ea typeface="Tahoma" pitchFamily="34" charset="0"/>
                  <a:cs typeface="Tahoma" pitchFamily="34" charset="0"/>
                </a:rPr>
                <a:t>       1%   </a:t>
              </a:r>
            </a:p>
            <a:p>
              <a:endParaRPr lang="th-TH" sz="1200" dirty="0">
                <a:latin typeface="+mn-lt"/>
              </a:endParaRPr>
            </a:p>
          </p:txBody>
        </p:sp>
        <p:cxnSp>
          <p:nvCxnSpPr>
            <p:cNvPr id="14" name="Straight Connector 13"/>
            <p:cNvCxnSpPr/>
            <p:nvPr/>
          </p:nvCxnSpPr>
          <p:spPr>
            <a:xfrm>
              <a:off x="4860426" y="5549883"/>
              <a:ext cx="4742632" cy="135"/>
            </a:xfrm>
            <a:prstGeom prst="line">
              <a:avLst/>
            </a:prstGeom>
            <a:ln w="31750">
              <a:solidFill>
                <a:schemeClr val="bg1">
                  <a:lumMod val="85000"/>
                </a:schemeClr>
              </a:solidFill>
            </a:ln>
            <a:effectLst/>
          </p:spPr>
          <p:style>
            <a:lnRef idx="1">
              <a:schemeClr val="accent1"/>
            </a:lnRef>
            <a:fillRef idx="0">
              <a:schemeClr val="accent1"/>
            </a:fillRef>
            <a:effectRef idx="0">
              <a:schemeClr val="accent1"/>
            </a:effectRef>
            <a:fontRef idx="minor">
              <a:schemeClr val="tx1"/>
            </a:fontRef>
          </p:style>
        </p:cxnSp>
        <p:graphicFrame>
          <p:nvGraphicFramePr>
            <p:cNvPr id="19" name="Chart 18"/>
            <p:cNvGraphicFramePr>
              <a:graphicFrameLocks/>
            </p:cNvGraphicFramePr>
            <p:nvPr>
              <p:extLst>
                <p:ext uri="{D42A27DB-BD31-4B8C-83A1-F6EECF244321}">
                  <p14:modId xmlns:p14="http://schemas.microsoft.com/office/powerpoint/2010/main" xmlns="" val="2668343616"/>
                </p:ext>
              </p:extLst>
            </p:nvPr>
          </p:nvGraphicFramePr>
          <p:xfrm>
            <a:off x="4648904" y="2626740"/>
            <a:ext cx="5159829" cy="2743200"/>
          </p:xfrm>
          <a:graphic>
            <a:graphicData uri="http://schemas.openxmlformats.org/drawingml/2006/chart">
              <c:chart xmlns:c="http://schemas.openxmlformats.org/drawingml/2006/chart" xmlns:r="http://schemas.openxmlformats.org/officeDocument/2006/relationships" r:id="rId3"/>
            </a:graphicData>
          </a:graphic>
        </p:graphicFrame>
        <p:sp>
          <p:nvSpPr>
            <p:cNvPr id="18" name="TextBox 1"/>
            <p:cNvSpPr txBox="1"/>
            <p:nvPr/>
          </p:nvSpPr>
          <p:spPr>
            <a:xfrm>
              <a:off x="7387568" y="3596966"/>
              <a:ext cx="808833" cy="494495"/>
            </a:xfrm>
            <a:prstGeom prst="rect">
              <a:avLst/>
            </a:prstGeom>
            <a:noFill/>
            <a:ln w="9525">
              <a:noFill/>
            </a:ln>
          </p:spPr>
          <p:txBody>
            <a:bodyPr vert="horz" wrap="square" lIns="0" tIns="0" rIns="0" bIns="0"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lnSpc>
                  <a:spcPct val="90000"/>
                </a:lnSpc>
                <a:spcBef>
                  <a:spcPts val="341"/>
                </a:spcBef>
                <a:buClr>
                  <a:srgbClr val="000000"/>
                </a:buClr>
                <a:buSzPct val="100000"/>
              </a:pPr>
              <a:r>
                <a:rPr lang="en-US" sz="1200" dirty="0">
                  <a:cs typeface="Arial Narrow" pitchFamily="34" charset="0"/>
                </a:rPr>
                <a:t>887.88 </a:t>
              </a:r>
              <a:r>
                <a:rPr lang="th-TH" sz="1200" dirty="0">
                  <a:cs typeface="Arial Narrow" pitchFamily="34" charset="0"/>
                </a:rPr>
                <a:t>ลบ.</a:t>
              </a:r>
              <a:r>
                <a:rPr lang="en-US" sz="1200" dirty="0">
                  <a:cs typeface="Arial Narrow" pitchFamily="34" charset="0"/>
                </a:rPr>
                <a:t> </a:t>
              </a:r>
            </a:p>
            <a:p>
              <a:pPr algn="ctr">
                <a:lnSpc>
                  <a:spcPct val="90000"/>
                </a:lnSpc>
                <a:spcBef>
                  <a:spcPts val="341"/>
                </a:spcBef>
                <a:buClr>
                  <a:srgbClr val="000000"/>
                </a:buClr>
                <a:buSzPct val="100000"/>
              </a:pPr>
              <a:r>
                <a:rPr lang="en-US" sz="1200" dirty="0">
                  <a:cs typeface="Arial Narrow" pitchFamily="34" charset="0"/>
                </a:rPr>
                <a:t>34%</a:t>
              </a:r>
              <a:endParaRPr lang="th-TH" sz="1200" dirty="0">
                <a:cs typeface="Arial Narrow" pitchFamily="34" charset="0"/>
              </a:endParaRPr>
            </a:p>
          </p:txBody>
        </p:sp>
        <p:sp>
          <p:nvSpPr>
            <p:cNvPr id="23" name="TextBox 1"/>
            <p:cNvSpPr txBox="1"/>
            <p:nvPr/>
          </p:nvSpPr>
          <p:spPr>
            <a:xfrm>
              <a:off x="7094133" y="4426372"/>
              <a:ext cx="808833" cy="494495"/>
            </a:xfrm>
            <a:prstGeom prst="rect">
              <a:avLst/>
            </a:prstGeom>
            <a:noFill/>
            <a:ln w="9525">
              <a:noFill/>
            </a:ln>
          </p:spPr>
          <p:txBody>
            <a:bodyPr vert="horz" wrap="square" lIns="0" tIns="0" rIns="0" bIns="0"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lnSpc>
                  <a:spcPct val="90000"/>
                </a:lnSpc>
                <a:spcBef>
                  <a:spcPts val="341"/>
                </a:spcBef>
                <a:buClr>
                  <a:srgbClr val="000000"/>
                </a:buClr>
                <a:buSzPct val="100000"/>
              </a:pPr>
              <a:r>
                <a:rPr lang="en-US" sz="1200" dirty="0">
                  <a:cs typeface="Arial Narrow" pitchFamily="34" charset="0"/>
                </a:rPr>
                <a:t>500 </a:t>
              </a:r>
              <a:r>
                <a:rPr lang="th-TH" sz="1200" dirty="0">
                  <a:cs typeface="Arial Narrow" pitchFamily="34" charset="0"/>
                </a:rPr>
                <a:t>ลบ.</a:t>
              </a:r>
              <a:endParaRPr lang="en-US" sz="1200" dirty="0">
                <a:cs typeface="Arial Narrow" pitchFamily="34" charset="0"/>
              </a:endParaRPr>
            </a:p>
            <a:p>
              <a:pPr algn="ctr">
                <a:lnSpc>
                  <a:spcPct val="90000"/>
                </a:lnSpc>
                <a:spcBef>
                  <a:spcPts val="341"/>
                </a:spcBef>
                <a:buClr>
                  <a:srgbClr val="000000"/>
                </a:buClr>
                <a:buSzPct val="100000"/>
              </a:pPr>
              <a:r>
                <a:rPr lang="en-US" sz="1200" dirty="0">
                  <a:cs typeface="Arial Narrow" pitchFamily="34" charset="0"/>
                </a:rPr>
                <a:t>19%</a:t>
              </a:r>
              <a:endParaRPr lang="th-TH" sz="1200" dirty="0">
                <a:cs typeface="Arial Narrow" pitchFamily="34" charset="0"/>
              </a:endParaRPr>
            </a:p>
          </p:txBody>
        </p:sp>
        <p:sp>
          <p:nvSpPr>
            <p:cNvPr id="2" name="TextBox 1"/>
            <p:cNvSpPr txBox="1"/>
            <p:nvPr/>
          </p:nvSpPr>
          <p:spPr>
            <a:xfrm>
              <a:off x="4999312" y="5258852"/>
              <a:ext cx="4218170" cy="258532"/>
            </a:xfrm>
            <a:prstGeom prst="rect">
              <a:avLst/>
            </a:prstGeom>
            <a:noFill/>
            <a:ln w="9525">
              <a:noFill/>
            </a:ln>
          </p:spPr>
          <p:txBody>
            <a:bodyPr vert="horz" wrap="none" lIns="0" tIns="0" rIns="0" bIns="0" rtlCol="0">
              <a:spAutoFit/>
            </a:bodyPr>
            <a:lstStyle/>
            <a:p>
              <a:pPr>
                <a:lnSpc>
                  <a:spcPct val="90000"/>
                </a:lnSpc>
                <a:spcBef>
                  <a:spcPts val="341"/>
                </a:spcBef>
                <a:buClr>
                  <a:srgbClr val="000000"/>
                </a:buClr>
                <a:buSzPct val="100000"/>
              </a:pPr>
              <a:r>
                <a:rPr lang="en-US" sz="1400" dirty="0">
                  <a:latin typeface="TH SarabunPSK" pitchFamily="34" charset="-34"/>
                  <a:cs typeface="TH SarabunPSK" pitchFamily="34" charset="-34"/>
                </a:rPr>
                <a:t>* </a:t>
              </a:r>
              <a:r>
                <a:rPr lang="th-TH" sz="1400" dirty="0">
                  <a:latin typeface="TH SarabunPSK" pitchFamily="34" charset="-34"/>
                  <a:cs typeface="TH SarabunPSK" pitchFamily="34" charset="-34"/>
                </a:rPr>
                <a:t> งบประมาณสำหรับดำเนินงาน</a:t>
              </a:r>
              <a:r>
                <a:rPr lang="en-US" sz="1400" dirty="0">
                  <a:latin typeface="TH SarabunPSK" pitchFamily="34" charset="-34"/>
                  <a:cs typeface="TH SarabunPSK" pitchFamily="34" charset="-34"/>
                </a:rPr>
                <a:t>  F/S and D/D  </a:t>
              </a:r>
              <a:r>
                <a:rPr lang="th-TH" sz="1400" dirty="0">
                  <a:latin typeface="TH SarabunPSK" pitchFamily="34" charset="-34"/>
                  <a:cs typeface="TH SarabunPSK" pitchFamily="34" charset="-34"/>
                </a:rPr>
                <a:t>อยู่ในปี 2559 </a:t>
              </a:r>
              <a:r>
                <a:rPr lang="en-US" sz="1400" dirty="0">
                  <a:latin typeface="TH SarabunPSK" pitchFamily="34" charset="-34"/>
                  <a:cs typeface="TH SarabunPSK" pitchFamily="34" charset="-34"/>
                </a:rPr>
                <a:t> </a:t>
              </a:r>
              <a:r>
                <a:rPr lang="th-TH" sz="1400" dirty="0">
                  <a:latin typeface="TH SarabunPSK" pitchFamily="34" charset="-34"/>
                  <a:cs typeface="TH SarabunPSK" pitchFamily="34" charset="-34"/>
                </a:rPr>
                <a:t>วงเงิน</a:t>
              </a:r>
              <a:r>
                <a:rPr lang="en-US" sz="1400" dirty="0">
                  <a:latin typeface="TH SarabunPSK" pitchFamily="34" charset="-34"/>
                  <a:cs typeface="TH SarabunPSK" pitchFamily="34" charset="-34"/>
                </a:rPr>
                <a:t>  75 </a:t>
              </a:r>
              <a:r>
                <a:rPr lang="th-TH" sz="1400" dirty="0">
                  <a:latin typeface="TH SarabunPSK" pitchFamily="34" charset="-34"/>
                  <a:cs typeface="TH SarabunPSK" pitchFamily="34" charset="-34"/>
                </a:rPr>
                <a:t>ลบ.</a:t>
              </a:r>
              <a:r>
                <a:rPr lang="en-US" sz="1400" dirty="0">
                  <a:latin typeface="TH SarabunPSK" pitchFamily="34" charset="-34"/>
                  <a:cs typeface="TH SarabunPSK" pitchFamily="34" charset="-34"/>
                </a:rPr>
                <a:t>    </a:t>
              </a:r>
              <a:endParaRPr lang="th-TH" sz="1400" dirty="0">
                <a:latin typeface="TH SarabunPSK" pitchFamily="34" charset="-34"/>
                <a:cs typeface="TH SarabunPSK" pitchFamily="34" charset="-34"/>
              </a:endParaRPr>
            </a:p>
          </p:txBody>
        </p:sp>
        <p:cxnSp>
          <p:nvCxnSpPr>
            <p:cNvPr id="24" name="Horizontal Line"/>
            <p:cNvCxnSpPr/>
            <p:nvPr/>
          </p:nvCxnSpPr>
          <p:spPr>
            <a:xfrm>
              <a:off x="348065" y="2098023"/>
              <a:ext cx="3920311" cy="0"/>
            </a:xfrm>
            <a:prstGeom prst="line">
              <a:avLst/>
            </a:prstGeom>
            <a:ln w="22225">
              <a:solidFill>
                <a:schemeClr val="accent3"/>
              </a:solidFill>
            </a:ln>
            <a:effectLst/>
          </p:spPr>
          <p:style>
            <a:lnRef idx="1">
              <a:schemeClr val="accent1"/>
            </a:lnRef>
            <a:fillRef idx="0">
              <a:schemeClr val="accent1"/>
            </a:fillRef>
            <a:effectRef idx="0">
              <a:schemeClr val="accent1"/>
            </a:effectRef>
            <a:fontRef idx="minor">
              <a:schemeClr val="tx1"/>
            </a:fontRef>
          </p:style>
        </p:cxnSp>
        <p:sp>
          <p:nvSpPr>
            <p:cNvPr id="26" name="ListLeanHorizontalTextTopic0"/>
            <p:cNvSpPr txBox="1"/>
            <p:nvPr/>
          </p:nvSpPr>
          <p:spPr>
            <a:xfrm>
              <a:off x="394409" y="1786041"/>
              <a:ext cx="3256757" cy="373936"/>
            </a:xfrm>
            <a:prstGeom prst="rect">
              <a:avLst/>
            </a:prstGeom>
            <a:noFill/>
            <a:ln w="9525">
              <a:noFill/>
            </a:ln>
          </p:spPr>
          <p:txBody>
            <a:bodyPr vert="horz" wrap="square" lIns="0" tIns="0" rIns="0" bIns="72000" rtlCol="0" anchor="b">
              <a:spAutoFit/>
            </a:bodyPr>
            <a:lstStyle/>
            <a:p>
              <a:pPr>
                <a:lnSpc>
                  <a:spcPct val="90000"/>
                </a:lnSpc>
                <a:spcBef>
                  <a:spcPts val="341"/>
                </a:spcBef>
                <a:buSzPct val="100000"/>
              </a:pPr>
              <a:r>
                <a:rPr lang="en-US" sz="1500" dirty="0">
                  <a:latin typeface="+mn-lt"/>
                  <a:cs typeface="Arial Narrow" pitchFamily="34" charset="0"/>
                </a:rPr>
                <a:t>   Labor Management  </a:t>
              </a:r>
            </a:p>
          </p:txBody>
        </p:sp>
        <p:pic>
          <p:nvPicPr>
            <p:cNvPr id="27" name="Picture 26"/>
            <p:cNvPicPr>
              <a:picLocks noChangeAspect="1"/>
            </p:cNvPicPr>
            <p:nvPr/>
          </p:nvPicPr>
          <p:blipFill>
            <a:blip r:embed="rId4" cstate="print">
              <a:extLst>
                <a:ext uri="{28A0092B-C50C-407E-A947-70E740481C1C}">
                  <a14:useLocalDpi xmlns:a14="http://schemas.microsoft.com/office/drawing/2010/main" xmlns="" val="0"/>
                </a:ext>
              </a:extLst>
            </a:blip>
            <a:stretch>
              <a:fillRect/>
            </a:stretch>
          </p:blipFill>
          <p:spPr>
            <a:xfrm>
              <a:off x="2688469" y="1681309"/>
              <a:ext cx="1006626" cy="518673"/>
            </a:xfrm>
            <a:prstGeom prst="rect">
              <a:avLst/>
            </a:prstGeom>
            <a:noFill/>
          </p:spPr>
        </p:pic>
        <p:sp>
          <p:nvSpPr>
            <p:cNvPr id="28" name="ListLeanHorizontalTextTopic1"/>
            <p:cNvSpPr txBox="1">
              <a:spLocks/>
            </p:cNvSpPr>
            <p:nvPr/>
          </p:nvSpPr>
          <p:spPr>
            <a:xfrm>
              <a:off x="373408" y="4949639"/>
              <a:ext cx="4617133" cy="373936"/>
            </a:xfrm>
            <a:prstGeom prst="rect">
              <a:avLst/>
            </a:prstGeom>
            <a:noFill/>
            <a:ln w="9525">
              <a:noFill/>
            </a:ln>
          </p:spPr>
          <p:txBody>
            <a:bodyPr vert="horz" wrap="square" lIns="0" tIns="0" rIns="0" bIns="72000" rtlCol="0" anchor="b">
              <a:spAutoFit/>
            </a:bodyPr>
            <a:lstStyle/>
            <a:p>
              <a:pPr>
                <a:lnSpc>
                  <a:spcPct val="90000"/>
                </a:lnSpc>
                <a:spcBef>
                  <a:spcPts val="341"/>
                </a:spcBef>
                <a:buSzPct val="100000"/>
              </a:pPr>
              <a:r>
                <a:rPr lang="en-US" sz="1500" dirty="0">
                  <a:latin typeface="+mn-lt"/>
                  <a:cs typeface="Arial Narrow" pitchFamily="34" charset="0"/>
                </a:rPr>
                <a:t>   One Stop Service (OSS)</a:t>
              </a:r>
            </a:p>
          </p:txBody>
        </p:sp>
        <p:cxnSp>
          <p:nvCxnSpPr>
            <p:cNvPr id="30" name="Horizontal Line"/>
            <p:cNvCxnSpPr/>
            <p:nvPr/>
          </p:nvCxnSpPr>
          <p:spPr>
            <a:xfrm flipV="1">
              <a:off x="387987" y="5336367"/>
              <a:ext cx="3867150" cy="2523"/>
            </a:xfrm>
            <a:prstGeom prst="line">
              <a:avLst/>
            </a:prstGeom>
            <a:ln w="22225">
              <a:solidFill>
                <a:schemeClr val="accent3"/>
              </a:solidFill>
            </a:ln>
            <a:effectLst/>
          </p:spPr>
          <p:style>
            <a:lnRef idx="1">
              <a:schemeClr val="accent1"/>
            </a:lnRef>
            <a:fillRef idx="0">
              <a:schemeClr val="accent1"/>
            </a:fillRef>
            <a:effectRef idx="0">
              <a:schemeClr val="accent1"/>
            </a:effectRef>
            <a:fontRef idx="minor">
              <a:schemeClr val="tx1"/>
            </a:fontRef>
          </p:style>
        </p:cxnSp>
        <p:sp>
          <p:nvSpPr>
            <p:cNvPr id="34" name="Rectangle 33"/>
            <p:cNvSpPr/>
            <p:nvPr/>
          </p:nvSpPr>
          <p:spPr>
            <a:xfrm>
              <a:off x="387987" y="5347261"/>
              <a:ext cx="3911740" cy="1422612"/>
            </a:xfrm>
            <a:prstGeom prst="rect">
              <a:avLst/>
            </a:prstGeom>
          </p:spPr>
          <p:txBody>
            <a:bodyPr wrap="square">
              <a:spAutoFit/>
            </a:bodyPr>
            <a:lstStyle/>
            <a:p>
              <a:pPr marL="148815" indent="-148815">
                <a:spcBef>
                  <a:spcPts val="511"/>
                </a:spcBef>
              </a:pPr>
              <a:r>
                <a:rPr lang="en-US" sz="1100" b="0" dirty="0">
                  <a:cs typeface="Tahoma" pitchFamily="34" charset="0"/>
                </a:rPr>
                <a:t>&gt;  OSS </a:t>
              </a:r>
              <a:r>
                <a:rPr lang="th-TH" sz="1100" b="0" dirty="0">
                  <a:cs typeface="Tahoma" pitchFamily="34" charset="0"/>
                </a:rPr>
                <a:t>สำหรับการลงทุนเริ่มให้บริการแล้วใน 5 พื้นที่ </a:t>
              </a:r>
              <a:endParaRPr lang="en-US" sz="1100" b="0" dirty="0">
                <a:cs typeface="Tahoma" pitchFamily="34" charset="0"/>
              </a:endParaRPr>
            </a:p>
            <a:p>
              <a:pPr marL="148815" indent="-148815">
                <a:spcBef>
                  <a:spcPts val="511"/>
                </a:spcBef>
              </a:pPr>
              <a:r>
                <a:rPr lang="en-US" sz="1100" b="0" dirty="0">
                  <a:cs typeface="Tahoma" pitchFamily="34" charset="0"/>
                </a:rPr>
                <a:t>&gt;	OSOS </a:t>
              </a:r>
              <a:r>
                <a:rPr lang="th-TH" sz="1100" b="0" dirty="0">
                  <a:cs typeface="Tahoma" pitchFamily="34" charset="0"/>
                </a:rPr>
                <a:t>ที่</a:t>
              </a:r>
              <a:r>
                <a:rPr lang="th-TH" sz="1100" b="0" dirty="0" err="1">
                  <a:cs typeface="Tahoma" pitchFamily="34" charset="0"/>
                </a:rPr>
                <a:t>จามจุรีสแควร์</a:t>
              </a:r>
              <a:r>
                <a:rPr lang="th-TH" sz="1100" b="0" dirty="0">
                  <a:cs typeface="Tahoma" pitchFamily="34" charset="0"/>
                </a:rPr>
                <a:t> เชื่อมโยงกับ </a:t>
              </a:r>
              <a:r>
                <a:rPr lang="en-US" sz="1100" b="0" dirty="0">
                  <a:cs typeface="Tahoma" pitchFamily="34" charset="0"/>
                </a:rPr>
                <a:t>OSS </a:t>
              </a:r>
              <a:r>
                <a:rPr lang="th-TH" sz="1100" b="0" dirty="0">
                  <a:cs typeface="Tahoma" pitchFamily="34" charset="0"/>
                </a:rPr>
                <a:t>ในพื้นที่จังหวัดที่เป็นเขตเศรษฐกิจพิเศษ </a:t>
              </a:r>
              <a:r>
                <a:rPr lang="en-US" sz="1100" b="0" dirty="0">
                  <a:cs typeface="Tahoma" pitchFamily="34" charset="0"/>
                </a:rPr>
                <a:t> </a:t>
              </a:r>
            </a:p>
            <a:p>
              <a:pPr marL="148815" indent="-148815">
                <a:spcBef>
                  <a:spcPts val="511"/>
                </a:spcBef>
              </a:pPr>
              <a:r>
                <a:rPr lang="en-US" sz="1100" b="0" dirty="0">
                  <a:cs typeface="Tahoma" pitchFamily="34" charset="0"/>
                </a:rPr>
                <a:t>&gt;	</a:t>
              </a:r>
              <a:r>
                <a:rPr lang="th-TH" sz="1100" b="0" dirty="0">
                  <a:cs typeface="Tahoma" pitchFamily="34" charset="0"/>
                </a:rPr>
                <a:t>การอนุมัติโครงการขอรับการส่งเสริมการลงทุนของ </a:t>
              </a:r>
              <a:r>
                <a:rPr lang="en-US" sz="1100" b="0" dirty="0">
                  <a:cs typeface="Tahoma" pitchFamily="34" charset="0"/>
                </a:rPr>
                <a:t>BOI  </a:t>
              </a:r>
              <a:r>
                <a:rPr lang="th-TH" sz="1100" b="0" dirty="0">
                  <a:cs typeface="Tahoma" pitchFamily="34" charset="0"/>
                </a:rPr>
                <a:t>ภายใน</a:t>
              </a:r>
              <a:r>
                <a:rPr lang="en-US" sz="1100" b="0" dirty="0">
                  <a:cs typeface="Tahoma" pitchFamily="34" charset="0"/>
                </a:rPr>
                <a:t> 40 </a:t>
              </a:r>
              <a:r>
                <a:rPr lang="th-TH" sz="1100" b="0" dirty="0">
                  <a:cs typeface="Tahoma" pitchFamily="34" charset="0"/>
                </a:rPr>
                <a:t>วันทำการ</a:t>
              </a:r>
              <a:r>
                <a:rPr lang="en-US" sz="1100" b="0" dirty="0">
                  <a:cs typeface="Tahoma" pitchFamily="34" charset="0"/>
                </a:rPr>
                <a:t> </a:t>
              </a:r>
            </a:p>
          </p:txBody>
        </p:sp>
        <p:pic>
          <p:nvPicPr>
            <p:cNvPr id="29" name="Picture 28" descr="OSOS"/>
            <p:cNvPicPr>
              <a:picLocks noChangeAspect="1" noChangeArrowheads="1"/>
            </p:cNvPicPr>
            <p:nvPr/>
          </p:nvPicPr>
          <p:blipFill>
            <a:blip r:embed="rId5" cstate="print">
              <a:extLst>
                <a:ext uri="{28A0092B-C50C-407E-A947-70E740481C1C}">
                  <a14:useLocalDpi xmlns:a14="http://schemas.microsoft.com/office/drawing/2010/main" xmlns="" val="0"/>
                </a:ext>
              </a:extLst>
            </a:blip>
            <a:srcRect/>
            <a:stretch>
              <a:fillRect/>
            </a:stretch>
          </p:blipFill>
          <p:spPr bwMode="auto">
            <a:xfrm>
              <a:off x="2856048" y="4859711"/>
              <a:ext cx="1011671" cy="562596"/>
            </a:xfrm>
            <a:prstGeom prst="rect">
              <a:avLst/>
            </a:prstGeom>
            <a:noFill/>
            <a:extLst/>
          </p:spPr>
        </p:pic>
      </p:grpSp>
      <p:sp>
        <p:nvSpPr>
          <p:cNvPr id="9" name="Rectangle 8"/>
          <p:cNvSpPr/>
          <p:nvPr/>
        </p:nvSpPr>
        <p:spPr>
          <a:xfrm>
            <a:off x="392913" y="1407628"/>
            <a:ext cx="3554161" cy="1899698"/>
          </a:xfrm>
          <a:prstGeom prst="rect">
            <a:avLst/>
          </a:prstGeom>
        </p:spPr>
        <p:txBody>
          <a:bodyPr wrap="square" lIns="77925" tIns="38963" rIns="77925" bIns="38963">
            <a:spAutoFit/>
          </a:bodyPr>
          <a:lstStyle/>
          <a:p>
            <a:pPr marL="147463" indent="-147463">
              <a:spcBef>
                <a:spcPts val="511"/>
              </a:spcBef>
            </a:pPr>
            <a:r>
              <a:rPr lang="en-US" sz="1100" dirty="0"/>
              <a:t>&gt;   </a:t>
            </a:r>
            <a:r>
              <a:rPr lang="th-TH" sz="1100" b="0" dirty="0">
                <a:cs typeface="Tahoma" pitchFamily="34" charset="0"/>
              </a:rPr>
              <a:t>มติ ครม. 18 ก.พ. 58 เห็นชอบการจัดระบบการจ้างคนต่างด้าวสัญชาติ</a:t>
            </a:r>
            <a:r>
              <a:rPr lang="th-TH" sz="1100" b="0" dirty="0" err="1">
                <a:cs typeface="Tahoma" pitchFamily="34" charset="0"/>
              </a:rPr>
              <a:t>เมียนมา</a:t>
            </a:r>
            <a:r>
              <a:rPr lang="th-TH" sz="1100" b="0" dirty="0">
                <a:cs typeface="Tahoma" pitchFamily="34" charset="0"/>
              </a:rPr>
              <a:t> ลาว และกัมพูชา ที่เข้ามาทำงานในลักษณะไป-กลับหรือตามฤดูกาล ตามมาตรา 14 แห่ง พ.ร.บ.การทำงานของคนต่างด้าว พ.ศ. 2551 </a:t>
            </a:r>
          </a:p>
          <a:p>
            <a:pPr marL="147463" indent="-147463">
              <a:spcBef>
                <a:spcPts val="511"/>
              </a:spcBef>
            </a:pPr>
            <a:r>
              <a:rPr lang="en-US" sz="1100" b="0" dirty="0" smtClean="0">
                <a:cs typeface="Tahoma" pitchFamily="34" charset="0"/>
              </a:rPr>
              <a:t>&gt;  </a:t>
            </a:r>
            <a:r>
              <a:rPr lang="th-TH" sz="1100" b="0" dirty="0" smtClean="0">
                <a:cs typeface="Tahoma" pitchFamily="34" charset="0"/>
              </a:rPr>
              <a:t>ฝึกอบรม</a:t>
            </a:r>
            <a:r>
              <a:rPr lang="th-TH" sz="1100" b="0" dirty="0">
                <a:cs typeface="Tahoma" pitchFamily="34" charset="0"/>
              </a:rPr>
              <a:t>แรงงานไทย/ต่างด้าว </a:t>
            </a:r>
            <a:endParaRPr lang="th-TH" sz="1100" b="0" dirty="0" smtClean="0">
              <a:cs typeface="Tahoma" pitchFamily="34" charset="0"/>
            </a:endParaRPr>
          </a:p>
          <a:p>
            <a:pPr marL="147463" indent="-147463">
              <a:spcBef>
                <a:spcPts val="511"/>
              </a:spcBef>
            </a:pPr>
            <a:r>
              <a:rPr lang="en-US" sz="1100" dirty="0" smtClean="0">
                <a:cs typeface="Tahoma" pitchFamily="34" charset="0"/>
              </a:rPr>
              <a:t>&gt;  </a:t>
            </a:r>
            <a:r>
              <a:rPr lang="th-TH" sz="1100" dirty="0" smtClean="0">
                <a:cs typeface="Tahoma" pitchFamily="34" charset="0"/>
              </a:rPr>
              <a:t>กต. เจรจากับกัมพูชา ลาว เมียนมา เพื่อแก้ไขความตกลงว่าด้วยการข้ามแดนระหว่างรัฐ เพิ่มให้แรงงานต่างด้าวเข้ามาทำงานในไทยได้โดยใช้บัตรผ่านแดนเป็นเอกสารประกอบการอนุญาตทำงาน โดยได้ลงนามร่วมกับกัมพูชาแล้ว (ก.ค.58) สำหรับลาวและเมียนมาอยู่ระหว่างพิจารณา </a:t>
            </a:r>
            <a:endParaRPr lang="en-US" sz="1100" b="0" dirty="0">
              <a:cs typeface="Tahoma" pitchFamily="34" charset="0"/>
            </a:endParaRPr>
          </a:p>
        </p:txBody>
      </p:sp>
      <p:cxnSp>
        <p:nvCxnSpPr>
          <p:cNvPr id="31" name="Horizontal Line"/>
          <p:cNvCxnSpPr/>
          <p:nvPr/>
        </p:nvCxnSpPr>
        <p:spPr>
          <a:xfrm flipV="1">
            <a:off x="367631" y="3417243"/>
            <a:ext cx="3569677" cy="1892"/>
          </a:xfrm>
          <a:prstGeom prst="line">
            <a:avLst/>
          </a:prstGeom>
          <a:ln w="22225">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32" name="Horizontal Line"/>
          <p:cNvCxnSpPr/>
          <p:nvPr/>
        </p:nvCxnSpPr>
        <p:spPr>
          <a:xfrm flipV="1">
            <a:off x="333521" y="1016392"/>
            <a:ext cx="3569677" cy="1892"/>
          </a:xfrm>
          <a:prstGeom prst="line">
            <a:avLst/>
          </a:prstGeom>
          <a:ln w="22225">
            <a:solidFill>
              <a:schemeClr val="accent3"/>
            </a:solidFill>
          </a:ln>
          <a:effectLst/>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xmlns="" val="1997967942"/>
      </p:ext>
    </p:extLst>
  </p:cSld>
  <p:clrMapOvr>
    <a:masterClrMapping/>
  </p:clrMapOvr>
  <p:transition spd="med">
    <p:fade thruBlk="1"/>
  </p:transition>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2"/>
          <p:cNvSpPr>
            <a:spLocks noGrp="1"/>
          </p:cNvSpPr>
          <p:nvPr>
            <p:ph type="title"/>
          </p:nvPr>
        </p:nvSpPr>
        <p:spPr>
          <a:xfrm>
            <a:off x="346487" y="138622"/>
            <a:ext cx="8459894" cy="560923"/>
          </a:xfrm>
        </p:spPr>
        <p:txBody>
          <a:bodyPr/>
          <a:lstStyle/>
          <a:p>
            <a:r>
              <a:rPr lang="th-TH" sz="2700" b="1" dirty="0">
                <a:latin typeface="TH SarabunPSK" pitchFamily="34" charset="-34"/>
                <a:cs typeface="TH SarabunPSK" pitchFamily="34" charset="-34"/>
              </a:rPr>
              <a:t>ตัวอย่าง </a:t>
            </a:r>
            <a:r>
              <a:rPr sz="2700" b="1" dirty="0">
                <a:latin typeface="TH SarabunPSK" pitchFamily="34" charset="-34"/>
                <a:cs typeface="TH SarabunPSK" pitchFamily="34" charset="-34"/>
              </a:rPr>
              <a:t>: </a:t>
            </a:r>
            <a:r>
              <a:rPr lang="th-TH" sz="2700" b="1" dirty="0">
                <a:latin typeface="TH SarabunPSK" pitchFamily="34" charset="-34"/>
                <a:cs typeface="TH SarabunPSK" pitchFamily="34" charset="-34"/>
              </a:rPr>
              <a:t>โครงการพัฒนาโครงสร้างพื้นฐานและด่านศุลกากรเพื่อสนับสนุนกิจกรรมในเขตเศรษฐกิจพิเศษแม่สอด </a:t>
            </a:r>
            <a:r>
              <a:rPr lang="en-US" sz="2700" b="1" dirty="0">
                <a:latin typeface="TH SarabunPSK" pitchFamily="34" charset="-34"/>
                <a:cs typeface="TH SarabunPSK" pitchFamily="34" charset="-34"/>
              </a:rPr>
              <a:t> </a:t>
            </a:r>
          </a:p>
        </p:txBody>
      </p:sp>
      <p:sp>
        <p:nvSpPr>
          <p:cNvPr id="54" name="ListLeanHorizontalTextTopic1"/>
          <p:cNvSpPr txBox="1">
            <a:spLocks/>
          </p:cNvSpPr>
          <p:nvPr/>
        </p:nvSpPr>
        <p:spPr>
          <a:xfrm>
            <a:off x="6176622" y="987574"/>
            <a:ext cx="4261969" cy="242006"/>
          </a:xfrm>
          <a:prstGeom prst="rect">
            <a:avLst/>
          </a:prstGeom>
          <a:noFill/>
          <a:ln w="9525">
            <a:noFill/>
          </a:ln>
        </p:spPr>
        <p:txBody>
          <a:bodyPr vert="horz" wrap="square" lIns="0" tIns="0" rIns="0" bIns="61358" rtlCol="0" anchor="b">
            <a:spAutoFit/>
          </a:bodyPr>
          <a:lstStyle/>
          <a:p>
            <a:pPr>
              <a:lnSpc>
                <a:spcPct val="90000"/>
              </a:lnSpc>
              <a:spcBef>
                <a:spcPts val="341"/>
              </a:spcBef>
              <a:buSzPct val="100000"/>
            </a:pPr>
            <a:r>
              <a:rPr lang="en-US" sz="1300" dirty="0">
                <a:latin typeface="+mn-lt"/>
                <a:cs typeface="Arial Narrow" pitchFamily="34" charset="0"/>
              </a:rPr>
              <a:t>Current Status</a:t>
            </a:r>
          </a:p>
        </p:txBody>
      </p:sp>
      <p:grpSp>
        <p:nvGrpSpPr>
          <p:cNvPr id="4" name="Group 2544659"/>
          <p:cNvGrpSpPr/>
          <p:nvPr/>
        </p:nvGrpSpPr>
        <p:grpSpPr>
          <a:xfrm>
            <a:off x="357158" y="928676"/>
            <a:ext cx="8225193" cy="3929091"/>
            <a:chOff x="413036" y="1560409"/>
            <a:chExt cx="8910626" cy="5238788"/>
          </a:xfrm>
        </p:grpSpPr>
        <p:grpSp>
          <p:nvGrpSpPr>
            <p:cNvPr id="5" name="Group 2544653"/>
            <p:cNvGrpSpPr/>
            <p:nvPr/>
          </p:nvGrpSpPr>
          <p:grpSpPr>
            <a:xfrm>
              <a:off x="413036" y="1652337"/>
              <a:ext cx="6022269" cy="5064515"/>
              <a:chOff x="413036" y="1556085"/>
              <a:chExt cx="6022269" cy="5064515"/>
            </a:xfrm>
          </p:grpSpPr>
          <p:sp>
            <p:nvSpPr>
              <p:cNvPr id="2" name="Rectangle 1"/>
              <p:cNvSpPr/>
              <p:nvPr/>
            </p:nvSpPr>
            <p:spPr>
              <a:xfrm>
                <a:off x="3795622" y="1922631"/>
                <a:ext cx="2639683" cy="4697969"/>
              </a:xfrm>
              <a:prstGeom prst="rect">
                <a:avLst/>
              </a:prstGeom>
              <a:solidFill>
                <a:schemeClr val="bg1">
                  <a:lumMod val="85000"/>
                </a:schemeClr>
              </a:solidFill>
              <a:ln w="9525">
                <a:noFill/>
              </a:ln>
              <a:effectLst/>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p>
                <a:pPr>
                  <a:lnSpc>
                    <a:spcPct val="90000"/>
                  </a:lnSpc>
                  <a:spcBef>
                    <a:spcPts val="341"/>
                  </a:spcBef>
                </a:pPr>
                <a:endParaRPr lang="th-TH" sz="1300" b="0" dirty="0"/>
              </a:p>
            </p:txBody>
          </p:sp>
          <p:pic>
            <p:nvPicPr>
              <p:cNvPr id="10" name="Picture 2"/>
              <p:cNvPicPr>
                <a:picLocks noChangeAspect="1" noChangeArrowheads="1"/>
              </p:cNvPicPr>
              <p:nvPr/>
            </p:nvPicPr>
            <p:blipFill rotWithShape="1">
              <a:blip r:embed="rId2" cstate="print">
                <a:extLst>
                  <a:ext uri="{28A0092B-C50C-407E-A947-70E740481C1C}">
                    <a14:useLocalDpi xmlns:a14="http://schemas.microsoft.com/office/drawing/2010/main" xmlns="" val="0"/>
                  </a:ext>
                </a:extLst>
              </a:blip>
              <a:srcRect l="12676" t="21890" r="18435" b="5141"/>
              <a:stretch/>
            </p:blipFill>
            <p:spPr bwMode="auto">
              <a:xfrm>
                <a:off x="413036" y="1556085"/>
                <a:ext cx="3192806" cy="506451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grpSp>
            <p:nvGrpSpPr>
              <p:cNvPr id="6" name="Group 10"/>
              <p:cNvGrpSpPr/>
              <p:nvPr/>
            </p:nvGrpSpPr>
            <p:grpSpPr>
              <a:xfrm>
                <a:off x="4182084" y="1998829"/>
                <a:ext cx="1942672" cy="738618"/>
                <a:chOff x="4182083" y="1638120"/>
                <a:chExt cx="2166961" cy="738618"/>
              </a:xfrm>
            </p:grpSpPr>
            <p:pic>
              <p:nvPicPr>
                <p:cNvPr id="2544642" name="Picture 2" descr="IMG_2719 (Small)"/>
                <p:cNvPicPr>
                  <a:picLocks noChangeAspect="1" noChangeArrowheads="1"/>
                </p:cNvPicPr>
                <p:nvPr/>
              </p:nvPicPr>
              <p:blipFill rotWithShape="1">
                <a:blip r:embed="rId3" cstate="print">
                  <a:extLst>
                    <a:ext uri="{28A0092B-C50C-407E-A947-70E740481C1C}">
                      <a14:useLocalDpi xmlns:a14="http://schemas.microsoft.com/office/drawing/2010/main" xmlns="" val="0"/>
                    </a:ext>
                  </a:extLst>
                </a:blip>
                <a:srcRect r="5278" b="6891"/>
                <a:stretch/>
              </p:blipFill>
              <p:spPr bwMode="auto">
                <a:xfrm>
                  <a:off x="4509887" y="1639019"/>
                  <a:ext cx="1839157" cy="737719"/>
                </a:xfrm>
                <a:prstGeom prst="rect">
                  <a:avLst/>
                </a:prstGeom>
                <a:noFill/>
                <a:extLst>
                  <a:ext uri="{909E8E84-426E-40DD-AFC4-6F175D3DCCD1}">
                    <a14:hiddenFill xmlns:a14="http://schemas.microsoft.com/office/drawing/2010/main" xmlns="">
                      <a:solidFill>
                        <a:srgbClr val="FFFFFF"/>
                      </a:solidFill>
                    </a14:hiddenFill>
                  </a:ext>
                </a:extLst>
              </p:spPr>
            </p:pic>
            <p:sp>
              <p:nvSpPr>
                <p:cNvPr id="3" name="Rectangle 2"/>
                <p:cNvSpPr/>
                <p:nvPr/>
              </p:nvSpPr>
              <p:spPr>
                <a:xfrm>
                  <a:off x="4182083" y="1638120"/>
                  <a:ext cx="293299" cy="457200"/>
                </a:xfrm>
                <a:prstGeom prst="rect">
                  <a:avLst/>
                </a:prstGeom>
                <a:solidFill>
                  <a:schemeClr val="accent4">
                    <a:lumMod val="25000"/>
                  </a:schemeClr>
                </a:solidFill>
                <a:ln w="9525">
                  <a:solidFill>
                    <a:schemeClr val="accent3"/>
                  </a:solidFill>
                </a:ln>
                <a:effectLst/>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p>
                  <a:pPr>
                    <a:lnSpc>
                      <a:spcPct val="90000"/>
                    </a:lnSpc>
                    <a:spcBef>
                      <a:spcPts val="341"/>
                    </a:spcBef>
                  </a:pPr>
                  <a:r>
                    <a:rPr lang="en-US" sz="1700" dirty="0">
                      <a:solidFill>
                        <a:schemeClr val="bg1"/>
                      </a:solidFill>
                    </a:rPr>
                    <a:t>1</a:t>
                  </a:r>
                  <a:endParaRPr lang="th-TH" sz="1700" dirty="0">
                    <a:solidFill>
                      <a:schemeClr val="bg1"/>
                    </a:solidFill>
                  </a:endParaRPr>
                </a:p>
              </p:txBody>
            </p:sp>
          </p:grpSp>
          <p:grpSp>
            <p:nvGrpSpPr>
              <p:cNvPr id="8" name="Group 2544639"/>
              <p:cNvGrpSpPr/>
              <p:nvPr/>
            </p:nvGrpSpPr>
            <p:grpSpPr>
              <a:xfrm>
                <a:off x="4145852" y="4443760"/>
                <a:ext cx="1978904" cy="680636"/>
                <a:chOff x="4145852" y="4219172"/>
                <a:chExt cx="1978904" cy="680636"/>
              </a:xfrm>
            </p:grpSpPr>
            <p:sp>
              <p:nvSpPr>
                <p:cNvPr id="13" name="Rectangle 12"/>
                <p:cNvSpPr/>
                <p:nvPr/>
              </p:nvSpPr>
              <p:spPr>
                <a:xfrm>
                  <a:off x="4145852" y="4219172"/>
                  <a:ext cx="293298" cy="457200"/>
                </a:xfrm>
                <a:prstGeom prst="rect">
                  <a:avLst/>
                </a:prstGeom>
                <a:solidFill>
                  <a:schemeClr val="accent4">
                    <a:lumMod val="25000"/>
                  </a:schemeClr>
                </a:solidFill>
                <a:ln w="9525">
                  <a:solidFill>
                    <a:schemeClr val="accent3"/>
                  </a:solidFill>
                </a:ln>
                <a:effectLst/>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p>
                  <a:pPr>
                    <a:lnSpc>
                      <a:spcPct val="90000"/>
                    </a:lnSpc>
                    <a:spcBef>
                      <a:spcPts val="341"/>
                    </a:spcBef>
                  </a:pPr>
                  <a:r>
                    <a:rPr lang="en-US" sz="1700" dirty="0">
                      <a:solidFill>
                        <a:schemeClr val="bg1"/>
                      </a:solidFill>
                    </a:rPr>
                    <a:t>4</a:t>
                  </a:r>
                  <a:endParaRPr lang="th-TH" sz="1700" dirty="0">
                    <a:solidFill>
                      <a:schemeClr val="bg1"/>
                    </a:solidFill>
                  </a:endParaRPr>
                </a:p>
              </p:txBody>
            </p:sp>
            <p:pic>
              <p:nvPicPr>
                <p:cNvPr id="2544644" name="Picture 4" descr="http://lms.thaicyberu.go.th/officialtcu/main/advcourse/presentstu/course/ww522/rtmu02/rtmu02-web2/links/TKT/TKT01_files/image001.jpg"/>
                <p:cNvPicPr>
                  <a:picLocks noChangeAspect="1" noChangeArrowheads="1"/>
                </p:cNvPicPr>
                <p:nvPr/>
              </p:nvPicPr>
              <p:blipFill>
                <a:blip r:embed="rId4" cstate="print">
                  <a:extLst>
                    <a:ext uri="{28A0092B-C50C-407E-A947-70E740481C1C}">
                      <a14:useLocalDpi xmlns:a14="http://schemas.microsoft.com/office/drawing/2010/main" xmlns="" val="0"/>
                    </a:ext>
                  </a:extLst>
                </a:blip>
                <a:srcRect/>
                <a:stretch>
                  <a:fillRect/>
                </a:stretch>
              </p:blipFill>
              <p:spPr bwMode="auto">
                <a:xfrm>
                  <a:off x="4462724" y="4220920"/>
                  <a:ext cx="1662032" cy="678888"/>
                </a:xfrm>
                <a:prstGeom prst="rect">
                  <a:avLst/>
                </a:prstGeom>
                <a:noFill/>
                <a:extLst>
                  <a:ext uri="{909E8E84-426E-40DD-AFC4-6F175D3DCCD1}">
                    <a14:hiddenFill xmlns:a14="http://schemas.microsoft.com/office/drawing/2010/main" xmlns="">
                      <a:solidFill>
                        <a:srgbClr val="FFFFFF"/>
                      </a:solidFill>
                    </a14:hiddenFill>
                  </a:ext>
                </a:extLst>
              </p:spPr>
            </p:pic>
          </p:grpSp>
          <p:grpSp>
            <p:nvGrpSpPr>
              <p:cNvPr id="9" name="Group 2544640"/>
              <p:cNvGrpSpPr/>
              <p:nvPr/>
            </p:nvGrpSpPr>
            <p:grpSpPr>
              <a:xfrm>
                <a:off x="4145852" y="5184493"/>
                <a:ext cx="1978902" cy="706290"/>
                <a:chOff x="4145852" y="4987145"/>
                <a:chExt cx="1978902" cy="706290"/>
              </a:xfrm>
            </p:grpSpPr>
            <p:sp>
              <p:nvSpPr>
                <p:cNvPr id="14" name="Rectangle 13"/>
                <p:cNvSpPr/>
                <p:nvPr/>
              </p:nvSpPr>
              <p:spPr>
                <a:xfrm>
                  <a:off x="4145852" y="4987145"/>
                  <a:ext cx="293298" cy="457200"/>
                </a:xfrm>
                <a:prstGeom prst="rect">
                  <a:avLst/>
                </a:prstGeom>
                <a:solidFill>
                  <a:schemeClr val="accent4">
                    <a:lumMod val="25000"/>
                  </a:schemeClr>
                </a:solidFill>
                <a:ln w="9525">
                  <a:solidFill>
                    <a:schemeClr val="accent3"/>
                  </a:solidFill>
                </a:ln>
                <a:effectLst/>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p>
                  <a:pPr>
                    <a:lnSpc>
                      <a:spcPct val="90000"/>
                    </a:lnSpc>
                    <a:spcBef>
                      <a:spcPts val="341"/>
                    </a:spcBef>
                  </a:pPr>
                  <a:r>
                    <a:rPr lang="en-US" sz="1700" dirty="0">
                      <a:solidFill>
                        <a:schemeClr val="bg1"/>
                      </a:solidFill>
                    </a:rPr>
                    <a:t>5</a:t>
                  </a:r>
                  <a:endParaRPr lang="th-TH" sz="1700" dirty="0">
                    <a:solidFill>
                      <a:schemeClr val="bg1"/>
                    </a:solidFill>
                  </a:endParaRPr>
                </a:p>
              </p:txBody>
            </p:sp>
            <p:pic>
              <p:nvPicPr>
                <p:cNvPr id="2544646" name="Picture 6" descr="https://encrypted-tbn0.gstatic.com/images?q=tbn:ANd9GcRvn9hJjnqwpEipo7L7tLYZ_NY6yo2O0wkLYVhoBIx-kDpoTNjDCkv0niE">
                  <a:hlinkClick r:id="rId5"/>
                </p:cNvPr>
                <p:cNvPicPr>
                  <a:picLocks noChangeAspect="1" noChangeArrowheads="1"/>
                </p:cNvPicPr>
                <p:nvPr/>
              </p:nvPicPr>
              <p:blipFill>
                <a:blip r:embed="rId6" cstate="print">
                  <a:extLst>
                    <a:ext uri="{28A0092B-C50C-407E-A947-70E740481C1C}">
                      <a14:useLocalDpi xmlns:a14="http://schemas.microsoft.com/office/drawing/2010/main" xmlns="" val="0"/>
                    </a:ext>
                  </a:extLst>
                </a:blip>
                <a:srcRect/>
                <a:stretch>
                  <a:fillRect/>
                </a:stretch>
              </p:blipFill>
              <p:spPr bwMode="auto">
                <a:xfrm>
                  <a:off x="4462724" y="4990023"/>
                  <a:ext cx="1662030" cy="703412"/>
                </a:xfrm>
                <a:prstGeom prst="rect">
                  <a:avLst/>
                </a:prstGeom>
                <a:noFill/>
                <a:extLst>
                  <a:ext uri="{909E8E84-426E-40DD-AFC4-6F175D3DCCD1}">
                    <a14:hiddenFill xmlns:a14="http://schemas.microsoft.com/office/drawing/2010/main" xmlns="">
                      <a:solidFill>
                        <a:srgbClr val="FFFFFF"/>
                      </a:solidFill>
                    </a14:hiddenFill>
                  </a:ext>
                </a:extLst>
              </p:spPr>
            </p:pic>
          </p:grpSp>
          <p:grpSp>
            <p:nvGrpSpPr>
              <p:cNvPr id="11" name="Group 2544650"/>
              <p:cNvGrpSpPr/>
              <p:nvPr/>
            </p:nvGrpSpPr>
            <p:grpSpPr>
              <a:xfrm>
                <a:off x="4180365" y="2794502"/>
                <a:ext cx="1944389" cy="694427"/>
                <a:chOff x="4180365" y="2521788"/>
                <a:chExt cx="1944389" cy="694427"/>
              </a:xfrm>
            </p:grpSpPr>
            <p:sp>
              <p:nvSpPr>
                <p:cNvPr id="41" name="Rectangle 40"/>
                <p:cNvSpPr/>
                <p:nvPr/>
              </p:nvSpPr>
              <p:spPr>
                <a:xfrm>
                  <a:off x="4180365" y="2521788"/>
                  <a:ext cx="262941" cy="457200"/>
                </a:xfrm>
                <a:prstGeom prst="rect">
                  <a:avLst/>
                </a:prstGeom>
                <a:solidFill>
                  <a:schemeClr val="accent4">
                    <a:lumMod val="25000"/>
                  </a:schemeClr>
                </a:solidFill>
                <a:ln w="9525">
                  <a:solidFill>
                    <a:schemeClr val="accent3"/>
                  </a:solidFill>
                </a:ln>
                <a:effectLst/>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p>
                  <a:pPr>
                    <a:lnSpc>
                      <a:spcPct val="90000"/>
                    </a:lnSpc>
                    <a:spcBef>
                      <a:spcPts val="341"/>
                    </a:spcBef>
                  </a:pPr>
                  <a:r>
                    <a:rPr lang="en-US" sz="1700" dirty="0">
                      <a:solidFill>
                        <a:schemeClr val="bg1"/>
                      </a:solidFill>
                    </a:rPr>
                    <a:t>2</a:t>
                  </a:r>
                  <a:endParaRPr lang="th-TH" sz="1700" dirty="0">
                    <a:solidFill>
                      <a:schemeClr val="bg1"/>
                    </a:solidFill>
                  </a:endParaRPr>
                </a:p>
              </p:txBody>
            </p:sp>
            <p:pic>
              <p:nvPicPr>
                <p:cNvPr id="2544650" name="Picture 10" descr="https://encrypted-tbn2.gstatic.com/images?q=tbn:ANd9GcQUdyHiEHkF5QCg_RLorPdOyKQ4USsJNfmHniLaB-exZPgWrtUZEyQpt8GF">
                  <a:hlinkClick r:id="rId7"/>
                </p:cNvPr>
                <p:cNvPicPr>
                  <a:picLocks noChangeAspect="1" noChangeArrowheads="1"/>
                </p:cNvPicPr>
                <p:nvPr/>
              </p:nvPicPr>
              <p:blipFill>
                <a:blip r:embed="rId8" cstate="print">
                  <a:extLst>
                    <a:ext uri="{28A0092B-C50C-407E-A947-70E740481C1C}">
                      <a14:useLocalDpi xmlns:a14="http://schemas.microsoft.com/office/drawing/2010/main" xmlns="" val="0"/>
                    </a:ext>
                  </a:extLst>
                </a:blip>
                <a:srcRect/>
                <a:stretch>
                  <a:fillRect/>
                </a:stretch>
              </p:blipFill>
              <p:spPr bwMode="auto">
                <a:xfrm>
                  <a:off x="4475959" y="2530415"/>
                  <a:ext cx="1648795" cy="685800"/>
                </a:xfrm>
                <a:prstGeom prst="rect">
                  <a:avLst/>
                </a:prstGeom>
                <a:noFill/>
                <a:extLst>
                  <a:ext uri="{909E8E84-426E-40DD-AFC4-6F175D3DCCD1}">
                    <a14:hiddenFill xmlns:a14="http://schemas.microsoft.com/office/drawing/2010/main" xmlns="">
                      <a:solidFill>
                        <a:srgbClr val="FFFFFF"/>
                      </a:solidFill>
                    </a14:hiddenFill>
                  </a:ext>
                </a:extLst>
              </p:spPr>
            </p:pic>
          </p:grpSp>
          <p:grpSp>
            <p:nvGrpSpPr>
              <p:cNvPr id="16" name="Group 2544648"/>
              <p:cNvGrpSpPr/>
              <p:nvPr/>
            </p:nvGrpSpPr>
            <p:grpSpPr>
              <a:xfrm>
                <a:off x="4145852" y="5948369"/>
                <a:ext cx="1978904" cy="618051"/>
                <a:chOff x="4145852" y="6002550"/>
                <a:chExt cx="1978904" cy="618051"/>
              </a:xfrm>
            </p:grpSpPr>
            <p:sp>
              <p:nvSpPr>
                <p:cNvPr id="15" name="Rectangle 14"/>
                <p:cNvSpPr/>
                <p:nvPr/>
              </p:nvSpPr>
              <p:spPr>
                <a:xfrm>
                  <a:off x="4145852" y="6002550"/>
                  <a:ext cx="293298" cy="457200"/>
                </a:xfrm>
                <a:prstGeom prst="rect">
                  <a:avLst/>
                </a:prstGeom>
                <a:solidFill>
                  <a:schemeClr val="accent4">
                    <a:lumMod val="25000"/>
                  </a:schemeClr>
                </a:solidFill>
                <a:ln w="9525">
                  <a:solidFill>
                    <a:schemeClr val="accent3"/>
                  </a:solidFill>
                </a:ln>
                <a:effectLst/>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p>
                  <a:pPr>
                    <a:lnSpc>
                      <a:spcPct val="90000"/>
                    </a:lnSpc>
                    <a:spcBef>
                      <a:spcPts val="341"/>
                    </a:spcBef>
                  </a:pPr>
                  <a:r>
                    <a:rPr lang="en-US" sz="1700" dirty="0">
                      <a:solidFill>
                        <a:schemeClr val="bg1"/>
                      </a:solidFill>
                    </a:rPr>
                    <a:t>6</a:t>
                  </a:r>
                  <a:endParaRPr lang="th-TH" sz="1700" dirty="0">
                    <a:solidFill>
                      <a:schemeClr val="bg1"/>
                    </a:solidFill>
                  </a:endParaRPr>
                </a:p>
              </p:txBody>
            </p:sp>
            <p:pic>
              <p:nvPicPr>
                <p:cNvPr id="2544652" name="Picture 12" descr="http://sarakham.dlt.go.th/art_572509%5b1%5d.jpg"/>
                <p:cNvPicPr>
                  <a:picLocks noChangeAspect="1" noChangeArrowheads="1"/>
                </p:cNvPicPr>
                <p:nvPr/>
              </p:nvPicPr>
              <p:blipFill>
                <a:blip r:embed="rId9" cstate="print">
                  <a:extLst>
                    <a:ext uri="{28A0092B-C50C-407E-A947-70E740481C1C}">
                      <a14:useLocalDpi xmlns:a14="http://schemas.microsoft.com/office/drawing/2010/main" xmlns="" val="0"/>
                    </a:ext>
                  </a:extLst>
                </a:blip>
                <a:srcRect/>
                <a:stretch>
                  <a:fillRect/>
                </a:stretch>
              </p:blipFill>
              <p:spPr bwMode="auto">
                <a:xfrm>
                  <a:off x="4462724" y="6002551"/>
                  <a:ext cx="1662032" cy="618050"/>
                </a:xfrm>
                <a:prstGeom prst="rect">
                  <a:avLst/>
                </a:prstGeom>
                <a:noFill/>
                <a:extLst>
                  <a:ext uri="{909E8E84-426E-40DD-AFC4-6F175D3DCCD1}">
                    <a14:hiddenFill xmlns:a14="http://schemas.microsoft.com/office/drawing/2010/main" xmlns="">
                      <a:solidFill>
                        <a:srgbClr val="FFFFFF"/>
                      </a:solidFill>
                    </a14:hiddenFill>
                  </a:ext>
                </a:extLst>
              </p:spPr>
            </p:pic>
          </p:grpSp>
          <p:grpSp>
            <p:nvGrpSpPr>
              <p:cNvPr id="17" name="Group 2544652"/>
              <p:cNvGrpSpPr/>
              <p:nvPr/>
            </p:nvGrpSpPr>
            <p:grpSpPr>
              <a:xfrm>
                <a:off x="4182084" y="3588538"/>
                <a:ext cx="1929434" cy="794181"/>
                <a:chOff x="4182084" y="3588538"/>
                <a:chExt cx="1929434" cy="794181"/>
              </a:xfrm>
            </p:grpSpPr>
            <p:sp>
              <p:nvSpPr>
                <p:cNvPr id="12" name="Rectangle 11"/>
                <p:cNvSpPr/>
                <p:nvPr/>
              </p:nvSpPr>
              <p:spPr>
                <a:xfrm>
                  <a:off x="4182084" y="3588538"/>
                  <a:ext cx="265051" cy="457200"/>
                </a:xfrm>
                <a:prstGeom prst="rect">
                  <a:avLst/>
                </a:prstGeom>
                <a:solidFill>
                  <a:schemeClr val="accent4">
                    <a:lumMod val="25000"/>
                  </a:schemeClr>
                </a:solidFill>
                <a:ln w="9525">
                  <a:solidFill>
                    <a:schemeClr val="accent3"/>
                  </a:solidFill>
                </a:ln>
                <a:effectLst/>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p>
                  <a:pPr>
                    <a:lnSpc>
                      <a:spcPct val="90000"/>
                    </a:lnSpc>
                    <a:spcBef>
                      <a:spcPts val="341"/>
                    </a:spcBef>
                  </a:pPr>
                  <a:r>
                    <a:rPr lang="en-US" sz="1700" dirty="0">
                      <a:solidFill>
                        <a:schemeClr val="bg1"/>
                      </a:solidFill>
                    </a:rPr>
                    <a:t>3</a:t>
                  </a:r>
                  <a:endParaRPr lang="th-TH" sz="1700" dirty="0">
                    <a:solidFill>
                      <a:schemeClr val="bg1"/>
                    </a:solidFill>
                  </a:endParaRPr>
                </a:p>
              </p:txBody>
            </p:sp>
            <p:pic>
              <p:nvPicPr>
                <p:cNvPr id="48" name="Picture 47"/>
                <p:cNvPicPr>
                  <a:picLocks noChangeAspect="1"/>
                </p:cNvPicPr>
                <p:nvPr/>
              </p:nvPicPr>
              <p:blipFill rotWithShape="1">
                <a:blip r:embed="rId10" cstate="print">
                  <a:extLst>
                    <a:ext uri="{28A0092B-C50C-407E-A947-70E740481C1C}">
                      <a14:useLocalDpi xmlns:a14="http://schemas.microsoft.com/office/drawing/2010/main" xmlns="" val="0"/>
                    </a:ext>
                  </a:extLst>
                </a:blip>
                <a:srcRect t="2980" r="8554" b="-1"/>
                <a:stretch/>
              </p:blipFill>
              <p:spPr>
                <a:xfrm>
                  <a:off x="4462724" y="3591665"/>
                  <a:ext cx="1648794" cy="791054"/>
                </a:xfrm>
                <a:prstGeom prst="rect">
                  <a:avLst/>
                </a:prstGeom>
                <a:noFill/>
              </p:spPr>
            </p:pic>
          </p:grpSp>
        </p:grpSp>
        <p:cxnSp>
          <p:nvCxnSpPr>
            <p:cNvPr id="51" name="Horizontal Line"/>
            <p:cNvCxnSpPr>
              <a:cxnSpLocks/>
            </p:cNvCxnSpPr>
            <p:nvPr/>
          </p:nvCxnSpPr>
          <p:spPr>
            <a:xfrm>
              <a:off x="3802951" y="1946944"/>
              <a:ext cx="2632354" cy="0"/>
            </a:xfrm>
            <a:prstGeom prst="line">
              <a:avLst/>
            </a:prstGeom>
            <a:ln w="22225">
              <a:solidFill>
                <a:schemeClr val="accent3"/>
              </a:solidFill>
            </a:ln>
            <a:effectLst/>
          </p:spPr>
          <p:style>
            <a:lnRef idx="1">
              <a:schemeClr val="accent1"/>
            </a:lnRef>
            <a:fillRef idx="0">
              <a:schemeClr val="accent1"/>
            </a:fillRef>
            <a:effectRef idx="0">
              <a:schemeClr val="accent1"/>
            </a:effectRef>
            <a:fontRef idx="minor">
              <a:schemeClr val="tx1"/>
            </a:fontRef>
          </p:style>
        </p:cxnSp>
        <p:sp>
          <p:nvSpPr>
            <p:cNvPr id="52" name="ListLeanHorizontalTextTopic1"/>
            <p:cNvSpPr txBox="1">
              <a:spLocks/>
            </p:cNvSpPr>
            <p:nvPr/>
          </p:nvSpPr>
          <p:spPr>
            <a:xfrm>
              <a:off x="3802951" y="1560409"/>
              <a:ext cx="4617133" cy="337003"/>
            </a:xfrm>
            <a:prstGeom prst="rect">
              <a:avLst/>
            </a:prstGeom>
            <a:noFill/>
            <a:ln w="9525">
              <a:noFill/>
            </a:ln>
          </p:spPr>
          <p:txBody>
            <a:bodyPr vert="horz" wrap="square" lIns="0" tIns="0" rIns="0" bIns="72000" rtlCol="0" anchor="b">
              <a:spAutoFit/>
            </a:bodyPr>
            <a:lstStyle/>
            <a:p>
              <a:pPr>
                <a:lnSpc>
                  <a:spcPct val="90000"/>
                </a:lnSpc>
                <a:spcBef>
                  <a:spcPts val="341"/>
                </a:spcBef>
                <a:buSzPct val="100000"/>
              </a:pPr>
              <a:r>
                <a:rPr lang="en-US" sz="1300" dirty="0">
                  <a:latin typeface="+mn-lt"/>
                  <a:cs typeface="Arial Narrow" pitchFamily="34" charset="0"/>
                </a:rPr>
                <a:t>Key highlights</a:t>
              </a:r>
            </a:p>
          </p:txBody>
        </p:sp>
        <p:grpSp>
          <p:nvGrpSpPr>
            <p:cNvPr id="18" name="Group 2544658"/>
            <p:cNvGrpSpPr/>
            <p:nvPr/>
          </p:nvGrpSpPr>
          <p:grpSpPr>
            <a:xfrm>
              <a:off x="6681721" y="1946944"/>
              <a:ext cx="2641941" cy="4852253"/>
              <a:chOff x="6681721" y="1946944"/>
              <a:chExt cx="2641941" cy="4852253"/>
            </a:xfrm>
          </p:grpSpPr>
          <p:cxnSp>
            <p:nvCxnSpPr>
              <p:cNvPr id="58" name="Horizontal Line"/>
              <p:cNvCxnSpPr>
                <a:cxnSpLocks/>
              </p:cNvCxnSpPr>
              <p:nvPr/>
            </p:nvCxnSpPr>
            <p:spPr>
              <a:xfrm>
                <a:off x="6691308" y="1946944"/>
                <a:ext cx="2632354" cy="0"/>
              </a:xfrm>
              <a:prstGeom prst="line">
                <a:avLst/>
              </a:prstGeom>
              <a:ln w="22225">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60" name="Horizontal Line"/>
              <p:cNvCxnSpPr>
                <a:cxnSpLocks/>
              </p:cNvCxnSpPr>
              <p:nvPr/>
            </p:nvCxnSpPr>
            <p:spPr>
              <a:xfrm>
                <a:off x="6691308" y="2795861"/>
                <a:ext cx="2632354" cy="0"/>
              </a:xfrm>
              <a:prstGeom prst="line">
                <a:avLst/>
              </a:prstGeom>
              <a:ln w="22225">
                <a:solidFill>
                  <a:schemeClr val="bg1">
                    <a:lumMod val="50000"/>
                  </a:schemeClr>
                </a:solidFill>
              </a:ln>
              <a:effectLst/>
            </p:spPr>
            <p:style>
              <a:lnRef idx="1">
                <a:schemeClr val="accent1"/>
              </a:lnRef>
              <a:fillRef idx="0">
                <a:schemeClr val="accent1"/>
              </a:fillRef>
              <a:effectRef idx="0">
                <a:schemeClr val="accent1"/>
              </a:effectRef>
              <a:fontRef idx="minor">
                <a:schemeClr val="tx1"/>
              </a:fontRef>
            </p:style>
          </p:cxnSp>
          <p:cxnSp>
            <p:nvCxnSpPr>
              <p:cNvPr id="61" name="Horizontal Line"/>
              <p:cNvCxnSpPr>
                <a:cxnSpLocks/>
              </p:cNvCxnSpPr>
              <p:nvPr/>
            </p:nvCxnSpPr>
            <p:spPr>
              <a:xfrm>
                <a:off x="6691308" y="3585181"/>
                <a:ext cx="2632354" cy="0"/>
              </a:xfrm>
              <a:prstGeom prst="line">
                <a:avLst/>
              </a:prstGeom>
              <a:ln w="22225">
                <a:solidFill>
                  <a:schemeClr val="bg1">
                    <a:lumMod val="50000"/>
                  </a:schemeClr>
                </a:solidFill>
              </a:ln>
              <a:effectLst/>
            </p:spPr>
            <p:style>
              <a:lnRef idx="1">
                <a:schemeClr val="accent1"/>
              </a:lnRef>
              <a:fillRef idx="0">
                <a:schemeClr val="accent1"/>
              </a:fillRef>
              <a:effectRef idx="0">
                <a:schemeClr val="accent1"/>
              </a:effectRef>
              <a:fontRef idx="minor">
                <a:schemeClr val="tx1"/>
              </a:fontRef>
            </p:style>
          </p:cxnSp>
          <p:cxnSp>
            <p:nvCxnSpPr>
              <p:cNvPr id="62" name="Horizontal Line"/>
              <p:cNvCxnSpPr>
                <a:cxnSpLocks/>
              </p:cNvCxnSpPr>
              <p:nvPr/>
            </p:nvCxnSpPr>
            <p:spPr>
              <a:xfrm>
                <a:off x="6691308" y="4672928"/>
                <a:ext cx="2632354" cy="0"/>
              </a:xfrm>
              <a:prstGeom prst="line">
                <a:avLst/>
              </a:prstGeom>
              <a:ln w="22225">
                <a:solidFill>
                  <a:schemeClr val="bg1">
                    <a:lumMod val="50000"/>
                  </a:schemeClr>
                </a:solidFill>
              </a:ln>
              <a:effectLst/>
            </p:spPr>
            <p:style>
              <a:lnRef idx="1">
                <a:schemeClr val="accent1"/>
              </a:lnRef>
              <a:fillRef idx="0">
                <a:schemeClr val="accent1"/>
              </a:fillRef>
              <a:effectRef idx="0">
                <a:schemeClr val="accent1"/>
              </a:effectRef>
              <a:fontRef idx="minor">
                <a:schemeClr val="tx1"/>
              </a:fontRef>
            </p:style>
          </p:cxnSp>
          <p:cxnSp>
            <p:nvCxnSpPr>
              <p:cNvPr id="63" name="Horizontal Line"/>
              <p:cNvCxnSpPr>
                <a:cxnSpLocks/>
              </p:cNvCxnSpPr>
              <p:nvPr/>
            </p:nvCxnSpPr>
            <p:spPr>
              <a:xfrm>
                <a:off x="6681783" y="5318165"/>
                <a:ext cx="2632354" cy="0"/>
              </a:xfrm>
              <a:prstGeom prst="line">
                <a:avLst/>
              </a:prstGeom>
              <a:ln w="22225">
                <a:solidFill>
                  <a:schemeClr val="bg1">
                    <a:lumMod val="50000"/>
                  </a:schemeClr>
                </a:solidFill>
              </a:ln>
              <a:effectLst/>
            </p:spPr>
            <p:style>
              <a:lnRef idx="1">
                <a:schemeClr val="accent1"/>
              </a:lnRef>
              <a:fillRef idx="0">
                <a:schemeClr val="accent1"/>
              </a:fillRef>
              <a:effectRef idx="0">
                <a:schemeClr val="accent1"/>
              </a:effectRef>
              <a:fontRef idx="minor">
                <a:schemeClr val="tx1"/>
              </a:fontRef>
            </p:style>
          </p:cxnSp>
          <p:cxnSp>
            <p:nvCxnSpPr>
              <p:cNvPr id="64" name="Horizontal Line"/>
              <p:cNvCxnSpPr>
                <a:cxnSpLocks/>
              </p:cNvCxnSpPr>
              <p:nvPr/>
            </p:nvCxnSpPr>
            <p:spPr>
              <a:xfrm>
                <a:off x="6681721" y="6227693"/>
                <a:ext cx="2632355" cy="0"/>
              </a:xfrm>
              <a:prstGeom prst="line">
                <a:avLst/>
              </a:prstGeom>
              <a:ln w="22225">
                <a:solidFill>
                  <a:schemeClr val="bg1">
                    <a:lumMod val="50000"/>
                  </a:schemeClr>
                </a:solidFill>
              </a:ln>
              <a:effectLst/>
            </p:spPr>
            <p:style>
              <a:lnRef idx="1">
                <a:schemeClr val="accent1"/>
              </a:lnRef>
              <a:fillRef idx="0">
                <a:schemeClr val="accent1"/>
              </a:fillRef>
              <a:effectRef idx="0">
                <a:schemeClr val="accent1"/>
              </a:effectRef>
              <a:fontRef idx="minor">
                <a:schemeClr val="tx1"/>
              </a:fontRef>
            </p:style>
          </p:cxnSp>
          <p:cxnSp>
            <p:nvCxnSpPr>
              <p:cNvPr id="65" name="Horizontal Line"/>
              <p:cNvCxnSpPr>
                <a:cxnSpLocks/>
              </p:cNvCxnSpPr>
              <p:nvPr/>
            </p:nvCxnSpPr>
            <p:spPr>
              <a:xfrm>
                <a:off x="6691307" y="6799197"/>
                <a:ext cx="2632355" cy="0"/>
              </a:xfrm>
              <a:prstGeom prst="line">
                <a:avLst/>
              </a:prstGeom>
              <a:ln w="22225">
                <a:solidFill>
                  <a:schemeClr val="bg1">
                    <a:lumMod val="50000"/>
                  </a:schemeClr>
                </a:solidFill>
              </a:ln>
              <a:effectLst/>
            </p:spPr>
            <p:style>
              <a:lnRef idx="1">
                <a:schemeClr val="accent1"/>
              </a:lnRef>
              <a:fillRef idx="0">
                <a:schemeClr val="accent1"/>
              </a:fillRef>
              <a:effectRef idx="0">
                <a:schemeClr val="accent1"/>
              </a:effectRef>
              <a:fontRef idx="minor">
                <a:schemeClr val="tx1"/>
              </a:fontRef>
            </p:style>
          </p:cxnSp>
        </p:grpSp>
      </p:grpSp>
      <p:sp>
        <p:nvSpPr>
          <p:cNvPr id="39" name="Rectangle 38"/>
          <p:cNvSpPr/>
          <p:nvPr/>
        </p:nvSpPr>
        <p:spPr>
          <a:xfrm>
            <a:off x="6072198" y="2427737"/>
            <a:ext cx="4535976" cy="976369"/>
          </a:xfrm>
          <a:prstGeom prst="rect">
            <a:avLst/>
          </a:prstGeom>
        </p:spPr>
        <p:txBody>
          <a:bodyPr wrap="square" lIns="77925" tIns="38963" rIns="77925" bIns="38963">
            <a:spAutoFit/>
          </a:bodyPr>
          <a:lstStyle/>
          <a:p>
            <a:pPr marL="154227" indent="-154227">
              <a:lnSpc>
                <a:spcPts val="1364"/>
              </a:lnSpc>
              <a:spcAft>
                <a:spcPts val="0"/>
              </a:spcAft>
            </a:pPr>
            <a:r>
              <a:rPr lang="th-TH" sz="1200" b="0" dirty="0">
                <a:latin typeface="+mn-lt"/>
                <a:ea typeface="Tahoma" pitchFamily="34" charset="0"/>
                <a:cs typeface="Tahoma" pitchFamily="34" charset="0"/>
              </a:rPr>
              <a:t>- </a:t>
            </a:r>
            <a:r>
              <a:rPr lang="en-US" sz="1200" b="0" dirty="0">
                <a:latin typeface="+mn-lt"/>
                <a:ea typeface="Tahoma" pitchFamily="34" charset="0"/>
                <a:cs typeface="Tahoma" pitchFamily="34" charset="0"/>
              </a:rPr>
              <a:t>	</a:t>
            </a:r>
            <a:r>
              <a:rPr lang="th-TH" sz="1200" dirty="0">
                <a:latin typeface="+mn-lt"/>
                <a:ea typeface="Tahoma" pitchFamily="34" charset="0"/>
                <a:cs typeface="Tahoma" pitchFamily="34" charset="0"/>
              </a:rPr>
              <a:t>การพัฒนาด่านศุลกากร</a:t>
            </a:r>
            <a:endParaRPr lang="en-US" sz="1200" dirty="0">
              <a:latin typeface="+mn-lt"/>
              <a:ea typeface="Tahoma" pitchFamily="34" charset="0"/>
              <a:cs typeface="Tahoma" pitchFamily="34" charset="0"/>
            </a:endParaRPr>
          </a:p>
          <a:p>
            <a:pPr marL="154227">
              <a:lnSpc>
                <a:spcPts val="1364"/>
              </a:lnSpc>
              <a:spcAft>
                <a:spcPts val="0"/>
              </a:spcAft>
            </a:pPr>
            <a:r>
              <a:rPr lang="th-TH" sz="1200" b="0" dirty="0">
                <a:latin typeface="+mn-lt"/>
                <a:ea typeface="Tahoma" pitchFamily="34" charset="0"/>
                <a:cs typeface="Tahoma" pitchFamily="34" charset="0"/>
              </a:rPr>
              <a:t>พัฒนาด่านศุลกากรแห่งใหม่ และอาคาร</a:t>
            </a:r>
            <a:br>
              <a:rPr lang="th-TH" sz="1200" b="0" dirty="0">
                <a:latin typeface="+mn-lt"/>
                <a:ea typeface="Tahoma" pitchFamily="34" charset="0"/>
                <a:cs typeface="Tahoma" pitchFamily="34" charset="0"/>
              </a:rPr>
            </a:br>
            <a:r>
              <a:rPr lang="th-TH" sz="1200" b="0" dirty="0">
                <a:latin typeface="+mn-lt"/>
                <a:ea typeface="Tahoma" pitchFamily="34" charset="0"/>
                <a:cs typeface="Tahoma" pitchFamily="34" charset="0"/>
              </a:rPr>
              <a:t>ที่ทำการ สตม. </a:t>
            </a:r>
            <a:r>
              <a:rPr lang="th-TH" sz="1200" b="0" dirty="0" smtClean="0">
                <a:latin typeface="+mn-lt"/>
                <a:ea typeface="Tahoma" pitchFamily="34" charset="0"/>
                <a:cs typeface="Tahoma" pitchFamily="34" charset="0"/>
              </a:rPr>
              <a:t>และด่านกักกันควบคุม</a:t>
            </a:r>
            <a:br>
              <a:rPr lang="th-TH" sz="1200" b="0" dirty="0" smtClean="0">
                <a:latin typeface="+mn-lt"/>
                <a:ea typeface="Tahoma" pitchFamily="34" charset="0"/>
                <a:cs typeface="Tahoma" pitchFamily="34" charset="0"/>
              </a:rPr>
            </a:br>
            <a:r>
              <a:rPr lang="th-TH" sz="1200" b="0" dirty="0" smtClean="0">
                <a:latin typeface="+mn-lt"/>
                <a:ea typeface="Tahoma" pitchFamily="34" charset="0"/>
                <a:cs typeface="Tahoma" pitchFamily="34" charset="0"/>
              </a:rPr>
              <a:t>พืชและสัตว์ (</a:t>
            </a:r>
            <a:r>
              <a:rPr lang="en-US" sz="1200" b="0" dirty="0" smtClean="0">
                <a:latin typeface="+mn-lt"/>
                <a:ea typeface="Tahoma" pitchFamily="34" charset="0"/>
                <a:cs typeface="Tahoma" pitchFamily="34" charset="0"/>
              </a:rPr>
              <a:t>CIQ</a:t>
            </a:r>
            <a:r>
              <a:rPr lang="th-TH" sz="1200" b="0" dirty="0" smtClean="0">
                <a:latin typeface="+mn-lt"/>
                <a:ea typeface="Tahoma" pitchFamily="34" charset="0"/>
                <a:cs typeface="Tahoma" pitchFamily="34" charset="0"/>
              </a:rPr>
              <a:t>) ณ บริเวณสะพานแห่งที่ </a:t>
            </a:r>
            <a:r>
              <a:rPr lang="en-US" sz="1200" b="0" dirty="0" smtClean="0">
                <a:latin typeface="+mn-lt"/>
                <a:ea typeface="Tahoma" pitchFamily="34" charset="0"/>
                <a:cs typeface="Tahoma" pitchFamily="34" charset="0"/>
              </a:rPr>
              <a:t>2</a:t>
            </a:r>
            <a:endParaRPr lang="en-US" sz="1200" b="0" dirty="0">
              <a:latin typeface="+mn-lt"/>
              <a:ea typeface="Tahoma" pitchFamily="34" charset="0"/>
              <a:cs typeface="Tahoma" pitchFamily="34" charset="0"/>
            </a:endParaRPr>
          </a:p>
          <a:p>
            <a:pPr marL="154227">
              <a:lnSpc>
                <a:spcPts val="1364"/>
              </a:lnSpc>
              <a:spcAft>
                <a:spcPts val="0"/>
              </a:spcAft>
            </a:pPr>
            <a:r>
              <a:rPr lang="en-US" sz="1200" b="0" dirty="0">
                <a:latin typeface="+mn-lt"/>
                <a:ea typeface="Tahoma" pitchFamily="34" charset="0"/>
                <a:cs typeface="Tahoma" pitchFamily="34" charset="0"/>
              </a:rPr>
              <a:t>  </a:t>
            </a:r>
          </a:p>
        </p:txBody>
      </p:sp>
      <p:sp>
        <p:nvSpPr>
          <p:cNvPr id="40" name="Rectangle 39"/>
          <p:cNvSpPr/>
          <p:nvPr/>
        </p:nvSpPr>
        <p:spPr>
          <a:xfrm>
            <a:off x="6072198" y="1857370"/>
            <a:ext cx="3012831" cy="632685"/>
          </a:xfrm>
          <a:prstGeom prst="rect">
            <a:avLst/>
          </a:prstGeom>
        </p:spPr>
        <p:txBody>
          <a:bodyPr wrap="square" lIns="77925" tIns="38963" rIns="77925" bIns="38963">
            <a:spAutoFit/>
          </a:bodyPr>
          <a:lstStyle/>
          <a:p>
            <a:pPr marL="154227" indent="-154227">
              <a:buFontTx/>
              <a:buChar char="-"/>
            </a:pPr>
            <a:r>
              <a:rPr lang="th-TH" sz="1200" dirty="0">
                <a:latin typeface="+mn-lt"/>
                <a:ea typeface="Tahoma" pitchFamily="34" charset="0"/>
                <a:cs typeface="Tahoma" pitchFamily="34" charset="0"/>
              </a:rPr>
              <a:t>สะพานข้ามแม่น้ำเมย แห่งที่ </a:t>
            </a:r>
            <a:r>
              <a:rPr lang="en-US" sz="1200" dirty="0">
                <a:latin typeface="+mn-lt"/>
                <a:ea typeface="Tahoma" pitchFamily="34" charset="0"/>
                <a:cs typeface="Tahoma" pitchFamily="34" charset="0"/>
              </a:rPr>
              <a:t>2 </a:t>
            </a:r>
          </a:p>
          <a:p>
            <a:pPr marL="154227" indent="-154227"/>
            <a:r>
              <a:rPr lang="en-US" sz="1200" b="0" dirty="0">
                <a:latin typeface="+mn-lt"/>
                <a:ea typeface="Tahoma" pitchFamily="34" charset="0"/>
                <a:cs typeface="Tahoma" pitchFamily="34" charset="0"/>
              </a:rPr>
              <a:t>  	</a:t>
            </a:r>
            <a:r>
              <a:rPr lang="th-TH" sz="1200" b="0" dirty="0" smtClean="0">
                <a:latin typeface="+mn-lt"/>
                <a:ea typeface="Tahoma" pitchFamily="34" charset="0"/>
                <a:cs typeface="Tahoma" pitchFamily="34" charset="0"/>
              </a:rPr>
              <a:t>วาง</a:t>
            </a:r>
            <a:r>
              <a:rPr lang="th-TH" sz="1200" b="0" dirty="0">
                <a:latin typeface="+mn-lt"/>
                <a:ea typeface="Tahoma" pitchFamily="34" charset="0"/>
                <a:cs typeface="Tahoma" pitchFamily="34" charset="0"/>
              </a:rPr>
              <a:t>ศิลา</a:t>
            </a:r>
            <a:r>
              <a:rPr lang="th-TH" sz="1200" b="0" dirty="0" smtClean="0">
                <a:latin typeface="+mn-lt"/>
                <a:ea typeface="Tahoma" pitchFamily="34" charset="0"/>
                <a:cs typeface="Tahoma" pitchFamily="34" charset="0"/>
              </a:rPr>
              <a:t>ฤกษ์เมื่อ </a:t>
            </a:r>
            <a:r>
              <a:rPr lang="th-TH" sz="1200" b="0" dirty="0">
                <a:latin typeface="+mn-lt"/>
                <a:ea typeface="Tahoma" pitchFamily="34" charset="0"/>
                <a:cs typeface="Tahoma" pitchFamily="34" charset="0"/>
              </a:rPr>
              <a:t>30 </a:t>
            </a:r>
            <a:r>
              <a:rPr lang="th-TH" sz="1200" b="0" dirty="0" smtClean="0">
                <a:latin typeface="+mn-lt"/>
                <a:ea typeface="Tahoma" pitchFamily="34" charset="0"/>
                <a:cs typeface="Tahoma" pitchFamily="34" charset="0"/>
              </a:rPr>
              <a:t>ส.ค. </a:t>
            </a:r>
            <a:r>
              <a:rPr lang="en-US" sz="1200" b="0" dirty="0" smtClean="0">
                <a:latin typeface="+mn-lt"/>
                <a:ea typeface="Tahoma" pitchFamily="34" charset="0"/>
                <a:cs typeface="Tahoma" pitchFamily="34" charset="0"/>
              </a:rPr>
              <a:t>58</a:t>
            </a:r>
            <a:r>
              <a:rPr lang="th-TH" sz="1200" b="0" dirty="0" smtClean="0">
                <a:latin typeface="+mn-lt"/>
                <a:ea typeface="Tahoma" pitchFamily="34" charset="0"/>
                <a:cs typeface="Tahoma" pitchFamily="34" charset="0"/>
              </a:rPr>
              <a:t> คาดว่าจะก่อสร้างแล้วเสร็จปี 2560</a:t>
            </a:r>
            <a:endParaRPr lang="th-TH" sz="1200" dirty="0">
              <a:latin typeface="+mn-lt"/>
            </a:endParaRPr>
          </a:p>
        </p:txBody>
      </p:sp>
      <p:sp>
        <p:nvSpPr>
          <p:cNvPr id="42" name="Rectangle 41"/>
          <p:cNvSpPr/>
          <p:nvPr/>
        </p:nvSpPr>
        <p:spPr>
          <a:xfrm>
            <a:off x="6049368" y="1218988"/>
            <a:ext cx="3094659" cy="632685"/>
          </a:xfrm>
          <a:prstGeom prst="rect">
            <a:avLst/>
          </a:prstGeom>
        </p:spPr>
        <p:txBody>
          <a:bodyPr wrap="square" lIns="77925" tIns="38963" rIns="77925" bIns="38963">
            <a:spAutoFit/>
          </a:bodyPr>
          <a:lstStyle/>
          <a:p>
            <a:pPr marL="154227" indent="-154227"/>
            <a:r>
              <a:rPr lang="en-US" sz="1200" b="0" dirty="0">
                <a:latin typeface="+mn-lt"/>
                <a:ea typeface="Tahoma" pitchFamily="34" charset="0"/>
                <a:cs typeface="Tahoma" pitchFamily="34" charset="0"/>
              </a:rPr>
              <a:t>-  	</a:t>
            </a:r>
            <a:r>
              <a:rPr lang="th-TH" sz="1200" dirty="0">
                <a:latin typeface="+mn-lt"/>
                <a:ea typeface="Tahoma" pitchFamily="34" charset="0"/>
                <a:cs typeface="Tahoma" pitchFamily="34" charset="0"/>
              </a:rPr>
              <a:t>ทางหลวงสายตาก-แม่สอด</a:t>
            </a:r>
            <a:r>
              <a:rPr lang="en-US" sz="1200" dirty="0">
                <a:latin typeface="+mn-lt"/>
                <a:ea typeface="Tahoma" pitchFamily="34" charset="0"/>
                <a:cs typeface="Tahoma" pitchFamily="34" charset="0"/>
              </a:rPr>
              <a:t> (HW no. 12) </a:t>
            </a:r>
            <a:r>
              <a:rPr lang="th-TH" sz="1200" dirty="0">
                <a:latin typeface="+mn-lt"/>
                <a:ea typeface="Tahoma" pitchFamily="34" charset="0"/>
                <a:cs typeface="Tahoma" pitchFamily="34" charset="0"/>
              </a:rPr>
              <a:t/>
            </a:r>
            <a:br>
              <a:rPr lang="th-TH" sz="1200" dirty="0">
                <a:latin typeface="+mn-lt"/>
                <a:ea typeface="Tahoma" pitchFamily="34" charset="0"/>
                <a:cs typeface="Tahoma" pitchFamily="34" charset="0"/>
              </a:rPr>
            </a:br>
            <a:r>
              <a:rPr lang="th-TH" sz="1200" b="0" dirty="0">
                <a:latin typeface="+mn-lt"/>
                <a:ea typeface="Tahoma" pitchFamily="34" charset="0"/>
                <a:cs typeface="Tahoma" pitchFamily="34" charset="0"/>
              </a:rPr>
              <a:t>ช่วงที่</a:t>
            </a:r>
            <a:r>
              <a:rPr lang="en-US" sz="1200" b="0" dirty="0">
                <a:latin typeface="+mn-lt"/>
                <a:ea typeface="Tahoma" pitchFamily="34" charset="0"/>
                <a:cs typeface="Tahoma" pitchFamily="34" charset="0"/>
              </a:rPr>
              <a:t> 3 </a:t>
            </a:r>
            <a:r>
              <a:rPr lang="th-TH" sz="1200" b="0" dirty="0">
                <a:latin typeface="+mn-lt"/>
                <a:ea typeface="Tahoma" pitchFamily="34" charset="0"/>
                <a:cs typeface="Tahoma" pitchFamily="34" charset="0"/>
              </a:rPr>
              <a:t>อยู่ระหว่าง</a:t>
            </a:r>
            <a:r>
              <a:rPr lang="th-TH" sz="1200" b="0" dirty="0" smtClean="0">
                <a:latin typeface="+mn-lt"/>
                <a:ea typeface="Tahoma" pitchFamily="34" charset="0"/>
                <a:cs typeface="Tahoma" pitchFamily="34" charset="0"/>
              </a:rPr>
              <a:t>ก่อสร้าง แล้วเสร็จปี 2560</a:t>
            </a:r>
            <a:r>
              <a:rPr lang="en-US" sz="1200" b="0" dirty="0" smtClean="0">
                <a:latin typeface="+mn-lt"/>
                <a:ea typeface="Tahoma" pitchFamily="34" charset="0"/>
                <a:cs typeface="Tahoma" pitchFamily="34" charset="0"/>
              </a:rPr>
              <a:t>  </a:t>
            </a:r>
            <a:r>
              <a:rPr lang="en-US" sz="1200" b="0" dirty="0">
                <a:latin typeface="+mn-lt"/>
                <a:ea typeface="Tahoma" pitchFamily="34" charset="0"/>
                <a:cs typeface="Tahoma" pitchFamily="34" charset="0"/>
              </a:rPr>
              <a:t/>
            </a:r>
            <a:br>
              <a:rPr lang="en-US" sz="1200" b="0" dirty="0">
                <a:latin typeface="+mn-lt"/>
                <a:ea typeface="Tahoma" pitchFamily="34" charset="0"/>
                <a:cs typeface="Tahoma" pitchFamily="34" charset="0"/>
              </a:rPr>
            </a:br>
            <a:r>
              <a:rPr lang="th-TH" sz="1200" b="0" dirty="0">
                <a:latin typeface="+mn-lt"/>
                <a:ea typeface="Tahoma" pitchFamily="34" charset="0"/>
                <a:cs typeface="Tahoma" pitchFamily="34" charset="0"/>
              </a:rPr>
              <a:t>ช่วงที่</a:t>
            </a:r>
            <a:r>
              <a:rPr lang="en-US" sz="1200" b="0" dirty="0">
                <a:latin typeface="+mn-lt"/>
                <a:ea typeface="Tahoma" pitchFamily="34" charset="0"/>
                <a:cs typeface="Tahoma" pitchFamily="34" charset="0"/>
              </a:rPr>
              <a:t> 4 </a:t>
            </a:r>
            <a:r>
              <a:rPr lang="th-TH" sz="1200" b="0" dirty="0">
                <a:latin typeface="+mn-lt"/>
                <a:ea typeface="Tahoma" pitchFamily="34" charset="0"/>
                <a:cs typeface="Tahoma" pitchFamily="34" charset="0"/>
              </a:rPr>
              <a:t>ได้รับจัดสรรงบประมาณปี </a:t>
            </a:r>
            <a:r>
              <a:rPr lang="en-US" sz="1200" b="0" dirty="0">
                <a:latin typeface="+mn-lt"/>
                <a:ea typeface="Tahoma" pitchFamily="34" charset="0"/>
                <a:cs typeface="Tahoma" pitchFamily="34" charset="0"/>
              </a:rPr>
              <a:t>2559  </a:t>
            </a:r>
            <a:r>
              <a:rPr lang="th-TH" sz="1200" b="0" dirty="0">
                <a:latin typeface="+mn-lt"/>
                <a:ea typeface="Tahoma" pitchFamily="34" charset="0"/>
                <a:cs typeface="Tahoma" pitchFamily="34" charset="0"/>
              </a:rPr>
              <a:t>   </a:t>
            </a:r>
            <a:endParaRPr lang="th-TH" sz="1200" dirty="0">
              <a:latin typeface="+mn-lt"/>
            </a:endParaRPr>
          </a:p>
        </p:txBody>
      </p:sp>
      <p:sp>
        <p:nvSpPr>
          <p:cNvPr id="43" name="Rectangle 42"/>
          <p:cNvSpPr/>
          <p:nvPr/>
        </p:nvSpPr>
        <p:spPr>
          <a:xfrm>
            <a:off x="6066473" y="3286130"/>
            <a:ext cx="2898019" cy="448019"/>
          </a:xfrm>
          <a:prstGeom prst="rect">
            <a:avLst/>
          </a:prstGeom>
        </p:spPr>
        <p:txBody>
          <a:bodyPr wrap="square" lIns="77925" tIns="38963" rIns="77925" bIns="38963">
            <a:spAutoFit/>
          </a:bodyPr>
          <a:lstStyle/>
          <a:p>
            <a:pPr marL="73055" indent="-73055"/>
            <a:r>
              <a:rPr lang="th-TH" sz="1200" b="0" dirty="0">
                <a:latin typeface="+mn-lt"/>
                <a:ea typeface="Tahoma" pitchFamily="34" charset="0"/>
                <a:cs typeface="Tahoma" pitchFamily="34" charset="0"/>
              </a:rPr>
              <a:t>-  ก</a:t>
            </a:r>
            <a:r>
              <a:rPr lang="th-TH" sz="1200" dirty="0">
                <a:latin typeface="+mn-lt"/>
                <a:ea typeface="Tahoma" pitchFamily="34" charset="0"/>
                <a:cs typeface="Tahoma" pitchFamily="34" charset="0"/>
              </a:rPr>
              <a:t>ารพัฒนาสนามบินแม่สอด </a:t>
            </a:r>
            <a:r>
              <a:rPr lang="en-US" sz="1200" dirty="0">
                <a:latin typeface="+mn-lt"/>
                <a:ea typeface="Tahoma" pitchFamily="34" charset="0"/>
                <a:cs typeface="Tahoma" pitchFamily="34" charset="0"/>
              </a:rPr>
              <a:t> </a:t>
            </a:r>
          </a:p>
          <a:p>
            <a:pPr>
              <a:tabLst>
                <a:tab pos="0" algn="l"/>
              </a:tabLst>
            </a:pPr>
            <a:r>
              <a:rPr lang="en-US" sz="1200" b="0" dirty="0">
                <a:latin typeface="+mn-lt"/>
                <a:ea typeface="Tahoma" pitchFamily="34" charset="0"/>
                <a:cs typeface="Tahoma" pitchFamily="34" charset="0"/>
              </a:rPr>
              <a:t>	 </a:t>
            </a:r>
            <a:r>
              <a:rPr lang="th-TH" sz="1200" b="0" dirty="0">
                <a:latin typeface="+mn-lt"/>
                <a:ea typeface="Tahoma" pitchFamily="34" charset="0"/>
                <a:cs typeface="Tahoma" pitchFamily="34" charset="0"/>
              </a:rPr>
              <a:t>  อยู่ระหว่างจัดซื้อที่ดินสำหรับ</a:t>
            </a:r>
            <a:r>
              <a:rPr lang="th-TH" sz="1200" b="0" dirty="0" smtClean="0">
                <a:latin typeface="+mn-lt"/>
                <a:ea typeface="Tahoma" pitchFamily="34" charset="0"/>
                <a:cs typeface="Tahoma" pitchFamily="34" charset="0"/>
              </a:rPr>
              <a:t>ขยายทาง</a:t>
            </a:r>
            <a:r>
              <a:rPr lang="th-TH" sz="1200" b="0" dirty="0">
                <a:latin typeface="+mn-lt"/>
                <a:ea typeface="Tahoma" pitchFamily="34" charset="0"/>
                <a:cs typeface="Tahoma" pitchFamily="34" charset="0"/>
              </a:rPr>
              <a:t>วิ่ง</a:t>
            </a:r>
          </a:p>
        </p:txBody>
      </p:sp>
      <p:sp>
        <p:nvSpPr>
          <p:cNvPr id="44" name="Rectangle 43"/>
          <p:cNvSpPr/>
          <p:nvPr/>
        </p:nvSpPr>
        <p:spPr>
          <a:xfrm>
            <a:off x="6047148" y="4409747"/>
            <a:ext cx="2609966" cy="448019"/>
          </a:xfrm>
          <a:prstGeom prst="rect">
            <a:avLst/>
          </a:prstGeom>
        </p:spPr>
        <p:txBody>
          <a:bodyPr wrap="none" lIns="77925" tIns="38963" rIns="77925" bIns="38963">
            <a:spAutoFit/>
          </a:bodyPr>
          <a:lstStyle/>
          <a:p>
            <a:pPr>
              <a:buFontTx/>
              <a:buChar char="-"/>
            </a:pPr>
            <a:r>
              <a:rPr lang="th-TH" sz="1200" b="0" dirty="0">
                <a:latin typeface="+mn-lt"/>
                <a:ea typeface="Tahoma" pitchFamily="34" charset="0"/>
                <a:cs typeface="Tahoma" pitchFamily="34" charset="0"/>
              </a:rPr>
              <a:t>  </a:t>
            </a:r>
            <a:r>
              <a:rPr lang="th-TH" sz="1200" dirty="0">
                <a:latin typeface="+mn-lt"/>
                <a:ea typeface="Tahoma" pitchFamily="34" charset="0"/>
                <a:cs typeface="Tahoma" pitchFamily="34" charset="0"/>
              </a:rPr>
              <a:t>สถานีขนส่งสินค้า</a:t>
            </a:r>
          </a:p>
          <a:p>
            <a:pPr marL="154227" indent="-154227"/>
            <a:r>
              <a:rPr lang="th-TH" sz="1200" b="0" dirty="0">
                <a:latin typeface="+mn-lt"/>
                <a:ea typeface="Tahoma" pitchFamily="34" charset="0"/>
                <a:cs typeface="Tahoma" pitchFamily="34" charset="0"/>
              </a:rPr>
              <a:t>   กรมการขนส่งทางบกอยู่ระหว่างศึกษา</a:t>
            </a:r>
          </a:p>
        </p:txBody>
      </p:sp>
      <p:sp>
        <p:nvSpPr>
          <p:cNvPr id="45" name="Isosceles Triangle 44"/>
          <p:cNvSpPr/>
          <p:nvPr/>
        </p:nvSpPr>
        <p:spPr>
          <a:xfrm rot="5400000">
            <a:off x="5875215" y="1358697"/>
            <a:ext cx="207167" cy="175845"/>
          </a:xfrm>
          <a:prstGeom prst="triangle">
            <a:avLst/>
          </a:prstGeom>
          <a:solidFill>
            <a:schemeClr val="accent6">
              <a:lumMod val="75000"/>
            </a:schemeClr>
          </a:solidFill>
          <a:ln w="9525">
            <a:solidFill>
              <a:schemeClr val="accent3"/>
            </a:solidFill>
          </a:ln>
          <a:effectLst/>
        </p:spPr>
        <p:style>
          <a:lnRef idx="1">
            <a:schemeClr val="accent1"/>
          </a:lnRef>
          <a:fillRef idx="0">
            <a:schemeClr val="accent1"/>
          </a:fillRef>
          <a:effectRef idx="0">
            <a:schemeClr val="accent1"/>
          </a:effectRef>
          <a:fontRef idx="minor">
            <a:schemeClr val="tx1"/>
          </a:fontRef>
        </p:style>
        <p:txBody>
          <a:bodyPr lIns="61358" tIns="61358" rIns="61358" bIns="92038" rtlCol="0" anchor="t" anchorCtr="0">
            <a:noAutofit/>
          </a:bodyPr>
          <a:lstStyle/>
          <a:p>
            <a:pPr>
              <a:lnSpc>
                <a:spcPct val="90000"/>
              </a:lnSpc>
              <a:spcBef>
                <a:spcPts val="341"/>
              </a:spcBef>
            </a:pPr>
            <a:endParaRPr lang="th-TH" sz="1300" b="0" dirty="0"/>
          </a:p>
        </p:txBody>
      </p:sp>
      <p:sp>
        <p:nvSpPr>
          <p:cNvPr id="46" name="Rectangle 45"/>
          <p:cNvSpPr/>
          <p:nvPr/>
        </p:nvSpPr>
        <p:spPr>
          <a:xfrm>
            <a:off x="6072198" y="3696426"/>
            <a:ext cx="4572000" cy="732712"/>
          </a:xfrm>
          <a:prstGeom prst="rect">
            <a:avLst/>
          </a:prstGeom>
        </p:spPr>
        <p:txBody>
          <a:bodyPr lIns="77925" tIns="38963" rIns="77925" bIns="38963">
            <a:spAutoFit/>
          </a:bodyPr>
          <a:lstStyle/>
          <a:p>
            <a:pPr marL="73055" indent="-73055">
              <a:lnSpc>
                <a:spcPts val="1704"/>
              </a:lnSpc>
            </a:pPr>
            <a:r>
              <a:rPr lang="th-TH" sz="1000" dirty="0">
                <a:latin typeface="Tahoma" pitchFamily="34" charset="0"/>
                <a:ea typeface="Tahoma" pitchFamily="34" charset="0"/>
                <a:cs typeface="Tahoma" pitchFamily="34" charset="0"/>
              </a:rPr>
              <a:t>-  </a:t>
            </a:r>
            <a:r>
              <a:rPr lang="th-TH" sz="1200" dirty="0">
                <a:latin typeface="Tahoma" pitchFamily="34" charset="0"/>
                <a:ea typeface="Tahoma" pitchFamily="34" charset="0"/>
                <a:cs typeface="Tahoma" pitchFamily="34" charset="0"/>
              </a:rPr>
              <a:t>นิคมอุตสาหกรรม</a:t>
            </a:r>
            <a:endParaRPr lang="en-US" sz="1200" dirty="0">
              <a:latin typeface="+mn-lt"/>
              <a:ea typeface="Tahoma" pitchFamily="34" charset="0"/>
              <a:cs typeface="Tahoma" pitchFamily="34" charset="0"/>
            </a:endParaRPr>
          </a:p>
          <a:p>
            <a:pPr marL="73055" indent="-73055">
              <a:lnSpc>
                <a:spcPts val="1704"/>
              </a:lnSpc>
            </a:pPr>
            <a:r>
              <a:rPr lang="th-TH" sz="1200" b="0" dirty="0">
                <a:latin typeface="+mn-lt"/>
                <a:ea typeface="Tahoma" pitchFamily="34" charset="0"/>
                <a:cs typeface="Tahoma" pitchFamily="34" charset="0"/>
              </a:rPr>
              <a:t>   </a:t>
            </a:r>
            <a:r>
              <a:rPr lang="th-TH" sz="1200" b="0" dirty="0" smtClean="0">
                <a:latin typeface="+mn-lt"/>
                <a:ea typeface="Tahoma" pitchFamily="34" charset="0"/>
                <a:cs typeface="Tahoma" pitchFamily="34" charset="0"/>
              </a:rPr>
              <a:t>กนอ.ได้รับอนุมัติให้เช่าที่ดินในพื้นที่พัฒนา </a:t>
            </a:r>
            <a:br>
              <a:rPr lang="th-TH" sz="1200" b="0" dirty="0" smtClean="0">
                <a:latin typeface="+mn-lt"/>
                <a:ea typeface="Tahoma" pitchFamily="34" charset="0"/>
                <a:cs typeface="Tahoma" pitchFamily="34" charset="0"/>
              </a:rPr>
            </a:br>
            <a:r>
              <a:rPr lang="th-TH" sz="1200" b="0" dirty="0" smtClean="0">
                <a:latin typeface="+mn-lt"/>
                <a:ea typeface="Tahoma" pitchFamily="34" charset="0"/>
                <a:cs typeface="Tahoma" pitchFamily="34" charset="0"/>
              </a:rPr>
              <a:t> และอยู่ระหว่างออกแบบการใช้พื้นที่ </a:t>
            </a:r>
            <a:endParaRPr lang="en-US" sz="1200" b="0" dirty="0">
              <a:latin typeface="+mn-lt"/>
              <a:ea typeface="Tahoma" pitchFamily="34" charset="0"/>
              <a:cs typeface="Tahoma" pitchFamily="34" charset="0"/>
            </a:endParaRPr>
          </a:p>
        </p:txBody>
      </p:sp>
    </p:spTree>
    <p:extLst>
      <p:ext uri="{BB962C8B-B14F-4D97-AF65-F5344CB8AC3E}">
        <p14:creationId xmlns:p14="http://schemas.microsoft.com/office/powerpoint/2010/main" xmlns="" val="3873597494"/>
      </p:ext>
    </p:extLst>
  </p:cSld>
  <p:clrMapOvr>
    <a:masterClrMapping/>
  </p:clrMapOvr>
  <p:transition spd="med">
    <p:fade thruBlk="1"/>
  </p:transition>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2"/>
          <p:cNvSpPr txBox="1">
            <a:spLocks/>
          </p:cNvSpPr>
          <p:nvPr/>
        </p:nvSpPr>
        <p:spPr>
          <a:xfrm>
            <a:off x="374282" y="195489"/>
            <a:ext cx="8590207" cy="560923"/>
          </a:xfrm>
          <a:prstGeom prst="rect">
            <a:avLst/>
          </a:prstGeom>
        </p:spPr>
        <p:txBody>
          <a:bodyPr lIns="77925" tIns="38963" rIns="77925" bIns="38963"/>
          <a:lstStyle/>
          <a:p>
            <a:pPr defTabSz="779252" fontAlgn="auto">
              <a:lnSpc>
                <a:spcPct val="90000"/>
              </a:lnSpc>
              <a:spcAft>
                <a:spcPts val="0"/>
              </a:spcAft>
              <a:defRPr/>
            </a:pPr>
            <a:r>
              <a:rPr lang="th-TH" sz="2700" b="1" dirty="0">
                <a:latin typeface="TH SarabunPSK" pitchFamily="34" charset="-34"/>
                <a:ea typeface="+mj-ea"/>
                <a:cs typeface="TH SarabunPSK" pitchFamily="34" charset="-34"/>
                <a:sym typeface="+mn-lt"/>
              </a:rPr>
              <a:t>การลงทุนในเขตเศรษฐกิจพิเศษจะได้รับสิทธิประโยชน์ในระดับสูงสุด</a:t>
            </a:r>
            <a:r>
              <a:rPr lang="en-US" sz="2700" b="1" dirty="0">
                <a:latin typeface="TH SarabunPSK" pitchFamily="34" charset="-34"/>
                <a:ea typeface="+mj-ea"/>
                <a:cs typeface="TH SarabunPSK" pitchFamily="34" charset="-34"/>
                <a:sym typeface="+mn-lt"/>
              </a:rPr>
              <a:t> </a:t>
            </a:r>
            <a:r>
              <a:rPr lang="th-TH" sz="2700" b="1" dirty="0">
                <a:latin typeface="TH SarabunPSK" pitchFamily="34" charset="-34"/>
                <a:ea typeface="+mj-ea"/>
                <a:cs typeface="TH SarabunPSK" pitchFamily="34" charset="-34"/>
                <a:sym typeface="+mn-lt"/>
              </a:rPr>
              <a:t>และ</a:t>
            </a:r>
            <a:r>
              <a:rPr lang="th-TH" sz="2700" b="1" dirty="0" smtClean="0">
                <a:latin typeface="TH SarabunPSK" pitchFamily="34" charset="-34"/>
                <a:ea typeface="+mj-ea"/>
                <a:cs typeface="TH SarabunPSK" pitchFamily="34" charset="-34"/>
                <a:sym typeface="+mn-lt"/>
              </a:rPr>
              <a:t>สามารถใช้</a:t>
            </a:r>
            <a:r>
              <a:rPr lang="th-TH" sz="2700" b="1" dirty="0">
                <a:latin typeface="TH SarabunPSK" pitchFamily="34" charset="-34"/>
                <a:ea typeface="+mj-ea"/>
                <a:cs typeface="TH SarabunPSK" pitchFamily="34" charset="-34"/>
                <a:sym typeface="+mn-lt"/>
              </a:rPr>
              <a:t>แรงงานต่างด้าวในการประกอบกิจการได้</a:t>
            </a:r>
            <a:endParaRPr lang="en-US" sz="2700" b="1" dirty="0">
              <a:latin typeface="TH SarabunPSK" pitchFamily="34" charset="-34"/>
              <a:ea typeface="+mj-ea"/>
              <a:cs typeface="TH SarabunPSK" pitchFamily="34" charset="-34"/>
              <a:sym typeface="+mn-lt"/>
            </a:endParaRPr>
          </a:p>
        </p:txBody>
      </p:sp>
      <p:grpSp>
        <p:nvGrpSpPr>
          <p:cNvPr id="94" name="Group 93"/>
          <p:cNvGrpSpPr/>
          <p:nvPr/>
        </p:nvGrpSpPr>
        <p:grpSpPr>
          <a:xfrm>
            <a:off x="640288" y="1250701"/>
            <a:ext cx="8146554" cy="3582105"/>
            <a:chOff x="853440" y="1548881"/>
            <a:chExt cx="8825433" cy="4776141"/>
          </a:xfrm>
        </p:grpSpPr>
        <p:grpSp>
          <p:nvGrpSpPr>
            <p:cNvPr id="13" name="Group 12"/>
            <p:cNvGrpSpPr/>
            <p:nvPr/>
          </p:nvGrpSpPr>
          <p:grpSpPr>
            <a:xfrm>
              <a:off x="858078" y="2352923"/>
              <a:ext cx="2484120" cy="1106453"/>
              <a:chOff x="858078" y="2352923"/>
              <a:chExt cx="2484120" cy="1106453"/>
            </a:xfrm>
          </p:grpSpPr>
          <p:sp>
            <p:nvSpPr>
              <p:cNvPr id="11" name="Rectangle 10"/>
              <p:cNvSpPr/>
              <p:nvPr/>
            </p:nvSpPr>
            <p:spPr>
              <a:xfrm>
                <a:off x="858078" y="2352923"/>
                <a:ext cx="2484120" cy="1106453"/>
              </a:xfrm>
              <a:prstGeom prst="rect">
                <a:avLst/>
              </a:prstGeom>
              <a:solidFill>
                <a:schemeClr val="accent6">
                  <a:lumMod val="75000"/>
                </a:schemeClr>
              </a:solidFill>
              <a:ln w="9525">
                <a:solidFill>
                  <a:schemeClr val="accent3"/>
                </a:solidFill>
              </a:ln>
              <a:effectLst/>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p>
                <a:pPr>
                  <a:lnSpc>
                    <a:spcPct val="90000"/>
                  </a:lnSpc>
                  <a:spcBef>
                    <a:spcPts val="341"/>
                  </a:spcBef>
                </a:pPr>
                <a:endParaRPr lang="th-TH" sz="1300" b="0" dirty="0"/>
              </a:p>
            </p:txBody>
          </p:sp>
          <p:sp>
            <p:nvSpPr>
              <p:cNvPr id="12" name="TextBox 11"/>
              <p:cNvSpPr txBox="1"/>
              <p:nvPr/>
            </p:nvSpPr>
            <p:spPr>
              <a:xfrm>
                <a:off x="1264919" y="2682240"/>
                <a:ext cx="1615439" cy="369332"/>
              </a:xfrm>
              <a:prstGeom prst="rect">
                <a:avLst/>
              </a:prstGeom>
              <a:noFill/>
              <a:ln w="9525">
                <a:noFill/>
              </a:ln>
            </p:spPr>
            <p:txBody>
              <a:bodyPr vert="horz" wrap="square" lIns="0" tIns="0" rIns="0" bIns="0" rtlCol="0">
                <a:spAutoFit/>
              </a:bodyPr>
              <a:lstStyle/>
              <a:p>
                <a:pPr algn="ctr">
                  <a:lnSpc>
                    <a:spcPct val="90000"/>
                  </a:lnSpc>
                  <a:spcBef>
                    <a:spcPts val="341"/>
                  </a:spcBef>
                  <a:buClr>
                    <a:srgbClr val="000000"/>
                  </a:buClr>
                  <a:buSzPct val="100000"/>
                </a:pPr>
                <a:r>
                  <a:rPr lang="en-US" sz="2000" b="0" dirty="0">
                    <a:solidFill>
                      <a:schemeClr val="bg1"/>
                    </a:solidFill>
                    <a:latin typeface="+mn-lt"/>
                    <a:cs typeface="Arial Narrow" pitchFamily="34" charset="0"/>
                  </a:rPr>
                  <a:t>BOI</a:t>
                </a:r>
                <a:endParaRPr lang="th-TH" sz="2000" b="0" dirty="0">
                  <a:solidFill>
                    <a:schemeClr val="bg1"/>
                  </a:solidFill>
                  <a:latin typeface="+mn-lt"/>
                  <a:cs typeface="Arial Narrow" pitchFamily="34" charset="0"/>
                </a:endParaRPr>
              </a:p>
            </p:txBody>
          </p:sp>
        </p:grpSp>
        <p:grpSp>
          <p:nvGrpSpPr>
            <p:cNvPr id="14" name="Group 13"/>
            <p:cNvGrpSpPr/>
            <p:nvPr/>
          </p:nvGrpSpPr>
          <p:grpSpPr>
            <a:xfrm>
              <a:off x="853440" y="4438152"/>
              <a:ext cx="2484120" cy="914400"/>
              <a:chOff x="838200" y="2472192"/>
              <a:chExt cx="2484120" cy="914400"/>
            </a:xfrm>
          </p:grpSpPr>
          <p:sp>
            <p:nvSpPr>
              <p:cNvPr id="15" name="Rectangle 14"/>
              <p:cNvSpPr/>
              <p:nvPr/>
            </p:nvSpPr>
            <p:spPr>
              <a:xfrm>
                <a:off x="838200" y="2472192"/>
                <a:ext cx="2484120" cy="914400"/>
              </a:xfrm>
              <a:prstGeom prst="rect">
                <a:avLst/>
              </a:prstGeom>
              <a:solidFill>
                <a:schemeClr val="accent6">
                  <a:lumMod val="75000"/>
                </a:schemeClr>
              </a:solidFill>
              <a:ln w="9525">
                <a:solidFill>
                  <a:schemeClr val="accent3"/>
                </a:solidFill>
              </a:ln>
              <a:effectLst/>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p>
                <a:pPr>
                  <a:lnSpc>
                    <a:spcPct val="90000"/>
                  </a:lnSpc>
                  <a:spcBef>
                    <a:spcPts val="341"/>
                  </a:spcBef>
                </a:pPr>
                <a:endParaRPr lang="th-TH" sz="1300" b="0" dirty="0"/>
              </a:p>
            </p:txBody>
          </p:sp>
          <p:sp>
            <p:nvSpPr>
              <p:cNvPr id="16" name="TextBox 15"/>
              <p:cNvSpPr txBox="1"/>
              <p:nvPr/>
            </p:nvSpPr>
            <p:spPr>
              <a:xfrm>
                <a:off x="1124791" y="2577792"/>
                <a:ext cx="1864426" cy="738664"/>
              </a:xfrm>
              <a:prstGeom prst="rect">
                <a:avLst/>
              </a:prstGeom>
              <a:noFill/>
              <a:ln w="9525">
                <a:noFill/>
              </a:ln>
            </p:spPr>
            <p:txBody>
              <a:bodyPr vert="horz" wrap="square" lIns="0" tIns="0" rIns="0" bIns="0" rtlCol="0">
                <a:spAutoFit/>
              </a:bodyPr>
              <a:lstStyle/>
              <a:p>
                <a:pPr algn="ctr">
                  <a:lnSpc>
                    <a:spcPct val="90000"/>
                  </a:lnSpc>
                  <a:spcBef>
                    <a:spcPts val="341"/>
                  </a:spcBef>
                  <a:buClr>
                    <a:srgbClr val="000000"/>
                  </a:buClr>
                  <a:buSzPct val="100000"/>
                </a:pPr>
                <a:r>
                  <a:rPr lang="en-US" sz="2000" b="0" dirty="0">
                    <a:solidFill>
                      <a:schemeClr val="bg1"/>
                    </a:solidFill>
                    <a:latin typeface="+mn-lt"/>
                    <a:cs typeface="Arial Narrow" pitchFamily="34" charset="0"/>
                  </a:rPr>
                  <a:t>BOI  </a:t>
                </a:r>
                <a:br>
                  <a:rPr lang="en-US" sz="2000" b="0" dirty="0">
                    <a:solidFill>
                      <a:schemeClr val="bg1"/>
                    </a:solidFill>
                    <a:latin typeface="+mn-lt"/>
                    <a:cs typeface="Arial Narrow" pitchFamily="34" charset="0"/>
                  </a:rPr>
                </a:br>
                <a:r>
                  <a:rPr lang="en-US" sz="2000" b="0" dirty="0">
                    <a:solidFill>
                      <a:schemeClr val="bg1"/>
                    </a:solidFill>
                    <a:latin typeface="+mn-lt"/>
                    <a:cs typeface="Arial Narrow" pitchFamily="34" charset="0"/>
                  </a:rPr>
                  <a:t>(</a:t>
                </a:r>
                <a:r>
                  <a:rPr lang="th-TH" sz="2000" b="0" dirty="0">
                    <a:solidFill>
                      <a:schemeClr val="bg1"/>
                    </a:solidFill>
                    <a:latin typeface="+mn-lt"/>
                    <a:cs typeface="Arial Narrow" pitchFamily="34" charset="0"/>
                  </a:rPr>
                  <a:t>เรื่อง</a:t>
                </a:r>
                <a:r>
                  <a:rPr lang="en-US" sz="2000" b="0" dirty="0">
                    <a:solidFill>
                      <a:schemeClr val="bg1"/>
                    </a:solidFill>
                    <a:latin typeface="+mn-lt"/>
                    <a:cs typeface="Arial Narrow" pitchFamily="34" charset="0"/>
                  </a:rPr>
                  <a:t>SMEs) </a:t>
                </a:r>
                <a:endParaRPr lang="th-TH" sz="2000" b="0" dirty="0">
                  <a:solidFill>
                    <a:schemeClr val="bg1"/>
                  </a:solidFill>
                  <a:latin typeface="+mn-lt"/>
                  <a:cs typeface="Arial Narrow" pitchFamily="34" charset="0"/>
                </a:endParaRPr>
              </a:p>
            </p:txBody>
          </p:sp>
        </p:grpSp>
        <p:grpSp>
          <p:nvGrpSpPr>
            <p:cNvPr id="17" name="Group 16"/>
            <p:cNvGrpSpPr/>
            <p:nvPr/>
          </p:nvGrpSpPr>
          <p:grpSpPr>
            <a:xfrm>
              <a:off x="853440" y="3502548"/>
              <a:ext cx="2484120" cy="914400"/>
              <a:chOff x="838200" y="2511948"/>
              <a:chExt cx="2484120" cy="914400"/>
            </a:xfrm>
          </p:grpSpPr>
          <p:sp>
            <p:nvSpPr>
              <p:cNvPr id="18" name="Rectangle 17"/>
              <p:cNvSpPr/>
              <p:nvPr/>
            </p:nvSpPr>
            <p:spPr>
              <a:xfrm>
                <a:off x="838200" y="2511948"/>
                <a:ext cx="2484120" cy="914400"/>
              </a:xfrm>
              <a:prstGeom prst="rect">
                <a:avLst/>
              </a:prstGeom>
              <a:solidFill>
                <a:schemeClr val="accent6">
                  <a:lumMod val="75000"/>
                </a:schemeClr>
              </a:solidFill>
              <a:ln w="9525">
                <a:solidFill>
                  <a:schemeClr val="accent3"/>
                </a:solidFill>
              </a:ln>
              <a:effectLst/>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p>
                <a:pPr>
                  <a:lnSpc>
                    <a:spcPct val="90000"/>
                  </a:lnSpc>
                  <a:spcBef>
                    <a:spcPts val="341"/>
                  </a:spcBef>
                </a:pPr>
                <a:endParaRPr lang="th-TH" sz="1300" b="0" dirty="0"/>
              </a:p>
            </p:txBody>
          </p:sp>
          <p:sp>
            <p:nvSpPr>
              <p:cNvPr id="19" name="TextBox 18"/>
              <p:cNvSpPr txBox="1"/>
              <p:nvPr/>
            </p:nvSpPr>
            <p:spPr>
              <a:xfrm>
                <a:off x="1844040" y="2667000"/>
                <a:ext cx="436017" cy="369332"/>
              </a:xfrm>
              <a:prstGeom prst="rect">
                <a:avLst/>
              </a:prstGeom>
              <a:noFill/>
              <a:ln w="9525">
                <a:noFill/>
              </a:ln>
            </p:spPr>
            <p:txBody>
              <a:bodyPr vert="horz" wrap="square" lIns="0" tIns="0" rIns="0" bIns="0" rtlCol="0">
                <a:spAutoFit/>
              </a:bodyPr>
              <a:lstStyle/>
              <a:p>
                <a:pPr>
                  <a:lnSpc>
                    <a:spcPct val="90000"/>
                  </a:lnSpc>
                  <a:spcBef>
                    <a:spcPts val="341"/>
                  </a:spcBef>
                  <a:buClr>
                    <a:srgbClr val="000000"/>
                  </a:buClr>
                  <a:buSzPct val="100000"/>
                </a:pPr>
                <a:endParaRPr lang="th-TH" sz="2000" b="0" dirty="0">
                  <a:solidFill>
                    <a:schemeClr val="bg1"/>
                  </a:solidFill>
                  <a:latin typeface="+mn-lt"/>
                  <a:cs typeface="Arial Narrow" pitchFamily="34" charset="0"/>
                </a:endParaRPr>
              </a:p>
            </p:txBody>
          </p:sp>
        </p:grpSp>
        <p:grpSp>
          <p:nvGrpSpPr>
            <p:cNvPr id="20" name="Group 19"/>
            <p:cNvGrpSpPr/>
            <p:nvPr/>
          </p:nvGrpSpPr>
          <p:grpSpPr>
            <a:xfrm>
              <a:off x="858078" y="5405795"/>
              <a:ext cx="2484120" cy="857845"/>
              <a:chOff x="858078" y="2449235"/>
              <a:chExt cx="2484120" cy="857845"/>
            </a:xfrm>
          </p:grpSpPr>
          <p:sp>
            <p:nvSpPr>
              <p:cNvPr id="21" name="Rectangle 20"/>
              <p:cNvSpPr/>
              <p:nvPr/>
            </p:nvSpPr>
            <p:spPr>
              <a:xfrm>
                <a:off x="858078" y="2449235"/>
                <a:ext cx="2484120" cy="857845"/>
              </a:xfrm>
              <a:prstGeom prst="rect">
                <a:avLst/>
              </a:prstGeom>
              <a:solidFill>
                <a:schemeClr val="accent6">
                  <a:lumMod val="75000"/>
                </a:schemeClr>
              </a:solidFill>
              <a:ln w="9525">
                <a:solidFill>
                  <a:schemeClr val="accent3"/>
                </a:solidFill>
              </a:ln>
              <a:effectLst/>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p>
                <a:pPr>
                  <a:lnSpc>
                    <a:spcPct val="90000"/>
                  </a:lnSpc>
                  <a:spcBef>
                    <a:spcPts val="341"/>
                  </a:spcBef>
                </a:pPr>
                <a:endParaRPr lang="th-TH" sz="1300" b="0" dirty="0"/>
              </a:p>
            </p:txBody>
          </p:sp>
          <p:sp>
            <p:nvSpPr>
              <p:cNvPr id="22" name="TextBox 21"/>
              <p:cNvSpPr txBox="1"/>
              <p:nvPr/>
            </p:nvSpPr>
            <p:spPr>
              <a:xfrm>
                <a:off x="1264919" y="2771028"/>
                <a:ext cx="1739537" cy="369332"/>
              </a:xfrm>
              <a:prstGeom prst="rect">
                <a:avLst/>
              </a:prstGeom>
              <a:noFill/>
              <a:ln w="9525">
                <a:noFill/>
              </a:ln>
            </p:spPr>
            <p:txBody>
              <a:bodyPr vert="horz" wrap="square" lIns="0" tIns="0" rIns="0" bIns="0" rtlCol="0">
                <a:spAutoFit/>
              </a:bodyPr>
              <a:lstStyle/>
              <a:p>
                <a:pPr>
                  <a:lnSpc>
                    <a:spcPct val="90000"/>
                  </a:lnSpc>
                  <a:spcBef>
                    <a:spcPts val="341"/>
                  </a:spcBef>
                  <a:buClr>
                    <a:srgbClr val="000000"/>
                  </a:buClr>
                  <a:buSzPct val="100000"/>
                </a:pPr>
                <a:r>
                  <a:rPr lang="th-TH" sz="2000" b="0" dirty="0">
                    <a:solidFill>
                      <a:schemeClr val="bg1"/>
                    </a:solidFill>
                    <a:latin typeface="+mn-lt"/>
                    <a:cs typeface="Arial Narrow" pitchFamily="34" charset="0"/>
                  </a:rPr>
                  <a:t>กรมศุลกากร</a:t>
                </a:r>
              </a:p>
            </p:txBody>
          </p:sp>
        </p:grpSp>
        <p:sp>
          <p:nvSpPr>
            <p:cNvPr id="23" name="TextBox 22"/>
            <p:cNvSpPr txBox="1"/>
            <p:nvPr/>
          </p:nvSpPr>
          <p:spPr>
            <a:xfrm>
              <a:off x="944880" y="3733800"/>
              <a:ext cx="2423160" cy="369332"/>
            </a:xfrm>
            <a:prstGeom prst="rect">
              <a:avLst/>
            </a:prstGeom>
            <a:noFill/>
            <a:ln w="9525">
              <a:noFill/>
            </a:ln>
          </p:spPr>
          <p:txBody>
            <a:bodyPr vert="horz" wrap="square" lIns="0" tIns="0" rIns="0" bIns="0" rtlCol="0">
              <a:spAutoFit/>
            </a:bodyPr>
            <a:lstStyle/>
            <a:p>
              <a:pPr algn="ctr">
                <a:lnSpc>
                  <a:spcPct val="90000"/>
                </a:lnSpc>
                <a:spcBef>
                  <a:spcPts val="341"/>
                </a:spcBef>
                <a:buClr>
                  <a:srgbClr val="000000"/>
                </a:buClr>
                <a:buSzPct val="100000"/>
              </a:pPr>
              <a:r>
                <a:rPr lang="th-TH" sz="2000" b="0" dirty="0">
                  <a:solidFill>
                    <a:schemeClr val="bg1"/>
                  </a:solidFill>
                  <a:latin typeface="+mn-lt"/>
                  <a:cs typeface="Arial Narrow" pitchFamily="34" charset="0"/>
                </a:rPr>
                <a:t>กระทรวงการคลัง</a:t>
              </a:r>
            </a:p>
          </p:txBody>
        </p:sp>
        <p:cxnSp>
          <p:nvCxnSpPr>
            <p:cNvPr id="34" name="Straight Connector 33"/>
            <p:cNvCxnSpPr/>
            <p:nvPr/>
          </p:nvCxnSpPr>
          <p:spPr>
            <a:xfrm flipV="1">
              <a:off x="3337560" y="3502299"/>
              <a:ext cx="6044565" cy="3810"/>
            </a:xfrm>
            <a:prstGeom prst="line">
              <a:avLst/>
            </a:prstGeom>
            <a:ln w="9525">
              <a:solidFill>
                <a:schemeClr val="bg1">
                  <a:lumMod val="65000"/>
                </a:schemeClr>
              </a:solidFill>
            </a:ln>
            <a:effectLst/>
          </p:spPr>
          <p:style>
            <a:lnRef idx="1">
              <a:schemeClr val="accent1"/>
            </a:lnRef>
            <a:fillRef idx="0">
              <a:schemeClr val="accent1"/>
            </a:fillRef>
            <a:effectRef idx="0">
              <a:schemeClr val="accent1"/>
            </a:effectRef>
            <a:fontRef idx="minor">
              <a:schemeClr val="tx1"/>
            </a:fontRef>
          </p:style>
        </p:cxnSp>
        <p:cxnSp>
          <p:nvCxnSpPr>
            <p:cNvPr id="35" name="Straight Connector 34"/>
            <p:cNvCxnSpPr/>
            <p:nvPr/>
          </p:nvCxnSpPr>
          <p:spPr>
            <a:xfrm flipV="1">
              <a:off x="3328035" y="4394337"/>
              <a:ext cx="6044565" cy="22860"/>
            </a:xfrm>
            <a:prstGeom prst="line">
              <a:avLst/>
            </a:prstGeom>
            <a:ln w="9525">
              <a:solidFill>
                <a:schemeClr val="bg1">
                  <a:lumMod val="65000"/>
                </a:schemeClr>
              </a:solidFill>
            </a:ln>
            <a:effectLst/>
          </p:spPr>
          <p:style>
            <a:lnRef idx="1">
              <a:schemeClr val="accent1"/>
            </a:lnRef>
            <a:fillRef idx="0">
              <a:schemeClr val="accent1"/>
            </a:fillRef>
            <a:effectRef idx="0">
              <a:schemeClr val="accent1"/>
            </a:effectRef>
            <a:fontRef idx="minor">
              <a:schemeClr val="tx1"/>
            </a:fontRef>
          </p:style>
        </p:cxnSp>
        <p:cxnSp>
          <p:nvCxnSpPr>
            <p:cNvPr id="36" name="Straight Connector 35"/>
            <p:cNvCxnSpPr/>
            <p:nvPr/>
          </p:nvCxnSpPr>
          <p:spPr>
            <a:xfrm flipV="1">
              <a:off x="3347085" y="5401984"/>
              <a:ext cx="6044565" cy="3811"/>
            </a:xfrm>
            <a:prstGeom prst="line">
              <a:avLst/>
            </a:prstGeom>
            <a:ln w="9525">
              <a:solidFill>
                <a:schemeClr val="bg1">
                  <a:lumMod val="65000"/>
                </a:schemeClr>
              </a:solidFill>
            </a:ln>
            <a:effectLst/>
          </p:spPr>
          <p:style>
            <a:lnRef idx="1">
              <a:schemeClr val="accent1"/>
            </a:lnRef>
            <a:fillRef idx="0">
              <a:schemeClr val="accent1"/>
            </a:fillRef>
            <a:effectRef idx="0">
              <a:schemeClr val="accent1"/>
            </a:effectRef>
            <a:fontRef idx="minor">
              <a:schemeClr val="tx1"/>
            </a:fontRef>
          </p:style>
        </p:cxnSp>
        <p:cxnSp>
          <p:nvCxnSpPr>
            <p:cNvPr id="37" name="Straight Connector 36"/>
            <p:cNvCxnSpPr/>
            <p:nvPr/>
          </p:nvCxnSpPr>
          <p:spPr>
            <a:xfrm flipV="1">
              <a:off x="3356610" y="6190601"/>
              <a:ext cx="6054090" cy="32385"/>
            </a:xfrm>
            <a:prstGeom prst="line">
              <a:avLst/>
            </a:prstGeom>
            <a:ln w="9525">
              <a:solidFill>
                <a:schemeClr val="bg1">
                  <a:lumMod val="65000"/>
                </a:schemeClr>
              </a:solidFill>
            </a:ln>
            <a:effectLst/>
          </p:spPr>
          <p:style>
            <a:lnRef idx="1">
              <a:schemeClr val="accent1"/>
            </a:lnRef>
            <a:fillRef idx="0">
              <a:schemeClr val="accent1"/>
            </a:fillRef>
            <a:effectRef idx="0">
              <a:schemeClr val="accent1"/>
            </a:effectRef>
            <a:fontRef idx="minor">
              <a:schemeClr val="tx1"/>
            </a:fontRef>
          </p:style>
        </p:cxnSp>
        <p:sp>
          <p:nvSpPr>
            <p:cNvPr id="76" name="ListLeanHorizontalTextTopic1"/>
            <p:cNvSpPr txBox="1">
              <a:spLocks/>
            </p:cNvSpPr>
            <p:nvPr/>
          </p:nvSpPr>
          <p:spPr>
            <a:xfrm>
              <a:off x="3859661" y="1752413"/>
              <a:ext cx="4617133" cy="466269"/>
            </a:xfrm>
            <a:prstGeom prst="rect">
              <a:avLst/>
            </a:prstGeom>
            <a:noFill/>
            <a:ln w="9525">
              <a:noFill/>
            </a:ln>
          </p:spPr>
          <p:txBody>
            <a:bodyPr vert="horz" wrap="square" lIns="0" tIns="0" rIns="0" bIns="72000" rtlCol="0" anchor="b">
              <a:spAutoFit/>
            </a:bodyPr>
            <a:lstStyle/>
            <a:p>
              <a:pPr>
                <a:lnSpc>
                  <a:spcPct val="90000"/>
                </a:lnSpc>
                <a:spcBef>
                  <a:spcPts val="341"/>
                </a:spcBef>
                <a:buSzPct val="100000"/>
              </a:pPr>
              <a:r>
                <a:rPr lang="th-TH" sz="2000" dirty="0">
                  <a:latin typeface="+mn-lt"/>
                  <a:cs typeface="Arial Narrow" pitchFamily="34" charset="0"/>
                </a:rPr>
                <a:t>สิทธิประโยชน์</a:t>
              </a:r>
              <a:endParaRPr lang="en-US" sz="2000" dirty="0">
                <a:latin typeface="+mn-lt"/>
                <a:cs typeface="Arial Narrow" pitchFamily="34" charset="0"/>
              </a:endParaRPr>
            </a:p>
          </p:txBody>
        </p:sp>
        <p:cxnSp>
          <p:nvCxnSpPr>
            <p:cNvPr id="80" name="Horizontal Line"/>
            <p:cNvCxnSpPr>
              <a:cxnSpLocks/>
            </p:cNvCxnSpPr>
            <p:nvPr/>
          </p:nvCxnSpPr>
          <p:spPr>
            <a:xfrm>
              <a:off x="3848154" y="2264904"/>
              <a:ext cx="5572071" cy="2046"/>
            </a:xfrm>
            <a:prstGeom prst="line">
              <a:avLst/>
            </a:prstGeom>
            <a:ln w="22225">
              <a:solidFill>
                <a:schemeClr val="accent3"/>
              </a:solidFill>
            </a:ln>
            <a:effectLst/>
          </p:spPr>
          <p:style>
            <a:lnRef idx="1">
              <a:schemeClr val="accent1"/>
            </a:lnRef>
            <a:fillRef idx="0">
              <a:schemeClr val="accent1"/>
            </a:fillRef>
            <a:effectRef idx="0">
              <a:schemeClr val="accent1"/>
            </a:effectRef>
            <a:fontRef idx="minor">
              <a:schemeClr val="tx1"/>
            </a:fontRef>
          </p:style>
        </p:cxnSp>
        <p:sp>
          <p:nvSpPr>
            <p:cNvPr id="83" name="TextBox 82"/>
            <p:cNvSpPr txBox="1"/>
            <p:nvPr/>
          </p:nvSpPr>
          <p:spPr>
            <a:xfrm>
              <a:off x="3867149" y="2291289"/>
              <a:ext cx="5692487" cy="1214008"/>
            </a:xfrm>
            <a:prstGeom prst="rect">
              <a:avLst/>
            </a:prstGeom>
            <a:noFill/>
            <a:ln w="9525">
              <a:noFill/>
            </a:ln>
          </p:spPr>
          <p:txBody>
            <a:bodyPr vert="horz" wrap="square" lIns="0" tIns="0" rIns="0" bIns="0" rtlCol="0">
              <a:spAutoFit/>
            </a:bodyPr>
            <a:lstStyle/>
            <a:p>
              <a:pPr marL="154227" indent="-154227">
                <a:lnSpc>
                  <a:spcPts val="1700"/>
                </a:lnSpc>
                <a:spcBef>
                  <a:spcPts val="300"/>
                </a:spcBef>
                <a:buClr>
                  <a:srgbClr val="000000"/>
                </a:buClr>
                <a:buSzPct val="100000"/>
              </a:pPr>
              <a:r>
                <a:rPr lang="en-US" sz="1300" b="0" dirty="0">
                  <a:latin typeface="+mn-lt"/>
                  <a:cs typeface="Arial Narrow" pitchFamily="34" charset="0"/>
                </a:rPr>
                <a:t>&gt; 	</a:t>
              </a:r>
              <a:r>
                <a:rPr lang="th-TH" sz="1700" dirty="0">
                  <a:solidFill>
                    <a:schemeClr val="tx2">
                      <a:lumMod val="50000"/>
                    </a:schemeClr>
                  </a:solidFill>
                  <a:latin typeface="TH SarabunPSK" pitchFamily="34" charset="-34"/>
                  <a:cs typeface="TH SarabunPSK" pitchFamily="34" charset="-34"/>
                </a:rPr>
                <a:t>กรณีกิจการทั่วไปตามบัญชีประเภทของ </a:t>
              </a:r>
              <a:r>
                <a:rPr lang="en-US" sz="1700" dirty="0">
                  <a:solidFill>
                    <a:schemeClr val="tx2">
                      <a:lumMod val="50000"/>
                    </a:schemeClr>
                  </a:solidFill>
                  <a:latin typeface="TH SarabunPSK" pitchFamily="34" charset="-34"/>
                  <a:cs typeface="TH SarabunPSK" pitchFamily="34" charset="-34"/>
                </a:rPr>
                <a:t>BOI  </a:t>
              </a:r>
              <a:r>
                <a:rPr lang="th-TH" sz="1700" dirty="0">
                  <a:solidFill>
                    <a:schemeClr val="tx2">
                      <a:lumMod val="50000"/>
                    </a:schemeClr>
                  </a:solidFill>
                  <a:latin typeface="TH SarabunPSK" pitchFamily="34" charset="-34"/>
                  <a:cs typeface="TH SarabunPSK" pitchFamily="34" charset="-34"/>
                </a:rPr>
                <a:t>ยกเว้นภาษี เพิ่มเติมจากหลักเกณฑ์ปกติ </a:t>
              </a:r>
              <a:r>
                <a:rPr lang="en-US" sz="1700" dirty="0">
                  <a:solidFill>
                    <a:schemeClr val="tx2">
                      <a:lumMod val="50000"/>
                    </a:schemeClr>
                  </a:solidFill>
                  <a:latin typeface="TH SarabunPSK" pitchFamily="34" charset="-34"/>
                  <a:cs typeface="TH SarabunPSK" pitchFamily="34" charset="-34"/>
                </a:rPr>
                <a:t>3 </a:t>
              </a:r>
              <a:r>
                <a:rPr lang="th-TH" sz="1700" dirty="0">
                  <a:solidFill>
                    <a:schemeClr val="tx2">
                      <a:lumMod val="50000"/>
                    </a:schemeClr>
                  </a:solidFill>
                  <a:latin typeface="TH SarabunPSK" pitchFamily="34" charset="-34"/>
                  <a:cs typeface="TH SarabunPSK" pitchFamily="34" charset="-34"/>
                </a:rPr>
                <a:t>ปี แต่รวมแล้วไม่เกิน </a:t>
              </a:r>
              <a:r>
                <a:rPr lang="en-US" sz="1700" dirty="0">
                  <a:solidFill>
                    <a:schemeClr val="tx2">
                      <a:lumMod val="50000"/>
                    </a:schemeClr>
                  </a:solidFill>
                  <a:latin typeface="TH SarabunPSK" pitchFamily="34" charset="-34"/>
                  <a:cs typeface="TH SarabunPSK" pitchFamily="34" charset="-34"/>
                </a:rPr>
                <a:t>8 </a:t>
              </a:r>
              <a:r>
                <a:rPr lang="th-TH" sz="1700" dirty="0">
                  <a:solidFill>
                    <a:schemeClr val="tx2">
                      <a:lumMod val="50000"/>
                    </a:schemeClr>
                  </a:solidFill>
                  <a:latin typeface="TH SarabunPSK" pitchFamily="34" charset="-34"/>
                  <a:cs typeface="TH SarabunPSK" pitchFamily="34" charset="-34"/>
                </a:rPr>
                <a:t>ปี และสิทธิประโยชน์อื่นๆ </a:t>
              </a:r>
              <a:r>
                <a:rPr lang="en-US" sz="1700" dirty="0">
                  <a:solidFill>
                    <a:schemeClr val="tx2">
                      <a:lumMod val="50000"/>
                    </a:schemeClr>
                  </a:solidFill>
                  <a:latin typeface="TH SarabunPSK" pitchFamily="34" charset="-34"/>
                  <a:cs typeface="TH SarabunPSK" pitchFamily="34" charset="-34"/>
                </a:rPr>
                <a:t> </a:t>
              </a:r>
            </a:p>
            <a:p>
              <a:pPr marL="154227" indent="-154227">
                <a:lnSpc>
                  <a:spcPts val="1700"/>
                </a:lnSpc>
                <a:spcBef>
                  <a:spcPts val="300"/>
                </a:spcBef>
                <a:buClr>
                  <a:srgbClr val="000000"/>
                </a:buClr>
                <a:buSzPct val="100000"/>
              </a:pPr>
              <a:r>
                <a:rPr lang="en-US" sz="1700" dirty="0">
                  <a:solidFill>
                    <a:schemeClr val="tx2">
                      <a:lumMod val="50000"/>
                    </a:schemeClr>
                  </a:solidFill>
                  <a:latin typeface="TH SarabunPSK" pitchFamily="34" charset="-34"/>
                  <a:cs typeface="TH SarabunPSK" pitchFamily="34" charset="-34"/>
                </a:rPr>
                <a:t>&gt; </a:t>
              </a:r>
              <a:r>
                <a:rPr lang="th-TH" sz="1700" dirty="0">
                  <a:solidFill>
                    <a:schemeClr val="tx2">
                      <a:lumMod val="50000"/>
                    </a:schemeClr>
                  </a:solidFill>
                  <a:latin typeface="TH SarabunPSK" pitchFamily="34" charset="-34"/>
                  <a:cs typeface="TH SarabunPSK" pitchFamily="34" charset="-34"/>
                </a:rPr>
                <a:t>กรณีกิจการเป้าหมาย (</a:t>
              </a:r>
              <a:r>
                <a:rPr lang="en-US" sz="1700" dirty="0">
                  <a:solidFill>
                    <a:schemeClr val="tx2">
                      <a:lumMod val="50000"/>
                    </a:schemeClr>
                  </a:solidFill>
                  <a:latin typeface="TH SarabunPSK" pitchFamily="34" charset="-34"/>
                  <a:cs typeface="TH SarabunPSK" pitchFamily="34" charset="-34"/>
                </a:rPr>
                <a:t>13 </a:t>
              </a:r>
              <a:r>
                <a:rPr lang="th-TH" sz="1700" dirty="0">
                  <a:solidFill>
                    <a:schemeClr val="tx2">
                      <a:lumMod val="50000"/>
                    </a:schemeClr>
                  </a:solidFill>
                  <a:latin typeface="TH SarabunPSK" pitchFamily="34" charset="-34"/>
                  <a:cs typeface="TH SarabunPSK" pitchFamily="34" charset="-34"/>
                </a:rPr>
                <a:t>กลุ่ม) ยกเว้นภาษีเงินได้นิติบุคคลสูงสุด </a:t>
              </a:r>
              <a:r>
                <a:rPr lang="en-US" sz="1700" dirty="0">
                  <a:solidFill>
                    <a:schemeClr val="tx2">
                      <a:lumMod val="50000"/>
                    </a:schemeClr>
                  </a:solidFill>
                  <a:latin typeface="TH SarabunPSK" pitchFamily="34" charset="-34"/>
                  <a:cs typeface="TH SarabunPSK" pitchFamily="34" charset="-34"/>
                </a:rPr>
                <a:t>8 </a:t>
              </a:r>
              <a:r>
                <a:rPr lang="th-TH" sz="1700" dirty="0">
                  <a:solidFill>
                    <a:schemeClr val="tx2">
                      <a:lumMod val="50000"/>
                    </a:schemeClr>
                  </a:solidFill>
                  <a:latin typeface="TH SarabunPSK" pitchFamily="34" charset="-34"/>
                  <a:cs typeface="TH SarabunPSK" pitchFamily="34" charset="-34"/>
                </a:rPr>
                <a:t>ปี ลดหย่อนภาษีเงินได้นิติบุคคลร้อยละ </a:t>
              </a:r>
              <a:r>
                <a:rPr lang="en-US" sz="1700" dirty="0">
                  <a:solidFill>
                    <a:schemeClr val="tx2">
                      <a:lumMod val="50000"/>
                    </a:schemeClr>
                  </a:solidFill>
                  <a:latin typeface="TH SarabunPSK" pitchFamily="34" charset="-34"/>
                  <a:cs typeface="TH SarabunPSK" pitchFamily="34" charset="-34"/>
                </a:rPr>
                <a:t>50 </a:t>
              </a:r>
              <a:r>
                <a:rPr lang="th-TH" sz="1700" dirty="0">
                  <a:solidFill>
                    <a:schemeClr val="tx2">
                      <a:lumMod val="50000"/>
                    </a:schemeClr>
                  </a:solidFill>
                  <a:latin typeface="TH SarabunPSK" pitchFamily="34" charset="-34"/>
                  <a:cs typeface="TH SarabunPSK" pitchFamily="34" charset="-34"/>
                </a:rPr>
                <a:t>เพิ่มอีก </a:t>
              </a:r>
              <a:r>
                <a:rPr lang="en-US" sz="1700" dirty="0">
                  <a:solidFill>
                    <a:schemeClr val="tx2">
                      <a:lumMod val="50000"/>
                    </a:schemeClr>
                  </a:solidFill>
                  <a:latin typeface="TH SarabunPSK" pitchFamily="34" charset="-34"/>
                  <a:cs typeface="TH SarabunPSK" pitchFamily="34" charset="-34"/>
                </a:rPr>
                <a:t>5  </a:t>
              </a:r>
              <a:r>
                <a:rPr lang="th-TH" sz="1700" dirty="0">
                  <a:solidFill>
                    <a:schemeClr val="tx2">
                      <a:lumMod val="50000"/>
                    </a:schemeClr>
                  </a:solidFill>
                  <a:latin typeface="TH SarabunPSK" pitchFamily="34" charset="-34"/>
                  <a:cs typeface="TH SarabunPSK" pitchFamily="34" charset="-34"/>
                </a:rPr>
                <a:t>ปี และสิทธิประโยชน์อื่นๆ</a:t>
              </a:r>
              <a:r>
                <a:rPr lang="en-US" sz="1300" b="0" dirty="0">
                  <a:latin typeface="+mn-lt"/>
                  <a:cs typeface="Arial Narrow" pitchFamily="34" charset="0"/>
                </a:rPr>
                <a:t> </a:t>
              </a:r>
              <a:endParaRPr lang="th-TH" sz="1300" b="0" dirty="0">
                <a:latin typeface="+mn-lt"/>
                <a:cs typeface="Arial Narrow" pitchFamily="34" charset="0"/>
              </a:endParaRPr>
            </a:p>
          </p:txBody>
        </p:sp>
        <p:sp>
          <p:nvSpPr>
            <p:cNvPr id="84" name="TextBox 83"/>
            <p:cNvSpPr txBox="1"/>
            <p:nvPr/>
          </p:nvSpPr>
          <p:spPr>
            <a:xfrm>
              <a:off x="3854603" y="3625125"/>
              <a:ext cx="5746879" cy="677108"/>
            </a:xfrm>
            <a:prstGeom prst="rect">
              <a:avLst/>
            </a:prstGeom>
            <a:noFill/>
            <a:ln w="9525">
              <a:noFill/>
            </a:ln>
          </p:spPr>
          <p:txBody>
            <a:bodyPr vert="horz" wrap="square" lIns="0" tIns="0" rIns="0" bIns="0" rtlCol="0">
              <a:spAutoFit/>
            </a:bodyPr>
            <a:lstStyle/>
            <a:p>
              <a:pPr marL="151521" indent="-151521"/>
              <a:r>
                <a:rPr lang="en-US" sz="1300" b="0" dirty="0">
                  <a:latin typeface="+mn-lt"/>
                  <a:cs typeface="Arial Narrow" pitchFamily="34" charset="0"/>
                </a:rPr>
                <a:t>&gt; </a:t>
              </a:r>
              <a:r>
                <a:rPr lang="th-TH" sz="1300" b="0" dirty="0">
                  <a:latin typeface="+mn-lt"/>
                  <a:cs typeface="Arial Narrow" pitchFamily="34" charset="0"/>
                </a:rPr>
                <a:t>  </a:t>
              </a:r>
              <a:r>
                <a:rPr lang="th-TH" sz="1700" dirty="0">
                  <a:solidFill>
                    <a:schemeClr val="tx2">
                      <a:lumMod val="50000"/>
                    </a:schemeClr>
                  </a:solidFill>
                  <a:latin typeface="TH SarabunPSK" pitchFamily="34" charset="-34"/>
                  <a:cs typeface="TH SarabunPSK" pitchFamily="34" charset="-34"/>
                </a:rPr>
                <a:t>ลดหย่อนภาษีเงินได้นิติบุคคล จากร้อยละ 20 เหลือร้อยละ 10 เป็นเวลา 10 </a:t>
              </a:r>
              <a:r>
                <a:rPr lang="th-TH" sz="1700" dirty="0" smtClean="0">
                  <a:solidFill>
                    <a:schemeClr val="tx2">
                      <a:lumMod val="50000"/>
                    </a:schemeClr>
                  </a:solidFill>
                  <a:latin typeface="TH SarabunPSK" pitchFamily="34" charset="-34"/>
                  <a:cs typeface="TH SarabunPSK" pitchFamily="34" charset="-34"/>
                </a:rPr>
                <a:t>รอบบัญชี</a:t>
              </a:r>
              <a:r>
                <a:rPr lang="en-US" sz="1300" b="0" dirty="0" smtClean="0">
                  <a:latin typeface="+mn-lt"/>
                  <a:cs typeface="Arial Narrow" pitchFamily="34" charset="0"/>
                </a:rPr>
                <a:t> </a:t>
              </a:r>
              <a:r>
                <a:rPr lang="th-TH" sz="1300" b="0" dirty="0" smtClean="0">
                  <a:latin typeface="+mn-lt"/>
                  <a:cs typeface="Arial Narrow" pitchFamily="34" charset="0"/>
                </a:rPr>
                <a:t> </a:t>
              </a:r>
              <a:r>
                <a:rPr lang="th-TH" sz="1600" b="0" dirty="0" smtClean="0">
                  <a:latin typeface="TH SarabunPSK" pitchFamily="34" charset="-34"/>
                  <a:cs typeface="TH SarabunPSK" pitchFamily="34" charset="-34"/>
                </a:rPr>
                <a:t>(กรมสรรพากรอยู่ระหว่างออกประกาศกำหนดประเภทสินค้า/บริการที่สามารถใช้สิทธิประโยชน์)</a:t>
              </a:r>
              <a:endParaRPr lang="th-TH" sz="1600" b="0" dirty="0">
                <a:latin typeface="TH SarabunPSK" pitchFamily="34" charset="-34"/>
                <a:cs typeface="TH SarabunPSK" pitchFamily="34" charset="-34"/>
              </a:endParaRPr>
            </a:p>
          </p:txBody>
        </p:sp>
        <p:sp>
          <p:nvSpPr>
            <p:cNvPr id="85" name="TextBox 84"/>
            <p:cNvSpPr txBox="1"/>
            <p:nvPr/>
          </p:nvSpPr>
          <p:spPr>
            <a:xfrm>
              <a:off x="3822776" y="4453288"/>
              <a:ext cx="5572125" cy="941796"/>
            </a:xfrm>
            <a:prstGeom prst="rect">
              <a:avLst/>
            </a:prstGeom>
            <a:noFill/>
            <a:ln w="9525">
              <a:noFill/>
            </a:ln>
          </p:spPr>
          <p:txBody>
            <a:bodyPr vert="horz" wrap="square" lIns="0" tIns="0" rIns="0" bIns="0" rtlCol="0">
              <a:spAutoFit/>
            </a:bodyPr>
            <a:lstStyle/>
            <a:p>
              <a:pPr marL="154227" lvl="1" indent="-154227">
                <a:lnSpc>
                  <a:spcPct val="90000"/>
                </a:lnSpc>
                <a:spcBef>
                  <a:spcPts val="341"/>
                </a:spcBef>
                <a:buClr>
                  <a:srgbClr val="000000"/>
                </a:buClr>
                <a:buSzPct val="100000"/>
              </a:pPr>
              <a:r>
                <a:rPr lang="en-US" sz="1300" b="0" dirty="0">
                  <a:latin typeface="+mn-lt"/>
                  <a:cs typeface="Arial Narrow" pitchFamily="34" charset="0"/>
                </a:rPr>
                <a:t>&gt;  </a:t>
              </a:r>
              <a:r>
                <a:rPr lang="th-TH" sz="1700" dirty="0">
                  <a:solidFill>
                    <a:schemeClr val="tx2">
                      <a:lumMod val="50000"/>
                    </a:schemeClr>
                  </a:solidFill>
                  <a:latin typeface="TH SarabunPSK" pitchFamily="34" charset="-34"/>
                  <a:cs typeface="TH SarabunPSK" pitchFamily="34" charset="-34"/>
                </a:rPr>
                <a:t>ผ่อนปรนเงื่อนไขสำหรับผู้ประกอบการ </a:t>
              </a:r>
              <a:r>
                <a:rPr lang="en-US" sz="1700" dirty="0">
                  <a:solidFill>
                    <a:schemeClr val="tx2">
                      <a:lumMod val="50000"/>
                    </a:schemeClr>
                  </a:solidFill>
                  <a:latin typeface="TH SarabunPSK" pitchFamily="34" charset="-34"/>
                  <a:cs typeface="TH SarabunPSK" pitchFamily="34" charset="-34"/>
                </a:rPr>
                <a:t>SMEs </a:t>
              </a:r>
              <a:r>
                <a:rPr lang="th-TH" sz="1700" dirty="0">
                  <a:solidFill>
                    <a:schemeClr val="tx2">
                      <a:lumMod val="50000"/>
                    </a:schemeClr>
                  </a:solidFill>
                  <a:latin typeface="TH SarabunPSK" pitchFamily="34" charset="-34"/>
                  <a:cs typeface="TH SarabunPSK" pitchFamily="34" charset="-34"/>
                </a:rPr>
                <a:t>ในเขตพัฒนาเศรษฐกิจพิเศษ เพื่อเป็นการช่วยเหลือและส่งเสริมผู้ประกอบการ </a:t>
              </a:r>
              <a:r>
                <a:rPr lang="en-US" sz="1700" dirty="0" smtClean="0">
                  <a:solidFill>
                    <a:schemeClr val="tx2">
                      <a:lumMod val="50000"/>
                    </a:schemeClr>
                  </a:solidFill>
                  <a:latin typeface="TH SarabunPSK" pitchFamily="34" charset="-34"/>
                  <a:cs typeface="TH SarabunPSK" pitchFamily="34" charset="-34"/>
                </a:rPr>
                <a:t>SMEs </a:t>
              </a:r>
              <a:r>
                <a:rPr lang="th-TH" sz="1700" dirty="0" smtClean="0">
                  <a:solidFill>
                    <a:schemeClr val="tx2">
                      <a:lumMod val="50000"/>
                    </a:schemeClr>
                  </a:solidFill>
                  <a:latin typeface="TH SarabunPSK" pitchFamily="34" charset="-34"/>
                  <a:cs typeface="TH SarabunPSK" pitchFamily="34" charset="-34"/>
                </a:rPr>
                <a:t>อาทิ เงินลงทุนขั้นต่ำ </a:t>
              </a:r>
              <a:r>
                <a:rPr lang="en-US" sz="1700" dirty="0" smtClean="0">
                  <a:solidFill>
                    <a:schemeClr val="tx2">
                      <a:lumMod val="50000"/>
                    </a:schemeClr>
                  </a:solidFill>
                  <a:latin typeface="TH SarabunPSK" pitchFamily="34" charset="-34"/>
                  <a:cs typeface="TH SarabunPSK" pitchFamily="34" charset="-34"/>
                </a:rPr>
                <a:t>5 </a:t>
              </a:r>
              <a:r>
                <a:rPr lang="th-TH" sz="1700" dirty="0" smtClean="0">
                  <a:solidFill>
                    <a:schemeClr val="tx2">
                      <a:lumMod val="50000"/>
                    </a:schemeClr>
                  </a:solidFill>
                  <a:latin typeface="TH SarabunPSK" pitchFamily="34" charset="-34"/>
                  <a:cs typeface="TH SarabunPSK" pitchFamily="34" charset="-34"/>
                </a:rPr>
                <a:t>แสน นำเครื่องจักรใช้แล้วมาใช้ในโครงการได้ไม่เกิน </a:t>
              </a:r>
              <a:r>
                <a:rPr lang="en-US" sz="1700" dirty="0" smtClean="0">
                  <a:solidFill>
                    <a:schemeClr val="tx2">
                      <a:lumMod val="50000"/>
                    </a:schemeClr>
                  </a:solidFill>
                  <a:latin typeface="TH SarabunPSK" pitchFamily="34" charset="-34"/>
                  <a:cs typeface="TH SarabunPSK" pitchFamily="34" charset="-34"/>
                </a:rPr>
                <a:t>10 </a:t>
              </a:r>
              <a:r>
                <a:rPr lang="th-TH" sz="1700" dirty="0" smtClean="0">
                  <a:solidFill>
                    <a:schemeClr val="tx2">
                      <a:lumMod val="50000"/>
                    </a:schemeClr>
                  </a:solidFill>
                  <a:latin typeface="TH SarabunPSK" pitchFamily="34" charset="-34"/>
                  <a:cs typeface="TH SarabunPSK" pitchFamily="34" charset="-34"/>
                </a:rPr>
                <a:t>ลบ.</a:t>
              </a:r>
              <a:endParaRPr lang="th-TH" sz="1400" b="0" dirty="0">
                <a:latin typeface="+mn-lt"/>
                <a:ea typeface="Tahoma" pitchFamily="34" charset="0"/>
                <a:cs typeface="Tahoma" pitchFamily="34" charset="0"/>
              </a:endParaRPr>
            </a:p>
          </p:txBody>
        </p:sp>
        <p:sp>
          <p:nvSpPr>
            <p:cNvPr id="86" name="TextBox 85"/>
            <p:cNvSpPr txBox="1"/>
            <p:nvPr/>
          </p:nvSpPr>
          <p:spPr>
            <a:xfrm>
              <a:off x="3800475" y="5405795"/>
              <a:ext cx="5878398" cy="919227"/>
            </a:xfrm>
            <a:prstGeom prst="rect">
              <a:avLst/>
            </a:prstGeom>
            <a:noFill/>
            <a:ln w="9525">
              <a:noFill/>
            </a:ln>
          </p:spPr>
          <p:txBody>
            <a:bodyPr vert="horz" wrap="square" lIns="0" tIns="0" rIns="0" bIns="0" rtlCol="0">
              <a:spAutoFit/>
            </a:bodyPr>
            <a:lstStyle/>
            <a:p>
              <a:pPr marL="154227" indent="-154227">
                <a:lnSpc>
                  <a:spcPct val="90000"/>
                </a:lnSpc>
                <a:spcBef>
                  <a:spcPts val="341"/>
                </a:spcBef>
                <a:buClr>
                  <a:srgbClr val="000000"/>
                </a:buClr>
                <a:buSzPct val="100000"/>
              </a:pPr>
              <a:r>
                <a:rPr lang="en-US" sz="1300" b="0" dirty="0">
                  <a:latin typeface="+mn-lt"/>
                  <a:cs typeface="Arial Narrow" pitchFamily="34" charset="0"/>
                </a:rPr>
                <a:t>&gt; 	</a:t>
              </a:r>
              <a:r>
                <a:rPr lang="en-US" sz="1400" b="0" dirty="0">
                  <a:solidFill>
                    <a:schemeClr val="tx2">
                      <a:lumMod val="50000"/>
                    </a:schemeClr>
                  </a:solidFill>
                  <a:ea typeface="Tahoma" pitchFamily="34" charset="0"/>
                  <a:cs typeface="Tahoma" pitchFamily="34" charset="0"/>
                </a:rPr>
                <a:t> </a:t>
              </a:r>
              <a:r>
                <a:rPr lang="th-TH" sz="1700" dirty="0">
                  <a:solidFill>
                    <a:schemeClr val="tx2">
                      <a:lumMod val="50000"/>
                    </a:schemeClr>
                  </a:solidFill>
                  <a:latin typeface="TH SarabunPSK" pitchFamily="34" charset="-34"/>
                  <a:cs typeface="TH SarabunPSK" pitchFamily="34" charset="-34"/>
                </a:rPr>
                <a:t>กรมศุลกากรผ่อนปรนเงื่อนไขสำหรับผู้ตั้งคลังสินค้าทัณฑ์และเขตปลอดอากรในเขตพัฒนาเศรษฐกิจ</a:t>
              </a:r>
              <a:r>
                <a:rPr lang="th-TH" sz="1700" dirty="0" smtClean="0">
                  <a:solidFill>
                    <a:schemeClr val="tx2">
                      <a:lumMod val="50000"/>
                    </a:schemeClr>
                  </a:solidFill>
                  <a:latin typeface="TH SarabunPSK" pitchFamily="34" charset="-34"/>
                  <a:cs typeface="TH SarabunPSK" pitchFamily="34" charset="-34"/>
                </a:rPr>
                <a:t>พิเศษ อาทิ ลดจำนวนเงินทุนจดทะเบียนของผู้จัดตั้งจาก </a:t>
              </a:r>
              <a:r>
                <a:rPr lang="en-US" sz="1700" dirty="0" smtClean="0">
                  <a:solidFill>
                    <a:schemeClr val="tx2">
                      <a:lumMod val="50000"/>
                    </a:schemeClr>
                  </a:solidFill>
                  <a:latin typeface="TH SarabunPSK" pitchFamily="34" charset="-34"/>
                  <a:cs typeface="TH SarabunPSK" pitchFamily="34" charset="-34"/>
                </a:rPr>
                <a:t>10 </a:t>
              </a:r>
              <a:r>
                <a:rPr lang="th-TH" sz="1700" dirty="0" smtClean="0">
                  <a:solidFill>
                    <a:schemeClr val="tx2">
                      <a:lumMod val="50000"/>
                    </a:schemeClr>
                  </a:solidFill>
                  <a:latin typeface="TH SarabunPSK" pitchFamily="34" charset="-34"/>
                  <a:cs typeface="TH SarabunPSK" pitchFamily="34" charset="-34"/>
                </a:rPr>
                <a:t>ลบ. เหลือ </a:t>
              </a:r>
              <a:r>
                <a:rPr lang="en-US" sz="1700" dirty="0" smtClean="0">
                  <a:solidFill>
                    <a:schemeClr val="tx2">
                      <a:lumMod val="50000"/>
                    </a:schemeClr>
                  </a:solidFill>
                  <a:latin typeface="TH SarabunPSK" pitchFamily="34" charset="-34"/>
                  <a:cs typeface="TH SarabunPSK" pitchFamily="34" charset="-34"/>
                </a:rPr>
                <a:t>5 </a:t>
              </a:r>
              <a:r>
                <a:rPr lang="th-TH" sz="1700" dirty="0" smtClean="0">
                  <a:solidFill>
                    <a:schemeClr val="tx2">
                      <a:lumMod val="50000"/>
                    </a:schemeClr>
                  </a:solidFill>
                  <a:latin typeface="TH SarabunPSK" pitchFamily="34" charset="-34"/>
                  <a:cs typeface="TH SarabunPSK" pitchFamily="34" charset="-34"/>
                </a:rPr>
                <a:t>ลบ.</a:t>
              </a:r>
              <a:endParaRPr lang="th-TH" sz="1400" b="0" dirty="0">
                <a:latin typeface="+mn-lt"/>
                <a:ea typeface="Tahoma" pitchFamily="34" charset="0"/>
                <a:cs typeface="Tahoma" pitchFamily="34" charset="0"/>
              </a:endParaRPr>
            </a:p>
            <a:p>
              <a:pPr>
                <a:lnSpc>
                  <a:spcPct val="90000"/>
                </a:lnSpc>
                <a:spcBef>
                  <a:spcPts val="341"/>
                </a:spcBef>
                <a:buClr>
                  <a:srgbClr val="000000"/>
                </a:buClr>
                <a:buSzPct val="100000"/>
              </a:pPr>
              <a:r>
                <a:rPr lang="en-US" sz="1300" b="0" dirty="0">
                  <a:latin typeface="+mn-lt"/>
                  <a:cs typeface="Arial Narrow" pitchFamily="34" charset="0"/>
                </a:rPr>
                <a:t> </a:t>
              </a:r>
              <a:endParaRPr lang="th-TH" sz="1300" b="0" dirty="0">
                <a:latin typeface="+mn-lt"/>
                <a:cs typeface="Arial Narrow" pitchFamily="34" charset="0"/>
              </a:endParaRPr>
            </a:p>
          </p:txBody>
        </p:sp>
        <p:cxnSp>
          <p:nvCxnSpPr>
            <p:cNvPr id="91" name="Horizontal Line"/>
            <p:cNvCxnSpPr>
              <a:cxnSpLocks/>
            </p:cNvCxnSpPr>
            <p:nvPr/>
          </p:nvCxnSpPr>
          <p:spPr>
            <a:xfrm flipV="1">
              <a:off x="877078" y="2270060"/>
              <a:ext cx="2593327" cy="6609"/>
            </a:xfrm>
            <a:prstGeom prst="line">
              <a:avLst/>
            </a:prstGeom>
            <a:ln w="22225">
              <a:solidFill>
                <a:schemeClr val="accent3"/>
              </a:solidFill>
            </a:ln>
            <a:effectLst/>
          </p:spPr>
          <p:style>
            <a:lnRef idx="1">
              <a:schemeClr val="accent1"/>
            </a:lnRef>
            <a:fillRef idx="0">
              <a:schemeClr val="accent1"/>
            </a:fillRef>
            <a:effectRef idx="0">
              <a:schemeClr val="accent1"/>
            </a:effectRef>
            <a:fontRef idx="minor">
              <a:schemeClr val="tx1"/>
            </a:fontRef>
          </p:style>
        </p:cxnSp>
        <p:pic>
          <p:nvPicPr>
            <p:cNvPr id="93" name="Picture 26" descr="http://media.bigshopping.com/webcontent/mypic/tax.jpg"/>
            <p:cNvPicPr>
              <a:picLocks noChangeAspect="1" noChangeArrowheads="1"/>
            </p:cNvPicPr>
            <p:nvPr/>
          </p:nvPicPr>
          <p:blipFill>
            <a:blip r:embed="rId2" cstate="print"/>
            <a:srcRect/>
            <a:stretch>
              <a:fillRect/>
            </a:stretch>
          </p:blipFill>
          <p:spPr bwMode="auto">
            <a:xfrm>
              <a:off x="2147826" y="1548881"/>
              <a:ext cx="1211194" cy="627826"/>
            </a:xfrm>
            <a:prstGeom prst="roundRect">
              <a:avLst>
                <a:gd name="adj" fmla="val 8594"/>
              </a:avLst>
            </a:prstGeom>
            <a:solidFill>
              <a:srgbClr val="FFFFFF">
                <a:shade val="85000"/>
              </a:srgbClr>
            </a:solidFill>
            <a:ln>
              <a:noFill/>
            </a:ln>
            <a:effectLst/>
          </p:spPr>
        </p:pic>
      </p:grpSp>
    </p:spTree>
    <p:extLst>
      <p:ext uri="{BB962C8B-B14F-4D97-AF65-F5344CB8AC3E}">
        <p14:creationId xmlns:p14="http://schemas.microsoft.com/office/powerpoint/2010/main" xmlns="" val="151740832"/>
      </p:ext>
    </p:extLst>
  </p:cSld>
  <p:clrMapOvr>
    <a:masterClrMapping/>
  </p:clrMapOvr>
  <p:transition spd="med">
    <p:fade thruBlk="1"/>
  </p:transition>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1"/>
          <p:cNvGraphicFramePr>
            <a:graphicFrameLocks noGrp="1"/>
          </p:cNvGraphicFramePr>
          <p:nvPr>
            <p:extLst>
              <p:ext uri="{D42A27DB-BD31-4B8C-83A1-F6EECF244321}">
                <p14:modId xmlns:p14="http://schemas.microsoft.com/office/powerpoint/2010/main" xmlns="" val="3448187729"/>
              </p:ext>
            </p:extLst>
          </p:nvPr>
        </p:nvGraphicFramePr>
        <p:xfrm>
          <a:off x="5" y="343460"/>
          <a:ext cx="9105232" cy="4629529"/>
        </p:xfrm>
        <a:graphic>
          <a:graphicData uri="http://schemas.openxmlformats.org/drawingml/2006/table">
            <a:tbl>
              <a:tblPr firstRow="1" firstCol="1" bandRow="1">
                <a:tableStyleId>{5C22544A-7EE6-4342-B048-85BDC9FD1C3A}</a:tableStyleId>
              </a:tblPr>
              <a:tblGrid>
                <a:gridCol w="299077"/>
                <a:gridCol w="2824615"/>
                <a:gridCol w="598154"/>
                <a:gridCol w="598154"/>
                <a:gridCol w="598154"/>
                <a:gridCol w="598154"/>
                <a:gridCol w="598154"/>
                <a:gridCol w="598154"/>
                <a:gridCol w="598154"/>
                <a:gridCol w="598154"/>
                <a:gridCol w="598154"/>
                <a:gridCol w="598154"/>
              </a:tblGrid>
              <a:tr h="516014">
                <a:tc>
                  <a:txBody>
                    <a:bodyPr/>
                    <a:lstStyle/>
                    <a:p>
                      <a:pPr algn="ctr">
                        <a:lnSpc>
                          <a:spcPct val="115000"/>
                        </a:lnSpc>
                        <a:spcAft>
                          <a:spcPts val="0"/>
                        </a:spcAft>
                      </a:pPr>
                      <a:r>
                        <a:rPr lang="en-US" sz="1100" b="0" dirty="0">
                          <a:effectLst/>
                          <a:latin typeface="Arial Narrow" pitchFamily="34" charset="0"/>
                          <a:ea typeface="Tahoma" pitchFamily="34" charset="0"/>
                          <a:cs typeface="Tahoma" pitchFamily="34" charset="0"/>
                        </a:rPr>
                        <a:t> </a:t>
                      </a:r>
                    </a:p>
                  </a:txBody>
                  <a:tcPr marL="54665" marR="54665" marT="0" marB="0">
                    <a:solidFill>
                      <a:schemeClr val="accent6">
                        <a:lumMod val="75000"/>
                      </a:schemeClr>
                    </a:solidFill>
                  </a:tcPr>
                </a:tc>
                <a:tc>
                  <a:txBody>
                    <a:bodyPr/>
                    <a:lstStyle/>
                    <a:p>
                      <a:pPr algn="ctr">
                        <a:lnSpc>
                          <a:spcPct val="115000"/>
                        </a:lnSpc>
                        <a:spcAft>
                          <a:spcPts val="0"/>
                        </a:spcAft>
                      </a:pPr>
                      <a:r>
                        <a:rPr lang="th-TH" sz="1100" dirty="0" smtClean="0">
                          <a:effectLst/>
                          <a:latin typeface="Arial Narrow" pitchFamily="34" charset="0"/>
                          <a:ea typeface="Tahoma" pitchFamily="34" charset="0"/>
                          <a:cs typeface="Tahoma" pitchFamily="34" charset="0"/>
                        </a:rPr>
                        <a:t>กลุ่มกิจการเป้าหมาย</a:t>
                      </a:r>
                      <a:endParaRPr lang="en-US" sz="1100" dirty="0">
                        <a:effectLst/>
                        <a:latin typeface="Arial Narrow" pitchFamily="34" charset="0"/>
                        <a:ea typeface="Tahoma" pitchFamily="34" charset="0"/>
                        <a:cs typeface="Tahoma" pitchFamily="34" charset="0"/>
                      </a:endParaRPr>
                    </a:p>
                  </a:txBody>
                  <a:tcPr marL="54665" marR="54665" marT="0" marB="0">
                    <a:solidFill>
                      <a:schemeClr val="accent6">
                        <a:lumMod val="75000"/>
                      </a:schemeClr>
                    </a:solidFill>
                  </a:tcPr>
                </a:tc>
                <a:tc>
                  <a:txBody>
                    <a:bodyPr/>
                    <a:lstStyle/>
                    <a:p>
                      <a:pPr algn="ctr">
                        <a:lnSpc>
                          <a:spcPct val="115000"/>
                        </a:lnSpc>
                        <a:spcAft>
                          <a:spcPts val="0"/>
                        </a:spcAft>
                      </a:pPr>
                      <a:r>
                        <a:rPr lang="th-TH" sz="900" dirty="0" smtClean="0">
                          <a:effectLst/>
                          <a:latin typeface="Arial Narrow" pitchFamily="34" charset="0"/>
                          <a:ea typeface="Tahoma" pitchFamily="34" charset="0"/>
                          <a:cs typeface="Tahoma" pitchFamily="34" charset="0"/>
                        </a:rPr>
                        <a:t>ตาก</a:t>
                      </a:r>
                      <a:endParaRPr lang="en-US" sz="900" dirty="0">
                        <a:effectLst/>
                        <a:latin typeface="Arial Narrow" pitchFamily="34" charset="0"/>
                        <a:ea typeface="Tahoma" pitchFamily="34" charset="0"/>
                        <a:cs typeface="Tahoma" pitchFamily="34" charset="0"/>
                      </a:endParaRPr>
                    </a:p>
                    <a:p>
                      <a:pPr algn="ctr">
                        <a:lnSpc>
                          <a:spcPct val="115000"/>
                        </a:lnSpc>
                        <a:spcAft>
                          <a:spcPts val="0"/>
                        </a:spcAft>
                      </a:pPr>
                      <a:r>
                        <a:rPr lang="th-TH" sz="900" b="0" dirty="0">
                          <a:effectLst/>
                          <a:latin typeface="Arial Narrow" pitchFamily="34" charset="0"/>
                          <a:ea typeface="Tahoma" pitchFamily="34" charset="0"/>
                          <a:cs typeface="Tahoma" pitchFamily="34" charset="0"/>
                        </a:rPr>
                        <a:t>(13)</a:t>
                      </a:r>
                      <a:endParaRPr lang="en-US" sz="900" b="0" dirty="0">
                        <a:effectLst/>
                        <a:latin typeface="Arial Narrow" pitchFamily="34" charset="0"/>
                        <a:ea typeface="Tahoma" pitchFamily="34" charset="0"/>
                        <a:cs typeface="Tahoma" pitchFamily="34" charset="0"/>
                      </a:endParaRPr>
                    </a:p>
                  </a:txBody>
                  <a:tcPr marL="54665" marR="54665" marT="0" marB="0">
                    <a:solidFill>
                      <a:schemeClr val="accent6">
                        <a:lumMod val="75000"/>
                      </a:schemeClr>
                    </a:solidFill>
                  </a:tcPr>
                </a:tc>
                <a:tc>
                  <a:txBody>
                    <a:bodyPr/>
                    <a:lstStyle/>
                    <a:p>
                      <a:pPr algn="ctr">
                        <a:lnSpc>
                          <a:spcPct val="115000"/>
                        </a:lnSpc>
                        <a:spcAft>
                          <a:spcPts val="0"/>
                        </a:spcAft>
                      </a:pPr>
                      <a:r>
                        <a:rPr lang="th-TH" sz="900" dirty="0" smtClean="0">
                          <a:effectLst/>
                          <a:latin typeface="Arial Narrow" pitchFamily="34" charset="0"/>
                          <a:ea typeface="Tahoma" pitchFamily="34" charset="0"/>
                          <a:cs typeface="Tahoma" pitchFamily="34" charset="0"/>
                        </a:rPr>
                        <a:t>สระ</a:t>
                      </a:r>
                      <a:br>
                        <a:rPr lang="th-TH" sz="900" dirty="0" smtClean="0">
                          <a:effectLst/>
                          <a:latin typeface="Arial Narrow" pitchFamily="34" charset="0"/>
                          <a:ea typeface="Tahoma" pitchFamily="34" charset="0"/>
                          <a:cs typeface="Tahoma" pitchFamily="34" charset="0"/>
                        </a:rPr>
                      </a:br>
                      <a:r>
                        <a:rPr lang="th-TH" sz="900" dirty="0" smtClean="0">
                          <a:effectLst/>
                          <a:latin typeface="Arial Narrow" pitchFamily="34" charset="0"/>
                          <a:ea typeface="Tahoma" pitchFamily="34" charset="0"/>
                          <a:cs typeface="Tahoma" pitchFamily="34" charset="0"/>
                        </a:rPr>
                        <a:t>แก้ว</a:t>
                      </a:r>
                      <a:endParaRPr lang="en-US" sz="900" dirty="0">
                        <a:effectLst/>
                        <a:latin typeface="Arial Narrow" pitchFamily="34" charset="0"/>
                        <a:ea typeface="Tahoma" pitchFamily="34" charset="0"/>
                        <a:cs typeface="Tahoma" pitchFamily="34" charset="0"/>
                      </a:endParaRPr>
                    </a:p>
                    <a:p>
                      <a:pPr algn="ctr">
                        <a:lnSpc>
                          <a:spcPct val="115000"/>
                        </a:lnSpc>
                        <a:spcAft>
                          <a:spcPts val="0"/>
                        </a:spcAft>
                      </a:pPr>
                      <a:r>
                        <a:rPr lang="th-TH" sz="900" b="0" dirty="0">
                          <a:effectLst/>
                          <a:latin typeface="Arial Narrow" pitchFamily="34" charset="0"/>
                          <a:ea typeface="Tahoma" pitchFamily="34" charset="0"/>
                          <a:cs typeface="Tahoma" pitchFamily="34" charset="0"/>
                        </a:rPr>
                        <a:t>(12)</a:t>
                      </a:r>
                      <a:endParaRPr lang="en-US" sz="900" b="0" dirty="0">
                        <a:effectLst/>
                        <a:latin typeface="Arial Narrow" pitchFamily="34" charset="0"/>
                        <a:ea typeface="Tahoma" pitchFamily="34" charset="0"/>
                        <a:cs typeface="Tahoma" pitchFamily="34" charset="0"/>
                      </a:endParaRPr>
                    </a:p>
                  </a:txBody>
                  <a:tcPr marL="54665" marR="54665" marT="0" marB="0">
                    <a:solidFill>
                      <a:schemeClr val="accent6">
                        <a:lumMod val="75000"/>
                      </a:schemeClr>
                    </a:solidFill>
                  </a:tcPr>
                </a:tc>
                <a:tc>
                  <a:txBody>
                    <a:bodyPr/>
                    <a:lstStyle/>
                    <a:p>
                      <a:pPr algn="ctr">
                        <a:lnSpc>
                          <a:spcPct val="115000"/>
                        </a:lnSpc>
                        <a:spcAft>
                          <a:spcPts val="0"/>
                        </a:spcAft>
                      </a:pPr>
                      <a:r>
                        <a:rPr lang="th-TH" sz="900" dirty="0" smtClean="0">
                          <a:effectLst/>
                          <a:latin typeface="Arial Narrow" pitchFamily="34" charset="0"/>
                          <a:ea typeface="Tahoma" pitchFamily="34" charset="0"/>
                          <a:cs typeface="Tahoma" pitchFamily="34" charset="0"/>
                        </a:rPr>
                        <a:t>ตราด</a:t>
                      </a:r>
                      <a:endParaRPr lang="en-US" sz="900" dirty="0">
                        <a:effectLst/>
                        <a:latin typeface="Arial Narrow" pitchFamily="34" charset="0"/>
                        <a:ea typeface="Tahoma" pitchFamily="34" charset="0"/>
                        <a:cs typeface="Tahoma" pitchFamily="34" charset="0"/>
                      </a:endParaRPr>
                    </a:p>
                    <a:p>
                      <a:pPr algn="ctr">
                        <a:lnSpc>
                          <a:spcPct val="115000"/>
                        </a:lnSpc>
                        <a:spcAft>
                          <a:spcPts val="0"/>
                        </a:spcAft>
                      </a:pPr>
                      <a:r>
                        <a:rPr lang="th-TH" sz="900" b="0" dirty="0">
                          <a:effectLst/>
                          <a:latin typeface="Arial Narrow" pitchFamily="34" charset="0"/>
                          <a:ea typeface="Tahoma" pitchFamily="34" charset="0"/>
                          <a:cs typeface="Tahoma" pitchFamily="34" charset="0"/>
                        </a:rPr>
                        <a:t>(4)</a:t>
                      </a:r>
                      <a:endParaRPr lang="en-US" sz="900" b="0" dirty="0">
                        <a:effectLst/>
                        <a:latin typeface="Arial Narrow" pitchFamily="34" charset="0"/>
                        <a:ea typeface="Tahoma" pitchFamily="34" charset="0"/>
                        <a:cs typeface="Tahoma" pitchFamily="34" charset="0"/>
                      </a:endParaRPr>
                    </a:p>
                  </a:txBody>
                  <a:tcPr marL="54665" marR="54665" marT="0" marB="0">
                    <a:solidFill>
                      <a:schemeClr val="accent6">
                        <a:lumMod val="75000"/>
                      </a:schemeClr>
                    </a:solidFill>
                  </a:tcPr>
                </a:tc>
                <a:tc>
                  <a:txBody>
                    <a:bodyPr/>
                    <a:lstStyle/>
                    <a:p>
                      <a:pPr algn="ctr">
                        <a:lnSpc>
                          <a:spcPct val="115000"/>
                        </a:lnSpc>
                        <a:spcAft>
                          <a:spcPts val="0"/>
                        </a:spcAft>
                      </a:pPr>
                      <a:r>
                        <a:rPr lang="th-TH" sz="900" dirty="0" smtClean="0">
                          <a:effectLst/>
                          <a:latin typeface="Arial Narrow" pitchFamily="34" charset="0"/>
                          <a:ea typeface="Tahoma" pitchFamily="34" charset="0"/>
                          <a:cs typeface="Tahoma" pitchFamily="34" charset="0"/>
                        </a:rPr>
                        <a:t>มุก</a:t>
                      </a:r>
                      <a:br>
                        <a:rPr lang="th-TH" sz="900" dirty="0" smtClean="0">
                          <a:effectLst/>
                          <a:latin typeface="Arial Narrow" pitchFamily="34" charset="0"/>
                          <a:ea typeface="Tahoma" pitchFamily="34" charset="0"/>
                          <a:cs typeface="Tahoma" pitchFamily="34" charset="0"/>
                        </a:rPr>
                      </a:br>
                      <a:r>
                        <a:rPr lang="th-TH" sz="900" dirty="0" smtClean="0">
                          <a:effectLst/>
                          <a:latin typeface="Arial Narrow" pitchFamily="34" charset="0"/>
                          <a:ea typeface="Tahoma" pitchFamily="34" charset="0"/>
                          <a:cs typeface="Tahoma" pitchFamily="34" charset="0"/>
                        </a:rPr>
                        <a:t>ดาหาร </a:t>
                      </a:r>
                      <a:endParaRPr lang="en-US" sz="900" dirty="0">
                        <a:effectLst/>
                        <a:latin typeface="Arial Narrow" pitchFamily="34" charset="0"/>
                        <a:ea typeface="Tahoma" pitchFamily="34" charset="0"/>
                        <a:cs typeface="Tahoma" pitchFamily="34" charset="0"/>
                      </a:endParaRPr>
                    </a:p>
                    <a:p>
                      <a:pPr algn="ctr">
                        <a:lnSpc>
                          <a:spcPct val="115000"/>
                        </a:lnSpc>
                        <a:spcAft>
                          <a:spcPts val="0"/>
                        </a:spcAft>
                      </a:pPr>
                      <a:r>
                        <a:rPr lang="th-TH" sz="900" b="0" dirty="0">
                          <a:effectLst/>
                          <a:latin typeface="Arial Narrow" pitchFamily="34" charset="0"/>
                          <a:ea typeface="Tahoma" pitchFamily="34" charset="0"/>
                          <a:cs typeface="Tahoma" pitchFamily="34" charset="0"/>
                        </a:rPr>
                        <a:t>(5)</a:t>
                      </a:r>
                      <a:endParaRPr lang="en-US" sz="900" b="0" dirty="0">
                        <a:effectLst/>
                        <a:latin typeface="Arial Narrow" pitchFamily="34" charset="0"/>
                        <a:ea typeface="Tahoma" pitchFamily="34" charset="0"/>
                        <a:cs typeface="Tahoma" pitchFamily="34" charset="0"/>
                      </a:endParaRPr>
                    </a:p>
                  </a:txBody>
                  <a:tcPr marL="54665" marR="54665" marT="0" marB="0">
                    <a:solidFill>
                      <a:schemeClr val="accent6">
                        <a:lumMod val="75000"/>
                      </a:schemeClr>
                    </a:solidFill>
                  </a:tcPr>
                </a:tc>
                <a:tc>
                  <a:txBody>
                    <a:bodyPr/>
                    <a:lstStyle/>
                    <a:p>
                      <a:pPr algn="ctr">
                        <a:lnSpc>
                          <a:spcPct val="115000"/>
                        </a:lnSpc>
                        <a:spcAft>
                          <a:spcPts val="0"/>
                        </a:spcAft>
                      </a:pPr>
                      <a:r>
                        <a:rPr lang="th-TH" sz="900" dirty="0" smtClean="0">
                          <a:effectLst/>
                          <a:latin typeface="Arial Narrow" pitchFamily="34" charset="0"/>
                          <a:ea typeface="Tahoma" pitchFamily="34" charset="0"/>
                          <a:cs typeface="Tahoma" pitchFamily="34" charset="0"/>
                        </a:rPr>
                        <a:t>สงขลา</a:t>
                      </a:r>
                      <a:endParaRPr lang="en-US" sz="900" dirty="0">
                        <a:effectLst/>
                        <a:latin typeface="Arial Narrow" pitchFamily="34" charset="0"/>
                        <a:ea typeface="Tahoma" pitchFamily="34" charset="0"/>
                        <a:cs typeface="Tahoma" pitchFamily="34" charset="0"/>
                      </a:endParaRPr>
                    </a:p>
                    <a:p>
                      <a:pPr algn="ctr">
                        <a:lnSpc>
                          <a:spcPct val="115000"/>
                        </a:lnSpc>
                        <a:spcAft>
                          <a:spcPts val="0"/>
                        </a:spcAft>
                      </a:pPr>
                      <a:r>
                        <a:rPr lang="th-TH" sz="900" b="0" dirty="0">
                          <a:effectLst/>
                          <a:latin typeface="Arial Narrow" pitchFamily="34" charset="0"/>
                          <a:ea typeface="Tahoma" pitchFamily="34" charset="0"/>
                          <a:cs typeface="Tahoma" pitchFamily="34" charset="0"/>
                        </a:rPr>
                        <a:t>(6)</a:t>
                      </a:r>
                      <a:endParaRPr lang="en-US" sz="900" b="0" dirty="0">
                        <a:effectLst/>
                        <a:latin typeface="Arial Narrow" pitchFamily="34" charset="0"/>
                        <a:ea typeface="Tahoma" pitchFamily="34" charset="0"/>
                        <a:cs typeface="Tahoma" pitchFamily="34" charset="0"/>
                      </a:endParaRPr>
                    </a:p>
                  </a:txBody>
                  <a:tcPr marL="54665" marR="54665" marT="0" marB="0">
                    <a:solidFill>
                      <a:schemeClr val="accent6">
                        <a:lumMod val="75000"/>
                      </a:schemeClr>
                    </a:solidFill>
                  </a:tcPr>
                </a:tc>
                <a:tc>
                  <a:txBody>
                    <a:bodyPr/>
                    <a:lstStyle/>
                    <a:p>
                      <a:pPr algn="ctr">
                        <a:lnSpc>
                          <a:spcPct val="115000"/>
                        </a:lnSpc>
                        <a:spcAft>
                          <a:spcPts val="0"/>
                        </a:spcAft>
                      </a:pPr>
                      <a:r>
                        <a:rPr lang="th-TH" sz="900" dirty="0" smtClean="0">
                          <a:effectLst/>
                          <a:latin typeface="Arial Narrow" pitchFamily="34" charset="0"/>
                          <a:ea typeface="Tahoma" pitchFamily="34" charset="0"/>
                          <a:cs typeface="Tahoma" pitchFamily="34" charset="0"/>
                        </a:rPr>
                        <a:t>หนอง</a:t>
                      </a:r>
                      <a:br>
                        <a:rPr lang="th-TH" sz="900" dirty="0" smtClean="0">
                          <a:effectLst/>
                          <a:latin typeface="Arial Narrow" pitchFamily="34" charset="0"/>
                          <a:ea typeface="Tahoma" pitchFamily="34" charset="0"/>
                          <a:cs typeface="Tahoma" pitchFamily="34" charset="0"/>
                        </a:rPr>
                      </a:br>
                      <a:r>
                        <a:rPr lang="th-TH" sz="900" dirty="0" smtClean="0">
                          <a:effectLst/>
                          <a:latin typeface="Arial Narrow" pitchFamily="34" charset="0"/>
                          <a:ea typeface="Tahoma" pitchFamily="34" charset="0"/>
                          <a:cs typeface="Tahoma" pitchFamily="34" charset="0"/>
                        </a:rPr>
                        <a:t>คาย</a:t>
                      </a:r>
                      <a:endParaRPr lang="en-US" sz="900" dirty="0">
                        <a:effectLst/>
                        <a:latin typeface="Arial Narrow" pitchFamily="34" charset="0"/>
                        <a:ea typeface="Tahoma" pitchFamily="34" charset="0"/>
                        <a:cs typeface="Tahoma" pitchFamily="34" charset="0"/>
                      </a:endParaRPr>
                    </a:p>
                    <a:p>
                      <a:pPr algn="ctr">
                        <a:lnSpc>
                          <a:spcPct val="115000"/>
                        </a:lnSpc>
                        <a:spcAft>
                          <a:spcPts val="0"/>
                        </a:spcAft>
                      </a:pPr>
                      <a:r>
                        <a:rPr lang="th-TH" sz="900" b="0" dirty="0" smtClean="0">
                          <a:effectLst/>
                          <a:latin typeface="Arial Narrow" pitchFamily="34" charset="0"/>
                          <a:ea typeface="Tahoma" pitchFamily="34" charset="0"/>
                          <a:cs typeface="Tahoma" pitchFamily="34" charset="0"/>
                        </a:rPr>
                        <a:t>(</a:t>
                      </a:r>
                      <a:r>
                        <a:rPr lang="en-US" sz="900" b="0" dirty="0" smtClean="0">
                          <a:effectLst/>
                          <a:latin typeface="Arial Narrow" pitchFamily="34" charset="0"/>
                          <a:ea typeface="Tahoma" pitchFamily="34" charset="0"/>
                          <a:cs typeface="Tahoma" pitchFamily="34" charset="0"/>
                        </a:rPr>
                        <a:t>5</a:t>
                      </a:r>
                      <a:r>
                        <a:rPr lang="th-TH" sz="900" b="0" dirty="0" smtClean="0">
                          <a:effectLst/>
                          <a:latin typeface="Arial Narrow" pitchFamily="34" charset="0"/>
                          <a:ea typeface="Tahoma" pitchFamily="34" charset="0"/>
                          <a:cs typeface="Tahoma" pitchFamily="34" charset="0"/>
                        </a:rPr>
                        <a:t>)</a:t>
                      </a:r>
                      <a:endParaRPr lang="en-US" sz="900" b="0" dirty="0">
                        <a:effectLst/>
                        <a:latin typeface="Arial Narrow" pitchFamily="34" charset="0"/>
                        <a:ea typeface="Tahoma" pitchFamily="34" charset="0"/>
                        <a:cs typeface="Tahoma" pitchFamily="34" charset="0"/>
                      </a:endParaRPr>
                    </a:p>
                  </a:txBody>
                  <a:tcPr marL="54664" marR="54664" marT="0" marB="0">
                    <a:solidFill>
                      <a:schemeClr val="accent6">
                        <a:lumMod val="75000"/>
                      </a:schemeClr>
                    </a:solidFill>
                  </a:tcPr>
                </a:tc>
                <a:tc>
                  <a:txBody>
                    <a:bodyPr/>
                    <a:lstStyle/>
                    <a:p>
                      <a:pPr algn="ctr">
                        <a:lnSpc>
                          <a:spcPct val="115000"/>
                        </a:lnSpc>
                        <a:spcAft>
                          <a:spcPts val="0"/>
                        </a:spcAft>
                      </a:pPr>
                      <a:r>
                        <a:rPr lang="th-TH" sz="900" dirty="0" smtClean="0">
                          <a:effectLst/>
                          <a:latin typeface="Arial Narrow" pitchFamily="34" charset="0"/>
                          <a:ea typeface="Tahoma" pitchFamily="34" charset="0"/>
                          <a:cs typeface="Tahoma" pitchFamily="34" charset="0"/>
                        </a:rPr>
                        <a:t>เชียง</a:t>
                      </a:r>
                      <a:br>
                        <a:rPr lang="th-TH" sz="900" dirty="0" smtClean="0">
                          <a:effectLst/>
                          <a:latin typeface="Arial Narrow" pitchFamily="34" charset="0"/>
                          <a:ea typeface="Tahoma" pitchFamily="34" charset="0"/>
                          <a:cs typeface="Tahoma" pitchFamily="34" charset="0"/>
                        </a:rPr>
                      </a:br>
                      <a:r>
                        <a:rPr lang="th-TH" sz="900" dirty="0" smtClean="0">
                          <a:effectLst/>
                          <a:latin typeface="Arial Narrow" pitchFamily="34" charset="0"/>
                          <a:ea typeface="Tahoma" pitchFamily="34" charset="0"/>
                          <a:cs typeface="Tahoma" pitchFamily="34" charset="0"/>
                        </a:rPr>
                        <a:t>ราย</a:t>
                      </a:r>
                      <a:r>
                        <a:rPr lang="en-US" sz="900" dirty="0" smtClean="0">
                          <a:effectLst/>
                          <a:latin typeface="Arial Narrow" pitchFamily="34" charset="0"/>
                          <a:ea typeface="Tahoma" pitchFamily="34" charset="0"/>
                          <a:cs typeface="Tahoma" pitchFamily="34" charset="0"/>
                        </a:rPr>
                        <a:t/>
                      </a:r>
                      <a:br>
                        <a:rPr lang="en-US" sz="900" dirty="0" smtClean="0">
                          <a:effectLst/>
                          <a:latin typeface="Arial Narrow" pitchFamily="34" charset="0"/>
                          <a:ea typeface="Tahoma" pitchFamily="34" charset="0"/>
                          <a:cs typeface="Tahoma" pitchFamily="34" charset="0"/>
                        </a:rPr>
                      </a:br>
                      <a:r>
                        <a:rPr lang="th-TH" sz="900" b="0" dirty="0" smtClean="0">
                          <a:effectLst/>
                          <a:latin typeface="Arial Narrow" pitchFamily="34" charset="0"/>
                          <a:ea typeface="Tahoma" pitchFamily="34" charset="0"/>
                          <a:cs typeface="Tahoma" pitchFamily="34" charset="0"/>
                        </a:rPr>
                        <a:t>(1</a:t>
                      </a:r>
                      <a:r>
                        <a:rPr lang="en-US" sz="900" b="0" dirty="0" smtClean="0">
                          <a:effectLst/>
                          <a:latin typeface="Arial Narrow" pitchFamily="34" charset="0"/>
                          <a:ea typeface="Tahoma" pitchFamily="34" charset="0"/>
                          <a:cs typeface="Tahoma" pitchFamily="34" charset="0"/>
                        </a:rPr>
                        <a:t>0</a:t>
                      </a:r>
                      <a:r>
                        <a:rPr lang="th-TH" sz="900" b="0" dirty="0" smtClean="0">
                          <a:effectLst/>
                          <a:latin typeface="Arial Narrow" pitchFamily="34" charset="0"/>
                          <a:ea typeface="Tahoma" pitchFamily="34" charset="0"/>
                          <a:cs typeface="Tahoma" pitchFamily="34" charset="0"/>
                        </a:rPr>
                        <a:t>)</a:t>
                      </a:r>
                      <a:endParaRPr lang="en-US" sz="900" b="0" dirty="0">
                        <a:effectLst/>
                        <a:latin typeface="Arial Narrow" pitchFamily="34" charset="0"/>
                        <a:ea typeface="Tahoma" pitchFamily="34" charset="0"/>
                        <a:cs typeface="Tahoma" pitchFamily="34" charset="0"/>
                      </a:endParaRPr>
                    </a:p>
                  </a:txBody>
                  <a:tcPr marL="54664" marR="54664" marT="0" marB="0">
                    <a:solidFill>
                      <a:schemeClr val="accent6">
                        <a:lumMod val="75000"/>
                      </a:schemeClr>
                    </a:solidFill>
                  </a:tcPr>
                </a:tc>
                <a:tc>
                  <a:txBody>
                    <a:bodyPr/>
                    <a:lstStyle/>
                    <a:p>
                      <a:pPr algn="ctr">
                        <a:lnSpc>
                          <a:spcPct val="115000"/>
                        </a:lnSpc>
                        <a:spcAft>
                          <a:spcPts val="0"/>
                        </a:spcAft>
                      </a:pPr>
                      <a:r>
                        <a:rPr lang="th-TH" sz="900" dirty="0" err="1" smtClean="0">
                          <a:effectLst/>
                          <a:latin typeface="Arial Narrow" pitchFamily="34" charset="0"/>
                          <a:ea typeface="Tahoma" pitchFamily="34" charset="0"/>
                          <a:cs typeface="Tahoma" pitchFamily="34" charset="0"/>
                        </a:rPr>
                        <a:t>กาญ</a:t>
                      </a:r>
                      <a:r>
                        <a:rPr lang="th-TH" sz="900" dirty="0" smtClean="0">
                          <a:effectLst/>
                          <a:latin typeface="Arial Narrow" pitchFamily="34" charset="0"/>
                          <a:ea typeface="Tahoma" pitchFamily="34" charset="0"/>
                          <a:cs typeface="Tahoma" pitchFamily="34" charset="0"/>
                        </a:rPr>
                        <a:t/>
                      </a:r>
                      <a:br>
                        <a:rPr lang="th-TH" sz="900" dirty="0" smtClean="0">
                          <a:effectLst/>
                          <a:latin typeface="Arial Narrow" pitchFamily="34" charset="0"/>
                          <a:ea typeface="Tahoma" pitchFamily="34" charset="0"/>
                          <a:cs typeface="Tahoma" pitchFamily="34" charset="0"/>
                        </a:rPr>
                      </a:br>
                      <a:r>
                        <a:rPr lang="th-TH" sz="900" dirty="0" smtClean="0">
                          <a:effectLst/>
                          <a:latin typeface="Arial Narrow" pitchFamily="34" charset="0"/>
                          <a:ea typeface="Tahoma" pitchFamily="34" charset="0"/>
                          <a:cs typeface="Tahoma" pitchFamily="34" charset="0"/>
                        </a:rPr>
                        <a:t>จนบุรี</a:t>
                      </a:r>
                      <a:endParaRPr lang="en-US" sz="900" dirty="0">
                        <a:effectLst/>
                        <a:latin typeface="Arial Narrow" pitchFamily="34" charset="0"/>
                        <a:ea typeface="Tahoma" pitchFamily="34" charset="0"/>
                        <a:cs typeface="Tahoma" pitchFamily="34" charset="0"/>
                      </a:endParaRPr>
                    </a:p>
                    <a:p>
                      <a:pPr algn="ctr">
                        <a:lnSpc>
                          <a:spcPct val="115000"/>
                        </a:lnSpc>
                        <a:spcAft>
                          <a:spcPts val="0"/>
                        </a:spcAft>
                      </a:pPr>
                      <a:r>
                        <a:rPr lang="th-TH" sz="900" b="0" dirty="0" smtClean="0">
                          <a:effectLst/>
                          <a:latin typeface="Arial Narrow" pitchFamily="34" charset="0"/>
                          <a:ea typeface="Tahoma" pitchFamily="34" charset="0"/>
                          <a:cs typeface="Tahoma" pitchFamily="34" charset="0"/>
                        </a:rPr>
                        <a:t>(</a:t>
                      </a:r>
                      <a:r>
                        <a:rPr lang="en-US" sz="900" b="0" dirty="0" smtClean="0">
                          <a:effectLst/>
                          <a:latin typeface="Arial Narrow" pitchFamily="34" charset="0"/>
                          <a:ea typeface="Tahoma" pitchFamily="34" charset="0"/>
                          <a:cs typeface="Tahoma" pitchFamily="34" charset="0"/>
                        </a:rPr>
                        <a:t>13</a:t>
                      </a:r>
                      <a:r>
                        <a:rPr lang="th-TH" sz="900" b="0" dirty="0" smtClean="0">
                          <a:effectLst/>
                          <a:latin typeface="Arial Narrow" pitchFamily="34" charset="0"/>
                          <a:ea typeface="Tahoma" pitchFamily="34" charset="0"/>
                          <a:cs typeface="Tahoma" pitchFamily="34" charset="0"/>
                        </a:rPr>
                        <a:t>)</a:t>
                      </a:r>
                      <a:endParaRPr lang="en-US" sz="900" b="0" dirty="0">
                        <a:effectLst/>
                        <a:latin typeface="Arial Narrow" pitchFamily="34" charset="0"/>
                        <a:ea typeface="Tahoma" pitchFamily="34" charset="0"/>
                        <a:cs typeface="Tahoma" pitchFamily="34" charset="0"/>
                      </a:endParaRPr>
                    </a:p>
                  </a:txBody>
                  <a:tcPr marL="54664" marR="54664" marT="0" marB="0">
                    <a:solidFill>
                      <a:schemeClr val="accent6">
                        <a:lumMod val="75000"/>
                      </a:schemeClr>
                    </a:solidFill>
                  </a:tcPr>
                </a:tc>
                <a:tc>
                  <a:txBody>
                    <a:bodyPr/>
                    <a:lstStyle/>
                    <a:p>
                      <a:pPr algn="ctr">
                        <a:lnSpc>
                          <a:spcPct val="115000"/>
                        </a:lnSpc>
                        <a:spcAft>
                          <a:spcPts val="0"/>
                        </a:spcAft>
                      </a:pPr>
                      <a:r>
                        <a:rPr lang="th-TH" sz="900" dirty="0" smtClean="0">
                          <a:effectLst/>
                          <a:latin typeface="Arial Narrow" pitchFamily="34" charset="0"/>
                          <a:ea typeface="Tahoma" pitchFamily="34" charset="0"/>
                          <a:cs typeface="Tahoma" pitchFamily="34" charset="0"/>
                        </a:rPr>
                        <a:t>นคร</a:t>
                      </a:r>
                      <a:br>
                        <a:rPr lang="th-TH" sz="900" dirty="0" smtClean="0">
                          <a:effectLst/>
                          <a:latin typeface="Arial Narrow" pitchFamily="34" charset="0"/>
                          <a:ea typeface="Tahoma" pitchFamily="34" charset="0"/>
                          <a:cs typeface="Tahoma" pitchFamily="34" charset="0"/>
                        </a:rPr>
                      </a:br>
                      <a:r>
                        <a:rPr lang="th-TH" sz="900" dirty="0" smtClean="0">
                          <a:effectLst/>
                          <a:latin typeface="Arial Narrow" pitchFamily="34" charset="0"/>
                          <a:ea typeface="Tahoma" pitchFamily="34" charset="0"/>
                          <a:cs typeface="Tahoma" pitchFamily="34" charset="0"/>
                        </a:rPr>
                        <a:t>พนม</a:t>
                      </a:r>
                      <a:endParaRPr lang="en-US" sz="900" dirty="0">
                        <a:effectLst/>
                        <a:latin typeface="Arial Narrow" pitchFamily="34" charset="0"/>
                        <a:ea typeface="Tahoma" pitchFamily="34" charset="0"/>
                        <a:cs typeface="Tahoma" pitchFamily="34" charset="0"/>
                      </a:endParaRPr>
                    </a:p>
                    <a:p>
                      <a:pPr algn="ctr">
                        <a:lnSpc>
                          <a:spcPct val="115000"/>
                        </a:lnSpc>
                        <a:spcAft>
                          <a:spcPts val="0"/>
                        </a:spcAft>
                      </a:pPr>
                      <a:r>
                        <a:rPr lang="th-TH" sz="900" b="0" dirty="0" smtClean="0">
                          <a:effectLst/>
                          <a:latin typeface="Arial Narrow" pitchFamily="34" charset="0"/>
                          <a:ea typeface="Tahoma" pitchFamily="34" charset="0"/>
                          <a:cs typeface="Tahoma" pitchFamily="34" charset="0"/>
                        </a:rPr>
                        <a:t>(</a:t>
                      </a:r>
                      <a:r>
                        <a:rPr lang="en-US" sz="900" b="0" dirty="0" smtClean="0">
                          <a:effectLst/>
                          <a:latin typeface="Arial Narrow" pitchFamily="34" charset="0"/>
                          <a:ea typeface="Tahoma" pitchFamily="34" charset="0"/>
                          <a:cs typeface="Tahoma" pitchFamily="34" charset="0"/>
                        </a:rPr>
                        <a:t>13</a:t>
                      </a:r>
                      <a:r>
                        <a:rPr lang="th-TH" sz="900" b="0" dirty="0" smtClean="0">
                          <a:effectLst/>
                          <a:latin typeface="Arial Narrow" pitchFamily="34" charset="0"/>
                          <a:ea typeface="Tahoma" pitchFamily="34" charset="0"/>
                          <a:cs typeface="Tahoma" pitchFamily="34" charset="0"/>
                        </a:rPr>
                        <a:t>)</a:t>
                      </a:r>
                      <a:endParaRPr lang="en-US" sz="900" b="0" dirty="0">
                        <a:effectLst/>
                        <a:latin typeface="Arial Narrow" pitchFamily="34" charset="0"/>
                        <a:ea typeface="Tahoma" pitchFamily="34" charset="0"/>
                        <a:cs typeface="Tahoma" pitchFamily="34" charset="0"/>
                      </a:endParaRPr>
                    </a:p>
                  </a:txBody>
                  <a:tcPr marL="54664" marR="54664" marT="0" marB="0">
                    <a:solidFill>
                      <a:schemeClr val="accent6">
                        <a:lumMod val="75000"/>
                      </a:schemeClr>
                    </a:solidFill>
                  </a:tcPr>
                </a:tc>
                <a:tc>
                  <a:txBody>
                    <a:bodyPr/>
                    <a:lstStyle/>
                    <a:p>
                      <a:pPr algn="ctr">
                        <a:lnSpc>
                          <a:spcPct val="115000"/>
                        </a:lnSpc>
                        <a:spcAft>
                          <a:spcPts val="0"/>
                        </a:spcAft>
                      </a:pPr>
                      <a:r>
                        <a:rPr lang="th-TH" sz="900" dirty="0" smtClean="0">
                          <a:effectLst/>
                          <a:latin typeface="Arial Narrow" pitchFamily="34" charset="0"/>
                          <a:ea typeface="Tahoma" pitchFamily="34" charset="0"/>
                          <a:cs typeface="Tahoma" pitchFamily="34" charset="0"/>
                        </a:rPr>
                        <a:t>นรา</a:t>
                      </a:r>
                      <a:br>
                        <a:rPr lang="th-TH" sz="900" dirty="0" smtClean="0">
                          <a:effectLst/>
                          <a:latin typeface="Arial Narrow" pitchFamily="34" charset="0"/>
                          <a:ea typeface="Tahoma" pitchFamily="34" charset="0"/>
                          <a:cs typeface="Tahoma" pitchFamily="34" charset="0"/>
                        </a:rPr>
                      </a:br>
                      <a:r>
                        <a:rPr lang="th-TH" sz="900" dirty="0" err="1" smtClean="0">
                          <a:effectLst/>
                          <a:latin typeface="Arial Narrow" pitchFamily="34" charset="0"/>
                          <a:ea typeface="Tahoma" pitchFamily="34" charset="0"/>
                          <a:cs typeface="Tahoma" pitchFamily="34" charset="0"/>
                        </a:rPr>
                        <a:t>ธิวาส</a:t>
                      </a:r>
                      <a:endParaRPr lang="en-US" sz="900" dirty="0">
                        <a:effectLst/>
                        <a:latin typeface="Arial Narrow" pitchFamily="34" charset="0"/>
                        <a:ea typeface="Tahoma" pitchFamily="34" charset="0"/>
                        <a:cs typeface="Tahoma" pitchFamily="34" charset="0"/>
                      </a:endParaRPr>
                    </a:p>
                  </a:txBody>
                  <a:tcPr marL="54664" marR="54664" marT="0" marB="0">
                    <a:solidFill>
                      <a:schemeClr val="accent6">
                        <a:lumMod val="75000"/>
                      </a:schemeClr>
                    </a:solidFill>
                  </a:tcPr>
                </a:tc>
              </a:tr>
              <a:tr h="486395">
                <a:tc>
                  <a:txBody>
                    <a:bodyPr/>
                    <a:lstStyle/>
                    <a:p>
                      <a:pPr marL="0" algn="ctr" defTabSz="914400" rtl="0" eaLnBrk="1" latinLnBrk="0" hangingPunct="1">
                        <a:lnSpc>
                          <a:spcPct val="115000"/>
                        </a:lnSpc>
                        <a:spcAft>
                          <a:spcPts val="0"/>
                        </a:spcAft>
                      </a:pPr>
                      <a:r>
                        <a:rPr lang="th-TH" sz="1100" b="0" kern="1200" dirty="0">
                          <a:solidFill>
                            <a:schemeClr val="lt1"/>
                          </a:solidFill>
                          <a:effectLst/>
                          <a:latin typeface="Arial Narrow" pitchFamily="34" charset="0"/>
                          <a:ea typeface="Tahoma" pitchFamily="34" charset="0"/>
                          <a:cs typeface="Tahoma" pitchFamily="34" charset="0"/>
                        </a:rPr>
                        <a:t>1</a:t>
                      </a:r>
                      <a:endParaRPr lang="en-US" sz="1100" b="0" kern="1200" dirty="0">
                        <a:solidFill>
                          <a:schemeClr val="lt1"/>
                        </a:solidFill>
                        <a:effectLst/>
                        <a:latin typeface="Arial Narrow" pitchFamily="34" charset="0"/>
                        <a:ea typeface="Tahoma" pitchFamily="34" charset="0"/>
                        <a:cs typeface="Tahoma" pitchFamily="34" charset="0"/>
                      </a:endParaRPr>
                    </a:p>
                  </a:txBody>
                  <a:tcPr marL="54665" marR="54665" marT="0" marB="0" anchor="ctr">
                    <a:solidFill>
                      <a:schemeClr val="accent6">
                        <a:lumMod val="75000"/>
                      </a:schemeClr>
                    </a:solidFill>
                  </a:tcPr>
                </a:tc>
                <a:tc>
                  <a:txBody>
                    <a:bodyPr/>
                    <a:lstStyle/>
                    <a:p>
                      <a:pPr>
                        <a:lnSpc>
                          <a:spcPct val="115000"/>
                        </a:lnSpc>
                        <a:spcAft>
                          <a:spcPts val="0"/>
                        </a:spcAft>
                      </a:pPr>
                      <a:r>
                        <a:rPr lang="th-TH" sz="1400" b="1" dirty="0">
                          <a:effectLst/>
                          <a:latin typeface="TH SarabunPSK" pitchFamily="34" charset="-34"/>
                          <a:cs typeface="TH SarabunPSK" pitchFamily="34" charset="-34"/>
                        </a:rPr>
                        <a:t>อุตสาหกรรมการเกษตร ประมง และกิจการที่เกี่ยวข้อง</a:t>
                      </a:r>
                      <a:endParaRPr lang="en-US" sz="800" b="1" dirty="0">
                        <a:effectLst/>
                        <a:latin typeface="TH SarabunPSK" pitchFamily="34" charset="-34"/>
                        <a:ea typeface="Times New Roman"/>
                        <a:cs typeface="TH SarabunPSK" pitchFamily="34" charset="-34"/>
                      </a:endParaRPr>
                    </a:p>
                  </a:txBody>
                  <a:tcPr marL="50456" marR="50456" marT="0" marB="0">
                    <a:solidFill>
                      <a:schemeClr val="accent6">
                        <a:lumMod val="20000"/>
                        <a:lumOff val="80000"/>
                      </a:schemeClr>
                    </a:solidFill>
                  </a:tcPr>
                </a:tc>
                <a:tc>
                  <a:txBody>
                    <a:bodyPr/>
                    <a:lstStyle/>
                    <a:p>
                      <a:pPr algn="ctr">
                        <a:lnSpc>
                          <a:spcPct val="115000"/>
                        </a:lnSpc>
                        <a:spcAft>
                          <a:spcPts val="0"/>
                        </a:spcAft>
                      </a:pPr>
                      <a:r>
                        <a:rPr lang="en-US" sz="1100" dirty="0">
                          <a:effectLst/>
                          <a:latin typeface="Arial Narrow" pitchFamily="34" charset="0"/>
                          <a:ea typeface="Tahoma" pitchFamily="34" charset="0"/>
                          <a:cs typeface="Tahoma" pitchFamily="34" charset="0"/>
                          <a:sym typeface="Webdings"/>
                        </a:rPr>
                        <a:t></a:t>
                      </a:r>
                      <a:endParaRPr lang="en-US" sz="1100" dirty="0">
                        <a:effectLst/>
                        <a:latin typeface="Arial Narrow" pitchFamily="34" charset="0"/>
                        <a:ea typeface="Tahoma" pitchFamily="34" charset="0"/>
                        <a:cs typeface="Tahoma" pitchFamily="34" charset="0"/>
                      </a:endParaRPr>
                    </a:p>
                  </a:txBody>
                  <a:tcPr marL="54665" marR="54665" marT="0" marB="0" anchor="ctr">
                    <a:solidFill>
                      <a:schemeClr val="accent6">
                        <a:lumMod val="20000"/>
                        <a:lumOff val="80000"/>
                      </a:schemeClr>
                    </a:solidFill>
                  </a:tcPr>
                </a:tc>
                <a:tc>
                  <a:txBody>
                    <a:bodyPr/>
                    <a:lstStyle/>
                    <a:p>
                      <a:pPr algn="ctr">
                        <a:lnSpc>
                          <a:spcPct val="115000"/>
                        </a:lnSpc>
                        <a:spcAft>
                          <a:spcPts val="0"/>
                        </a:spcAft>
                      </a:pPr>
                      <a:r>
                        <a:rPr lang="en-US" sz="1100" dirty="0">
                          <a:effectLst/>
                          <a:latin typeface="Arial Narrow" pitchFamily="34" charset="0"/>
                          <a:ea typeface="Tahoma" pitchFamily="34" charset="0"/>
                          <a:cs typeface="Tahoma" pitchFamily="34" charset="0"/>
                          <a:sym typeface="Webdings"/>
                        </a:rPr>
                        <a:t></a:t>
                      </a:r>
                      <a:endParaRPr lang="en-US" sz="1100" dirty="0">
                        <a:effectLst/>
                        <a:latin typeface="Arial Narrow" pitchFamily="34" charset="0"/>
                        <a:ea typeface="Tahoma" pitchFamily="34" charset="0"/>
                        <a:cs typeface="Tahoma" pitchFamily="34" charset="0"/>
                      </a:endParaRPr>
                    </a:p>
                  </a:txBody>
                  <a:tcPr marL="54665" marR="54665" marT="0" marB="0" anchor="ctr">
                    <a:solidFill>
                      <a:schemeClr val="accent6">
                        <a:lumMod val="20000"/>
                        <a:lumOff val="80000"/>
                      </a:schemeClr>
                    </a:solidFill>
                  </a:tcPr>
                </a:tc>
                <a:tc>
                  <a:txBody>
                    <a:bodyPr/>
                    <a:lstStyle/>
                    <a:p>
                      <a:pPr algn="ctr">
                        <a:lnSpc>
                          <a:spcPct val="115000"/>
                        </a:lnSpc>
                        <a:spcAft>
                          <a:spcPts val="0"/>
                        </a:spcAft>
                      </a:pPr>
                      <a:r>
                        <a:rPr lang="en-US" sz="1100" dirty="0">
                          <a:effectLst/>
                          <a:latin typeface="Arial Narrow" pitchFamily="34" charset="0"/>
                          <a:ea typeface="Tahoma" pitchFamily="34" charset="0"/>
                          <a:cs typeface="Tahoma" pitchFamily="34" charset="0"/>
                          <a:sym typeface="Webdings"/>
                        </a:rPr>
                        <a:t></a:t>
                      </a:r>
                      <a:endParaRPr lang="en-US" sz="1100" dirty="0">
                        <a:effectLst/>
                        <a:latin typeface="Arial Narrow" pitchFamily="34" charset="0"/>
                        <a:ea typeface="Tahoma" pitchFamily="34" charset="0"/>
                        <a:cs typeface="Tahoma" pitchFamily="34" charset="0"/>
                      </a:endParaRPr>
                    </a:p>
                  </a:txBody>
                  <a:tcPr marL="54665" marR="54665" marT="0" marB="0" anchor="ctr">
                    <a:solidFill>
                      <a:schemeClr val="accent6">
                        <a:lumMod val="20000"/>
                        <a:lumOff val="80000"/>
                      </a:schemeClr>
                    </a:solidFill>
                  </a:tcPr>
                </a:tc>
                <a:tc>
                  <a:txBody>
                    <a:bodyPr/>
                    <a:lstStyle/>
                    <a:p>
                      <a:pPr algn="ctr">
                        <a:lnSpc>
                          <a:spcPct val="115000"/>
                        </a:lnSpc>
                        <a:spcAft>
                          <a:spcPts val="0"/>
                        </a:spcAft>
                      </a:pPr>
                      <a:r>
                        <a:rPr lang="en-US" sz="1100" dirty="0">
                          <a:effectLst/>
                          <a:latin typeface="Arial Narrow" pitchFamily="34" charset="0"/>
                          <a:ea typeface="Tahoma" pitchFamily="34" charset="0"/>
                          <a:cs typeface="Tahoma" pitchFamily="34" charset="0"/>
                          <a:sym typeface="Webdings"/>
                        </a:rPr>
                        <a:t></a:t>
                      </a:r>
                      <a:endParaRPr lang="en-US" sz="1100" dirty="0">
                        <a:effectLst/>
                        <a:latin typeface="Arial Narrow" pitchFamily="34" charset="0"/>
                        <a:ea typeface="Tahoma" pitchFamily="34" charset="0"/>
                        <a:cs typeface="Tahoma" pitchFamily="34" charset="0"/>
                      </a:endParaRPr>
                    </a:p>
                  </a:txBody>
                  <a:tcPr marL="54665" marR="54665" marT="0" marB="0" anchor="ctr">
                    <a:solidFill>
                      <a:schemeClr val="accent6">
                        <a:lumMod val="20000"/>
                        <a:lumOff val="80000"/>
                      </a:schemeClr>
                    </a:solidFill>
                  </a:tcPr>
                </a:tc>
                <a:tc>
                  <a:txBody>
                    <a:bodyPr/>
                    <a:lstStyle/>
                    <a:p>
                      <a:pPr algn="ctr">
                        <a:lnSpc>
                          <a:spcPct val="115000"/>
                        </a:lnSpc>
                        <a:spcAft>
                          <a:spcPts val="0"/>
                        </a:spcAft>
                      </a:pPr>
                      <a:r>
                        <a:rPr lang="en-US" sz="1100" dirty="0">
                          <a:effectLst/>
                          <a:latin typeface="Arial Narrow" pitchFamily="34" charset="0"/>
                          <a:ea typeface="Tahoma" pitchFamily="34" charset="0"/>
                          <a:cs typeface="Tahoma" pitchFamily="34" charset="0"/>
                          <a:sym typeface="Webdings"/>
                        </a:rPr>
                        <a:t></a:t>
                      </a:r>
                      <a:endParaRPr lang="en-US" sz="1100" dirty="0">
                        <a:effectLst/>
                        <a:latin typeface="Arial Narrow" pitchFamily="34" charset="0"/>
                        <a:ea typeface="Tahoma" pitchFamily="34" charset="0"/>
                        <a:cs typeface="Tahoma" pitchFamily="34" charset="0"/>
                      </a:endParaRPr>
                    </a:p>
                  </a:txBody>
                  <a:tcPr marL="54665" marR="54665" marT="0" marB="0" anchor="ctr">
                    <a:solidFill>
                      <a:schemeClr val="accent6">
                        <a:lumMod val="20000"/>
                        <a:lumOff val="80000"/>
                      </a:schemeClr>
                    </a:solidFill>
                  </a:tcPr>
                </a:tc>
                <a:tc>
                  <a:txBody>
                    <a:bodyPr/>
                    <a:lstStyle/>
                    <a:p>
                      <a:pPr algn="ctr">
                        <a:lnSpc>
                          <a:spcPct val="115000"/>
                        </a:lnSpc>
                        <a:spcAft>
                          <a:spcPts val="0"/>
                        </a:spcAft>
                      </a:pPr>
                      <a:r>
                        <a:rPr lang="en-US" sz="1100" dirty="0">
                          <a:solidFill>
                            <a:schemeClr val="tx1"/>
                          </a:solidFill>
                          <a:effectLst/>
                          <a:latin typeface="Arial Narrow" pitchFamily="34" charset="0"/>
                          <a:ea typeface="Tahoma" pitchFamily="34" charset="0"/>
                          <a:cs typeface="Tahoma" pitchFamily="34" charset="0"/>
                          <a:sym typeface="Webdings"/>
                        </a:rPr>
                        <a:t></a:t>
                      </a:r>
                      <a:endParaRPr lang="en-US" sz="1100" dirty="0">
                        <a:solidFill>
                          <a:schemeClr val="tx1"/>
                        </a:solidFill>
                        <a:effectLst/>
                        <a:latin typeface="Arial Narrow" pitchFamily="34" charset="0"/>
                        <a:ea typeface="Tahoma" pitchFamily="34" charset="0"/>
                        <a:cs typeface="Tahoma" pitchFamily="34" charset="0"/>
                      </a:endParaRPr>
                    </a:p>
                  </a:txBody>
                  <a:tcPr marL="54664" marR="54664" marT="0" marB="0" anchor="ctr">
                    <a:solidFill>
                      <a:schemeClr val="accent6">
                        <a:lumMod val="20000"/>
                        <a:lumOff val="80000"/>
                      </a:schemeClr>
                    </a:solidFill>
                  </a:tcPr>
                </a:tc>
                <a:tc>
                  <a:txBody>
                    <a:bodyPr/>
                    <a:lstStyle/>
                    <a:p>
                      <a:pPr algn="ctr">
                        <a:lnSpc>
                          <a:spcPct val="115000"/>
                        </a:lnSpc>
                        <a:spcAft>
                          <a:spcPts val="0"/>
                        </a:spcAft>
                      </a:pPr>
                      <a:r>
                        <a:rPr lang="en-US" sz="1100" dirty="0">
                          <a:effectLst/>
                          <a:latin typeface="Arial Narrow" pitchFamily="34" charset="0"/>
                          <a:ea typeface="Tahoma" pitchFamily="34" charset="0"/>
                          <a:cs typeface="Tahoma" pitchFamily="34" charset="0"/>
                          <a:sym typeface="Webdings"/>
                        </a:rPr>
                        <a:t></a:t>
                      </a:r>
                      <a:endParaRPr lang="en-US" sz="1100" dirty="0">
                        <a:effectLst/>
                        <a:latin typeface="Arial Narrow" pitchFamily="34" charset="0"/>
                        <a:ea typeface="Tahoma" pitchFamily="34" charset="0"/>
                        <a:cs typeface="Tahoma" pitchFamily="34" charset="0"/>
                      </a:endParaRPr>
                    </a:p>
                  </a:txBody>
                  <a:tcPr marL="54664" marR="54664" marT="0" marB="0" anchor="ctr">
                    <a:solidFill>
                      <a:schemeClr val="accent6">
                        <a:lumMod val="20000"/>
                        <a:lumOff val="80000"/>
                      </a:schemeClr>
                    </a:solidFill>
                  </a:tcPr>
                </a:tc>
                <a:tc>
                  <a:txBody>
                    <a:bodyPr/>
                    <a:lstStyle/>
                    <a:p>
                      <a:pPr algn="ctr">
                        <a:lnSpc>
                          <a:spcPct val="115000"/>
                        </a:lnSpc>
                        <a:spcAft>
                          <a:spcPts val="0"/>
                        </a:spcAft>
                      </a:pPr>
                      <a:r>
                        <a:rPr lang="en-US" sz="1100" dirty="0">
                          <a:effectLst/>
                          <a:latin typeface="Arial Narrow" pitchFamily="34" charset="0"/>
                          <a:ea typeface="Tahoma" pitchFamily="34" charset="0"/>
                          <a:cs typeface="Tahoma" pitchFamily="34" charset="0"/>
                          <a:sym typeface="Webdings"/>
                        </a:rPr>
                        <a:t></a:t>
                      </a:r>
                      <a:endParaRPr lang="en-US" sz="1100" dirty="0">
                        <a:effectLst/>
                        <a:latin typeface="Arial Narrow" pitchFamily="34" charset="0"/>
                        <a:ea typeface="Tahoma" pitchFamily="34" charset="0"/>
                        <a:cs typeface="Tahoma" pitchFamily="34" charset="0"/>
                      </a:endParaRPr>
                    </a:p>
                  </a:txBody>
                  <a:tcPr marL="54664" marR="54664" marT="0" marB="0" anchor="ctr">
                    <a:solidFill>
                      <a:schemeClr val="accent6">
                        <a:lumMod val="20000"/>
                        <a:lumOff val="80000"/>
                      </a:schemeClr>
                    </a:solidFill>
                  </a:tcPr>
                </a:tc>
                <a:tc>
                  <a:txBody>
                    <a:bodyPr/>
                    <a:lstStyle/>
                    <a:p>
                      <a:pPr algn="ctr">
                        <a:lnSpc>
                          <a:spcPct val="115000"/>
                        </a:lnSpc>
                        <a:spcAft>
                          <a:spcPts val="0"/>
                        </a:spcAft>
                      </a:pPr>
                      <a:r>
                        <a:rPr lang="en-US" sz="1100" dirty="0">
                          <a:effectLst/>
                          <a:latin typeface="Arial Narrow" pitchFamily="34" charset="0"/>
                          <a:ea typeface="Tahoma" pitchFamily="34" charset="0"/>
                          <a:cs typeface="Tahoma" pitchFamily="34" charset="0"/>
                          <a:sym typeface="Webdings"/>
                        </a:rPr>
                        <a:t></a:t>
                      </a:r>
                      <a:endParaRPr lang="en-US" sz="1100" dirty="0">
                        <a:effectLst/>
                        <a:latin typeface="Arial Narrow" pitchFamily="34" charset="0"/>
                        <a:ea typeface="Tahoma" pitchFamily="34" charset="0"/>
                        <a:cs typeface="Tahoma" pitchFamily="34" charset="0"/>
                      </a:endParaRPr>
                    </a:p>
                  </a:txBody>
                  <a:tcPr marL="54664" marR="54664" marT="0" marB="0" anchor="ctr">
                    <a:solidFill>
                      <a:schemeClr val="accent6">
                        <a:lumMod val="20000"/>
                        <a:lumOff val="80000"/>
                      </a:schemeClr>
                    </a:solidFill>
                  </a:tcPr>
                </a:tc>
                <a:tc rowSpan="13">
                  <a:txBody>
                    <a:bodyPr/>
                    <a:lstStyle/>
                    <a:p>
                      <a:pPr algn="ctr">
                        <a:lnSpc>
                          <a:spcPct val="115000"/>
                        </a:lnSpc>
                        <a:spcAft>
                          <a:spcPts val="0"/>
                        </a:spcAft>
                      </a:pPr>
                      <a:r>
                        <a:rPr lang="en-US" sz="900" dirty="0" smtClean="0">
                          <a:effectLst/>
                        </a:rPr>
                        <a:t> </a:t>
                      </a:r>
                      <a:r>
                        <a:rPr lang="th-TH" sz="1100" dirty="0" smtClean="0">
                          <a:effectLst/>
                        </a:rPr>
                        <a:t>ใช้สิทธิประโยชน์ที่ได้รับภายใต้เขตพัฒนาพิเศษเฉพาะกิจจังหวัดชายแดนภาคใต้</a:t>
                      </a:r>
                      <a:endParaRPr lang="en-US" sz="700" dirty="0" smtClean="0">
                        <a:effectLst/>
                        <a:latin typeface="Calibri"/>
                        <a:ea typeface="Times New Roman"/>
                        <a:cs typeface="Cordia New"/>
                      </a:endParaRPr>
                    </a:p>
                    <a:p>
                      <a:pPr algn="ctr">
                        <a:lnSpc>
                          <a:spcPct val="115000"/>
                        </a:lnSpc>
                        <a:spcAft>
                          <a:spcPts val="0"/>
                        </a:spcAft>
                      </a:pPr>
                      <a:r>
                        <a:rPr lang="en-US" sz="1100" dirty="0" smtClean="0">
                          <a:effectLst/>
                        </a:rPr>
                        <a:t> </a:t>
                      </a:r>
                      <a:endParaRPr lang="en-US" sz="700" dirty="0" smtClean="0">
                        <a:effectLst/>
                        <a:latin typeface="Calibri"/>
                        <a:ea typeface="Times New Roman"/>
                        <a:cs typeface="Cordia New"/>
                      </a:endParaRPr>
                    </a:p>
                    <a:p>
                      <a:pPr algn="ctr">
                        <a:lnSpc>
                          <a:spcPct val="115000"/>
                        </a:lnSpc>
                        <a:spcAft>
                          <a:spcPts val="0"/>
                        </a:spcAft>
                      </a:pPr>
                      <a:r>
                        <a:rPr lang="en-US" sz="900" dirty="0" smtClean="0">
                          <a:effectLst/>
                        </a:rPr>
                        <a:t> </a:t>
                      </a:r>
                      <a:endParaRPr lang="en-US" sz="600" dirty="0" smtClean="0">
                        <a:effectLst/>
                        <a:latin typeface="Calibri"/>
                        <a:ea typeface="Times New Roman"/>
                        <a:cs typeface="Cordia New"/>
                      </a:endParaRPr>
                    </a:p>
                    <a:p>
                      <a:pPr algn="ctr">
                        <a:lnSpc>
                          <a:spcPct val="115000"/>
                        </a:lnSpc>
                        <a:spcAft>
                          <a:spcPts val="0"/>
                        </a:spcAft>
                      </a:pPr>
                      <a:r>
                        <a:rPr lang="en-US" sz="900" dirty="0" smtClean="0">
                          <a:effectLst/>
                        </a:rPr>
                        <a:t>  </a:t>
                      </a:r>
                      <a:endParaRPr lang="en-US" sz="600" dirty="0">
                        <a:effectLst/>
                        <a:latin typeface="Calibri"/>
                        <a:ea typeface="Times New Roman"/>
                        <a:cs typeface="Cordia New"/>
                      </a:endParaRPr>
                    </a:p>
                  </a:txBody>
                  <a:tcPr marL="54665" marR="54665" marT="0" marB="0">
                    <a:solidFill>
                      <a:schemeClr val="accent6">
                        <a:lumMod val="20000"/>
                        <a:lumOff val="80000"/>
                      </a:schemeClr>
                    </a:solidFill>
                  </a:tcPr>
                </a:tc>
              </a:tr>
              <a:tr h="270000">
                <a:tc>
                  <a:txBody>
                    <a:bodyPr/>
                    <a:lstStyle/>
                    <a:p>
                      <a:pPr marL="0" algn="ctr" defTabSz="914400" rtl="0" eaLnBrk="1" latinLnBrk="0" hangingPunct="1">
                        <a:lnSpc>
                          <a:spcPct val="115000"/>
                        </a:lnSpc>
                        <a:spcAft>
                          <a:spcPts val="0"/>
                        </a:spcAft>
                      </a:pPr>
                      <a:r>
                        <a:rPr lang="en-US" sz="1100" b="0" kern="1200" dirty="0">
                          <a:solidFill>
                            <a:schemeClr val="lt1"/>
                          </a:solidFill>
                          <a:effectLst/>
                          <a:latin typeface="Arial Narrow" pitchFamily="34" charset="0"/>
                          <a:ea typeface="Tahoma" pitchFamily="34" charset="0"/>
                          <a:cs typeface="Tahoma" pitchFamily="34" charset="0"/>
                        </a:rPr>
                        <a:t>2</a:t>
                      </a:r>
                    </a:p>
                  </a:txBody>
                  <a:tcPr marL="54665" marR="54665" marT="0" marB="0" anchor="ctr">
                    <a:solidFill>
                      <a:schemeClr val="accent6">
                        <a:lumMod val="75000"/>
                      </a:schemeClr>
                    </a:solidFill>
                  </a:tcPr>
                </a:tc>
                <a:tc>
                  <a:txBody>
                    <a:bodyPr/>
                    <a:lstStyle/>
                    <a:p>
                      <a:pPr>
                        <a:lnSpc>
                          <a:spcPct val="115000"/>
                        </a:lnSpc>
                        <a:spcAft>
                          <a:spcPts val="0"/>
                        </a:spcAft>
                      </a:pPr>
                      <a:r>
                        <a:rPr lang="th-TH" sz="1400" b="1" dirty="0">
                          <a:effectLst/>
                          <a:latin typeface="TH SarabunPSK" pitchFamily="34" charset="-34"/>
                          <a:cs typeface="TH SarabunPSK" pitchFamily="34" charset="-34"/>
                        </a:rPr>
                        <a:t>เซรา</a:t>
                      </a:r>
                      <a:r>
                        <a:rPr lang="th-TH" sz="1400" b="1" dirty="0" err="1">
                          <a:effectLst/>
                          <a:latin typeface="TH SarabunPSK" pitchFamily="34" charset="-34"/>
                          <a:cs typeface="TH SarabunPSK" pitchFamily="34" charset="-34"/>
                        </a:rPr>
                        <a:t>มิกส์</a:t>
                      </a:r>
                      <a:endParaRPr lang="en-US" sz="800" b="1" dirty="0">
                        <a:effectLst/>
                        <a:latin typeface="TH SarabunPSK" pitchFamily="34" charset="-34"/>
                        <a:ea typeface="Times New Roman"/>
                        <a:cs typeface="TH SarabunPSK" pitchFamily="34" charset="-34"/>
                      </a:endParaRPr>
                    </a:p>
                  </a:txBody>
                  <a:tcPr marL="50456" marR="50456" marT="0" marB="0">
                    <a:solidFill>
                      <a:schemeClr val="accent6">
                        <a:lumMod val="20000"/>
                        <a:lumOff val="80000"/>
                      </a:schemeClr>
                    </a:solidFill>
                  </a:tcPr>
                </a:tc>
                <a:tc>
                  <a:txBody>
                    <a:bodyPr/>
                    <a:lstStyle/>
                    <a:p>
                      <a:pPr algn="ctr">
                        <a:lnSpc>
                          <a:spcPct val="115000"/>
                        </a:lnSpc>
                        <a:spcAft>
                          <a:spcPts val="0"/>
                        </a:spcAft>
                      </a:pPr>
                      <a:r>
                        <a:rPr lang="en-US" sz="1100" dirty="0">
                          <a:effectLst/>
                          <a:latin typeface="Arial Narrow" pitchFamily="34" charset="0"/>
                          <a:ea typeface="Tahoma" pitchFamily="34" charset="0"/>
                          <a:cs typeface="Tahoma" pitchFamily="34" charset="0"/>
                          <a:sym typeface="Webdings"/>
                        </a:rPr>
                        <a:t></a:t>
                      </a:r>
                      <a:endParaRPr lang="en-US" sz="1100" dirty="0">
                        <a:effectLst/>
                        <a:latin typeface="Arial Narrow" pitchFamily="34" charset="0"/>
                        <a:ea typeface="Tahoma" pitchFamily="34" charset="0"/>
                        <a:cs typeface="Tahoma" pitchFamily="34" charset="0"/>
                      </a:endParaRPr>
                    </a:p>
                  </a:txBody>
                  <a:tcPr marL="54665" marR="54665" marT="0" marB="0" anchor="ctr">
                    <a:solidFill>
                      <a:schemeClr val="accent6">
                        <a:lumMod val="20000"/>
                        <a:lumOff val="80000"/>
                      </a:schemeClr>
                    </a:solidFill>
                  </a:tcPr>
                </a:tc>
                <a:tc>
                  <a:txBody>
                    <a:bodyPr/>
                    <a:lstStyle/>
                    <a:p>
                      <a:pPr algn="ctr">
                        <a:lnSpc>
                          <a:spcPct val="115000"/>
                        </a:lnSpc>
                        <a:spcAft>
                          <a:spcPts val="0"/>
                        </a:spcAft>
                      </a:pPr>
                      <a:r>
                        <a:rPr lang="en-US" sz="1100" dirty="0">
                          <a:effectLst/>
                          <a:latin typeface="Arial Narrow" pitchFamily="34" charset="0"/>
                          <a:ea typeface="Tahoma" pitchFamily="34" charset="0"/>
                          <a:cs typeface="Tahoma" pitchFamily="34" charset="0"/>
                        </a:rPr>
                        <a:t> </a:t>
                      </a:r>
                    </a:p>
                  </a:txBody>
                  <a:tcPr marL="54665" marR="54665" marT="0" marB="0" anchor="ctr">
                    <a:solidFill>
                      <a:schemeClr val="accent6">
                        <a:lumMod val="20000"/>
                        <a:lumOff val="80000"/>
                      </a:schemeClr>
                    </a:solidFill>
                  </a:tcPr>
                </a:tc>
                <a:tc>
                  <a:txBody>
                    <a:bodyPr/>
                    <a:lstStyle/>
                    <a:p>
                      <a:pPr algn="ctr">
                        <a:lnSpc>
                          <a:spcPct val="115000"/>
                        </a:lnSpc>
                        <a:spcAft>
                          <a:spcPts val="0"/>
                        </a:spcAft>
                      </a:pPr>
                      <a:r>
                        <a:rPr lang="en-US" sz="1100" dirty="0">
                          <a:effectLst/>
                          <a:latin typeface="Arial Narrow" pitchFamily="34" charset="0"/>
                          <a:ea typeface="Tahoma" pitchFamily="34" charset="0"/>
                          <a:cs typeface="Tahoma" pitchFamily="34" charset="0"/>
                        </a:rPr>
                        <a:t> </a:t>
                      </a:r>
                    </a:p>
                  </a:txBody>
                  <a:tcPr marL="54665" marR="54665" marT="0" marB="0" anchor="ctr">
                    <a:solidFill>
                      <a:schemeClr val="accent6">
                        <a:lumMod val="20000"/>
                        <a:lumOff val="80000"/>
                      </a:schemeClr>
                    </a:solidFill>
                  </a:tcPr>
                </a:tc>
                <a:tc>
                  <a:txBody>
                    <a:bodyPr/>
                    <a:lstStyle/>
                    <a:p>
                      <a:pPr algn="ctr">
                        <a:lnSpc>
                          <a:spcPct val="115000"/>
                        </a:lnSpc>
                        <a:spcAft>
                          <a:spcPts val="0"/>
                        </a:spcAft>
                      </a:pPr>
                      <a:r>
                        <a:rPr lang="en-US" sz="1100" dirty="0">
                          <a:effectLst/>
                          <a:latin typeface="Arial Narrow" pitchFamily="34" charset="0"/>
                          <a:ea typeface="Tahoma" pitchFamily="34" charset="0"/>
                          <a:cs typeface="Tahoma" pitchFamily="34" charset="0"/>
                        </a:rPr>
                        <a:t> </a:t>
                      </a:r>
                    </a:p>
                  </a:txBody>
                  <a:tcPr marL="54665" marR="54665" marT="0" marB="0" anchor="ctr">
                    <a:solidFill>
                      <a:schemeClr val="accent6">
                        <a:lumMod val="20000"/>
                        <a:lumOff val="80000"/>
                      </a:schemeClr>
                    </a:solidFill>
                  </a:tcPr>
                </a:tc>
                <a:tc>
                  <a:txBody>
                    <a:bodyPr/>
                    <a:lstStyle/>
                    <a:p>
                      <a:pPr algn="ctr">
                        <a:lnSpc>
                          <a:spcPct val="115000"/>
                        </a:lnSpc>
                        <a:spcAft>
                          <a:spcPts val="0"/>
                        </a:spcAft>
                      </a:pPr>
                      <a:r>
                        <a:rPr lang="en-US" sz="1100" dirty="0">
                          <a:effectLst/>
                          <a:latin typeface="Arial Narrow" pitchFamily="34" charset="0"/>
                          <a:ea typeface="Tahoma" pitchFamily="34" charset="0"/>
                          <a:cs typeface="Tahoma" pitchFamily="34" charset="0"/>
                        </a:rPr>
                        <a:t> </a:t>
                      </a:r>
                    </a:p>
                  </a:txBody>
                  <a:tcPr marL="54665" marR="54665" marT="0" marB="0" anchor="ctr">
                    <a:solidFill>
                      <a:schemeClr val="accent6">
                        <a:lumMod val="20000"/>
                        <a:lumOff val="80000"/>
                      </a:schemeClr>
                    </a:solidFill>
                  </a:tcPr>
                </a:tc>
                <a:tc>
                  <a:txBody>
                    <a:bodyPr/>
                    <a:lstStyle/>
                    <a:p>
                      <a:pPr algn="ctr">
                        <a:lnSpc>
                          <a:spcPct val="115000"/>
                        </a:lnSpc>
                        <a:spcAft>
                          <a:spcPts val="0"/>
                        </a:spcAft>
                      </a:pPr>
                      <a:endParaRPr lang="en-US" sz="1100" dirty="0">
                        <a:solidFill>
                          <a:schemeClr val="tx1"/>
                        </a:solidFill>
                        <a:effectLst/>
                        <a:latin typeface="Arial Narrow" pitchFamily="34" charset="0"/>
                        <a:ea typeface="Tahoma" pitchFamily="34" charset="0"/>
                        <a:cs typeface="Tahoma" pitchFamily="34" charset="0"/>
                      </a:endParaRPr>
                    </a:p>
                  </a:txBody>
                  <a:tcPr marL="54664" marR="54664" marT="0" marB="0" anchor="ctr">
                    <a:solidFill>
                      <a:schemeClr val="accent6">
                        <a:lumMod val="20000"/>
                        <a:lumOff val="80000"/>
                      </a:schemeClr>
                    </a:solidFill>
                  </a:tcPr>
                </a:tc>
                <a:tc>
                  <a:txBody>
                    <a:bodyPr/>
                    <a:lstStyle/>
                    <a:p>
                      <a:pPr algn="ctr">
                        <a:lnSpc>
                          <a:spcPct val="115000"/>
                        </a:lnSpc>
                        <a:spcAft>
                          <a:spcPts val="0"/>
                        </a:spcAft>
                      </a:pPr>
                      <a:r>
                        <a:rPr lang="en-US" sz="1100" dirty="0">
                          <a:effectLst/>
                          <a:latin typeface="Arial Narrow" pitchFamily="34" charset="0"/>
                          <a:ea typeface="Tahoma" pitchFamily="34" charset="0"/>
                          <a:cs typeface="Tahoma" pitchFamily="34" charset="0"/>
                        </a:rPr>
                        <a:t> </a:t>
                      </a:r>
                    </a:p>
                  </a:txBody>
                  <a:tcPr marL="54664" marR="54664" marT="0" marB="0" anchor="ctr">
                    <a:solidFill>
                      <a:schemeClr val="accent6">
                        <a:lumMod val="20000"/>
                        <a:lumOff val="80000"/>
                      </a:schemeClr>
                    </a:solidFill>
                  </a:tcPr>
                </a:tc>
                <a:tc>
                  <a:txBody>
                    <a:bodyPr/>
                    <a:lstStyle/>
                    <a:p>
                      <a:pPr algn="ctr">
                        <a:lnSpc>
                          <a:spcPct val="115000"/>
                        </a:lnSpc>
                        <a:spcAft>
                          <a:spcPts val="0"/>
                        </a:spcAft>
                      </a:pPr>
                      <a:r>
                        <a:rPr lang="en-US" sz="1100" dirty="0">
                          <a:effectLst/>
                          <a:latin typeface="Arial Narrow" pitchFamily="34" charset="0"/>
                          <a:ea typeface="Tahoma" pitchFamily="34" charset="0"/>
                          <a:cs typeface="Tahoma" pitchFamily="34" charset="0"/>
                          <a:sym typeface="Webdings"/>
                        </a:rPr>
                        <a:t></a:t>
                      </a:r>
                      <a:endParaRPr lang="en-US" sz="1100" dirty="0">
                        <a:effectLst/>
                        <a:latin typeface="Arial Narrow" pitchFamily="34" charset="0"/>
                        <a:ea typeface="Tahoma" pitchFamily="34" charset="0"/>
                        <a:cs typeface="Tahoma" pitchFamily="34" charset="0"/>
                      </a:endParaRPr>
                    </a:p>
                  </a:txBody>
                  <a:tcPr marL="54664" marR="54664" marT="0" marB="0" anchor="ctr">
                    <a:solidFill>
                      <a:schemeClr val="accent6">
                        <a:lumMod val="20000"/>
                        <a:lumOff val="80000"/>
                      </a:schemeClr>
                    </a:solidFill>
                  </a:tcPr>
                </a:tc>
                <a:tc>
                  <a:txBody>
                    <a:bodyPr/>
                    <a:lstStyle/>
                    <a:p>
                      <a:pPr algn="ctr">
                        <a:lnSpc>
                          <a:spcPct val="115000"/>
                        </a:lnSpc>
                        <a:spcAft>
                          <a:spcPts val="0"/>
                        </a:spcAft>
                      </a:pPr>
                      <a:r>
                        <a:rPr lang="en-US" sz="1100" dirty="0">
                          <a:effectLst/>
                          <a:latin typeface="Arial Narrow" pitchFamily="34" charset="0"/>
                          <a:ea typeface="Tahoma" pitchFamily="34" charset="0"/>
                          <a:cs typeface="Tahoma" pitchFamily="34" charset="0"/>
                          <a:sym typeface="Webdings"/>
                        </a:rPr>
                        <a:t></a:t>
                      </a:r>
                      <a:endParaRPr lang="en-US" sz="1100" dirty="0">
                        <a:effectLst/>
                        <a:latin typeface="Arial Narrow" pitchFamily="34" charset="0"/>
                        <a:ea typeface="Tahoma" pitchFamily="34" charset="0"/>
                        <a:cs typeface="Tahoma" pitchFamily="34" charset="0"/>
                      </a:endParaRPr>
                    </a:p>
                  </a:txBody>
                  <a:tcPr marL="54664" marR="54664" marT="0" marB="0" anchor="ctr">
                    <a:solidFill>
                      <a:schemeClr val="accent6">
                        <a:lumMod val="20000"/>
                        <a:lumOff val="80000"/>
                      </a:schemeClr>
                    </a:solidFill>
                  </a:tcPr>
                </a:tc>
                <a:tc vMerge="1">
                  <a:txBody>
                    <a:bodyPr/>
                    <a:lstStyle/>
                    <a:p>
                      <a:pPr algn="ctr">
                        <a:lnSpc>
                          <a:spcPct val="115000"/>
                        </a:lnSpc>
                        <a:spcAft>
                          <a:spcPts val="0"/>
                        </a:spcAft>
                      </a:pPr>
                      <a:endParaRPr lang="en-US" sz="1300" dirty="0">
                        <a:effectLst/>
                        <a:latin typeface="Tahoma" pitchFamily="34" charset="0"/>
                        <a:ea typeface="Tahoma" pitchFamily="34" charset="0"/>
                        <a:cs typeface="Tahoma" pitchFamily="34" charset="0"/>
                      </a:endParaRPr>
                    </a:p>
                  </a:txBody>
                  <a:tcPr marL="59220" marR="59220" marT="0" marB="0">
                    <a:solidFill>
                      <a:schemeClr val="accent6">
                        <a:lumMod val="20000"/>
                        <a:lumOff val="80000"/>
                      </a:schemeClr>
                    </a:solidFill>
                  </a:tcPr>
                </a:tc>
              </a:tr>
              <a:tr h="384377">
                <a:tc>
                  <a:txBody>
                    <a:bodyPr/>
                    <a:lstStyle/>
                    <a:p>
                      <a:pPr marL="0" algn="ctr" defTabSz="914400" rtl="0" eaLnBrk="1" latinLnBrk="0" hangingPunct="1">
                        <a:lnSpc>
                          <a:spcPct val="115000"/>
                        </a:lnSpc>
                        <a:spcAft>
                          <a:spcPts val="0"/>
                        </a:spcAft>
                      </a:pPr>
                      <a:r>
                        <a:rPr lang="th-TH" sz="1100" b="0" kern="1200" dirty="0">
                          <a:solidFill>
                            <a:schemeClr val="lt1"/>
                          </a:solidFill>
                          <a:effectLst/>
                          <a:latin typeface="Arial Narrow" pitchFamily="34" charset="0"/>
                          <a:ea typeface="Tahoma" pitchFamily="34" charset="0"/>
                          <a:cs typeface="Tahoma" pitchFamily="34" charset="0"/>
                        </a:rPr>
                        <a:t>3</a:t>
                      </a:r>
                      <a:endParaRPr lang="en-US" sz="1100" b="0" kern="1200" dirty="0">
                        <a:solidFill>
                          <a:schemeClr val="lt1"/>
                        </a:solidFill>
                        <a:effectLst/>
                        <a:latin typeface="Arial Narrow" pitchFamily="34" charset="0"/>
                        <a:ea typeface="Tahoma" pitchFamily="34" charset="0"/>
                        <a:cs typeface="Tahoma" pitchFamily="34" charset="0"/>
                      </a:endParaRPr>
                    </a:p>
                  </a:txBody>
                  <a:tcPr marL="54665" marR="54665" marT="0" marB="0" anchor="ctr">
                    <a:solidFill>
                      <a:schemeClr val="accent6">
                        <a:lumMod val="75000"/>
                      </a:schemeClr>
                    </a:solidFill>
                  </a:tcPr>
                </a:tc>
                <a:tc>
                  <a:txBody>
                    <a:bodyPr/>
                    <a:lstStyle/>
                    <a:p>
                      <a:pPr>
                        <a:lnSpc>
                          <a:spcPct val="115000"/>
                        </a:lnSpc>
                        <a:spcAft>
                          <a:spcPts val="0"/>
                        </a:spcAft>
                      </a:pPr>
                      <a:r>
                        <a:rPr lang="th-TH" sz="1400" b="1" dirty="0">
                          <a:effectLst/>
                          <a:latin typeface="TH SarabunPSK" pitchFamily="34" charset="-34"/>
                          <a:cs typeface="TH SarabunPSK" pitchFamily="34" charset="-34"/>
                        </a:rPr>
                        <a:t>อุตสาหกรรมสิ่งทอ เครื่องนุ่งห่ม และเครื่องหนัง</a:t>
                      </a:r>
                      <a:endParaRPr lang="en-US" sz="800" b="1" dirty="0">
                        <a:effectLst/>
                        <a:latin typeface="TH SarabunPSK" pitchFamily="34" charset="-34"/>
                        <a:ea typeface="Times New Roman"/>
                        <a:cs typeface="TH SarabunPSK" pitchFamily="34" charset="-34"/>
                      </a:endParaRPr>
                    </a:p>
                  </a:txBody>
                  <a:tcPr marL="50456" marR="50456" marT="0" marB="0">
                    <a:solidFill>
                      <a:schemeClr val="accent6">
                        <a:lumMod val="20000"/>
                        <a:lumOff val="80000"/>
                      </a:schemeClr>
                    </a:solidFill>
                  </a:tcPr>
                </a:tc>
                <a:tc>
                  <a:txBody>
                    <a:bodyPr/>
                    <a:lstStyle/>
                    <a:p>
                      <a:pPr algn="ctr">
                        <a:lnSpc>
                          <a:spcPct val="115000"/>
                        </a:lnSpc>
                        <a:spcAft>
                          <a:spcPts val="0"/>
                        </a:spcAft>
                      </a:pPr>
                      <a:r>
                        <a:rPr lang="en-US" sz="1100" dirty="0">
                          <a:effectLst/>
                          <a:latin typeface="Arial Narrow" pitchFamily="34" charset="0"/>
                          <a:ea typeface="Tahoma" pitchFamily="34" charset="0"/>
                          <a:cs typeface="Tahoma" pitchFamily="34" charset="0"/>
                          <a:sym typeface="Webdings"/>
                        </a:rPr>
                        <a:t></a:t>
                      </a:r>
                      <a:endParaRPr lang="en-US" sz="1100" dirty="0">
                        <a:effectLst/>
                        <a:latin typeface="Arial Narrow" pitchFamily="34" charset="0"/>
                        <a:ea typeface="Tahoma" pitchFamily="34" charset="0"/>
                        <a:cs typeface="Tahoma" pitchFamily="34" charset="0"/>
                      </a:endParaRPr>
                    </a:p>
                  </a:txBody>
                  <a:tcPr marL="54665" marR="54665" marT="0" marB="0" anchor="ctr">
                    <a:solidFill>
                      <a:schemeClr val="accent6">
                        <a:lumMod val="20000"/>
                        <a:lumOff val="80000"/>
                      </a:schemeClr>
                    </a:solidFill>
                  </a:tcPr>
                </a:tc>
                <a:tc>
                  <a:txBody>
                    <a:bodyPr/>
                    <a:lstStyle/>
                    <a:p>
                      <a:pPr algn="ctr">
                        <a:lnSpc>
                          <a:spcPct val="115000"/>
                        </a:lnSpc>
                        <a:spcAft>
                          <a:spcPts val="0"/>
                        </a:spcAft>
                      </a:pPr>
                      <a:r>
                        <a:rPr lang="en-US" sz="1100" dirty="0">
                          <a:effectLst/>
                          <a:latin typeface="Arial Narrow" pitchFamily="34" charset="0"/>
                          <a:ea typeface="Tahoma" pitchFamily="34" charset="0"/>
                          <a:cs typeface="Tahoma" pitchFamily="34" charset="0"/>
                          <a:sym typeface="Webdings"/>
                        </a:rPr>
                        <a:t></a:t>
                      </a:r>
                      <a:endParaRPr lang="en-US" sz="1100" dirty="0">
                        <a:effectLst/>
                        <a:latin typeface="Arial Narrow" pitchFamily="34" charset="0"/>
                        <a:ea typeface="Tahoma" pitchFamily="34" charset="0"/>
                        <a:cs typeface="Tahoma" pitchFamily="34" charset="0"/>
                      </a:endParaRPr>
                    </a:p>
                  </a:txBody>
                  <a:tcPr marL="54665" marR="54665" marT="0" marB="0" anchor="ctr">
                    <a:solidFill>
                      <a:schemeClr val="accent6">
                        <a:lumMod val="20000"/>
                        <a:lumOff val="80000"/>
                      </a:schemeClr>
                    </a:solidFill>
                  </a:tcPr>
                </a:tc>
                <a:tc>
                  <a:txBody>
                    <a:bodyPr/>
                    <a:lstStyle/>
                    <a:p>
                      <a:pPr algn="ctr">
                        <a:lnSpc>
                          <a:spcPct val="115000"/>
                        </a:lnSpc>
                        <a:spcAft>
                          <a:spcPts val="0"/>
                        </a:spcAft>
                      </a:pPr>
                      <a:r>
                        <a:rPr lang="en-US" sz="1100" dirty="0">
                          <a:effectLst/>
                          <a:latin typeface="Arial Narrow" pitchFamily="34" charset="0"/>
                          <a:ea typeface="Tahoma" pitchFamily="34" charset="0"/>
                          <a:cs typeface="Tahoma" pitchFamily="34" charset="0"/>
                        </a:rPr>
                        <a:t> </a:t>
                      </a:r>
                    </a:p>
                  </a:txBody>
                  <a:tcPr marL="54665" marR="54665" marT="0" marB="0" anchor="ctr">
                    <a:solidFill>
                      <a:schemeClr val="accent6">
                        <a:lumMod val="20000"/>
                        <a:lumOff val="80000"/>
                      </a:schemeClr>
                    </a:solidFill>
                  </a:tcPr>
                </a:tc>
                <a:tc>
                  <a:txBody>
                    <a:bodyPr/>
                    <a:lstStyle/>
                    <a:p>
                      <a:pPr algn="ctr">
                        <a:lnSpc>
                          <a:spcPct val="115000"/>
                        </a:lnSpc>
                        <a:spcAft>
                          <a:spcPts val="0"/>
                        </a:spcAft>
                      </a:pPr>
                      <a:r>
                        <a:rPr lang="en-US" sz="1100" dirty="0">
                          <a:effectLst/>
                          <a:latin typeface="Arial Narrow" pitchFamily="34" charset="0"/>
                          <a:ea typeface="Tahoma" pitchFamily="34" charset="0"/>
                          <a:cs typeface="Tahoma" pitchFamily="34" charset="0"/>
                        </a:rPr>
                        <a:t> </a:t>
                      </a:r>
                    </a:p>
                  </a:txBody>
                  <a:tcPr marL="54665" marR="54665" marT="0" marB="0" anchor="ctr">
                    <a:solidFill>
                      <a:schemeClr val="accent6">
                        <a:lumMod val="20000"/>
                        <a:lumOff val="80000"/>
                      </a:schemeClr>
                    </a:solidFill>
                  </a:tcPr>
                </a:tc>
                <a:tc>
                  <a:txBody>
                    <a:bodyPr/>
                    <a:lstStyle/>
                    <a:p>
                      <a:pPr algn="ctr">
                        <a:lnSpc>
                          <a:spcPct val="115000"/>
                        </a:lnSpc>
                        <a:spcAft>
                          <a:spcPts val="0"/>
                        </a:spcAft>
                      </a:pPr>
                      <a:r>
                        <a:rPr lang="en-US" sz="1100" dirty="0">
                          <a:effectLst/>
                          <a:latin typeface="Arial Narrow" pitchFamily="34" charset="0"/>
                          <a:ea typeface="Tahoma" pitchFamily="34" charset="0"/>
                          <a:cs typeface="Tahoma" pitchFamily="34" charset="0"/>
                          <a:sym typeface="Webdings"/>
                        </a:rPr>
                        <a:t></a:t>
                      </a:r>
                      <a:endParaRPr lang="en-US" sz="1100" dirty="0">
                        <a:effectLst/>
                        <a:latin typeface="Arial Narrow" pitchFamily="34" charset="0"/>
                        <a:ea typeface="Tahoma" pitchFamily="34" charset="0"/>
                        <a:cs typeface="Tahoma" pitchFamily="34" charset="0"/>
                      </a:endParaRPr>
                    </a:p>
                  </a:txBody>
                  <a:tcPr marL="54665" marR="54665" marT="0" marB="0" anchor="ctr">
                    <a:solidFill>
                      <a:schemeClr val="accent6">
                        <a:lumMod val="20000"/>
                        <a:lumOff val="80000"/>
                      </a:schemeClr>
                    </a:solidFill>
                  </a:tcPr>
                </a:tc>
                <a:tc>
                  <a:txBody>
                    <a:bodyPr/>
                    <a:lstStyle/>
                    <a:p>
                      <a:pPr algn="ctr">
                        <a:lnSpc>
                          <a:spcPct val="115000"/>
                        </a:lnSpc>
                        <a:spcAft>
                          <a:spcPts val="0"/>
                        </a:spcAft>
                      </a:pPr>
                      <a:r>
                        <a:rPr lang="en-US" sz="1100" dirty="0">
                          <a:solidFill>
                            <a:schemeClr val="tx1"/>
                          </a:solidFill>
                          <a:effectLst/>
                          <a:latin typeface="Arial Narrow" pitchFamily="34" charset="0"/>
                          <a:ea typeface="Tahoma" pitchFamily="34" charset="0"/>
                          <a:cs typeface="Tahoma" pitchFamily="34" charset="0"/>
                          <a:sym typeface="Webdings"/>
                        </a:rPr>
                        <a:t></a:t>
                      </a:r>
                      <a:endParaRPr lang="en-US" sz="1100" dirty="0">
                        <a:solidFill>
                          <a:schemeClr val="tx1"/>
                        </a:solidFill>
                        <a:effectLst/>
                        <a:latin typeface="Arial Narrow" pitchFamily="34" charset="0"/>
                        <a:ea typeface="Tahoma" pitchFamily="34" charset="0"/>
                        <a:cs typeface="Tahoma" pitchFamily="34" charset="0"/>
                      </a:endParaRPr>
                    </a:p>
                  </a:txBody>
                  <a:tcPr marL="54664" marR="54664" marT="0" marB="0" anchor="ctr">
                    <a:solidFill>
                      <a:schemeClr val="accent6">
                        <a:lumMod val="20000"/>
                        <a:lumOff val="80000"/>
                      </a:schemeClr>
                    </a:solidFill>
                  </a:tcPr>
                </a:tc>
                <a:tc>
                  <a:txBody>
                    <a:bodyPr/>
                    <a:lstStyle/>
                    <a:p>
                      <a:pPr algn="ctr">
                        <a:lnSpc>
                          <a:spcPct val="115000"/>
                        </a:lnSpc>
                        <a:spcAft>
                          <a:spcPts val="0"/>
                        </a:spcAft>
                      </a:pPr>
                      <a:r>
                        <a:rPr lang="en-US" sz="1100" dirty="0">
                          <a:effectLst/>
                          <a:latin typeface="Arial Narrow" pitchFamily="34" charset="0"/>
                          <a:ea typeface="Tahoma" pitchFamily="34" charset="0"/>
                          <a:cs typeface="Tahoma" pitchFamily="34" charset="0"/>
                          <a:sym typeface="Webdings"/>
                        </a:rPr>
                        <a:t></a:t>
                      </a:r>
                      <a:endParaRPr lang="en-US" sz="1100" dirty="0">
                        <a:effectLst/>
                        <a:latin typeface="Arial Narrow" pitchFamily="34" charset="0"/>
                        <a:ea typeface="Tahoma" pitchFamily="34" charset="0"/>
                        <a:cs typeface="Tahoma" pitchFamily="34" charset="0"/>
                      </a:endParaRPr>
                    </a:p>
                  </a:txBody>
                  <a:tcPr marL="54664" marR="54664" marT="0" marB="0" anchor="ctr">
                    <a:solidFill>
                      <a:schemeClr val="accent6">
                        <a:lumMod val="20000"/>
                        <a:lumOff val="80000"/>
                      </a:schemeClr>
                    </a:solidFill>
                  </a:tcPr>
                </a:tc>
                <a:tc>
                  <a:txBody>
                    <a:bodyPr/>
                    <a:lstStyle/>
                    <a:p>
                      <a:pPr algn="ctr">
                        <a:lnSpc>
                          <a:spcPct val="115000"/>
                        </a:lnSpc>
                        <a:spcAft>
                          <a:spcPts val="0"/>
                        </a:spcAft>
                      </a:pPr>
                      <a:r>
                        <a:rPr lang="en-US" sz="1100" dirty="0">
                          <a:effectLst/>
                          <a:latin typeface="Arial Narrow" pitchFamily="34" charset="0"/>
                          <a:ea typeface="Tahoma" pitchFamily="34" charset="0"/>
                          <a:cs typeface="Tahoma" pitchFamily="34" charset="0"/>
                          <a:sym typeface="Webdings"/>
                        </a:rPr>
                        <a:t></a:t>
                      </a:r>
                      <a:endParaRPr lang="en-US" sz="1100" dirty="0">
                        <a:effectLst/>
                        <a:latin typeface="Arial Narrow" pitchFamily="34" charset="0"/>
                        <a:ea typeface="Tahoma" pitchFamily="34" charset="0"/>
                        <a:cs typeface="Tahoma" pitchFamily="34" charset="0"/>
                      </a:endParaRPr>
                    </a:p>
                  </a:txBody>
                  <a:tcPr marL="54664" marR="54664" marT="0" marB="0" anchor="ctr">
                    <a:solidFill>
                      <a:schemeClr val="accent6">
                        <a:lumMod val="20000"/>
                        <a:lumOff val="80000"/>
                      </a:schemeClr>
                    </a:solidFill>
                  </a:tcPr>
                </a:tc>
                <a:tc>
                  <a:txBody>
                    <a:bodyPr/>
                    <a:lstStyle/>
                    <a:p>
                      <a:pPr algn="ctr">
                        <a:lnSpc>
                          <a:spcPct val="115000"/>
                        </a:lnSpc>
                        <a:spcAft>
                          <a:spcPts val="0"/>
                        </a:spcAft>
                      </a:pPr>
                      <a:r>
                        <a:rPr lang="en-US" sz="1100" dirty="0">
                          <a:effectLst/>
                          <a:latin typeface="Arial Narrow" pitchFamily="34" charset="0"/>
                          <a:ea typeface="Tahoma" pitchFamily="34" charset="0"/>
                          <a:cs typeface="Tahoma" pitchFamily="34" charset="0"/>
                          <a:sym typeface="Webdings"/>
                        </a:rPr>
                        <a:t></a:t>
                      </a:r>
                      <a:endParaRPr lang="en-US" sz="1100" dirty="0">
                        <a:effectLst/>
                        <a:latin typeface="Arial Narrow" pitchFamily="34" charset="0"/>
                        <a:ea typeface="Tahoma" pitchFamily="34" charset="0"/>
                        <a:cs typeface="Tahoma" pitchFamily="34" charset="0"/>
                      </a:endParaRPr>
                    </a:p>
                  </a:txBody>
                  <a:tcPr marL="54664" marR="54664" marT="0" marB="0" anchor="ctr">
                    <a:solidFill>
                      <a:schemeClr val="accent6">
                        <a:lumMod val="20000"/>
                        <a:lumOff val="80000"/>
                      </a:schemeClr>
                    </a:solidFill>
                  </a:tcPr>
                </a:tc>
                <a:tc vMerge="1">
                  <a:txBody>
                    <a:bodyPr/>
                    <a:lstStyle/>
                    <a:p>
                      <a:pPr algn="ctr">
                        <a:lnSpc>
                          <a:spcPct val="115000"/>
                        </a:lnSpc>
                        <a:spcAft>
                          <a:spcPts val="0"/>
                        </a:spcAft>
                      </a:pPr>
                      <a:endParaRPr lang="en-US" sz="1300" dirty="0">
                        <a:effectLst/>
                        <a:latin typeface="Tahoma" pitchFamily="34" charset="0"/>
                        <a:ea typeface="Tahoma" pitchFamily="34" charset="0"/>
                        <a:cs typeface="Tahoma" pitchFamily="34" charset="0"/>
                      </a:endParaRPr>
                    </a:p>
                  </a:txBody>
                  <a:tcPr marL="59220" marR="59220" marT="0" marB="0">
                    <a:solidFill>
                      <a:schemeClr val="accent6">
                        <a:lumMod val="20000"/>
                        <a:lumOff val="80000"/>
                      </a:schemeClr>
                    </a:solidFill>
                  </a:tcPr>
                </a:tc>
              </a:tr>
              <a:tr h="270000">
                <a:tc>
                  <a:txBody>
                    <a:bodyPr/>
                    <a:lstStyle/>
                    <a:p>
                      <a:pPr algn="ctr">
                        <a:lnSpc>
                          <a:spcPct val="115000"/>
                        </a:lnSpc>
                        <a:spcAft>
                          <a:spcPts val="0"/>
                        </a:spcAft>
                      </a:pPr>
                      <a:r>
                        <a:rPr lang="th-TH" sz="1100" b="0" dirty="0">
                          <a:effectLst/>
                          <a:latin typeface="Arial Narrow" pitchFamily="34" charset="0"/>
                          <a:ea typeface="Tahoma" pitchFamily="34" charset="0"/>
                          <a:cs typeface="Tahoma" pitchFamily="34" charset="0"/>
                        </a:rPr>
                        <a:t>4</a:t>
                      </a:r>
                      <a:endParaRPr lang="en-US" sz="1100" b="0" dirty="0">
                        <a:effectLst/>
                        <a:latin typeface="Arial Narrow" pitchFamily="34" charset="0"/>
                        <a:ea typeface="Tahoma" pitchFamily="34" charset="0"/>
                        <a:cs typeface="Tahoma" pitchFamily="34" charset="0"/>
                      </a:endParaRPr>
                    </a:p>
                  </a:txBody>
                  <a:tcPr marL="54665" marR="54665" marT="0" marB="0" anchor="ctr">
                    <a:solidFill>
                      <a:schemeClr val="accent6">
                        <a:lumMod val="75000"/>
                      </a:schemeClr>
                    </a:solidFill>
                  </a:tcPr>
                </a:tc>
                <a:tc>
                  <a:txBody>
                    <a:bodyPr/>
                    <a:lstStyle/>
                    <a:p>
                      <a:pPr>
                        <a:lnSpc>
                          <a:spcPct val="115000"/>
                        </a:lnSpc>
                        <a:spcAft>
                          <a:spcPts val="0"/>
                        </a:spcAft>
                      </a:pPr>
                      <a:r>
                        <a:rPr lang="th-TH" sz="1400" b="1" dirty="0">
                          <a:effectLst/>
                          <a:latin typeface="TH SarabunPSK" pitchFamily="34" charset="-34"/>
                          <a:cs typeface="TH SarabunPSK" pitchFamily="34" charset="-34"/>
                        </a:rPr>
                        <a:t>อุตสาหกรรมผลิตเครื่องเรือน</a:t>
                      </a:r>
                      <a:endParaRPr lang="en-US" sz="800" b="1" dirty="0">
                        <a:effectLst/>
                        <a:latin typeface="TH SarabunPSK" pitchFamily="34" charset="-34"/>
                        <a:ea typeface="Times New Roman"/>
                        <a:cs typeface="TH SarabunPSK" pitchFamily="34" charset="-34"/>
                      </a:endParaRPr>
                    </a:p>
                  </a:txBody>
                  <a:tcPr marL="50456" marR="50456" marT="0" marB="0">
                    <a:solidFill>
                      <a:schemeClr val="accent6">
                        <a:lumMod val="20000"/>
                        <a:lumOff val="80000"/>
                      </a:schemeClr>
                    </a:solidFill>
                  </a:tcPr>
                </a:tc>
                <a:tc>
                  <a:txBody>
                    <a:bodyPr/>
                    <a:lstStyle/>
                    <a:p>
                      <a:pPr algn="ctr">
                        <a:lnSpc>
                          <a:spcPct val="115000"/>
                        </a:lnSpc>
                        <a:spcAft>
                          <a:spcPts val="0"/>
                        </a:spcAft>
                      </a:pPr>
                      <a:r>
                        <a:rPr lang="en-US" sz="1100" dirty="0">
                          <a:effectLst/>
                          <a:latin typeface="Arial Narrow" pitchFamily="34" charset="0"/>
                          <a:ea typeface="Tahoma" pitchFamily="34" charset="0"/>
                          <a:cs typeface="Tahoma" pitchFamily="34" charset="0"/>
                          <a:sym typeface="Webdings"/>
                        </a:rPr>
                        <a:t></a:t>
                      </a:r>
                      <a:endParaRPr lang="en-US" sz="1100" dirty="0">
                        <a:effectLst/>
                        <a:latin typeface="Arial Narrow" pitchFamily="34" charset="0"/>
                        <a:ea typeface="Tahoma" pitchFamily="34" charset="0"/>
                        <a:cs typeface="Tahoma" pitchFamily="34" charset="0"/>
                      </a:endParaRPr>
                    </a:p>
                  </a:txBody>
                  <a:tcPr marL="54665" marR="54665" marT="0" marB="0" anchor="ctr">
                    <a:solidFill>
                      <a:schemeClr val="accent6">
                        <a:lumMod val="20000"/>
                        <a:lumOff val="80000"/>
                      </a:schemeClr>
                    </a:solidFill>
                  </a:tcPr>
                </a:tc>
                <a:tc>
                  <a:txBody>
                    <a:bodyPr/>
                    <a:lstStyle/>
                    <a:p>
                      <a:pPr algn="ctr">
                        <a:lnSpc>
                          <a:spcPct val="115000"/>
                        </a:lnSpc>
                        <a:spcAft>
                          <a:spcPts val="0"/>
                        </a:spcAft>
                      </a:pPr>
                      <a:r>
                        <a:rPr lang="en-US" sz="1100" dirty="0">
                          <a:effectLst/>
                          <a:latin typeface="Arial Narrow" pitchFamily="34" charset="0"/>
                          <a:ea typeface="Tahoma" pitchFamily="34" charset="0"/>
                          <a:cs typeface="Tahoma" pitchFamily="34" charset="0"/>
                          <a:sym typeface="Webdings"/>
                        </a:rPr>
                        <a:t></a:t>
                      </a:r>
                      <a:endParaRPr lang="en-US" sz="1100" dirty="0">
                        <a:effectLst/>
                        <a:latin typeface="Arial Narrow" pitchFamily="34" charset="0"/>
                        <a:ea typeface="Tahoma" pitchFamily="34" charset="0"/>
                        <a:cs typeface="Tahoma" pitchFamily="34" charset="0"/>
                      </a:endParaRPr>
                    </a:p>
                  </a:txBody>
                  <a:tcPr marL="54665" marR="54665" marT="0" marB="0" anchor="ctr">
                    <a:solidFill>
                      <a:schemeClr val="accent6">
                        <a:lumMod val="20000"/>
                        <a:lumOff val="80000"/>
                      </a:schemeClr>
                    </a:solidFill>
                  </a:tcPr>
                </a:tc>
                <a:tc>
                  <a:txBody>
                    <a:bodyPr/>
                    <a:lstStyle/>
                    <a:p>
                      <a:pPr algn="ctr">
                        <a:lnSpc>
                          <a:spcPct val="115000"/>
                        </a:lnSpc>
                        <a:spcAft>
                          <a:spcPts val="0"/>
                        </a:spcAft>
                      </a:pPr>
                      <a:r>
                        <a:rPr lang="en-US" sz="1100" dirty="0">
                          <a:effectLst/>
                          <a:latin typeface="Arial Narrow" pitchFamily="34" charset="0"/>
                          <a:ea typeface="Tahoma" pitchFamily="34" charset="0"/>
                          <a:cs typeface="Tahoma" pitchFamily="34" charset="0"/>
                        </a:rPr>
                        <a:t> </a:t>
                      </a:r>
                    </a:p>
                  </a:txBody>
                  <a:tcPr marL="54665" marR="54665" marT="0" marB="0" anchor="ctr">
                    <a:solidFill>
                      <a:schemeClr val="accent6">
                        <a:lumMod val="20000"/>
                        <a:lumOff val="80000"/>
                      </a:schemeClr>
                    </a:solidFill>
                  </a:tcPr>
                </a:tc>
                <a:tc>
                  <a:txBody>
                    <a:bodyPr/>
                    <a:lstStyle/>
                    <a:p>
                      <a:pPr algn="ctr">
                        <a:lnSpc>
                          <a:spcPct val="115000"/>
                        </a:lnSpc>
                        <a:spcAft>
                          <a:spcPts val="0"/>
                        </a:spcAft>
                      </a:pPr>
                      <a:r>
                        <a:rPr lang="en-US" sz="1100" dirty="0">
                          <a:effectLst/>
                          <a:latin typeface="Arial Narrow" pitchFamily="34" charset="0"/>
                          <a:ea typeface="Tahoma" pitchFamily="34" charset="0"/>
                          <a:cs typeface="Tahoma" pitchFamily="34" charset="0"/>
                        </a:rPr>
                        <a:t> </a:t>
                      </a:r>
                    </a:p>
                  </a:txBody>
                  <a:tcPr marL="54665" marR="54665" marT="0" marB="0" anchor="ctr">
                    <a:solidFill>
                      <a:schemeClr val="accent6">
                        <a:lumMod val="20000"/>
                        <a:lumOff val="80000"/>
                      </a:schemeClr>
                    </a:solidFill>
                  </a:tcPr>
                </a:tc>
                <a:tc>
                  <a:txBody>
                    <a:bodyPr/>
                    <a:lstStyle/>
                    <a:p>
                      <a:pPr algn="ctr">
                        <a:lnSpc>
                          <a:spcPct val="115000"/>
                        </a:lnSpc>
                        <a:spcAft>
                          <a:spcPts val="0"/>
                        </a:spcAft>
                      </a:pPr>
                      <a:r>
                        <a:rPr lang="en-US" sz="1100" dirty="0">
                          <a:effectLst/>
                          <a:latin typeface="Arial Narrow" pitchFamily="34" charset="0"/>
                          <a:ea typeface="Tahoma" pitchFamily="34" charset="0"/>
                          <a:cs typeface="Tahoma" pitchFamily="34" charset="0"/>
                          <a:sym typeface="Webdings"/>
                        </a:rPr>
                        <a:t></a:t>
                      </a:r>
                      <a:endParaRPr lang="en-US" sz="1100" dirty="0">
                        <a:effectLst/>
                        <a:latin typeface="Arial Narrow" pitchFamily="34" charset="0"/>
                        <a:ea typeface="Tahoma" pitchFamily="34" charset="0"/>
                        <a:cs typeface="Tahoma" pitchFamily="34" charset="0"/>
                      </a:endParaRPr>
                    </a:p>
                  </a:txBody>
                  <a:tcPr marL="54665" marR="54665" marT="0" marB="0" anchor="ctr">
                    <a:solidFill>
                      <a:schemeClr val="accent6">
                        <a:lumMod val="20000"/>
                        <a:lumOff val="80000"/>
                      </a:schemeClr>
                    </a:solidFill>
                  </a:tcPr>
                </a:tc>
                <a:tc>
                  <a:txBody>
                    <a:bodyPr/>
                    <a:lstStyle/>
                    <a:p>
                      <a:pPr algn="ctr">
                        <a:lnSpc>
                          <a:spcPct val="115000"/>
                        </a:lnSpc>
                        <a:spcAft>
                          <a:spcPts val="0"/>
                        </a:spcAft>
                      </a:pPr>
                      <a:endParaRPr lang="en-US" sz="1100" dirty="0">
                        <a:solidFill>
                          <a:schemeClr val="tx1"/>
                        </a:solidFill>
                        <a:effectLst/>
                        <a:latin typeface="Arial Narrow" pitchFamily="34" charset="0"/>
                        <a:ea typeface="Tahoma" pitchFamily="34" charset="0"/>
                        <a:cs typeface="Tahoma" pitchFamily="34" charset="0"/>
                      </a:endParaRPr>
                    </a:p>
                  </a:txBody>
                  <a:tcPr marL="54664" marR="54664" marT="0" marB="0" anchor="ctr">
                    <a:solidFill>
                      <a:schemeClr val="accent6">
                        <a:lumMod val="20000"/>
                        <a:lumOff val="80000"/>
                      </a:schemeClr>
                    </a:solidFill>
                  </a:tcPr>
                </a:tc>
                <a:tc>
                  <a:txBody>
                    <a:bodyPr/>
                    <a:lstStyle/>
                    <a:p>
                      <a:pPr algn="ctr">
                        <a:lnSpc>
                          <a:spcPct val="115000"/>
                        </a:lnSpc>
                        <a:spcAft>
                          <a:spcPts val="0"/>
                        </a:spcAft>
                      </a:pPr>
                      <a:r>
                        <a:rPr lang="en-US" sz="1100" dirty="0">
                          <a:effectLst/>
                          <a:latin typeface="Arial Narrow" pitchFamily="34" charset="0"/>
                          <a:ea typeface="Tahoma" pitchFamily="34" charset="0"/>
                          <a:cs typeface="Tahoma" pitchFamily="34" charset="0"/>
                          <a:sym typeface="Webdings"/>
                        </a:rPr>
                        <a:t></a:t>
                      </a:r>
                      <a:endParaRPr lang="en-US" sz="1100" dirty="0">
                        <a:effectLst/>
                        <a:latin typeface="Arial Narrow" pitchFamily="34" charset="0"/>
                        <a:ea typeface="Tahoma" pitchFamily="34" charset="0"/>
                        <a:cs typeface="Tahoma" pitchFamily="34" charset="0"/>
                      </a:endParaRPr>
                    </a:p>
                  </a:txBody>
                  <a:tcPr marL="54664" marR="54664" marT="0" marB="0" anchor="ctr">
                    <a:solidFill>
                      <a:schemeClr val="accent6">
                        <a:lumMod val="20000"/>
                        <a:lumOff val="80000"/>
                      </a:schemeClr>
                    </a:solidFill>
                  </a:tcPr>
                </a:tc>
                <a:tc>
                  <a:txBody>
                    <a:bodyPr/>
                    <a:lstStyle/>
                    <a:p>
                      <a:pPr algn="ctr">
                        <a:lnSpc>
                          <a:spcPct val="115000"/>
                        </a:lnSpc>
                        <a:spcAft>
                          <a:spcPts val="0"/>
                        </a:spcAft>
                      </a:pPr>
                      <a:r>
                        <a:rPr lang="en-US" sz="1100" dirty="0">
                          <a:effectLst/>
                          <a:latin typeface="Arial Narrow" pitchFamily="34" charset="0"/>
                          <a:ea typeface="Tahoma" pitchFamily="34" charset="0"/>
                          <a:cs typeface="Tahoma" pitchFamily="34" charset="0"/>
                          <a:sym typeface="Webdings"/>
                        </a:rPr>
                        <a:t></a:t>
                      </a:r>
                      <a:endParaRPr lang="en-US" sz="1100" dirty="0">
                        <a:effectLst/>
                        <a:latin typeface="Arial Narrow" pitchFamily="34" charset="0"/>
                        <a:ea typeface="Tahoma" pitchFamily="34" charset="0"/>
                        <a:cs typeface="Tahoma" pitchFamily="34" charset="0"/>
                      </a:endParaRPr>
                    </a:p>
                  </a:txBody>
                  <a:tcPr marL="54664" marR="54664" marT="0" marB="0" anchor="ctr">
                    <a:solidFill>
                      <a:schemeClr val="accent6">
                        <a:lumMod val="20000"/>
                        <a:lumOff val="80000"/>
                      </a:schemeClr>
                    </a:solidFill>
                  </a:tcPr>
                </a:tc>
                <a:tc>
                  <a:txBody>
                    <a:bodyPr/>
                    <a:lstStyle/>
                    <a:p>
                      <a:pPr algn="ctr">
                        <a:lnSpc>
                          <a:spcPct val="115000"/>
                        </a:lnSpc>
                        <a:spcAft>
                          <a:spcPts val="0"/>
                        </a:spcAft>
                      </a:pPr>
                      <a:r>
                        <a:rPr lang="en-US" sz="1100" dirty="0">
                          <a:effectLst/>
                          <a:latin typeface="Arial Narrow" pitchFamily="34" charset="0"/>
                          <a:ea typeface="Tahoma" pitchFamily="34" charset="0"/>
                          <a:cs typeface="Tahoma" pitchFamily="34" charset="0"/>
                          <a:sym typeface="Webdings"/>
                        </a:rPr>
                        <a:t></a:t>
                      </a:r>
                      <a:endParaRPr lang="en-US" sz="1100" dirty="0">
                        <a:effectLst/>
                        <a:latin typeface="Arial Narrow" pitchFamily="34" charset="0"/>
                        <a:ea typeface="Tahoma" pitchFamily="34" charset="0"/>
                        <a:cs typeface="Tahoma" pitchFamily="34" charset="0"/>
                      </a:endParaRPr>
                    </a:p>
                  </a:txBody>
                  <a:tcPr marL="54664" marR="54664" marT="0" marB="0" anchor="ctr">
                    <a:solidFill>
                      <a:schemeClr val="accent6">
                        <a:lumMod val="20000"/>
                        <a:lumOff val="80000"/>
                      </a:schemeClr>
                    </a:solidFill>
                  </a:tcPr>
                </a:tc>
                <a:tc vMerge="1">
                  <a:txBody>
                    <a:bodyPr/>
                    <a:lstStyle/>
                    <a:p>
                      <a:pPr algn="ctr">
                        <a:lnSpc>
                          <a:spcPct val="115000"/>
                        </a:lnSpc>
                        <a:spcAft>
                          <a:spcPts val="0"/>
                        </a:spcAft>
                      </a:pPr>
                      <a:endParaRPr lang="en-US" sz="1300" dirty="0">
                        <a:effectLst/>
                        <a:latin typeface="Tahoma" pitchFamily="34" charset="0"/>
                        <a:ea typeface="Tahoma" pitchFamily="34" charset="0"/>
                        <a:cs typeface="Tahoma" pitchFamily="34" charset="0"/>
                      </a:endParaRPr>
                    </a:p>
                  </a:txBody>
                  <a:tcPr marL="59220" marR="59220" marT="0" marB="0">
                    <a:solidFill>
                      <a:schemeClr val="accent6">
                        <a:lumMod val="20000"/>
                        <a:lumOff val="80000"/>
                      </a:schemeClr>
                    </a:solidFill>
                  </a:tcPr>
                </a:tc>
              </a:tr>
              <a:tr h="270000">
                <a:tc>
                  <a:txBody>
                    <a:bodyPr/>
                    <a:lstStyle/>
                    <a:p>
                      <a:pPr algn="ctr">
                        <a:lnSpc>
                          <a:spcPct val="115000"/>
                        </a:lnSpc>
                        <a:spcAft>
                          <a:spcPts val="0"/>
                        </a:spcAft>
                      </a:pPr>
                      <a:r>
                        <a:rPr lang="th-TH" sz="1100" b="0" dirty="0">
                          <a:effectLst/>
                          <a:latin typeface="Arial Narrow" pitchFamily="34" charset="0"/>
                          <a:ea typeface="Tahoma" pitchFamily="34" charset="0"/>
                          <a:cs typeface="Tahoma" pitchFamily="34" charset="0"/>
                        </a:rPr>
                        <a:t>5</a:t>
                      </a:r>
                      <a:endParaRPr lang="en-US" sz="1100" b="0" dirty="0">
                        <a:effectLst/>
                        <a:latin typeface="Arial Narrow" pitchFamily="34" charset="0"/>
                        <a:ea typeface="Tahoma" pitchFamily="34" charset="0"/>
                        <a:cs typeface="Tahoma" pitchFamily="34" charset="0"/>
                      </a:endParaRPr>
                    </a:p>
                  </a:txBody>
                  <a:tcPr marL="54665" marR="54665" marT="0" marB="0" anchor="ctr">
                    <a:solidFill>
                      <a:schemeClr val="accent6">
                        <a:lumMod val="75000"/>
                      </a:schemeClr>
                    </a:solidFill>
                  </a:tcPr>
                </a:tc>
                <a:tc>
                  <a:txBody>
                    <a:bodyPr/>
                    <a:lstStyle/>
                    <a:p>
                      <a:pPr>
                        <a:lnSpc>
                          <a:spcPct val="115000"/>
                        </a:lnSpc>
                        <a:spcAft>
                          <a:spcPts val="0"/>
                        </a:spcAft>
                      </a:pPr>
                      <a:r>
                        <a:rPr lang="th-TH" sz="1400" b="1" dirty="0">
                          <a:effectLst/>
                          <a:latin typeface="TH SarabunPSK" pitchFamily="34" charset="-34"/>
                          <a:cs typeface="TH SarabunPSK" pitchFamily="34" charset="-34"/>
                        </a:rPr>
                        <a:t>อุตสาหกรรม</a:t>
                      </a:r>
                      <a:r>
                        <a:rPr lang="th-TH" sz="1400" b="1" dirty="0" err="1">
                          <a:effectLst/>
                          <a:latin typeface="TH SarabunPSK" pitchFamily="34" charset="-34"/>
                          <a:cs typeface="TH SarabunPSK" pitchFamily="34" charset="-34"/>
                        </a:rPr>
                        <a:t>อัญมณี</a:t>
                      </a:r>
                      <a:r>
                        <a:rPr lang="th-TH" sz="1400" b="1" dirty="0">
                          <a:effectLst/>
                          <a:latin typeface="TH SarabunPSK" pitchFamily="34" charset="-34"/>
                          <a:cs typeface="TH SarabunPSK" pitchFamily="34" charset="-34"/>
                        </a:rPr>
                        <a:t>และเครื่องประดับ</a:t>
                      </a:r>
                      <a:endParaRPr lang="en-US" sz="800" b="1" dirty="0">
                        <a:effectLst/>
                        <a:latin typeface="TH SarabunPSK" pitchFamily="34" charset="-34"/>
                        <a:ea typeface="Times New Roman"/>
                        <a:cs typeface="TH SarabunPSK" pitchFamily="34" charset="-34"/>
                      </a:endParaRPr>
                    </a:p>
                  </a:txBody>
                  <a:tcPr marL="50456" marR="50456" marT="0" marB="0">
                    <a:solidFill>
                      <a:schemeClr val="accent6">
                        <a:lumMod val="20000"/>
                        <a:lumOff val="80000"/>
                      </a:schemeClr>
                    </a:solidFill>
                  </a:tcPr>
                </a:tc>
                <a:tc>
                  <a:txBody>
                    <a:bodyPr/>
                    <a:lstStyle/>
                    <a:p>
                      <a:pPr algn="ctr">
                        <a:lnSpc>
                          <a:spcPct val="115000"/>
                        </a:lnSpc>
                        <a:spcAft>
                          <a:spcPts val="0"/>
                        </a:spcAft>
                      </a:pPr>
                      <a:r>
                        <a:rPr lang="en-US" sz="1100" dirty="0">
                          <a:effectLst/>
                          <a:latin typeface="Arial Narrow" pitchFamily="34" charset="0"/>
                          <a:ea typeface="Tahoma" pitchFamily="34" charset="0"/>
                          <a:cs typeface="Tahoma" pitchFamily="34" charset="0"/>
                          <a:sym typeface="Webdings"/>
                        </a:rPr>
                        <a:t></a:t>
                      </a:r>
                      <a:endParaRPr lang="en-US" sz="1100" dirty="0">
                        <a:effectLst/>
                        <a:latin typeface="Arial Narrow" pitchFamily="34" charset="0"/>
                        <a:ea typeface="Tahoma" pitchFamily="34" charset="0"/>
                        <a:cs typeface="Tahoma" pitchFamily="34" charset="0"/>
                      </a:endParaRPr>
                    </a:p>
                  </a:txBody>
                  <a:tcPr marL="54665" marR="54665" marT="0" marB="0" anchor="ctr">
                    <a:solidFill>
                      <a:schemeClr val="accent6">
                        <a:lumMod val="20000"/>
                        <a:lumOff val="80000"/>
                      </a:schemeClr>
                    </a:solidFill>
                  </a:tcPr>
                </a:tc>
                <a:tc>
                  <a:txBody>
                    <a:bodyPr/>
                    <a:lstStyle/>
                    <a:p>
                      <a:pPr algn="ctr">
                        <a:lnSpc>
                          <a:spcPct val="115000"/>
                        </a:lnSpc>
                        <a:spcAft>
                          <a:spcPts val="0"/>
                        </a:spcAft>
                      </a:pPr>
                      <a:r>
                        <a:rPr lang="en-US" sz="1100" dirty="0">
                          <a:effectLst/>
                          <a:latin typeface="Arial Narrow" pitchFamily="34" charset="0"/>
                          <a:ea typeface="Tahoma" pitchFamily="34" charset="0"/>
                          <a:cs typeface="Tahoma" pitchFamily="34" charset="0"/>
                          <a:sym typeface="Webdings"/>
                        </a:rPr>
                        <a:t></a:t>
                      </a:r>
                      <a:endParaRPr lang="en-US" sz="1100" dirty="0">
                        <a:effectLst/>
                        <a:latin typeface="Arial Narrow" pitchFamily="34" charset="0"/>
                        <a:ea typeface="Tahoma" pitchFamily="34" charset="0"/>
                        <a:cs typeface="Tahoma" pitchFamily="34" charset="0"/>
                      </a:endParaRPr>
                    </a:p>
                  </a:txBody>
                  <a:tcPr marL="54665" marR="54665" marT="0" marB="0" anchor="ctr">
                    <a:solidFill>
                      <a:schemeClr val="accent6">
                        <a:lumMod val="20000"/>
                        <a:lumOff val="80000"/>
                      </a:schemeClr>
                    </a:solidFill>
                  </a:tcPr>
                </a:tc>
                <a:tc>
                  <a:txBody>
                    <a:bodyPr/>
                    <a:lstStyle/>
                    <a:p>
                      <a:pPr algn="ctr">
                        <a:lnSpc>
                          <a:spcPct val="115000"/>
                        </a:lnSpc>
                        <a:spcAft>
                          <a:spcPts val="0"/>
                        </a:spcAft>
                      </a:pPr>
                      <a:r>
                        <a:rPr lang="en-US" sz="1100" dirty="0">
                          <a:effectLst/>
                          <a:latin typeface="Arial Narrow" pitchFamily="34" charset="0"/>
                          <a:ea typeface="Tahoma" pitchFamily="34" charset="0"/>
                          <a:cs typeface="Tahoma" pitchFamily="34" charset="0"/>
                        </a:rPr>
                        <a:t> </a:t>
                      </a:r>
                    </a:p>
                  </a:txBody>
                  <a:tcPr marL="54665" marR="54665" marT="0" marB="0" anchor="ctr">
                    <a:solidFill>
                      <a:schemeClr val="accent6">
                        <a:lumMod val="20000"/>
                        <a:lumOff val="80000"/>
                      </a:schemeClr>
                    </a:solidFill>
                  </a:tcPr>
                </a:tc>
                <a:tc>
                  <a:txBody>
                    <a:bodyPr/>
                    <a:lstStyle/>
                    <a:p>
                      <a:pPr algn="ctr">
                        <a:lnSpc>
                          <a:spcPct val="115000"/>
                        </a:lnSpc>
                        <a:spcAft>
                          <a:spcPts val="0"/>
                        </a:spcAft>
                      </a:pPr>
                      <a:r>
                        <a:rPr lang="en-US" sz="1100" dirty="0">
                          <a:effectLst/>
                          <a:latin typeface="Arial Narrow" pitchFamily="34" charset="0"/>
                          <a:ea typeface="Tahoma" pitchFamily="34" charset="0"/>
                          <a:cs typeface="Tahoma" pitchFamily="34" charset="0"/>
                        </a:rPr>
                        <a:t> </a:t>
                      </a:r>
                    </a:p>
                  </a:txBody>
                  <a:tcPr marL="54665" marR="54665" marT="0" marB="0" anchor="ctr">
                    <a:solidFill>
                      <a:schemeClr val="accent6">
                        <a:lumMod val="20000"/>
                        <a:lumOff val="80000"/>
                      </a:schemeClr>
                    </a:solidFill>
                  </a:tcPr>
                </a:tc>
                <a:tc>
                  <a:txBody>
                    <a:bodyPr/>
                    <a:lstStyle/>
                    <a:p>
                      <a:pPr algn="ctr">
                        <a:lnSpc>
                          <a:spcPct val="115000"/>
                        </a:lnSpc>
                        <a:spcAft>
                          <a:spcPts val="0"/>
                        </a:spcAft>
                      </a:pPr>
                      <a:r>
                        <a:rPr lang="en-US" sz="1100" dirty="0">
                          <a:effectLst/>
                          <a:latin typeface="Arial Narrow" pitchFamily="34" charset="0"/>
                          <a:ea typeface="Tahoma" pitchFamily="34" charset="0"/>
                          <a:cs typeface="Tahoma" pitchFamily="34" charset="0"/>
                        </a:rPr>
                        <a:t> </a:t>
                      </a:r>
                    </a:p>
                  </a:txBody>
                  <a:tcPr marL="54665" marR="54665" marT="0" marB="0" anchor="ctr">
                    <a:solidFill>
                      <a:schemeClr val="accent6">
                        <a:lumMod val="20000"/>
                        <a:lumOff val="80000"/>
                      </a:schemeClr>
                    </a:solidFill>
                  </a:tcPr>
                </a:tc>
                <a:tc>
                  <a:txBody>
                    <a:bodyPr/>
                    <a:lstStyle/>
                    <a:p>
                      <a:pPr algn="ctr">
                        <a:lnSpc>
                          <a:spcPct val="115000"/>
                        </a:lnSpc>
                        <a:spcAft>
                          <a:spcPts val="0"/>
                        </a:spcAft>
                      </a:pPr>
                      <a:endParaRPr lang="en-US" sz="1100" dirty="0">
                        <a:solidFill>
                          <a:schemeClr val="tx1"/>
                        </a:solidFill>
                        <a:effectLst/>
                        <a:latin typeface="Arial Narrow" pitchFamily="34" charset="0"/>
                        <a:ea typeface="Tahoma" pitchFamily="34" charset="0"/>
                        <a:cs typeface="Tahoma" pitchFamily="34" charset="0"/>
                      </a:endParaRPr>
                    </a:p>
                  </a:txBody>
                  <a:tcPr marL="54664" marR="54664" marT="0" marB="0" anchor="ctr">
                    <a:solidFill>
                      <a:schemeClr val="accent6">
                        <a:lumMod val="20000"/>
                        <a:lumOff val="80000"/>
                      </a:schemeClr>
                    </a:solidFill>
                  </a:tcPr>
                </a:tc>
                <a:tc>
                  <a:txBody>
                    <a:bodyPr/>
                    <a:lstStyle/>
                    <a:p>
                      <a:pPr algn="ctr">
                        <a:lnSpc>
                          <a:spcPct val="115000"/>
                        </a:lnSpc>
                        <a:spcAft>
                          <a:spcPts val="0"/>
                        </a:spcAft>
                      </a:pPr>
                      <a:r>
                        <a:rPr lang="en-US" sz="1100" dirty="0">
                          <a:effectLst/>
                          <a:latin typeface="Arial Narrow" pitchFamily="34" charset="0"/>
                          <a:ea typeface="Tahoma" pitchFamily="34" charset="0"/>
                          <a:cs typeface="Tahoma" pitchFamily="34" charset="0"/>
                          <a:sym typeface="Webdings"/>
                        </a:rPr>
                        <a:t></a:t>
                      </a:r>
                      <a:endParaRPr lang="en-US" sz="1100" dirty="0">
                        <a:effectLst/>
                        <a:latin typeface="Arial Narrow" pitchFamily="34" charset="0"/>
                        <a:ea typeface="Tahoma" pitchFamily="34" charset="0"/>
                        <a:cs typeface="Tahoma" pitchFamily="34" charset="0"/>
                      </a:endParaRPr>
                    </a:p>
                  </a:txBody>
                  <a:tcPr marL="54664" marR="54664" marT="0" marB="0" anchor="ctr">
                    <a:solidFill>
                      <a:schemeClr val="accent6">
                        <a:lumMod val="20000"/>
                        <a:lumOff val="80000"/>
                      </a:schemeClr>
                    </a:solidFill>
                  </a:tcPr>
                </a:tc>
                <a:tc>
                  <a:txBody>
                    <a:bodyPr/>
                    <a:lstStyle/>
                    <a:p>
                      <a:pPr algn="ctr">
                        <a:lnSpc>
                          <a:spcPct val="115000"/>
                        </a:lnSpc>
                        <a:spcAft>
                          <a:spcPts val="0"/>
                        </a:spcAft>
                      </a:pPr>
                      <a:r>
                        <a:rPr lang="en-US" sz="1100" dirty="0">
                          <a:effectLst/>
                          <a:latin typeface="Arial Narrow" pitchFamily="34" charset="0"/>
                          <a:ea typeface="Tahoma" pitchFamily="34" charset="0"/>
                          <a:cs typeface="Tahoma" pitchFamily="34" charset="0"/>
                          <a:sym typeface="Webdings"/>
                        </a:rPr>
                        <a:t></a:t>
                      </a:r>
                      <a:endParaRPr lang="en-US" sz="1100" dirty="0">
                        <a:effectLst/>
                        <a:latin typeface="Arial Narrow" pitchFamily="34" charset="0"/>
                        <a:ea typeface="Tahoma" pitchFamily="34" charset="0"/>
                        <a:cs typeface="Tahoma" pitchFamily="34" charset="0"/>
                      </a:endParaRPr>
                    </a:p>
                  </a:txBody>
                  <a:tcPr marL="54664" marR="54664" marT="0" marB="0" anchor="ctr">
                    <a:solidFill>
                      <a:schemeClr val="accent6">
                        <a:lumMod val="20000"/>
                        <a:lumOff val="80000"/>
                      </a:schemeClr>
                    </a:solidFill>
                  </a:tcPr>
                </a:tc>
                <a:tc>
                  <a:txBody>
                    <a:bodyPr/>
                    <a:lstStyle/>
                    <a:p>
                      <a:pPr algn="ctr">
                        <a:lnSpc>
                          <a:spcPct val="115000"/>
                        </a:lnSpc>
                        <a:spcAft>
                          <a:spcPts val="0"/>
                        </a:spcAft>
                      </a:pPr>
                      <a:r>
                        <a:rPr lang="en-US" sz="1100" dirty="0">
                          <a:effectLst/>
                          <a:latin typeface="Arial Narrow" pitchFamily="34" charset="0"/>
                          <a:ea typeface="Tahoma" pitchFamily="34" charset="0"/>
                          <a:cs typeface="Tahoma" pitchFamily="34" charset="0"/>
                          <a:sym typeface="Webdings"/>
                        </a:rPr>
                        <a:t></a:t>
                      </a:r>
                      <a:endParaRPr lang="en-US" sz="1100" dirty="0">
                        <a:effectLst/>
                        <a:latin typeface="Arial Narrow" pitchFamily="34" charset="0"/>
                        <a:ea typeface="Tahoma" pitchFamily="34" charset="0"/>
                        <a:cs typeface="Tahoma" pitchFamily="34" charset="0"/>
                      </a:endParaRPr>
                    </a:p>
                  </a:txBody>
                  <a:tcPr marL="54664" marR="54664" marT="0" marB="0" anchor="ctr">
                    <a:solidFill>
                      <a:schemeClr val="accent6">
                        <a:lumMod val="20000"/>
                        <a:lumOff val="80000"/>
                      </a:schemeClr>
                    </a:solidFill>
                  </a:tcPr>
                </a:tc>
                <a:tc vMerge="1">
                  <a:txBody>
                    <a:bodyPr/>
                    <a:lstStyle/>
                    <a:p>
                      <a:pPr algn="ctr">
                        <a:lnSpc>
                          <a:spcPct val="115000"/>
                        </a:lnSpc>
                        <a:spcAft>
                          <a:spcPts val="0"/>
                        </a:spcAft>
                      </a:pPr>
                      <a:endParaRPr lang="en-US" sz="1300" dirty="0">
                        <a:effectLst/>
                        <a:latin typeface="Tahoma" pitchFamily="34" charset="0"/>
                        <a:ea typeface="Tahoma" pitchFamily="34" charset="0"/>
                        <a:cs typeface="Tahoma" pitchFamily="34" charset="0"/>
                      </a:endParaRPr>
                    </a:p>
                  </a:txBody>
                  <a:tcPr marL="59220" marR="59220" marT="0" marB="0">
                    <a:solidFill>
                      <a:schemeClr val="accent6">
                        <a:lumMod val="20000"/>
                        <a:lumOff val="80000"/>
                      </a:schemeClr>
                    </a:solidFill>
                  </a:tcPr>
                </a:tc>
              </a:tr>
              <a:tr h="270000">
                <a:tc>
                  <a:txBody>
                    <a:bodyPr/>
                    <a:lstStyle/>
                    <a:p>
                      <a:pPr algn="ctr">
                        <a:lnSpc>
                          <a:spcPct val="115000"/>
                        </a:lnSpc>
                        <a:spcAft>
                          <a:spcPts val="0"/>
                        </a:spcAft>
                      </a:pPr>
                      <a:r>
                        <a:rPr lang="th-TH" sz="1100" b="0" dirty="0">
                          <a:effectLst/>
                          <a:latin typeface="Arial Narrow" pitchFamily="34" charset="0"/>
                          <a:ea typeface="Tahoma" pitchFamily="34" charset="0"/>
                          <a:cs typeface="Tahoma" pitchFamily="34" charset="0"/>
                        </a:rPr>
                        <a:t>6</a:t>
                      </a:r>
                      <a:endParaRPr lang="en-US" sz="1100" b="0" dirty="0">
                        <a:effectLst/>
                        <a:latin typeface="Arial Narrow" pitchFamily="34" charset="0"/>
                        <a:ea typeface="Tahoma" pitchFamily="34" charset="0"/>
                        <a:cs typeface="Tahoma" pitchFamily="34" charset="0"/>
                      </a:endParaRPr>
                    </a:p>
                  </a:txBody>
                  <a:tcPr marL="54665" marR="54665" marT="0" marB="0" anchor="ctr">
                    <a:solidFill>
                      <a:schemeClr val="accent6">
                        <a:lumMod val="75000"/>
                      </a:schemeClr>
                    </a:solidFill>
                  </a:tcPr>
                </a:tc>
                <a:tc>
                  <a:txBody>
                    <a:bodyPr/>
                    <a:lstStyle/>
                    <a:p>
                      <a:pPr>
                        <a:lnSpc>
                          <a:spcPct val="115000"/>
                        </a:lnSpc>
                        <a:spcAft>
                          <a:spcPts val="0"/>
                        </a:spcAft>
                      </a:pPr>
                      <a:r>
                        <a:rPr lang="th-TH" sz="1400" b="1" dirty="0" smtClean="0">
                          <a:effectLst/>
                          <a:latin typeface="TH SarabunPSK" pitchFamily="34" charset="-34"/>
                          <a:cs typeface="TH SarabunPSK" pitchFamily="34" charset="-34"/>
                        </a:rPr>
                        <a:t>การผลิต</a:t>
                      </a:r>
                      <a:r>
                        <a:rPr lang="th-TH" sz="1400" b="1" dirty="0">
                          <a:effectLst/>
                          <a:latin typeface="TH SarabunPSK" pitchFamily="34" charset="-34"/>
                          <a:cs typeface="TH SarabunPSK" pitchFamily="34" charset="-34"/>
                        </a:rPr>
                        <a:t>เครื่องมือแพทย์</a:t>
                      </a:r>
                      <a:endParaRPr lang="en-US" sz="800" b="1" dirty="0">
                        <a:effectLst/>
                        <a:latin typeface="TH SarabunPSK" pitchFamily="34" charset="-34"/>
                        <a:ea typeface="Times New Roman"/>
                        <a:cs typeface="TH SarabunPSK" pitchFamily="34" charset="-34"/>
                      </a:endParaRPr>
                    </a:p>
                  </a:txBody>
                  <a:tcPr marL="50456" marR="50456" marT="0" marB="0">
                    <a:solidFill>
                      <a:schemeClr val="accent6">
                        <a:lumMod val="20000"/>
                        <a:lumOff val="80000"/>
                      </a:schemeClr>
                    </a:solidFill>
                  </a:tcPr>
                </a:tc>
                <a:tc>
                  <a:txBody>
                    <a:bodyPr/>
                    <a:lstStyle/>
                    <a:p>
                      <a:pPr algn="ctr">
                        <a:lnSpc>
                          <a:spcPct val="115000"/>
                        </a:lnSpc>
                        <a:spcAft>
                          <a:spcPts val="0"/>
                        </a:spcAft>
                      </a:pPr>
                      <a:r>
                        <a:rPr lang="en-US" sz="1100" dirty="0">
                          <a:effectLst/>
                          <a:latin typeface="Arial Narrow" pitchFamily="34" charset="0"/>
                          <a:ea typeface="Tahoma" pitchFamily="34" charset="0"/>
                          <a:cs typeface="Tahoma" pitchFamily="34" charset="0"/>
                          <a:sym typeface="Webdings"/>
                        </a:rPr>
                        <a:t></a:t>
                      </a:r>
                      <a:endParaRPr lang="en-US" sz="1100" dirty="0">
                        <a:effectLst/>
                        <a:latin typeface="Arial Narrow" pitchFamily="34" charset="0"/>
                        <a:ea typeface="Tahoma" pitchFamily="34" charset="0"/>
                        <a:cs typeface="Tahoma" pitchFamily="34" charset="0"/>
                      </a:endParaRPr>
                    </a:p>
                  </a:txBody>
                  <a:tcPr marL="54665" marR="54665" marT="0" marB="0" anchor="ctr">
                    <a:solidFill>
                      <a:schemeClr val="accent6">
                        <a:lumMod val="20000"/>
                        <a:lumOff val="80000"/>
                      </a:schemeClr>
                    </a:solidFill>
                  </a:tcPr>
                </a:tc>
                <a:tc>
                  <a:txBody>
                    <a:bodyPr/>
                    <a:lstStyle/>
                    <a:p>
                      <a:pPr algn="ctr">
                        <a:lnSpc>
                          <a:spcPct val="115000"/>
                        </a:lnSpc>
                        <a:spcAft>
                          <a:spcPts val="0"/>
                        </a:spcAft>
                      </a:pPr>
                      <a:r>
                        <a:rPr lang="en-US" sz="1100" dirty="0">
                          <a:effectLst/>
                          <a:latin typeface="Arial Narrow" pitchFamily="34" charset="0"/>
                          <a:ea typeface="Tahoma" pitchFamily="34" charset="0"/>
                          <a:cs typeface="Tahoma" pitchFamily="34" charset="0"/>
                          <a:sym typeface="Webdings"/>
                        </a:rPr>
                        <a:t></a:t>
                      </a:r>
                      <a:endParaRPr lang="en-US" sz="1100" dirty="0">
                        <a:effectLst/>
                        <a:latin typeface="Arial Narrow" pitchFamily="34" charset="0"/>
                        <a:ea typeface="Tahoma" pitchFamily="34" charset="0"/>
                        <a:cs typeface="Tahoma" pitchFamily="34" charset="0"/>
                      </a:endParaRPr>
                    </a:p>
                  </a:txBody>
                  <a:tcPr marL="54665" marR="54665" marT="0" marB="0" anchor="ctr">
                    <a:solidFill>
                      <a:schemeClr val="accent6">
                        <a:lumMod val="20000"/>
                        <a:lumOff val="80000"/>
                      </a:schemeClr>
                    </a:solidFill>
                  </a:tcPr>
                </a:tc>
                <a:tc>
                  <a:txBody>
                    <a:bodyPr/>
                    <a:lstStyle/>
                    <a:p>
                      <a:pPr algn="ctr">
                        <a:lnSpc>
                          <a:spcPct val="115000"/>
                        </a:lnSpc>
                        <a:spcAft>
                          <a:spcPts val="0"/>
                        </a:spcAft>
                      </a:pPr>
                      <a:r>
                        <a:rPr lang="en-US" sz="1100" dirty="0">
                          <a:effectLst/>
                          <a:latin typeface="Arial Narrow" pitchFamily="34" charset="0"/>
                          <a:ea typeface="Tahoma" pitchFamily="34" charset="0"/>
                          <a:cs typeface="Tahoma" pitchFamily="34" charset="0"/>
                        </a:rPr>
                        <a:t> </a:t>
                      </a:r>
                    </a:p>
                  </a:txBody>
                  <a:tcPr marL="54665" marR="54665" marT="0" marB="0" anchor="ctr">
                    <a:solidFill>
                      <a:schemeClr val="accent6">
                        <a:lumMod val="20000"/>
                        <a:lumOff val="80000"/>
                      </a:schemeClr>
                    </a:solidFill>
                  </a:tcPr>
                </a:tc>
                <a:tc>
                  <a:txBody>
                    <a:bodyPr/>
                    <a:lstStyle/>
                    <a:p>
                      <a:pPr algn="ctr">
                        <a:lnSpc>
                          <a:spcPct val="115000"/>
                        </a:lnSpc>
                        <a:spcAft>
                          <a:spcPts val="0"/>
                        </a:spcAft>
                      </a:pPr>
                      <a:r>
                        <a:rPr lang="en-US" sz="1100" dirty="0">
                          <a:effectLst/>
                          <a:latin typeface="Arial Narrow" pitchFamily="34" charset="0"/>
                          <a:ea typeface="Tahoma" pitchFamily="34" charset="0"/>
                          <a:cs typeface="Tahoma" pitchFamily="34" charset="0"/>
                        </a:rPr>
                        <a:t> </a:t>
                      </a:r>
                    </a:p>
                  </a:txBody>
                  <a:tcPr marL="54665" marR="54665" marT="0" marB="0" anchor="ctr">
                    <a:solidFill>
                      <a:schemeClr val="accent6">
                        <a:lumMod val="20000"/>
                        <a:lumOff val="80000"/>
                      </a:schemeClr>
                    </a:solidFill>
                  </a:tcPr>
                </a:tc>
                <a:tc>
                  <a:txBody>
                    <a:bodyPr/>
                    <a:lstStyle/>
                    <a:p>
                      <a:pPr algn="ctr">
                        <a:lnSpc>
                          <a:spcPct val="115000"/>
                        </a:lnSpc>
                        <a:spcAft>
                          <a:spcPts val="0"/>
                        </a:spcAft>
                      </a:pPr>
                      <a:r>
                        <a:rPr lang="en-US" sz="1100" dirty="0">
                          <a:effectLst/>
                          <a:latin typeface="Arial Narrow" pitchFamily="34" charset="0"/>
                          <a:ea typeface="Tahoma" pitchFamily="34" charset="0"/>
                          <a:cs typeface="Tahoma" pitchFamily="34" charset="0"/>
                        </a:rPr>
                        <a:t> </a:t>
                      </a:r>
                    </a:p>
                  </a:txBody>
                  <a:tcPr marL="54665" marR="54665" marT="0" marB="0" anchor="ctr">
                    <a:solidFill>
                      <a:schemeClr val="accent6">
                        <a:lumMod val="20000"/>
                        <a:lumOff val="80000"/>
                      </a:schemeClr>
                    </a:solidFill>
                  </a:tcPr>
                </a:tc>
                <a:tc>
                  <a:txBody>
                    <a:bodyPr/>
                    <a:lstStyle/>
                    <a:p>
                      <a:pPr algn="ctr">
                        <a:lnSpc>
                          <a:spcPct val="115000"/>
                        </a:lnSpc>
                        <a:spcAft>
                          <a:spcPts val="0"/>
                        </a:spcAft>
                      </a:pPr>
                      <a:endParaRPr lang="en-US" sz="1100" dirty="0">
                        <a:solidFill>
                          <a:schemeClr val="tx1"/>
                        </a:solidFill>
                        <a:effectLst/>
                        <a:latin typeface="Arial Narrow" pitchFamily="34" charset="0"/>
                        <a:ea typeface="Tahoma" pitchFamily="34" charset="0"/>
                        <a:cs typeface="Tahoma" pitchFamily="34" charset="0"/>
                      </a:endParaRPr>
                    </a:p>
                  </a:txBody>
                  <a:tcPr marL="54664" marR="54664" marT="0" marB="0" anchor="ctr">
                    <a:solidFill>
                      <a:schemeClr val="accent6">
                        <a:lumMod val="20000"/>
                        <a:lumOff val="80000"/>
                      </a:schemeClr>
                    </a:solidFill>
                  </a:tcPr>
                </a:tc>
                <a:tc>
                  <a:txBody>
                    <a:bodyPr/>
                    <a:lstStyle/>
                    <a:p>
                      <a:pPr algn="ctr">
                        <a:lnSpc>
                          <a:spcPct val="115000"/>
                        </a:lnSpc>
                        <a:spcAft>
                          <a:spcPts val="0"/>
                        </a:spcAft>
                      </a:pPr>
                      <a:r>
                        <a:rPr lang="en-US" sz="1100" dirty="0">
                          <a:effectLst/>
                          <a:latin typeface="Arial Narrow" pitchFamily="34" charset="0"/>
                          <a:ea typeface="Tahoma" pitchFamily="34" charset="0"/>
                          <a:cs typeface="Tahoma" pitchFamily="34" charset="0"/>
                          <a:sym typeface="Webdings"/>
                        </a:rPr>
                        <a:t></a:t>
                      </a:r>
                      <a:endParaRPr lang="en-US" sz="1100" dirty="0">
                        <a:effectLst/>
                        <a:latin typeface="Arial Narrow" pitchFamily="34" charset="0"/>
                        <a:ea typeface="Tahoma" pitchFamily="34" charset="0"/>
                        <a:cs typeface="Tahoma" pitchFamily="34" charset="0"/>
                      </a:endParaRPr>
                    </a:p>
                  </a:txBody>
                  <a:tcPr marL="54664" marR="54664" marT="0" marB="0" anchor="ctr">
                    <a:solidFill>
                      <a:schemeClr val="accent6">
                        <a:lumMod val="20000"/>
                        <a:lumOff val="80000"/>
                      </a:schemeClr>
                    </a:solidFill>
                  </a:tcPr>
                </a:tc>
                <a:tc>
                  <a:txBody>
                    <a:bodyPr/>
                    <a:lstStyle/>
                    <a:p>
                      <a:pPr algn="ctr">
                        <a:lnSpc>
                          <a:spcPct val="115000"/>
                        </a:lnSpc>
                        <a:spcAft>
                          <a:spcPts val="0"/>
                        </a:spcAft>
                      </a:pPr>
                      <a:r>
                        <a:rPr lang="en-US" sz="1100" dirty="0">
                          <a:effectLst/>
                          <a:latin typeface="Arial Narrow" pitchFamily="34" charset="0"/>
                          <a:ea typeface="Tahoma" pitchFamily="34" charset="0"/>
                          <a:cs typeface="Tahoma" pitchFamily="34" charset="0"/>
                          <a:sym typeface="Webdings"/>
                        </a:rPr>
                        <a:t></a:t>
                      </a:r>
                      <a:endParaRPr lang="en-US" sz="1100" dirty="0">
                        <a:effectLst/>
                        <a:latin typeface="Arial Narrow" pitchFamily="34" charset="0"/>
                        <a:ea typeface="Tahoma" pitchFamily="34" charset="0"/>
                        <a:cs typeface="Tahoma" pitchFamily="34" charset="0"/>
                      </a:endParaRPr>
                    </a:p>
                  </a:txBody>
                  <a:tcPr marL="54664" marR="54664" marT="0" marB="0" anchor="ctr">
                    <a:solidFill>
                      <a:schemeClr val="accent6">
                        <a:lumMod val="20000"/>
                        <a:lumOff val="80000"/>
                      </a:schemeClr>
                    </a:solidFill>
                  </a:tcPr>
                </a:tc>
                <a:tc>
                  <a:txBody>
                    <a:bodyPr/>
                    <a:lstStyle/>
                    <a:p>
                      <a:pPr algn="ctr">
                        <a:lnSpc>
                          <a:spcPct val="115000"/>
                        </a:lnSpc>
                        <a:spcAft>
                          <a:spcPts val="0"/>
                        </a:spcAft>
                      </a:pPr>
                      <a:r>
                        <a:rPr lang="en-US" sz="1100" dirty="0">
                          <a:effectLst/>
                          <a:latin typeface="Arial Narrow" pitchFamily="34" charset="0"/>
                          <a:ea typeface="Tahoma" pitchFamily="34" charset="0"/>
                          <a:cs typeface="Tahoma" pitchFamily="34" charset="0"/>
                          <a:sym typeface="Webdings"/>
                        </a:rPr>
                        <a:t></a:t>
                      </a:r>
                      <a:endParaRPr lang="en-US" sz="1100" dirty="0">
                        <a:effectLst/>
                        <a:latin typeface="Arial Narrow" pitchFamily="34" charset="0"/>
                        <a:ea typeface="Tahoma" pitchFamily="34" charset="0"/>
                        <a:cs typeface="Tahoma" pitchFamily="34" charset="0"/>
                      </a:endParaRPr>
                    </a:p>
                  </a:txBody>
                  <a:tcPr marL="54664" marR="54664" marT="0" marB="0" anchor="ctr">
                    <a:solidFill>
                      <a:schemeClr val="accent6">
                        <a:lumMod val="20000"/>
                        <a:lumOff val="80000"/>
                      </a:schemeClr>
                    </a:solidFill>
                  </a:tcPr>
                </a:tc>
                <a:tc vMerge="1">
                  <a:txBody>
                    <a:bodyPr/>
                    <a:lstStyle/>
                    <a:p>
                      <a:pPr algn="ctr">
                        <a:lnSpc>
                          <a:spcPct val="115000"/>
                        </a:lnSpc>
                        <a:spcAft>
                          <a:spcPts val="0"/>
                        </a:spcAft>
                      </a:pPr>
                      <a:endParaRPr lang="en-US" sz="1300" dirty="0">
                        <a:effectLst/>
                        <a:latin typeface="Tahoma" pitchFamily="34" charset="0"/>
                        <a:ea typeface="Tahoma" pitchFamily="34" charset="0"/>
                        <a:cs typeface="Tahoma" pitchFamily="34" charset="0"/>
                      </a:endParaRPr>
                    </a:p>
                  </a:txBody>
                  <a:tcPr marL="59220" marR="59220" marT="0" marB="0">
                    <a:solidFill>
                      <a:schemeClr val="accent6">
                        <a:lumMod val="20000"/>
                        <a:lumOff val="80000"/>
                      </a:schemeClr>
                    </a:solidFill>
                  </a:tcPr>
                </a:tc>
              </a:tr>
              <a:tr h="302428">
                <a:tc>
                  <a:txBody>
                    <a:bodyPr/>
                    <a:lstStyle/>
                    <a:p>
                      <a:pPr algn="ctr">
                        <a:lnSpc>
                          <a:spcPct val="115000"/>
                        </a:lnSpc>
                        <a:spcAft>
                          <a:spcPts val="0"/>
                        </a:spcAft>
                      </a:pPr>
                      <a:r>
                        <a:rPr lang="th-TH" sz="1100" b="0" dirty="0">
                          <a:effectLst/>
                          <a:latin typeface="Arial Narrow" pitchFamily="34" charset="0"/>
                          <a:ea typeface="Tahoma" pitchFamily="34" charset="0"/>
                          <a:cs typeface="Tahoma" pitchFamily="34" charset="0"/>
                        </a:rPr>
                        <a:t>7</a:t>
                      </a:r>
                      <a:endParaRPr lang="en-US" sz="1100" b="0" dirty="0">
                        <a:effectLst/>
                        <a:latin typeface="Arial Narrow" pitchFamily="34" charset="0"/>
                        <a:ea typeface="Tahoma" pitchFamily="34" charset="0"/>
                        <a:cs typeface="Tahoma" pitchFamily="34" charset="0"/>
                      </a:endParaRPr>
                    </a:p>
                  </a:txBody>
                  <a:tcPr marL="54665" marR="54665" marT="0" marB="0" anchor="ctr">
                    <a:solidFill>
                      <a:schemeClr val="accent6">
                        <a:lumMod val="75000"/>
                      </a:schemeClr>
                    </a:solidFill>
                  </a:tcPr>
                </a:tc>
                <a:tc>
                  <a:txBody>
                    <a:bodyPr/>
                    <a:lstStyle/>
                    <a:p>
                      <a:pPr>
                        <a:lnSpc>
                          <a:spcPct val="115000"/>
                        </a:lnSpc>
                        <a:spcAft>
                          <a:spcPts val="0"/>
                        </a:spcAft>
                      </a:pPr>
                      <a:r>
                        <a:rPr lang="th-TH" sz="1400" b="1" dirty="0">
                          <a:effectLst/>
                          <a:latin typeface="TH SarabunPSK" pitchFamily="34" charset="-34"/>
                          <a:cs typeface="TH SarabunPSK" pitchFamily="34" charset="-34"/>
                        </a:rPr>
                        <a:t>อุตสาหกรรมยานยนต์ เครื่องจักรและชิ้นส่วน</a:t>
                      </a:r>
                      <a:endParaRPr lang="en-US" sz="800" b="1" dirty="0">
                        <a:effectLst/>
                        <a:latin typeface="TH SarabunPSK" pitchFamily="34" charset="-34"/>
                        <a:ea typeface="Times New Roman"/>
                        <a:cs typeface="TH SarabunPSK" pitchFamily="34" charset="-34"/>
                      </a:endParaRPr>
                    </a:p>
                  </a:txBody>
                  <a:tcPr marL="50456" marR="50456" marT="0" marB="0">
                    <a:solidFill>
                      <a:schemeClr val="accent6">
                        <a:lumMod val="20000"/>
                        <a:lumOff val="80000"/>
                      </a:schemeClr>
                    </a:solidFill>
                  </a:tcPr>
                </a:tc>
                <a:tc>
                  <a:txBody>
                    <a:bodyPr/>
                    <a:lstStyle/>
                    <a:p>
                      <a:pPr algn="ctr">
                        <a:lnSpc>
                          <a:spcPct val="115000"/>
                        </a:lnSpc>
                        <a:spcAft>
                          <a:spcPts val="0"/>
                        </a:spcAft>
                      </a:pPr>
                      <a:r>
                        <a:rPr lang="en-US" sz="1100">
                          <a:effectLst/>
                          <a:latin typeface="Arial Narrow" pitchFamily="34" charset="0"/>
                          <a:ea typeface="Tahoma" pitchFamily="34" charset="0"/>
                          <a:cs typeface="Tahoma" pitchFamily="34" charset="0"/>
                          <a:sym typeface="Webdings"/>
                        </a:rPr>
                        <a:t></a:t>
                      </a:r>
                      <a:endParaRPr lang="en-US" sz="1100">
                        <a:effectLst/>
                        <a:latin typeface="Arial Narrow" pitchFamily="34" charset="0"/>
                        <a:ea typeface="Tahoma" pitchFamily="34" charset="0"/>
                        <a:cs typeface="Tahoma" pitchFamily="34" charset="0"/>
                      </a:endParaRPr>
                    </a:p>
                  </a:txBody>
                  <a:tcPr marL="54665" marR="54665" marT="0" marB="0" anchor="ctr">
                    <a:solidFill>
                      <a:schemeClr val="accent6">
                        <a:lumMod val="20000"/>
                        <a:lumOff val="80000"/>
                      </a:schemeClr>
                    </a:solidFill>
                  </a:tcPr>
                </a:tc>
                <a:tc>
                  <a:txBody>
                    <a:bodyPr/>
                    <a:lstStyle/>
                    <a:p>
                      <a:pPr algn="ctr">
                        <a:lnSpc>
                          <a:spcPct val="115000"/>
                        </a:lnSpc>
                        <a:spcAft>
                          <a:spcPts val="0"/>
                        </a:spcAft>
                      </a:pPr>
                      <a:r>
                        <a:rPr lang="en-US" sz="1100" dirty="0">
                          <a:effectLst/>
                          <a:latin typeface="Arial Narrow" pitchFamily="34" charset="0"/>
                          <a:ea typeface="Tahoma" pitchFamily="34" charset="0"/>
                          <a:cs typeface="Tahoma" pitchFamily="34" charset="0"/>
                          <a:sym typeface="Webdings"/>
                        </a:rPr>
                        <a:t></a:t>
                      </a:r>
                      <a:endParaRPr lang="en-US" sz="1100" dirty="0">
                        <a:effectLst/>
                        <a:latin typeface="Arial Narrow" pitchFamily="34" charset="0"/>
                        <a:ea typeface="Tahoma" pitchFamily="34" charset="0"/>
                        <a:cs typeface="Tahoma" pitchFamily="34" charset="0"/>
                      </a:endParaRPr>
                    </a:p>
                  </a:txBody>
                  <a:tcPr marL="54665" marR="54665" marT="0" marB="0" anchor="ctr">
                    <a:solidFill>
                      <a:schemeClr val="accent6">
                        <a:lumMod val="20000"/>
                        <a:lumOff val="80000"/>
                      </a:schemeClr>
                    </a:solidFill>
                  </a:tcPr>
                </a:tc>
                <a:tc>
                  <a:txBody>
                    <a:bodyPr/>
                    <a:lstStyle/>
                    <a:p>
                      <a:pPr algn="ctr">
                        <a:lnSpc>
                          <a:spcPct val="115000"/>
                        </a:lnSpc>
                        <a:spcAft>
                          <a:spcPts val="0"/>
                        </a:spcAft>
                      </a:pPr>
                      <a:r>
                        <a:rPr lang="en-US" sz="1100" dirty="0">
                          <a:effectLst/>
                          <a:latin typeface="Arial Narrow" pitchFamily="34" charset="0"/>
                          <a:ea typeface="Tahoma" pitchFamily="34" charset="0"/>
                          <a:cs typeface="Tahoma" pitchFamily="34" charset="0"/>
                        </a:rPr>
                        <a:t> </a:t>
                      </a:r>
                    </a:p>
                  </a:txBody>
                  <a:tcPr marL="54665" marR="54665" marT="0" marB="0" anchor="ctr">
                    <a:solidFill>
                      <a:schemeClr val="accent6">
                        <a:lumMod val="20000"/>
                        <a:lumOff val="80000"/>
                      </a:schemeClr>
                    </a:solidFill>
                  </a:tcPr>
                </a:tc>
                <a:tc>
                  <a:txBody>
                    <a:bodyPr/>
                    <a:lstStyle/>
                    <a:p>
                      <a:pPr algn="ctr">
                        <a:lnSpc>
                          <a:spcPct val="115000"/>
                        </a:lnSpc>
                        <a:spcAft>
                          <a:spcPts val="0"/>
                        </a:spcAft>
                      </a:pPr>
                      <a:r>
                        <a:rPr lang="en-US" sz="1100">
                          <a:effectLst/>
                          <a:latin typeface="Arial Narrow" pitchFamily="34" charset="0"/>
                          <a:ea typeface="Tahoma" pitchFamily="34" charset="0"/>
                          <a:cs typeface="Tahoma" pitchFamily="34" charset="0"/>
                        </a:rPr>
                        <a:t> </a:t>
                      </a:r>
                    </a:p>
                  </a:txBody>
                  <a:tcPr marL="54665" marR="54665" marT="0" marB="0" anchor="ctr">
                    <a:solidFill>
                      <a:schemeClr val="accent6">
                        <a:lumMod val="20000"/>
                        <a:lumOff val="80000"/>
                      </a:schemeClr>
                    </a:solidFill>
                  </a:tcPr>
                </a:tc>
                <a:tc>
                  <a:txBody>
                    <a:bodyPr/>
                    <a:lstStyle/>
                    <a:p>
                      <a:pPr algn="ctr">
                        <a:lnSpc>
                          <a:spcPct val="115000"/>
                        </a:lnSpc>
                        <a:spcAft>
                          <a:spcPts val="0"/>
                        </a:spcAft>
                      </a:pPr>
                      <a:r>
                        <a:rPr lang="en-US" sz="1100" dirty="0">
                          <a:effectLst/>
                          <a:latin typeface="Arial Narrow" pitchFamily="34" charset="0"/>
                          <a:ea typeface="Tahoma" pitchFamily="34" charset="0"/>
                          <a:cs typeface="Tahoma" pitchFamily="34" charset="0"/>
                        </a:rPr>
                        <a:t> </a:t>
                      </a:r>
                    </a:p>
                  </a:txBody>
                  <a:tcPr marL="54665" marR="54665" marT="0" marB="0" anchor="ctr">
                    <a:solidFill>
                      <a:schemeClr val="accent6">
                        <a:lumMod val="20000"/>
                        <a:lumOff val="80000"/>
                      </a:schemeClr>
                    </a:solidFill>
                  </a:tcPr>
                </a:tc>
                <a:tc>
                  <a:txBody>
                    <a:bodyPr/>
                    <a:lstStyle/>
                    <a:p>
                      <a:pPr algn="ctr">
                        <a:lnSpc>
                          <a:spcPct val="115000"/>
                        </a:lnSpc>
                        <a:spcAft>
                          <a:spcPts val="0"/>
                        </a:spcAft>
                      </a:pPr>
                      <a:endParaRPr lang="en-US" sz="1100" dirty="0">
                        <a:solidFill>
                          <a:schemeClr val="tx1"/>
                        </a:solidFill>
                        <a:effectLst/>
                        <a:latin typeface="Arial Narrow" pitchFamily="34" charset="0"/>
                        <a:ea typeface="Tahoma" pitchFamily="34" charset="0"/>
                        <a:cs typeface="Tahoma" pitchFamily="34" charset="0"/>
                      </a:endParaRPr>
                    </a:p>
                  </a:txBody>
                  <a:tcPr marL="54664" marR="54664" marT="0" marB="0" anchor="ctr">
                    <a:solidFill>
                      <a:schemeClr val="accent6">
                        <a:lumMod val="20000"/>
                        <a:lumOff val="80000"/>
                      </a:schemeClr>
                    </a:solidFill>
                  </a:tcPr>
                </a:tc>
                <a:tc>
                  <a:txBody>
                    <a:bodyPr/>
                    <a:lstStyle/>
                    <a:p>
                      <a:pPr algn="ctr">
                        <a:lnSpc>
                          <a:spcPct val="115000"/>
                        </a:lnSpc>
                        <a:spcAft>
                          <a:spcPts val="0"/>
                        </a:spcAft>
                      </a:pPr>
                      <a:endParaRPr lang="en-US" sz="1100" dirty="0">
                        <a:effectLst/>
                        <a:latin typeface="Arial Narrow" pitchFamily="34" charset="0"/>
                        <a:ea typeface="Tahoma" pitchFamily="34" charset="0"/>
                        <a:cs typeface="Tahoma" pitchFamily="34" charset="0"/>
                      </a:endParaRPr>
                    </a:p>
                  </a:txBody>
                  <a:tcPr marL="54664" marR="54664" marT="0" marB="0" anchor="ctr">
                    <a:solidFill>
                      <a:schemeClr val="accent6">
                        <a:lumMod val="20000"/>
                        <a:lumOff val="80000"/>
                      </a:schemeClr>
                    </a:solidFill>
                  </a:tcPr>
                </a:tc>
                <a:tc>
                  <a:txBody>
                    <a:bodyPr/>
                    <a:lstStyle/>
                    <a:p>
                      <a:pPr algn="ctr">
                        <a:lnSpc>
                          <a:spcPct val="115000"/>
                        </a:lnSpc>
                        <a:spcAft>
                          <a:spcPts val="0"/>
                        </a:spcAft>
                      </a:pPr>
                      <a:r>
                        <a:rPr lang="en-US" sz="1100" dirty="0">
                          <a:effectLst/>
                          <a:latin typeface="Arial Narrow" pitchFamily="34" charset="0"/>
                          <a:ea typeface="Tahoma" pitchFamily="34" charset="0"/>
                          <a:cs typeface="Tahoma" pitchFamily="34" charset="0"/>
                          <a:sym typeface="Webdings"/>
                        </a:rPr>
                        <a:t></a:t>
                      </a:r>
                      <a:endParaRPr lang="en-US" sz="1100" dirty="0">
                        <a:effectLst/>
                        <a:latin typeface="Arial Narrow" pitchFamily="34" charset="0"/>
                        <a:ea typeface="Tahoma" pitchFamily="34" charset="0"/>
                        <a:cs typeface="Tahoma" pitchFamily="34" charset="0"/>
                      </a:endParaRPr>
                    </a:p>
                  </a:txBody>
                  <a:tcPr marL="54664" marR="54664" marT="0" marB="0" anchor="ctr">
                    <a:solidFill>
                      <a:schemeClr val="accent6">
                        <a:lumMod val="20000"/>
                        <a:lumOff val="80000"/>
                      </a:schemeClr>
                    </a:solidFill>
                  </a:tcPr>
                </a:tc>
                <a:tc>
                  <a:txBody>
                    <a:bodyPr/>
                    <a:lstStyle/>
                    <a:p>
                      <a:pPr algn="ctr">
                        <a:lnSpc>
                          <a:spcPct val="115000"/>
                        </a:lnSpc>
                        <a:spcAft>
                          <a:spcPts val="0"/>
                        </a:spcAft>
                      </a:pPr>
                      <a:r>
                        <a:rPr lang="en-US" sz="1100" dirty="0">
                          <a:effectLst/>
                          <a:latin typeface="Arial Narrow" pitchFamily="34" charset="0"/>
                          <a:ea typeface="Tahoma" pitchFamily="34" charset="0"/>
                          <a:cs typeface="Tahoma" pitchFamily="34" charset="0"/>
                          <a:sym typeface="Webdings"/>
                        </a:rPr>
                        <a:t></a:t>
                      </a:r>
                      <a:endParaRPr lang="en-US" sz="1100" dirty="0">
                        <a:effectLst/>
                        <a:latin typeface="Arial Narrow" pitchFamily="34" charset="0"/>
                        <a:ea typeface="Tahoma" pitchFamily="34" charset="0"/>
                        <a:cs typeface="Tahoma" pitchFamily="34" charset="0"/>
                      </a:endParaRPr>
                    </a:p>
                  </a:txBody>
                  <a:tcPr marL="54664" marR="54664" marT="0" marB="0" anchor="ctr">
                    <a:solidFill>
                      <a:schemeClr val="accent6">
                        <a:lumMod val="20000"/>
                        <a:lumOff val="80000"/>
                      </a:schemeClr>
                    </a:solidFill>
                  </a:tcPr>
                </a:tc>
                <a:tc vMerge="1">
                  <a:txBody>
                    <a:bodyPr/>
                    <a:lstStyle/>
                    <a:p>
                      <a:pPr algn="ctr">
                        <a:lnSpc>
                          <a:spcPct val="115000"/>
                        </a:lnSpc>
                        <a:spcAft>
                          <a:spcPts val="0"/>
                        </a:spcAft>
                      </a:pPr>
                      <a:endParaRPr lang="en-US" sz="1300" dirty="0">
                        <a:effectLst/>
                        <a:latin typeface="Tahoma" pitchFamily="34" charset="0"/>
                        <a:ea typeface="Tahoma" pitchFamily="34" charset="0"/>
                        <a:cs typeface="Tahoma" pitchFamily="34" charset="0"/>
                      </a:endParaRPr>
                    </a:p>
                  </a:txBody>
                  <a:tcPr marL="59220" marR="59220" marT="0" marB="0">
                    <a:solidFill>
                      <a:schemeClr val="accent6">
                        <a:lumMod val="20000"/>
                        <a:lumOff val="80000"/>
                      </a:schemeClr>
                    </a:solidFill>
                  </a:tcPr>
                </a:tc>
              </a:tr>
              <a:tr h="387537">
                <a:tc>
                  <a:txBody>
                    <a:bodyPr/>
                    <a:lstStyle/>
                    <a:p>
                      <a:pPr algn="ctr">
                        <a:lnSpc>
                          <a:spcPct val="115000"/>
                        </a:lnSpc>
                        <a:spcAft>
                          <a:spcPts val="0"/>
                        </a:spcAft>
                      </a:pPr>
                      <a:r>
                        <a:rPr lang="th-TH" sz="1100" b="0" dirty="0">
                          <a:effectLst/>
                          <a:latin typeface="Arial Narrow" pitchFamily="34" charset="0"/>
                          <a:ea typeface="Tahoma" pitchFamily="34" charset="0"/>
                          <a:cs typeface="Tahoma" pitchFamily="34" charset="0"/>
                        </a:rPr>
                        <a:t>8</a:t>
                      </a:r>
                      <a:endParaRPr lang="en-US" sz="1100" b="0" dirty="0">
                        <a:effectLst/>
                        <a:latin typeface="Arial Narrow" pitchFamily="34" charset="0"/>
                        <a:ea typeface="Tahoma" pitchFamily="34" charset="0"/>
                        <a:cs typeface="Tahoma" pitchFamily="34" charset="0"/>
                      </a:endParaRPr>
                    </a:p>
                  </a:txBody>
                  <a:tcPr marL="54665" marR="54665" marT="0" marB="0" anchor="ctr">
                    <a:solidFill>
                      <a:schemeClr val="accent6">
                        <a:lumMod val="75000"/>
                      </a:schemeClr>
                    </a:solidFill>
                  </a:tcPr>
                </a:tc>
                <a:tc>
                  <a:txBody>
                    <a:bodyPr/>
                    <a:lstStyle/>
                    <a:p>
                      <a:pPr>
                        <a:lnSpc>
                          <a:spcPct val="115000"/>
                        </a:lnSpc>
                        <a:spcAft>
                          <a:spcPts val="0"/>
                        </a:spcAft>
                      </a:pPr>
                      <a:r>
                        <a:rPr lang="th-TH" sz="1400" b="1" dirty="0">
                          <a:effectLst/>
                          <a:latin typeface="TH SarabunPSK" pitchFamily="34" charset="-34"/>
                          <a:cs typeface="TH SarabunPSK" pitchFamily="34" charset="-34"/>
                        </a:rPr>
                        <a:t>อุตสาหกรรมเครื่องใช้ไฟฟ้าและ</a:t>
                      </a:r>
                      <a:r>
                        <a:rPr lang="th-TH" sz="1400" b="1" dirty="0" smtClean="0">
                          <a:effectLst/>
                          <a:latin typeface="TH SarabunPSK" pitchFamily="34" charset="-34"/>
                          <a:cs typeface="TH SarabunPSK" pitchFamily="34" charset="-34"/>
                        </a:rPr>
                        <a:t>อิเล็กทรอนิกส์</a:t>
                      </a:r>
                      <a:endParaRPr lang="en-US" sz="800" b="1" dirty="0">
                        <a:effectLst/>
                        <a:latin typeface="TH SarabunPSK" pitchFamily="34" charset="-34"/>
                        <a:ea typeface="Times New Roman"/>
                        <a:cs typeface="TH SarabunPSK" pitchFamily="34" charset="-34"/>
                      </a:endParaRPr>
                    </a:p>
                  </a:txBody>
                  <a:tcPr marL="50456" marR="50456" marT="0" marB="0">
                    <a:solidFill>
                      <a:schemeClr val="accent6">
                        <a:lumMod val="20000"/>
                        <a:lumOff val="80000"/>
                      </a:schemeClr>
                    </a:solidFill>
                  </a:tcPr>
                </a:tc>
                <a:tc>
                  <a:txBody>
                    <a:bodyPr/>
                    <a:lstStyle/>
                    <a:p>
                      <a:pPr algn="ctr">
                        <a:lnSpc>
                          <a:spcPct val="115000"/>
                        </a:lnSpc>
                        <a:spcAft>
                          <a:spcPts val="0"/>
                        </a:spcAft>
                      </a:pPr>
                      <a:r>
                        <a:rPr lang="en-US" sz="1100" dirty="0">
                          <a:effectLst/>
                          <a:latin typeface="Arial Narrow" pitchFamily="34" charset="0"/>
                          <a:ea typeface="Tahoma" pitchFamily="34" charset="0"/>
                          <a:cs typeface="Tahoma" pitchFamily="34" charset="0"/>
                          <a:sym typeface="Webdings"/>
                        </a:rPr>
                        <a:t></a:t>
                      </a:r>
                      <a:endParaRPr lang="en-US" sz="1100" dirty="0">
                        <a:effectLst/>
                        <a:latin typeface="Arial Narrow" pitchFamily="34" charset="0"/>
                        <a:ea typeface="Tahoma" pitchFamily="34" charset="0"/>
                        <a:cs typeface="Tahoma" pitchFamily="34" charset="0"/>
                      </a:endParaRPr>
                    </a:p>
                  </a:txBody>
                  <a:tcPr marL="54665" marR="54665" marT="0" marB="0" anchor="ctr">
                    <a:solidFill>
                      <a:schemeClr val="accent6">
                        <a:lumMod val="20000"/>
                        <a:lumOff val="80000"/>
                      </a:schemeClr>
                    </a:solidFill>
                  </a:tcPr>
                </a:tc>
                <a:tc>
                  <a:txBody>
                    <a:bodyPr/>
                    <a:lstStyle/>
                    <a:p>
                      <a:pPr algn="ctr">
                        <a:lnSpc>
                          <a:spcPct val="115000"/>
                        </a:lnSpc>
                        <a:spcAft>
                          <a:spcPts val="0"/>
                        </a:spcAft>
                      </a:pPr>
                      <a:r>
                        <a:rPr lang="en-US" sz="1100" dirty="0">
                          <a:effectLst/>
                          <a:latin typeface="Arial Narrow" pitchFamily="34" charset="0"/>
                          <a:ea typeface="Tahoma" pitchFamily="34" charset="0"/>
                          <a:cs typeface="Tahoma" pitchFamily="34" charset="0"/>
                          <a:sym typeface="Webdings"/>
                        </a:rPr>
                        <a:t></a:t>
                      </a:r>
                      <a:endParaRPr lang="en-US" sz="1100" dirty="0">
                        <a:effectLst/>
                        <a:latin typeface="Arial Narrow" pitchFamily="34" charset="0"/>
                        <a:ea typeface="Tahoma" pitchFamily="34" charset="0"/>
                        <a:cs typeface="Tahoma" pitchFamily="34" charset="0"/>
                      </a:endParaRPr>
                    </a:p>
                  </a:txBody>
                  <a:tcPr marL="54665" marR="54665" marT="0" marB="0" anchor="ctr">
                    <a:solidFill>
                      <a:schemeClr val="accent6">
                        <a:lumMod val="20000"/>
                        <a:lumOff val="80000"/>
                      </a:schemeClr>
                    </a:solidFill>
                  </a:tcPr>
                </a:tc>
                <a:tc>
                  <a:txBody>
                    <a:bodyPr/>
                    <a:lstStyle/>
                    <a:p>
                      <a:pPr algn="ctr">
                        <a:lnSpc>
                          <a:spcPct val="115000"/>
                        </a:lnSpc>
                        <a:spcAft>
                          <a:spcPts val="0"/>
                        </a:spcAft>
                      </a:pPr>
                      <a:r>
                        <a:rPr lang="en-US" sz="1100" dirty="0">
                          <a:effectLst/>
                          <a:latin typeface="Arial Narrow" pitchFamily="34" charset="0"/>
                          <a:ea typeface="Tahoma" pitchFamily="34" charset="0"/>
                          <a:cs typeface="Tahoma" pitchFamily="34" charset="0"/>
                        </a:rPr>
                        <a:t> </a:t>
                      </a:r>
                    </a:p>
                  </a:txBody>
                  <a:tcPr marL="54665" marR="54665" marT="0" marB="0" anchor="ctr">
                    <a:solidFill>
                      <a:schemeClr val="accent6">
                        <a:lumMod val="20000"/>
                        <a:lumOff val="80000"/>
                      </a:schemeClr>
                    </a:solidFill>
                  </a:tcPr>
                </a:tc>
                <a:tc>
                  <a:txBody>
                    <a:bodyPr/>
                    <a:lstStyle/>
                    <a:p>
                      <a:pPr algn="ctr">
                        <a:lnSpc>
                          <a:spcPct val="115000"/>
                        </a:lnSpc>
                        <a:spcAft>
                          <a:spcPts val="0"/>
                        </a:spcAft>
                      </a:pPr>
                      <a:r>
                        <a:rPr lang="en-US" sz="1100" dirty="0">
                          <a:effectLst/>
                          <a:latin typeface="Arial Narrow" pitchFamily="34" charset="0"/>
                          <a:ea typeface="Tahoma" pitchFamily="34" charset="0"/>
                          <a:cs typeface="Tahoma" pitchFamily="34" charset="0"/>
                          <a:sym typeface="Webdings"/>
                        </a:rPr>
                        <a:t></a:t>
                      </a:r>
                      <a:endParaRPr lang="en-US" sz="1100" dirty="0">
                        <a:effectLst/>
                        <a:latin typeface="Arial Narrow" pitchFamily="34" charset="0"/>
                        <a:ea typeface="Tahoma" pitchFamily="34" charset="0"/>
                        <a:cs typeface="Tahoma" pitchFamily="34" charset="0"/>
                      </a:endParaRPr>
                    </a:p>
                  </a:txBody>
                  <a:tcPr marL="54665" marR="54665" marT="0" marB="0" anchor="ctr">
                    <a:solidFill>
                      <a:schemeClr val="accent6">
                        <a:lumMod val="20000"/>
                        <a:lumOff val="80000"/>
                      </a:schemeClr>
                    </a:solidFill>
                  </a:tcPr>
                </a:tc>
                <a:tc>
                  <a:txBody>
                    <a:bodyPr/>
                    <a:lstStyle/>
                    <a:p>
                      <a:pPr algn="ctr">
                        <a:lnSpc>
                          <a:spcPct val="115000"/>
                        </a:lnSpc>
                        <a:spcAft>
                          <a:spcPts val="0"/>
                        </a:spcAft>
                      </a:pPr>
                      <a:r>
                        <a:rPr lang="en-US" sz="1100" dirty="0">
                          <a:effectLst/>
                          <a:latin typeface="Arial Narrow" pitchFamily="34" charset="0"/>
                          <a:ea typeface="Tahoma" pitchFamily="34" charset="0"/>
                          <a:cs typeface="Tahoma" pitchFamily="34" charset="0"/>
                        </a:rPr>
                        <a:t> </a:t>
                      </a:r>
                    </a:p>
                  </a:txBody>
                  <a:tcPr marL="54665" marR="54665" marT="0" marB="0" anchor="ctr">
                    <a:solidFill>
                      <a:schemeClr val="accent6">
                        <a:lumMod val="20000"/>
                        <a:lumOff val="80000"/>
                      </a:schemeClr>
                    </a:solidFill>
                  </a:tcPr>
                </a:tc>
                <a:tc>
                  <a:txBody>
                    <a:bodyPr/>
                    <a:lstStyle/>
                    <a:p>
                      <a:pPr algn="ctr">
                        <a:lnSpc>
                          <a:spcPct val="115000"/>
                        </a:lnSpc>
                        <a:spcAft>
                          <a:spcPts val="0"/>
                        </a:spcAft>
                      </a:pPr>
                      <a:endParaRPr lang="en-US" sz="1100" dirty="0">
                        <a:solidFill>
                          <a:schemeClr val="tx1"/>
                        </a:solidFill>
                        <a:effectLst/>
                        <a:latin typeface="Arial Narrow" pitchFamily="34" charset="0"/>
                        <a:ea typeface="Tahoma" pitchFamily="34" charset="0"/>
                        <a:cs typeface="Tahoma" pitchFamily="34" charset="0"/>
                      </a:endParaRPr>
                    </a:p>
                  </a:txBody>
                  <a:tcPr marL="54664" marR="54664" marT="0" marB="0" anchor="ctr">
                    <a:solidFill>
                      <a:schemeClr val="accent6">
                        <a:lumMod val="20000"/>
                        <a:lumOff val="80000"/>
                      </a:schemeClr>
                    </a:solidFill>
                  </a:tcPr>
                </a:tc>
                <a:tc>
                  <a:txBody>
                    <a:bodyPr/>
                    <a:lstStyle/>
                    <a:p>
                      <a:pPr algn="ctr">
                        <a:lnSpc>
                          <a:spcPct val="115000"/>
                        </a:lnSpc>
                        <a:spcAft>
                          <a:spcPts val="0"/>
                        </a:spcAft>
                      </a:pPr>
                      <a:endParaRPr lang="en-US" sz="1100" dirty="0">
                        <a:effectLst/>
                        <a:latin typeface="Arial Narrow" pitchFamily="34" charset="0"/>
                        <a:ea typeface="Tahoma" pitchFamily="34" charset="0"/>
                        <a:cs typeface="Tahoma" pitchFamily="34" charset="0"/>
                      </a:endParaRPr>
                    </a:p>
                  </a:txBody>
                  <a:tcPr marL="54664" marR="54664" marT="0" marB="0" anchor="ctr">
                    <a:solidFill>
                      <a:schemeClr val="accent6">
                        <a:lumMod val="20000"/>
                        <a:lumOff val="80000"/>
                      </a:schemeClr>
                    </a:solidFill>
                  </a:tcPr>
                </a:tc>
                <a:tc>
                  <a:txBody>
                    <a:bodyPr/>
                    <a:lstStyle/>
                    <a:p>
                      <a:pPr algn="ctr">
                        <a:lnSpc>
                          <a:spcPct val="115000"/>
                        </a:lnSpc>
                        <a:spcAft>
                          <a:spcPts val="0"/>
                        </a:spcAft>
                      </a:pPr>
                      <a:r>
                        <a:rPr lang="en-US" sz="1100" dirty="0">
                          <a:effectLst/>
                          <a:latin typeface="Arial Narrow" pitchFamily="34" charset="0"/>
                          <a:ea typeface="Tahoma" pitchFamily="34" charset="0"/>
                          <a:cs typeface="Tahoma" pitchFamily="34" charset="0"/>
                          <a:sym typeface="Webdings"/>
                        </a:rPr>
                        <a:t></a:t>
                      </a:r>
                      <a:endParaRPr lang="en-US" sz="1100" dirty="0">
                        <a:effectLst/>
                        <a:latin typeface="Arial Narrow" pitchFamily="34" charset="0"/>
                        <a:ea typeface="Tahoma" pitchFamily="34" charset="0"/>
                        <a:cs typeface="Tahoma" pitchFamily="34" charset="0"/>
                      </a:endParaRPr>
                    </a:p>
                  </a:txBody>
                  <a:tcPr marL="54664" marR="54664" marT="0" marB="0" anchor="ctr">
                    <a:solidFill>
                      <a:schemeClr val="accent6">
                        <a:lumMod val="20000"/>
                        <a:lumOff val="80000"/>
                      </a:schemeClr>
                    </a:solidFill>
                  </a:tcPr>
                </a:tc>
                <a:tc>
                  <a:txBody>
                    <a:bodyPr/>
                    <a:lstStyle/>
                    <a:p>
                      <a:pPr algn="ctr">
                        <a:lnSpc>
                          <a:spcPct val="115000"/>
                        </a:lnSpc>
                        <a:spcAft>
                          <a:spcPts val="0"/>
                        </a:spcAft>
                      </a:pPr>
                      <a:r>
                        <a:rPr lang="en-US" sz="1100" dirty="0">
                          <a:effectLst/>
                          <a:latin typeface="Arial Narrow" pitchFamily="34" charset="0"/>
                          <a:ea typeface="Tahoma" pitchFamily="34" charset="0"/>
                          <a:cs typeface="Tahoma" pitchFamily="34" charset="0"/>
                          <a:sym typeface="Webdings"/>
                        </a:rPr>
                        <a:t></a:t>
                      </a:r>
                      <a:endParaRPr lang="en-US" sz="1100" dirty="0">
                        <a:effectLst/>
                        <a:latin typeface="Arial Narrow" pitchFamily="34" charset="0"/>
                        <a:ea typeface="Tahoma" pitchFamily="34" charset="0"/>
                        <a:cs typeface="Tahoma" pitchFamily="34" charset="0"/>
                      </a:endParaRPr>
                    </a:p>
                  </a:txBody>
                  <a:tcPr marL="54664" marR="54664" marT="0" marB="0" anchor="ctr">
                    <a:solidFill>
                      <a:schemeClr val="accent6">
                        <a:lumMod val="20000"/>
                        <a:lumOff val="80000"/>
                      </a:schemeClr>
                    </a:solidFill>
                  </a:tcPr>
                </a:tc>
                <a:tc vMerge="1">
                  <a:txBody>
                    <a:bodyPr/>
                    <a:lstStyle/>
                    <a:p>
                      <a:pPr algn="ctr">
                        <a:lnSpc>
                          <a:spcPct val="115000"/>
                        </a:lnSpc>
                        <a:spcAft>
                          <a:spcPts val="0"/>
                        </a:spcAft>
                      </a:pPr>
                      <a:endParaRPr lang="en-US" sz="1300" dirty="0">
                        <a:effectLst/>
                        <a:latin typeface="Tahoma" pitchFamily="34" charset="0"/>
                        <a:ea typeface="Tahoma" pitchFamily="34" charset="0"/>
                        <a:cs typeface="Tahoma" pitchFamily="34" charset="0"/>
                      </a:endParaRPr>
                    </a:p>
                  </a:txBody>
                  <a:tcPr marL="59220" marR="59220" marT="0" marB="0">
                    <a:solidFill>
                      <a:schemeClr val="accent6">
                        <a:lumMod val="20000"/>
                        <a:lumOff val="80000"/>
                      </a:schemeClr>
                    </a:solidFill>
                  </a:tcPr>
                </a:tc>
              </a:tr>
              <a:tr h="270000">
                <a:tc>
                  <a:txBody>
                    <a:bodyPr/>
                    <a:lstStyle/>
                    <a:p>
                      <a:pPr algn="ctr">
                        <a:lnSpc>
                          <a:spcPct val="115000"/>
                        </a:lnSpc>
                        <a:spcAft>
                          <a:spcPts val="0"/>
                        </a:spcAft>
                      </a:pPr>
                      <a:r>
                        <a:rPr lang="th-TH" sz="1100" b="0" dirty="0">
                          <a:effectLst/>
                          <a:latin typeface="Arial Narrow" pitchFamily="34" charset="0"/>
                          <a:ea typeface="Tahoma" pitchFamily="34" charset="0"/>
                          <a:cs typeface="Tahoma" pitchFamily="34" charset="0"/>
                        </a:rPr>
                        <a:t>9</a:t>
                      </a:r>
                      <a:endParaRPr lang="en-US" sz="1100" b="0" dirty="0">
                        <a:effectLst/>
                        <a:latin typeface="Arial Narrow" pitchFamily="34" charset="0"/>
                        <a:ea typeface="Tahoma" pitchFamily="34" charset="0"/>
                        <a:cs typeface="Tahoma" pitchFamily="34" charset="0"/>
                      </a:endParaRPr>
                    </a:p>
                  </a:txBody>
                  <a:tcPr marL="54665" marR="54665" marT="0" marB="0" anchor="ctr">
                    <a:solidFill>
                      <a:schemeClr val="accent6">
                        <a:lumMod val="75000"/>
                      </a:schemeClr>
                    </a:solidFill>
                  </a:tcPr>
                </a:tc>
                <a:tc>
                  <a:txBody>
                    <a:bodyPr/>
                    <a:lstStyle/>
                    <a:p>
                      <a:pPr>
                        <a:lnSpc>
                          <a:spcPct val="115000"/>
                        </a:lnSpc>
                        <a:spcAft>
                          <a:spcPts val="0"/>
                        </a:spcAft>
                      </a:pPr>
                      <a:r>
                        <a:rPr lang="th-TH" sz="1400" b="1" dirty="0">
                          <a:effectLst/>
                          <a:latin typeface="TH SarabunPSK" pitchFamily="34" charset="-34"/>
                          <a:cs typeface="TH SarabunPSK" pitchFamily="34" charset="-34"/>
                        </a:rPr>
                        <a:t>การผลิตพลาสติก</a:t>
                      </a:r>
                      <a:endParaRPr lang="en-US" sz="800" b="1" dirty="0">
                        <a:effectLst/>
                        <a:latin typeface="TH SarabunPSK" pitchFamily="34" charset="-34"/>
                        <a:ea typeface="Times New Roman"/>
                        <a:cs typeface="TH SarabunPSK" pitchFamily="34" charset="-34"/>
                      </a:endParaRPr>
                    </a:p>
                  </a:txBody>
                  <a:tcPr marL="50456" marR="50456" marT="0" marB="0">
                    <a:solidFill>
                      <a:schemeClr val="accent6">
                        <a:lumMod val="20000"/>
                        <a:lumOff val="80000"/>
                      </a:schemeClr>
                    </a:solidFill>
                  </a:tcPr>
                </a:tc>
                <a:tc>
                  <a:txBody>
                    <a:bodyPr/>
                    <a:lstStyle/>
                    <a:p>
                      <a:pPr algn="ctr">
                        <a:lnSpc>
                          <a:spcPct val="115000"/>
                        </a:lnSpc>
                        <a:spcAft>
                          <a:spcPts val="0"/>
                        </a:spcAft>
                      </a:pPr>
                      <a:r>
                        <a:rPr lang="en-US" sz="1100">
                          <a:effectLst/>
                          <a:latin typeface="Arial Narrow" pitchFamily="34" charset="0"/>
                          <a:ea typeface="Tahoma" pitchFamily="34" charset="0"/>
                          <a:cs typeface="Tahoma" pitchFamily="34" charset="0"/>
                          <a:sym typeface="Webdings"/>
                        </a:rPr>
                        <a:t></a:t>
                      </a:r>
                      <a:endParaRPr lang="en-US" sz="1100">
                        <a:effectLst/>
                        <a:latin typeface="Arial Narrow" pitchFamily="34" charset="0"/>
                        <a:ea typeface="Tahoma" pitchFamily="34" charset="0"/>
                        <a:cs typeface="Tahoma" pitchFamily="34" charset="0"/>
                      </a:endParaRPr>
                    </a:p>
                  </a:txBody>
                  <a:tcPr marL="54665" marR="54665" marT="0" marB="0" anchor="ctr">
                    <a:solidFill>
                      <a:schemeClr val="accent6">
                        <a:lumMod val="20000"/>
                        <a:lumOff val="80000"/>
                      </a:schemeClr>
                    </a:solidFill>
                  </a:tcPr>
                </a:tc>
                <a:tc>
                  <a:txBody>
                    <a:bodyPr/>
                    <a:lstStyle/>
                    <a:p>
                      <a:pPr algn="ctr">
                        <a:lnSpc>
                          <a:spcPct val="115000"/>
                        </a:lnSpc>
                        <a:spcAft>
                          <a:spcPts val="0"/>
                        </a:spcAft>
                      </a:pPr>
                      <a:r>
                        <a:rPr lang="en-US" sz="1100">
                          <a:effectLst/>
                          <a:latin typeface="Arial Narrow" pitchFamily="34" charset="0"/>
                          <a:ea typeface="Tahoma" pitchFamily="34" charset="0"/>
                          <a:cs typeface="Tahoma" pitchFamily="34" charset="0"/>
                          <a:sym typeface="Webdings"/>
                        </a:rPr>
                        <a:t></a:t>
                      </a:r>
                      <a:endParaRPr lang="en-US" sz="1100">
                        <a:effectLst/>
                        <a:latin typeface="Arial Narrow" pitchFamily="34" charset="0"/>
                        <a:ea typeface="Tahoma" pitchFamily="34" charset="0"/>
                        <a:cs typeface="Tahoma" pitchFamily="34" charset="0"/>
                      </a:endParaRPr>
                    </a:p>
                  </a:txBody>
                  <a:tcPr marL="54665" marR="54665" marT="0" marB="0" anchor="ctr">
                    <a:solidFill>
                      <a:schemeClr val="accent6">
                        <a:lumMod val="20000"/>
                        <a:lumOff val="80000"/>
                      </a:schemeClr>
                    </a:solidFill>
                  </a:tcPr>
                </a:tc>
                <a:tc>
                  <a:txBody>
                    <a:bodyPr/>
                    <a:lstStyle/>
                    <a:p>
                      <a:pPr algn="ctr">
                        <a:lnSpc>
                          <a:spcPct val="115000"/>
                        </a:lnSpc>
                        <a:spcAft>
                          <a:spcPts val="0"/>
                        </a:spcAft>
                      </a:pPr>
                      <a:r>
                        <a:rPr lang="en-US" sz="1100" dirty="0">
                          <a:effectLst/>
                          <a:latin typeface="Arial Narrow" pitchFamily="34" charset="0"/>
                          <a:ea typeface="Tahoma" pitchFamily="34" charset="0"/>
                          <a:cs typeface="Tahoma" pitchFamily="34" charset="0"/>
                        </a:rPr>
                        <a:t> </a:t>
                      </a:r>
                    </a:p>
                  </a:txBody>
                  <a:tcPr marL="54665" marR="54665" marT="0" marB="0" anchor="ctr">
                    <a:solidFill>
                      <a:schemeClr val="accent6">
                        <a:lumMod val="20000"/>
                        <a:lumOff val="80000"/>
                      </a:schemeClr>
                    </a:solidFill>
                  </a:tcPr>
                </a:tc>
                <a:tc>
                  <a:txBody>
                    <a:bodyPr/>
                    <a:lstStyle/>
                    <a:p>
                      <a:pPr algn="ctr">
                        <a:lnSpc>
                          <a:spcPct val="115000"/>
                        </a:lnSpc>
                        <a:spcAft>
                          <a:spcPts val="0"/>
                        </a:spcAft>
                      </a:pPr>
                      <a:r>
                        <a:rPr lang="en-US" sz="1100" dirty="0">
                          <a:effectLst/>
                          <a:latin typeface="Arial Narrow" pitchFamily="34" charset="0"/>
                          <a:ea typeface="Tahoma" pitchFamily="34" charset="0"/>
                          <a:cs typeface="Tahoma" pitchFamily="34" charset="0"/>
                        </a:rPr>
                        <a:t> </a:t>
                      </a:r>
                    </a:p>
                  </a:txBody>
                  <a:tcPr marL="54665" marR="54665" marT="0" marB="0" anchor="ctr">
                    <a:solidFill>
                      <a:schemeClr val="accent6">
                        <a:lumMod val="20000"/>
                        <a:lumOff val="80000"/>
                      </a:schemeClr>
                    </a:solidFill>
                  </a:tcPr>
                </a:tc>
                <a:tc>
                  <a:txBody>
                    <a:bodyPr/>
                    <a:lstStyle/>
                    <a:p>
                      <a:pPr algn="ctr">
                        <a:lnSpc>
                          <a:spcPct val="115000"/>
                        </a:lnSpc>
                        <a:spcAft>
                          <a:spcPts val="0"/>
                        </a:spcAft>
                      </a:pPr>
                      <a:r>
                        <a:rPr lang="en-US" sz="1100" dirty="0">
                          <a:effectLst/>
                          <a:latin typeface="Arial Narrow" pitchFamily="34" charset="0"/>
                          <a:ea typeface="Tahoma" pitchFamily="34" charset="0"/>
                          <a:cs typeface="Tahoma" pitchFamily="34" charset="0"/>
                        </a:rPr>
                        <a:t> </a:t>
                      </a:r>
                    </a:p>
                  </a:txBody>
                  <a:tcPr marL="54665" marR="54665" marT="0" marB="0" anchor="ctr">
                    <a:solidFill>
                      <a:schemeClr val="accent6">
                        <a:lumMod val="20000"/>
                        <a:lumOff val="80000"/>
                      </a:schemeClr>
                    </a:solidFill>
                  </a:tcPr>
                </a:tc>
                <a:tc>
                  <a:txBody>
                    <a:bodyPr/>
                    <a:lstStyle/>
                    <a:p>
                      <a:pPr algn="ctr">
                        <a:lnSpc>
                          <a:spcPct val="115000"/>
                        </a:lnSpc>
                        <a:spcAft>
                          <a:spcPts val="0"/>
                        </a:spcAft>
                      </a:pPr>
                      <a:endParaRPr lang="en-US" sz="1100" dirty="0">
                        <a:solidFill>
                          <a:schemeClr val="tx1"/>
                        </a:solidFill>
                        <a:effectLst/>
                        <a:latin typeface="Arial Narrow" pitchFamily="34" charset="0"/>
                        <a:ea typeface="Tahoma" pitchFamily="34" charset="0"/>
                        <a:cs typeface="Tahoma" pitchFamily="34" charset="0"/>
                      </a:endParaRPr>
                    </a:p>
                  </a:txBody>
                  <a:tcPr marL="54664" marR="54664" marT="0" marB="0" anchor="ctr">
                    <a:solidFill>
                      <a:schemeClr val="accent6">
                        <a:lumMod val="20000"/>
                        <a:lumOff val="80000"/>
                      </a:schemeClr>
                    </a:solidFill>
                  </a:tcPr>
                </a:tc>
                <a:tc>
                  <a:txBody>
                    <a:bodyPr/>
                    <a:lstStyle/>
                    <a:p>
                      <a:pPr algn="ctr">
                        <a:lnSpc>
                          <a:spcPct val="115000"/>
                        </a:lnSpc>
                        <a:spcAft>
                          <a:spcPts val="0"/>
                        </a:spcAft>
                      </a:pPr>
                      <a:r>
                        <a:rPr lang="en-US" sz="1100" dirty="0">
                          <a:effectLst/>
                          <a:latin typeface="Arial Narrow" pitchFamily="34" charset="0"/>
                          <a:ea typeface="Tahoma" pitchFamily="34" charset="0"/>
                          <a:cs typeface="Tahoma" pitchFamily="34" charset="0"/>
                          <a:sym typeface="Webdings"/>
                        </a:rPr>
                        <a:t></a:t>
                      </a:r>
                      <a:endParaRPr lang="en-US" sz="1100" dirty="0">
                        <a:effectLst/>
                        <a:latin typeface="Arial Narrow" pitchFamily="34" charset="0"/>
                        <a:ea typeface="Tahoma" pitchFamily="34" charset="0"/>
                        <a:cs typeface="Tahoma" pitchFamily="34" charset="0"/>
                      </a:endParaRPr>
                    </a:p>
                  </a:txBody>
                  <a:tcPr marL="54664" marR="54664" marT="0" marB="0" anchor="ctr">
                    <a:solidFill>
                      <a:schemeClr val="accent6">
                        <a:lumMod val="20000"/>
                        <a:lumOff val="80000"/>
                      </a:schemeClr>
                    </a:solidFill>
                  </a:tcPr>
                </a:tc>
                <a:tc>
                  <a:txBody>
                    <a:bodyPr/>
                    <a:lstStyle/>
                    <a:p>
                      <a:pPr algn="ctr">
                        <a:lnSpc>
                          <a:spcPct val="115000"/>
                        </a:lnSpc>
                        <a:spcAft>
                          <a:spcPts val="0"/>
                        </a:spcAft>
                      </a:pPr>
                      <a:r>
                        <a:rPr lang="en-US" sz="1100" dirty="0">
                          <a:effectLst/>
                          <a:latin typeface="Arial Narrow" pitchFamily="34" charset="0"/>
                          <a:ea typeface="Tahoma" pitchFamily="34" charset="0"/>
                          <a:cs typeface="Tahoma" pitchFamily="34" charset="0"/>
                          <a:sym typeface="Webdings"/>
                        </a:rPr>
                        <a:t></a:t>
                      </a:r>
                      <a:endParaRPr lang="en-US" sz="1100" dirty="0">
                        <a:effectLst/>
                        <a:latin typeface="Arial Narrow" pitchFamily="34" charset="0"/>
                        <a:ea typeface="Tahoma" pitchFamily="34" charset="0"/>
                        <a:cs typeface="Tahoma" pitchFamily="34" charset="0"/>
                      </a:endParaRPr>
                    </a:p>
                  </a:txBody>
                  <a:tcPr marL="54664" marR="54664" marT="0" marB="0" anchor="ctr">
                    <a:solidFill>
                      <a:schemeClr val="accent6">
                        <a:lumMod val="20000"/>
                        <a:lumOff val="80000"/>
                      </a:schemeClr>
                    </a:solidFill>
                  </a:tcPr>
                </a:tc>
                <a:tc>
                  <a:txBody>
                    <a:bodyPr/>
                    <a:lstStyle/>
                    <a:p>
                      <a:pPr algn="ctr">
                        <a:lnSpc>
                          <a:spcPct val="115000"/>
                        </a:lnSpc>
                        <a:spcAft>
                          <a:spcPts val="0"/>
                        </a:spcAft>
                      </a:pPr>
                      <a:r>
                        <a:rPr lang="en-US" sz="1100" dirty="0">
                          <a:effectLst/>
                          <a:latin typeface="Arial Narrow" pitchFamily="34" charset="0"/>
                          <a:ea typeface="Tahoma" pitchFamily="34" charset="0"/>
                          <a:cs typeface="Tahoma" pitchFamily="34" charset="0"/>
                          <a:sym typeface="Webdings"/>
                        </a:rPr>
                        <a:t></a:t>
                      </a:r>
                      <a:endParaRPr lang="en-US" sz="1100" dirty="0">
                        <a:effectLst/>
                        <a:latin typeface="Arial Narrow" pitchFamily="34" charset="0"/>
                        <a:ea typeface="Tahoma" pitchFamily="34" charset="0"/>
                        <a:cs typeface="Tahoma" pitchFamily="34" charset="0"/>
                      </a:endParaRPr>
                    </a:p>
                  </a:txBody>
                  <a:tcPr marL="54664" marR="54664" marT="0" marB="0" anchor="ctr">
                    <a:solidFill>
                      <a:schemeClr val="accent6">
                        <a:lumMod val="20000"/>
                        <a:lumOff val="80000"/>
                      </a:schemeClr>
                    </a:solidFill>
                  </a:tcPr>
                </a:tc>
                <a:tc vMerge="1">
                  <a:txBody>
                    <a:bodyPr/>
                    <a:lstStyle/>
                    <a:p>
                      <a:pPr algn="ctr">
                        <a:lnSpc>
                          <a:spcPct val="115000"/>
                        </a:lnSpc>
                        <a:spcAft>
                          <a:spcPts val="0"/>
                        </a:spcAft>
                      </a:pPr>
                      <a:endParaRPr lang="en-US" sz="1300" dirty="0">
                        <a:effectLst/>
                        <a:latin typeface="Tahoma" pitchFamily="34" charset="0"/>
                        <a:ea typeface="Tahoma" pitchFamily="34" charset="0"/>
                        <a:cs typeface="Tahoma" pitchFamily="34" charset="0"/>
                      </a:endParaRPr>
                    </a:p>
                  </a:txBody>
                  <a:tcPr marL="59220" marR="59220" marT="0" marB="0">
                    <a:solidFill>
                      <a:schemeClr val="accent6">
                        <a:lumMod val="20000"/>
                        <a:lumOff val="80000"/>
                      </a:schemeClr>
                    </a:solidFill>
                  </a:tcPr>
                </a:tc>
              </a:tr>
              <a:tr h="274084">
                <a:tc>
                  <a:txBody>
                    <a:bodyPr/>
                    <a:lstStyle/>
                    <a:p>
                      <a:pPr algn="ctr">
                        <a:lnSpc>
                          <a:spcPct val="115000"/>
                        </a:lnSpc>
                        <a:spcAft>
                          <a:spcPts val="0"/>
                        </a:spcAft>
                      </a:pPr>
                      <a:r>
                        <a:rPr lang="th-TH" sz="1100" b="0" dirty="0">
                          <a:effectLst/>
                          <a:latin typeface="Arial Narrow" pitchFamily="34" charset="0"/>
                          <a:ea typeface="Tahoma" pitchFamily="34" charset="0"/>
                          <a:cs typeface="Tahoma" pitchFamily="34" charset="0"/>
                        </a:rPr>
                        <a:t>10</a:t>
                      </a:r>
                      <a:endParaRPr lang="en-US" sz="1100" b="0" dirty="0">
                        <a:effectLst/>
                        <a:latin typeface="Arial Narrow" pitchFamily="34" charset="0"/>
                        <a:ea typeface="Tahoma" pitchFamily="34" charset="0"/>
                        <a:cs typeface="Tahoma" pitchFamily="34" charset="0"/>
                      </a:endParaRPr>
                    </a:p>
                  </a:txBody>
                  <a:tcPr marL="54665" marR="54665" marT="0" marB="0" anchor="ctr">
                    <a:solidFill>
                      <a:schemeClr val="accent6">
                        <a:lumMod val="75000"/>
                      </a:schemeClr>
                    </a:solidFill>
                  </a:tcPr>
                </a:tc>
                <a:tc>
                  <a:txBody>
                    <a:bodyPr/>
                    <a:lstStyle/>
                    <a:p>
                      <a:pPr>
                        <a:lnSpc>
                          <a:spcPct val="115000"/>
                        </a:lnSpc>
                        <a:spcAft>
                          <a:spcPts val="0"/>
                        </a:spcAft>
                      </a:pPr>
                      <a:r>
                        <a:rPr lang="th-TH" sz="1400" b="1" dirty="0">
                          <a:effectLst/>
                          <a:latin typeface="TH SarabunPSK" pitchFamily="34" charset="-34"/>
                          <a:cs typeface="TH SarabunPSK" pitchFamily="34" charset="-34"/>
                        </a:rPr>
                        <a:t>การผลิตยา</a:t>
                      </a:r>
                      <a:endParaRPr lang="en-US" sz="800" b="1" dirty="0">
                        <a:effectLst/>
                        <a:latin typeface="TH SarabunPSK" pitchFamily="34" charset="-34"/>
                        <a:ea typeface="Times New Roman"/>
                        <a:cs typeface="TH SarabunPSK" pitchFamily="34" charset="-34"/>
                      </a:endParaRPr>
                    </a:p>
                  </a:txBody>
                  <a:tcPr marL="50456" marR="50456" marT="0" marB="0">
                    <a:solidFill>
                      <a:schemeClr val="accent6">
                        <a:lumMod val="20000"/>
                        <a:lumOff val="80000"/>
                      </a:schemeClr>
                    </a:solidFill>
                  </a:tcPr>
                </a:tc>
                <a:tc>
                  <a:txBody>
                    <a:bodyPr/>
                    <a:lstStyle/>
                    <a:p>
                      <a:pPr algn="ctr">
                        <a:lnSpc>
                          <a:spcPct val="115000"/>
                        </a:lnSpc>
                        <a:spcAft>
                          <a:spcPts val="0"/>
                        </a:spcAft>
                      </a:pPr>
                      <a:r>
                        <a:rPr lang="en-US" sz="1100" dirty="0">
                          <a:effectLst/>
                          <a:latin typeface="Arial Narrow" pitchFamily="34" charset="0"/>
                          <a:ea typeface="Tahoma" pitchFamily="34" charset="0"/>
                          <a:cs typeface="Tahoma" pitchFamily="34" charset="0"/>
                          <a:sym typeface="Webdings"/>
                        </a:rPr>
                        <a:t></a:t>
                      </a:r>
                      <a:endParaRPr lang="en-US" sz="1100" dirty="0">
                        <a:effectLst/>
                        <a:latin typeface="Arial Narrow" pitchFamily="34" charset="0"/>
                        <a:ea typeface="Tahoma" pitchFamily="34" charset="0"/>
                        <a:cs typeface="Tahoma" pitchFamily="34" charset="0"/>
                      </a:endParaRPr>
                    </a:p>
                  </a:txBody>
                  <a:tcPr marL="54665" marR="54665" marT="0" marB="0" anchor="ctr">
                    <a:solidFill>
                      <a:schemeClr val="accent6">
                        <a:lumMod val="20000"/>
                        <a:lumOff val="80000"/>
                      </a:schemeClr>
                    </a:solidFill>
                  </a:tcPr>
                </a:tc>
                <a:tc>
                  <a:txBody>
                    <a:bodyPr/>
                    <a:lstStyle/>
                    <a:p>
                      <a:pPr algn="ctr">
                        <a:lnSpc>
                          <a:spcPct val="115000"/>
                        </a:lnSpc>
                        <a:spcAft>
                          <a:spcPts val="0"/>
                        </a:spcAft>
                      </a:pPr>
                      <a:r>
                        <a:rPr lang="en-US" sz="1100" dirty="0">
                          <a:effectLst/>
                          <a:latin typeface="Arial Narrow" pitchFamily="34" charset="0"/>
                          <a:ea typeface="Tahoma" pitchFamily="34" charset="0"/>
                          <a:cs typeface="Tahoma" pitchFamily="34" charset="0"/>
                          <a:sym typeface="Webdings"/>
                        </a:rPr>
                        <a:t></a:t>
                      </a:r>
                      <a:endParaRPr lang="en-US" sz="1100" dirty="0">
                        <a:effectLst/>
                        <a:latin typeface="Arial Narrow" pitchFamily="34" charset="0"/>
                        <a:ea typeface="Tahoma" pitchFamily="34" charset="0"/>
                        <a:cs typeface="Tahoma" pitchFamily="34" charset="0"/>
                      </a:endParaRPr>
                    </a:p>
                  </a:txBody>
                  <a:tcPr marL="54665" marR="54665" marT="0" marB="0" anchor="ctr">
                    <a:solidFill>
                      <a:schemeClr val="accent6">
                        <a:lumMod val="20000"/>
                        <a:lumOff val="80000"/>
                      </a:schemeClr>
                    </a:solidFill>
                  </a:tcPr>
                </a:tc>
                <a:tc>
                  <a:txBody>
                    <a:bodyPr/>
                    <a:lstStyle/>
                    <a:p>
                      <a:pPr algn="ctr">
                        <a:lnSpc>
                          <a:spcPct val="115000"/>
                        </a:lnSpc>
                        <a:spcAft>
                          <a:spcPts val="0"/>
                        </a:spcAft>
                      </a:pPr>
                      <a:r>
                        <a:rPr lang="en-US" sz="1100">
                          <a:effectLst/>
                          <a:latin typeface="Arial Narrow" pitchFamily="34" charset="0"/>
                          <a:ea typeface="Tahoma" pitchFamily="34" charset="0"/>
                          <a:cs typeface="Tahoma" pitchFamily="34" charset="0"/>
                        </a:rPr>
                        <a:t> </a:t>
                      </a:r>
                    </a:p>
                  </a:txBody>
                  <a:tcPr marL="54665" marR="54665" marT="0" marB="0" anchor="ctr">
                    <a:solidFill>
                      <a:schemeClr val="accent6">
                        <a:lumMod val="20000"/>
                        <a:lumOff val="80000"/>
                      </a:schemeClr>
                    </a:solidFill>
                  </a:tcPr>
                </a:tc>
                <a:tc>
                  <a:txBody>
                    <a:bodyPr/>
                    <a:lstStyle/>
                    <a:p>
                      <a:pPr algn="ctr">
                        <a:lnSpc>
                          <a:spcPct val="115000"/>
                        </a:lnSpc>
                        <a:spcAft>
                          <a:spcPts val="0"/>
                        </a:spcAft>
                      </a:pPr>
                      <a:r>
                        <a:rPr lang="en-US" sz="1100" dirty="0">
                          <a:effectLst/>
                          <a:latin typeface="Arial Narrow" pitchFamily="34" charset="0"/>
                          <a:ea typeface="Tahoma" pitchFamily="34" charset="0"/>
                          <a:cs typeface="Tahoma" pitchFamily="34" charset="0"/>
                        </a:rPr>
                        <a:t> </a:t>
                      </a:r>
                    </a:p>
                  </a:txBody>
                  <a:tcPr marL="54665" marR="54665" marT="0" marB="0" anchor="ctr">
                    <a:solidFill>
                      <a:schemeClr val="accent6">
                        <a:lumMod val="20000"/>
                        <a:lumOff val="80000"/>
                      </a:schemeClr>
                    </a:solidFill>
                  </a:tcPr>
                </a:tc>
                <a:tc>
                  <a:txBody>
                    <a:bodyPr/>
                    <a:lstStyle/>
                    <a:p>
                      <a:pPr algn="ctr">
                        <a:lnSpc>
                          <a:spcPct val="115000"/>
                        </a:lnSpc>
                        <a:spcAft>
                          <a:spcPts val="0"/>
                        </a:spcAft>
                      </a:pPr>
                      <a:r>
                        <a:rPr lang="en-US" sz="1100" dirty="0">
                          <a:effectLst/>
                          <a:latin typeface="Arial Narrow" pitchFamily="34" charset="0"/>
                          <a:ea typeface="Tahoma" pitchFamily="34" charset="0"/>
                          <a:cs typeface="Tahoma" pitchFamily="34" charset="0"/>
                        </a:rPr>
                        <a:t> </a:t>
                      </a:r>
                    </a:p>
                  </a:txBody>
                  <a:tcPr marL="54665" marR="54665" marT="0" marB="0" anchor="ctr">
                    <a:solidFill>
                      <a:schemeClr val="accent6">
                        <a:lumMod val="20000"/>
                        <a:lumOff val="80000"/>
                      </a:schemeClr>
                    </a:solidFill>
                  </a:tcPr>
                </a:tc>
                <a:tc>
                  <a:txBody>
                    <a:bodyPr/>
                    <a:lstStyle/>
                    <a:p>
                      <a:pPr algn="ctr">
                        <a:lnSpc>
                          <a:spcPct val="115000"/>
                        </a:lnSpc>
                        <a:spcAft>
                          <a:spcPts val="0"/>
                        </a:spcAft>
                      </a:pPr>
                      <a:endParaRPr lang="en-US" sz="1100" dirty="0">
                        <a:solidFill>
                          <a:schemeClr val="tx1"/>
                        </a:solidFill>
                        <a:effectLst/>
                        <a:latin typeface="Arial Narrow" pitchFamily="34" charset="0"/>
                        <a:ea typeface="Tahoma" pitchFamily="34" charset="0"/>
                        <a:cs typeface="Tahoma" pitchFamily="34" charset="0"/>
                      </a:endParaRPr>
                    </a:p>
                  </a:txBody>
                  <a:tcPr marL="54664" marR="54664" marT="0" marB="0" anchor="ctr">
                    <a:solidFill>
                      <a:schemeClr val="accent6">
                        <a:lumMod val="20000"/>
                        <a:lumOff val="80000"/>
                      </a:schemeClr>
                    </a:solidFill>
                  </a:tcPr>
                </a:tc>
                <a:tc>
                  <a:txBody>
                    <a:bodyPr/>
                    <a:lstStyle/>
                    <a:p>
                      <a:pPr algn="ctr">
                        <a:lnSpc>
                          <a:spcPct val="115000"/>
                        </a:lnSpc>
                        <a:spcAft>
                          <a:spcPts val="0"/>
                        </a:spcAft>
                      </a:pPr>
                      <a:r>
                        <a:rPr lang="en-US" sz="1100" dirty="0">
                          <a:effectLst/>
                          <a:latin typeface="Arial Narrow" pitchFamily="34" charset="0"/>
                          <a:ea typeface="Tahoma" pitchFamily="34" charset="0"/>
                          <a:cs typeface="Tahoma" pitchFamily="34" charset="0"/>
                          <a:sym typeface="Webdings"/>
                        </a:rPr>
                        <a:t></a:t>
                      </a:r>
                      <a:endParaRPr lang="en-US" sz="1100" dirty="0">
                        <a:effectLst/>
                        <a:latin typeface="Arial Narrow" pitchFamily="34" charset="0"/>
                        <a:ea typeface="Tahoma" pitchFamily="34" charset="0"/>
                        <a:cs typeface="Tahoma" pitchFamily="34" charset="0"/>
                      </a:endParaRPr>
                    </a:p>
                  </a:txBody>
                  <a:tcPr marL="54664" marR="54664" marT="0" marB="0" anchor="ctr">
                    <a:solidFill>
                      <a:schemeClr val="accent6">
                        <a:lumMod val="20000"/>
                        <a:lumOff val="80000"/>
                      </a:schemeClr>
                    </a:solidFill>
                  </a:tcP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en-US" sz="1100" dirty="0">
                          <a:effectLst/>
                          <a:latin typeface="Arial Narrow" pitchFamily="34" charset="0"/>
                          <a:ea typeface="Tahoma" pitchFamily="34" charset="0"/>
                          <a:cs typeface="Tahoma" pitchFamily="34" charset="0"/>
                        </a:rPr>
                        <a:t> </a:t>
                      </a:r>
                      <a:r>
                        <a:rPr lang="en-US" sz="1100" dirty="0" smtClean="0">
                          <a:effectLst/>
                          <a:latin typeface="Arial Narrow" pitchFamily="34" charset="0"/>
                          <a:ea typeface="Tahoma" pitchFamily="34" charset="0"/>
                          <a:cs typeface="Tahoma" pitchFamily="34" charset="0"/>
                          <a:sym typeface="Webdings"/>
                        </a:rPr>
                        <a:t></a:t>
                      </a:r>
                      <a:endParaRPr lang="en-US" sz="1100" dirty="0" smtClean="0">
                        <a:effectLst/>
                        <a:latin typeface="Arial Narrow" pitchFamily="34" charset="0"/>
                        <a:ea typeface="Tahoma" pitchFamily="34" charset="0"/>
                        <a:cs typeface="Tahoma" pitchFamily="34" charset="0"/>
                      </a:endParaRPr>
                    </a:p>
                  </a:txBody>
                  <a:tcPr marL="54664" marR="54664" marT="0" marB="0" anchor="ctr">
                    <a:solidFill>
                      <a:schemeClr val="accent6">
                        <a:lumMod val="20000"/>
                        <a:lumOff val="80000"/>
                      </a:schemeClr>
                    </a:solidFill>
                  </a:tcP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en-US" sz="1100" dirty="0">
                          <a:effectLst/>
                          <a:latin typeface="Arial Narrow" pitchFamily="34" charset="0"/>
                          <a:ea typeface="Tahoma" pitchFamily="34" charset="0"/>
                          <a:cs typeface="Tahoma" pitchFamily="34" charset="0"/>
                        </a:rPr>
                        <a:t> </a:t>
                      </a:r>
                      <a:r>
                        <a:rPr lang="en-US" sz="1100" dirty="0" smtClean="0">
                          <a:effectLst/>
                          <a:latin typeface="Arial Narrow" pitchFamily="34" charset="0"/>
                          <a:ea typeface="Tahoma" pitchFamily="34" charset="0"/>
                          <a:cs typeface="Tahoma" pitchFamily="34" charset="0"/>
                          <a:sym typeface="Webdings"/>
                        </a:rPr>
                        <a:t></a:t>
                      </a:r>
                      <a:endParaRPr lang="en-US" sz="1100" dirty="0" smtClean="0">
                        <a:effectLst/>
                        <a:latin typeface="Arial Narrow" pitchFamily="34" charset="0"/>
                        <a:ea typeface="Tahoma" pitchFamily="34" charset="0"/>
                        <a:cs typeface="Tahoma" pitchFamily="34" charset="0"/>
                      </a:endParaRPr>
                    </a:p>
                  </a:txBody>
                  <a:tcPr marL="54664" marR="54664" marT="0" marB="0" anchor="ctr">
                    <a:solidFill>
                      <a:schemeClr val="accent6">
                        <a:lumMod val="20000"/>
                        <a:lumOff val="80000"/>
                      </a:schemeClr>
                    </a:solidFill>
                  </a:tcPr>
                </a:tc>
                <a:tc vMerge="1">
                  <a:txBody>
                    <a:bodyPr/>
                    <a:lstStyle/>
                    <a:p>
                      <a:pPr algn="ctr">
                        <a:lnSpc>
                          <a:spcPct val="115000"/>
                        </a:lnSpc>
                        <a:spcAft>
                          <a:spcPts val="0"/>
                        </a:spcAft>
                      </a:pPr>
                      <a:endParaRPr lang="en-US" sz="1300" dirty="0">
                        <a:effectLst/>
                        <a:latin typeface="Tahoma" pitchFamily="34" charset="0"/>
                        <a:ea typeface="Tahoma" pitchFamily="34" charset="0"/>
                        <a:cs typeface="Tahoma" pitchFamily="34" charset="0"/>
                      </a:endParaRPr>
                    </a:p>
                  </a:txBody>
                  <a:tcPr marL="59220" marR="59220" marT="0" marB="0">
                    <a:solidFill>
                      <a:schemeClr val="accent6">
                        <a:lumMod val="20000"/>
                        <a:lumOff val="80000"/>
                      </a:schemeClr>
                    </a:solidFill>
                  </a:tcPr>
                </a:tc>
              </a:tr>
              <a:tr h="397722">
                <a:tc>
                  <a:txBody>
                    <a:bodyPr/>
                    <a:lstStyle/>
                    <a:p>
                      <a:pPr algn="ctr">
                        <a:lnSpc>
                          <a:spcPct val="115000"/>
                        </a:lnSpc>
                        <a:spcAft>
                          <a:spcPts val="0"/>
                        </a:spcAft>
                      </a:pPr>
                      <a:r>
                        <a:rPr lang="th-TH" sz="1100" b="0" dirty="0">
                          <a:effectLst/>
                          <a:latin typeface="Arial Narrow" pitchFamily="34" charset="0"/>
                          <a:ea typeface="Tahoma" pitchFamily="34" charset="0"/>
                          <a:cs typeface="Tahoma" pitchFamily="34" charset="0"/>
                        </a:rPr>
                        <a:t>11</a:t>
                      </a:r>
                      <a:endParaRPr lang="en-US" sz="1100" b="0" dirty="0">
                        <a:effectLst/>
                        <a:latin typeface="Arial Narrow" pitchFamily="34" charset="0"/>
                        <a:ea typeface="Tahoma" pitchFamily="34" charset="0"/>
                        <a:cs typeface="Tahoma" pitchFamily="34" charset="0"/>
                      </a:endParaRPr>
                    </a:p>
                  </a:txBody>
                  <a:tcPr marL="54665" marR="54665" marT="0" marB="0" anchor="ctr">
                    <a:solidFill>
                      <a:schemeClr val="accent6">
                        <a:lumMod val="75000"/>
                      </a:schemeClr>
                    </a:solidFill>
                  </a:tcPr>
                </a:tc>
                <a:tc>
                  <a:txBody>
                    <a:bodyPr/>
                    <a:lstStyle/>
                    <a:p>
                      <a:pPr>
                        <a:lnSpc>
                          <a:spcPct val="115000"/>
                        </a:lnSpc>
                        <a:spcAft>
                          <a:spcPts val="0"/>
                        </a:spcAft>
                      </a:pPr>
                      <a:r>
                        <a:rPr lang="th-TH" sz="1400" b="1" dirty="0" err="1">
                          <a:effectLst/>
                          <a:latin typeface="TH SarabunPSK" pitchFamily="34" charset="-34"/>
                          <a:cs typeface="TH SarabunPSK" pitchFamily="34" charset="-34"/>
                        </a:rPr>
                        <a:t>กิจการโล</a:t>
                      </a:r>
                      <a:r>
                        <a:rPr lang="th-TH" sz="1400" b="1" dirty="0">
                          <a:effectLst/>
                          <a:latin typeface="TH SarabunPSK" pitchFamily="34" charset="-34"/>
                          <a:cs typeface="TH SarabunPSK" pitchFamily="34" charset="-34"/>
                        </a:rPr>
                        <a:t>จิ</a:t>
                      </a:r>
                      <a:r>
                        <a:rPr lang="th-TH" sz="1400" b="1" dirty="0" err="1">
                          <a:effectLst/>
                          <a:latin typeface="TH SarabunPSK" pitchFamily="34" charset="-34"/>
                          <a:cs typeface="TH SarabunPSK" pitchFamily="34" charset="-34"/>
                        </a:rPr>
                        <a:t>สติกส์</a:t>
                      </a:r>
                      <a:endParaRPr lang="en-US" sz="800" b="1" dirty="0">
                        <a:effectLst/>
                        <a:latin typeface="TH SarabunPSK" pitchFamily="34" charset="-34"/>
                        <a:ea typeface="Times New Roman"/>
                        <a:cs typeface="TH SarabunPSK" pitchFamily="34" charset="-34"/>
                      </a:endParaRPr>
                    </a:p>
                  </a:txBody>
                  <a:tcPr marL="50456" marR="50456" marT="0" marB="0">
                    <a:solidFill>
                      <a:schemeClr val="accent6">
                        <a:lumMod val="20000"/>
                        <a:lumOff val="80000"/>
                      </a:schemeClr>
                    </a:solidFill>
                  </a:tcPr>
                </a:tc>
                <a:tc>
                  <a:txBody>
                    <a:bodyPr/>
                    <a:lstStyle/>
                    <a:p>
                      <a:pPr algn="ctr">
                        <a:lnSpc>
                          <a:spcPct val="115000"/>
                        </a:lnSpc>
                        <a:spcAft>
                          <a:spcPts val="0"/>
                        </a:spcAft>
                      </a:pPr>
                      <a:r>
                        <a:rPr lang="en-US" sz="1100" dirty="0">
                          <a:effectLst/>
                          <a:latin typeface="Arial Narrow" pitchFamily="34" charset="0"/>
                          <a:ea typeface="Tahoma" pitchFamily="34" charset="0"/>
                          <a:cs typeface="Tahoma" pitchFamily="34" charset="0"/>
                          <a:sym typeface="Webdings"/>
                        </a:rPr>
                        <a:t></a:t>
                      </a:r>
                      <a:endParaRPr lang="en-US" sz="1100" dirty="0">
                        <a:effectLst/>
                        <a:latin typeface="Arial Narrow" pitchFamily="34" charset="0"/>
                        <a:ea typeface="Tahoma" pitchFamily="34" charset="0"/>
                        <a:cs typeface="Tahoma" pitchFamily="34" charset="0"/>
                      </a:endParaRPr>
                    </a:p>
                  </a:txBody>
                  <a:tcPr marL="54665" marR="54665" marT="0" marB="0" anchor="ctr">
                    <a:solidFill>
                      <a:schemeClr val="accent6">
                        <a:lumMod val="20000"/>
                        <a:lumOff val="80000"/>
                      </a:schemeClr>
                    </a:solidFill>
                  </a:tcPr>
                </a:tc>
                <a:tc>
                  <a:txBody>
                    <a:bodyPr/>
                    <a:lstStyle/>
                    <a:p>
                      <a:pPr algn="ctr">
                        <a:lnSpc>
                          <a:spcPct val="115000"/>
                        </a:lnSpc>
                        <a:spcAft>
                          <a:spcPts val="0"/>
                        </a:spcAft>
                      </a:pPr>
                      <a:r>
                        <a:rPr lang="en-US" sz="1100" dirty="0">
                          <a:effectLst/>
                          <a:latin typeface="Arial Narrow" pitchFamily="34" charset="0"/>
                          <a:ea typeface="Tahoma" pitchFamily="34" charset="0"/>
                          <a:cs typeface="Tahoma" pitchFamily="34" charset="0"/>
                          <a:sym typeface="Webdings"/>
                        </a:rPr>
                        <a:t></a:t>
                      </a:r>
                      <a:endParaRPr lang="en-US" sz="1100" dirty="0">
                        <a:effectLst/>
                        <a:latin typeface="Arial Narrow" pitchFamily="34" charset="0"/>
                        <a:ea typeface="Tahoma" pitchFamily="34" charset="0"/>
                        <a:cs typeface="Tahoma" pitchFamily="34" charset="0"/>
                      </a:endParaRPr>
                    </a:p>
                  </a:txBody>
                  <a:tcPr marL="54665" marR="54665" marT="0" marB="0" anchor="ctr">
                    <a:solidFill>
                      <a:schemeClr val="accent6">
                        <a:lumMod val="20000"/>
                        <a:lumOff val="80000"/>
                      </a:schemeClr>
                    </a:solidFill>
                  </a:tcPr>
                </a:tc>
                <a:tc>
                  <a:txBody>
                    <a:bodyPr/>
                    <a:lstStyle/>
                    <a:p>
                      <a:pPr algn="ctr">
                        <a:lnSpc>
                          <a:spcPct val="115000"/>
                        </a:lnSpc>
                        <a:spcAft>
                          <a:spcPts val="0"/>
                        </a:spcAft>
                      </a:pPr>
                      <a:r>
                        <a:rPr lang="en-US" sz="1100" dirty="0">
                          <a:effectLst/>
                          <a:latin typeface="Arial Narrow" pitchFamily="34" charset="0"/>
                          <a:ea typeface="Tahoma" pitchFamily="34" charset="0"/>
                          <a:cs typeface="Tahoma" pitchFamily="34" charset="0"/>
                          <a:sym typeface="Webdings"/>
                        </a:rPr>
                        <a:t></a:t>
                      </a:r>
                      <a:endParaRPr lang="en-US" sz="1100" dirty="0">
                        <a:effectLst/>
                        <a:latin typeface="Arial Narrow" pitchFamily="34" charset="0"/>
                        <a:ea typeface="Tahoma" pitchFamily="34" charset="0"/>
                        <a:cs typeface="Tahoma" pitchFamily="34" charset="0"/>
                      </a:endParaRPr>
                    </a:p>
                  </a:txBody>
                  <a:tcPr marL="54665" marR="54665" marT="0" marB="0" anchor="ctr">
                    <a:solidFill>
                      <a:schemeClr val="accent6">
                        <a:lumMod val="20000"/>
                        <a:lumOff val="80000"/>
                      </a:schemeClr>
                    </a:solidFill>
                  </a:tcPr>
                </a:tc>
                <a:tc>
                  <a:txBody>
                    <a:bodyPr/>
                    <a:lstStyle/>
                    <a:p>
                      <a:pPr algn="ctr">
                        <a:lnSpc>
                          <a:spcPct val="115000"/>
                        </a:lnSpc>
                        <a:spcAft>
                          <a:spcPts val="0"/>
                        </a:spcAft>
                      </a:pPr>
                      <a:r>
                        <a:rPr lang="en-US" sz="1100" dirty="0">
                          <a:effectLst/>
                          <a:latin typeface="Arial Narrow" pitchFamily="34" charset="0"/>
                          <a:ea typeface="Tahoma" pitchFamily="34" charset="0"/>
                          <a:cs typeface="Tahoma" pitchFamily="34" charset="0"/>
                          <a:sym typeface="Webdings"/>
                        </a:rPr>
                        <a:t></a:t>
                      </a:r>
                      <a:endParaRPr lang="en-US" sz="1100" dirty="0">
                        <a:effectLst/>
                        <a:latin typeface="Arial Narrow" pitchFamily="34" charset="0"/>
                        <a:ea typeface="Tahoma" pitchFamily="34" charset="0"/>
                        <a:cs typeface="Tahoma" pitchFamily="34" charset="0"/>
                      </a:endParaRPr>
                    </a:p>
                  </a:txBody>
                  <a:tcPr marL="54665" marR="54665" marT="0" marB="0" anchor="ctr">
                    <a:solidFill>
                      <a:schemeClr val="accent6">
                        <a:lumMod val="20000"/>
                        <a:lumOff val="80000"/>
                      </a:schemeClr>
                    </a:solidFill>
                  </a:tcPr>
                </a:tc>
                <a:tc>
                  <a:txBody>
                    <a:bodyPr/>
                    <a:lstStyle/>
                    <a:p>
                      <a:pPr algn="ctr">
                        <a:lnSpc>
                          <a:spcPct val="115000"/>
                        </a:lnSpc>
                        <a:spcAft>
                          <a:spcPts val="0"/>
                        </a:spcAft>
                      </a:pPr>
                      <a:r>
                        <a:rPr lang="en-US" sz="1100" dirty="0">
                          <a:effectLst/>
                          <a:latin typeface="Arial Narrow" pitchFamily="34" charset="0"/>
                          <a:ea typeface="Tahoma" pitchFamily="34" charset="0"/>
                          <a:cs typeface="Tahoma" pitchFamily="34" charset="0"/>
                          <a:sym typeface="Webdings"/>
                        </a:rPr>
                        <a:t></a:t>
                      </a:r>
                      <a:endParaRPr lang="en-US" sz="1100" dirty="0">
                        <a:effectLst/>
                        <a:latin typeface="Arial Narrow" pitchFamily="34" charset="0"/>
                        <a:ea typeface="Tahoma" pitchFamily="34" charset="0"/>
                        <a:cs typeface="Tahoma" pitchFamily="34" charset="0"/>
                      </a:endParaRPr>
                    </a:p>
                  </a:txBody>
                  <a:tcPr marL="54665" marR="54665" marT="0" marB="0" anchor="ctr">
                    <a:solidFill>
                      <a:schemeClr val="accent6">
                        <a:lumMod val="20000"/>
                        <a:lumOff val="80000"/>
                      </a:schemeClr>
                    </a:solidFill>
                  </a:tcPr>
                </a:tc>
                <a:tc>
                  <a:txBody>
                    <a:bodyPr/>
                    <a:lstStyle/>
                    <a:p>
                      <a:pPr algn="ctr">
                        <a:lnSpc>
                          <a:spcPct val="115000"/>
                        </a:lnSpc>
                        <a:spcAft>
                          <a:spcPts val="0"/>
                        </a:spcAft>
                      </a:pPr>
                      <a:r>
                        <a:rPr lang="en-US" sz="1100" dirty="0">
                          <a:solidFill>
                            <a:schemeClr val="tx1"/>
                          </a:solidFill>
                          <a:effectLst/>
                          <a:latin typeface="Arial Narrow" pitchFamily="34" charset="0"/>
                          <a:ea typeface="Tahoma" pitchFamily="34" charset="0"/>
                          <a:cs typeface="Tahoma" pitchFamily="34" charset="0"/>
                          <a:sym typeface="Webdings"/>
                        </a:rPr>
                        <a:t></a:t>
                      </a:r>
                      <a:endParaRPr lang="en-US" sz="1100" dirty="0">
                        <a:solidFill>
                          <a:schemeClr val="tx1"/>
                        </a:solidFill>
                        <a:effectLst/>
                        <a:latin typeface="Arial Narrow" pitchFamily="34" charset="0"/>
                        <a:ea typeface="Tahoma" pitchFamily="34" charset="0"/>
                        <a:cs typeface="Tahoma" pitchFamily="34" charset="0"/>
                      </a:endParaRPr>
                    </a:p>
                  </a:txBody>
                  <a:tcPr marL="54664" marR="54664" marT="0" marB="0" anchor="ctr">
                    <a:solidFill>
                      <a:schemeClr val="accent6">
                        <a:lumMod val="20000"/>
                        <a:lumOff val="80000"/>
                      </a:schemeClr>
                    </a:solidFill>
                  </a:tcPr>
                </a:tc>
                <a:tc>
                  <a:txBody>
                    <a:bodyPr/>
                    <a:lstStyle/>
                    <a:p>
                      <a:pPr algn="ctr">
                        <a:lnSpc>
                          <a:spcPct val="115000"/>
                        </a:lnSpc>
                        <a:spcAft>
                          <a:spcPts val="0"/>
                        </a:spcAft>
                      </a:pPr>
                      <a:r>
                        <a:rPr lang="en-US" sz="1100" dirty="0">
                          <a:effectLst/>
                          <a:latin typeface="Arial Narrow" pitchFamily="34" charset="0"/>
                          <a:ea typeface="Tahoma" pitchFamily="34" charset="0"/>
                          <a:cs typeface="Tahoma" pitchFamily="34" charset="0"/>
                          <a:sym typeface="Webdings"/>
                        </a:rPr>
                        <a:t></a:t>
                      </a:r>
                      <a:endParaRPr lang="en-US" sz="1100" dirty="0">
                        <a:effectLst/>
                        <a:latin typeface="Arial Narrow" pitchFamily="34" charset="0"/>
                        <a:ea typeface="Tahoma" pitchFamily="34" charset="0"/>
                        <a:cs typeface="Tahoma" pitchFamily="34" charset="0"/>
                      </a:endParaRPr>
                    </a:p>
                  </a:txBody>
                  <a:tcPr marL="54664" marR="54664" marT="0" marB="0" anchor="ctr">
                    <a:solidFill>
                      <a:schemeClr val="accent6">
                        <a:lumMod val="20000"/>
                        <a:lumOff val="80000"/>
                      </a:schemeClr>
                    </a:solidFill>
                  </a:tcPr>
                </a:tc>
                <a:tc>
                  <a:txBody>
                    <a:bodyPr/>
                    <a:lstStyle/>
                    <a:p>
                      <a:pPr algn="ctr">
                        <a:lnSpc>
                          <a:spcPct val="115000"/>
                        </a:lnSpc>
                        <a:spcAft>
                          <a:spcPts val="0"/>
                        </a:spcAft>
                      </a:pPr>
                      <a:r>
                        <a:rPr lang="en-US" sz="1100" dirty="0">
                          <a:effectLst/>
                          <a:latin typeface="Arial Narrow" pitchFamily="34" charset="0"/>
                          <a:ea typeface="Tahoma" pitchFamily="34" charset="0"/>
                          <a:cs typeface="Tahoma" pitchFamily="34" charset="0"/>
                          <a:sym typeface="Webdings"/>
                        </a:rPr>
                        <a:t></a:t>
                      </a:r>
                      <a:endParaRPr lang="en-US" sz="1100" dirty="0">
                        <a:effectLst/>
                        <a:latin typeface="Arial Narrow" pitchFamily="34" charset="0"/>
                        <a:ea typeface="Tahoma" pitchFamily="34" charset="0"/>
                        <a:cs typeface="Tahoma" pitchFamily="34" charset="0"/>
                      </a:endParaRPr>
                    </a:p>
                  </a:txBody>
                  <a:tcPr marL="54664" marR="54664" marT="0" marB="0" anchor="ctr">
                    <a:solidFill>
                      <a:schemeClr val="accent6">
                        <a:lumMod val="20000"/>
                        <a:lumOff val="80000"/>
                      </a:schemeClr>
                    </a:solidFill>
                  </a:tcPr>
                </a:tc>
                <a:tc>
                  <a:txBody>
                    <a:bodyPr/>
                    <a:lstStyle/>
                    <a:p>
                      <a:pPr algn="ctr">
                        <a:lnSpc>
                          <a:spcPct val="115000"/>
                        </a:lnSpc>
                        <a:spcAft>
                          <a:spcPts val="0"/>
                        </a:spcAft>
                      </a:pPr>
                      <a:r>
                        <a:rPr lang="en-US" sz="1100" dirty="0">
                          <a:effectLst/>
                          <a:latin typeface="Arial Narrow" pitchFamily="34" charset="0"/>
                          <a:ea typeface="Tahoma" pitchFamily="34" charset="0"/>
                          <a:cs typeface="Tahoma" pitchFamily="34" charset="0"/>
                          <a:sym typeface="Webdings"/>
                        </a:rPr>
                        <a:t></a:t>
                      </a:r>
                      <a:endParaRPr lang="en-US" sz="1100" dirty="0">
                        <a:effectLst/>
                        <a:latin typeface="Arial Narrow" pitchFamily="34" charset="0"/>
                        <a:ea typeface="Tahoma" pitchFamily="34" charset="0"/>
                        <a:cs typeface="Tahoma" pitchFamily="34" charset="0"/>
                      </a:endParaRPr>
                    </a:p>
                  </a:txBody>
                  <a:tcPr marL="54664" marR="54664" marT="0" marB="0" anchor="ctr">
                    <a:solidFill>
                      <a:schemeClr val="accent6">
                        <a:lumMod val="20000"/>
                        <a:lumOff val="80000"/>
                      </a:schemeClr>
                    </a:solidFill>
                  </a:tcPr>
                </a:tc>
                <a:tc vMerge="1">
                  <a:txBody>
                    <a:bodyPr/>
                    <a:lstStyle/>
                    <a:p>
                      <a:pPr algn="ctr">
                        <a:lnSpc>
                          <a:spcPct val="115000"/>
                        </a:lnSpc>
                        <a:spcAft>
                          <a:spcPts val="0"/>
                        </a:spcAft>
                      </a:pPr>
                      <a:endParaRPr lang="en-US" sz="1300" dirty="0">
                        <a:effectLst/>
                        <a:latin typeface="Tahoma" pitchFamily="34" charset="0"/>
                        <a:ea typeface="Tahoma" pitchFamily="34" charset="0"/>
                        <a:cs typeface="Tahoma" pitchFamily="34" charset="0"/>
                      </a:endParaRPr>
                    </a:p>
                  </a:txBody>
                  <a:tcPr marL="59220" marR="59220" marT="0" marB="0">
                    <a:solidFill>
                      <a:schemeClr val="accent6">
                        <a:lumMod val="20000"/>
                        <a:lumOff val="80000"/>
                      </a:schemeClr>
                    </a:solidFill>
                  </a:tcPr>
                </a:tc>
              </a:tr>
              <a:tr h="0">
                <a:tc>
                  <a:txBody>
                    <a:bodyPr/>
                    <a:lstStyle/>
                    <a:p>
                      <a:pPr algn="ctr">
                        <a:lnSpc>
                          <a:spcPct val="115000"/>
                        </a:lnSpc>
                        <a:spcAft>
                          <a:spcPts val="0"/>
                        </a:spcAft>
                      </a:pPr>
                      <a:r>
                        <a:rPr lang="th-TH" sz="1100" b="0" dirty="0">
                          <a:effectLst/>
                          <a:latin typeface="Arial Narrow" pitchFamily="34" charset="0"/>
                          <a:ea typeface="Tahoma" pitchFamily="34" charset="0"/>
                          <a:cs typeface="Tahoma" pitchFamily="34" charset="0"/>
                        </a:rPr>
                        <a:t>12</a:t>
                      </a:r>
                      <a:endParaRPr lang="en-US" sz="1100" b="0" dirty="0">
                        <a:effectLst/>
                        <a:latin typeface="Arial Narrow" pitchFamily="34" charset="0"/>
                        <a:ea typeface="Tahoma" pitchFamily="34" charset="0"/>
                        <a:cs typeface="Tahoma" pitchFamily="34" charset="0"/>
                      </a:endParaRPr>
                    </a:p>
                  </a:txBody>
                  <a:tcPr marL="54665" marR="54665" marT="0" marB="0" anchor="ctr">
                    <a:solidFill>
                      <a:schemeClr val="accent6">
                        <a:lumMod val="75000"/>
                      </a:schemeClr>
                    </a:solidFill>
                  </a:tcPr>
                </a:tc>
                <a:tc>
                  <a:txBody>
                    <a:bodyPr/>
                    <a:lstStyle/>
                    <a:p>
                      <a:pPr>
                        <a:lnSpc>
                          <a:spcPct val="115000"/>
                        </a:lnSpc>
                        <a:spcAft>
                          <a:spcPts val="0"/>
                        </a:spcAft>
                      </a:pPr>
                      <a:r>
                        <a:rPr lang="th-TH" sz="1400" b="1" dirty="0">
                          <a:effectLst/>
                          <a:latin typeface="TH SarabunPSK" pitchFamily="34" charset="-34"/>
                          <a:cs typeface="TH SarabunPSK" pitchFamily="34" charset="-34"/>
                        </a:rPr>
                        <a:t>นิคมหรือเขตอุตสาหกรรม</a:t>
                      </a:r>
                      <a:endParaRPr lang="en-US" sz="800" b="1" dirty="0">
                        <a:effectLst/>
                        <a:latin typeface="TH SarabunPSK" pitchFamily="34" charset="-34"/>
                        <a:ea typeface="Times New Roman"/>
                        <a:cs typeface="TH SarabunPSK" pitchFamily="34" charset="-34"/>
                      </a:endParaRPr>
                    </a:p>
                  </a:txBody>
                  <a:tcPr marL="50456" marR="50456" marT="0" marB="0">
                    <a:solidFill>
                      <a:schemeClr val="accent6">
                        <a:lumMod val="20000"/>
                        <a:lumOff val="80000"/>
                      </a:schemeClr>
                    </a:solidFill>
                  </a:tcPr>
                </a:tc>
                <a:tc>
                  <a:txBody>
                    <a:bodyPr/>
                    <a:lstStyle/>
                    <a:p>
                      <a:pPr algn="ctr">
                        <a:lnSpc>
                          <a:spcPct val="115000"/>
                        </a:lnSpc>
                        <a:spcAft>
                          <a:spcPts val="0"/>
                        </a:spcAft>
                      </a:pPr>
                      <a:r>
                        <a:rPr lang="en-US" sz="1100" dirty="0">
                          <a:effectLst/>
                          <a:latin typeface="Arial Narrow" pitchFamily="34" charset="0"/>
                          <a:ea typeface="Tahoma" pitchFamily="34" charset="0"/>
                          <a:cs typeface="Tahoma" pitchFamily="34" charset="0"/>
                          <a:sym typeface="Webdings"/>
                        </a:rPr>
                        <a:t></a:t>
                      </a:r>
                      <a:endParaRPr lang="en-US" sz="1100" dirty="0">
                        <a:effectLst/>
                        <a:latin typeface="Arial Narrow" pitchFamily="34" charset="0"/>
                        <a:ea typeface="Tahoma" pitchFamily="34" charset="0"/>
                        <a:cs typeface="Tahoma" pitchFamily="34" charset="0"/>
                      </a:endParaRPr>
                    </a:p>
                  </a:txBody>
                  <a:tcPr marL="54665" marR="54665" marT="0" marB="0" anchor="ctr">
                    <a:solidFill>
                      <a:schemeClr val="accent6">
                        <a:lumMod val="20000"/>
                        <a:lumOff val="80000"/>
                      </a:schemeClr>
                    </a:solidFill>
                  </a:tcPr>
                </a:tc>
                <a:tc>
                  <a:txBody>
                    <a:bodyPr/>
                    <a:lstStyle/>
                    <a:p>
                      <a:pPr algn="ctr">
                        <a:lnSpc>
                          <a:spcPct val="115000"/>
                        </a:lnSpc>
                        <a:spcAft>
                          <a:spcPts val="0"/>
                        </a:spcAft>
                      </a:pPr>
                      <a:r>
                        <a:rPr lang="en-US" sz="1100" dirty="0">
                          <a:effectLst/>
                          <a:latin typeface="Arial Narrow" pitchFamily="34" charset="0"/>
                          <a:ea typeface="Tahoma" pitchFamily="34" charset="0"/>
                          <a:cs typeface="Tahoma" pitchFamily="34" charset="0"/>
                          <a:sym typeface="Webdings"/>
                        </a:rPr>
                        <a:t></a:t>
                      </a:r>
                      <a:endParaRPr lang="en-US" sz="1100" dirty="0">
                        <a:effectLst/>
                        <a:latin typeface="Arial Narrow" pitchFamily="34" charset="0"/>
                        <a:ea typeface="Tahoma" pitchFamily="34" charset="0"/>
                        <a:cs typeface="Tahoma" pitchFamily="34" charset="0"/>
                      </a:endParaRPr>
                    </a:p>
                  </a:txBody>
                  <a:tcPr marL="54665" marR="54665" marT="0" marB="0" anchor="ctr">
                    <a:solidFill>
                      <a:schemeClr val="accent6">
                        <a:lumMod val="20000"/>
                        <a:lumOff val="80000"/>
                      </a:schemeClr>
                    </a:solidFill>
                  </a:tcPr>
                </a:tc>
                <a:tc>
                  <a:txBody>
                    <a:bodyPr/>
                    <a:lstStyle/>
                    <a:p>
                      <a:pPr algn="ctr">
                        <a:lnSpc>
                          <a:spcPct val="115000"/>
                        </a:lnSpc>
                        <a:spcAft>
                          <a:spcPts val="0"/>
                        </a:spcAft>
                      </a:pPr>
                      <a:r>
                        <a:rPr lang="en-US" sz="1100" dirty="0">
                          <a:effectLst/>
                          <a:latin typeface="Arial Narrow" pitchFamily="34" charset="0"/>
                          <a:ea typeface="Tahoma" pitchFamily="34" charset="0"/>
                          <a:cs typeface="Tahoma" pitchFamily="34" charset="0"/>
                          <a:sym typeface="Webdings"/>
                        </a:rPr>
                        <a:t></a:t>
                      </a:r>
                      <a:endParaRPr lang="en-US" sz="1100" dirty="0">
                        <a:effectLst/>
                        <a:latin typeface="Arial Narrow" pitchFamily="34" charset="0"/>
                        <a:ea typeface="Tahoma" pitchFamily="34" charset="0"/>
                        <a:cs typeface="Tahoma" pitchFamily="34" charset="0"/>
                      </a:endParaRPr>
                    </a:p>
                  </a:txBody>
                  <a:tcPr marL="54665" marR="54665" marT="0" marB="0" anchor="ctr">
                    <a:solidFill>
                      <a:schemeClr val="accent6">
                        <a:lumMod val="20000"/>
                        <a:lumOff val="80000"/>
                      </a:schemeClr>
                    </a:solidFill>
                  </a:tcPr>
                </a:tc>
                <a:tc>
                  <a:txBody>
                    <a:bodyPr/>
                    <a:lstStyle/>
                    <a:p>
                      <a:pPr algn="ctr">
                        <a:lnSpc>
                          <a:spcPct val="115000"/>
                        </a:lnSpc>
                        <a:spcAft>
                          <a:spcPts val="0"/>
                        </a:spcAft>
                      </a:pPr>
                      <a:r>
                        <a:rPr lang="en-US" sz="1100" dirty="0">
                          <a:effectLst/>
                          <a:latin typeface="Arial Narrow" pitchFamily="34" charset="0"/>
                          <a:ea typeface="Tahoma" pitchFamily="34" charset="0"/>
                          <a:cs typeface="Tahoma" pitchFamily="34" charset="0"/>
                          <a:sym typeface="Webdings"/>
                        </a:rPr>
                        <a:t></a:t>
                      </a:r>
                      <a:endParaRPr lang="en-US" sz="1100" dirty="0">
                        <a:effectLst/>
                        <a:latin typeface="Arial Narrow" pitchFamily="34" charset="0"/>
                        <a:ea typeface="Tahoma" pitchFamily="34" charset="0"/>
                        <a:cs typeface="Tahoma" pitchFamily="34" charset="0"/>
                      </a:endParaRPr>
                    </a:p>
                  </a:txBody>
                  <a:tcPr marL="54665" marR="54665" marT="0" marB="0" anchor="ctr">
                    <a:solidFill>
                      <a:schemeClr val="accent6">
                        <a:lumMod val="20000"/>
                        <a:lumOff val="80000"/>
                      </a:schemeClr>
                    </a:solidFill>
                  </a:tcPr>
                </a:tc>
                <a:tc>
                  <a:txBody>
                    <a:bodyPr/>
                    <a:lstStyle/>
                    <a:p>
                      <a:pPr algn="ctr">
                        <a:lnSpc>
                          <a:spcPct val="115000"/>
                        </a:lnSpc>
                        <a:spcAft>
                          <a:spcPts val="0"/>
                        </a:spcAft>
                      </a:pPr>
                      <a:r>
                        <a:rPr lang="en-US" sz="1100" dirty="0">
                          <a:effectLst/>
                          <a:latin typeface="Arial Narrow" pitchFamily="34" charset="0"/>
                          <a:ea typeface="Tahoma" pitchFamily="34" charset="0"/>
                          <a:cs typeface="Tahoma" pitchFamily="34" charset="0"/>
                          <a:sym typeface="Webdings"/>
                        </a:rPr>
                        <a:t></a:t>
                      </a:r>
                      <a:endParaRPr lang="en-US" sz="1100" dirty="0">
                        <a:effectLst/>
                        <a:latin typeface="Arial Narrow" pitchFamily="34" charset="0"/>
                        <a:ea typeface="Tahoma" pitchFamily="34" charset="0"/>
                        <a:cs typeface="Tahoma" pitchFamily="34" charset="0"/>
                      </a:endParaRPr>
                    </a:p>
                  </a:txBody>
                  <a:tcPr marL="54665" marR="54665" marT="0" marB="0" anchor="ctr">
                    <a:solidFill>
                      <a:schemeClr val="accent6">
                        <a:lumMod val="20000"/>
                        <a:lumOff val="80000"/>
                      </a:schemeClr>
                    </a:solidFill>
                  </a:tcPr>
                </a:tc>
                <a:tc>
                  <a:txBody>
                    <a:bodyPr/>
                    <a:lstStyle/>
                    <a:p>
                      <a:pPr algn="ctr">
                        <a:lnSpc>
                          <a:spcPct val="115000"/>
                        </a:lnSpc>
                        <a:spcAft>
                          <a:spcPts val="0"/>
                        </a:spcAft>
                      </a:pPr>
                      <a:r>
                        <a:rPr lang="en-US" sz="1100" dirty="0">
                          <a:solidFill>
                            <a:schemeClr val="tx1"/>
                          </a:solidFill>
                          <a:effectLst/>
                          <a:latin typeface="Arial Narrow" pitchFamily="34" charset="0"/>
                          <a:ea typeface="Tahoma" pitchFamily="34" charset="0"/>
                          <a:cs typeface="Tahoma" pitchFamily="34" charset="0"/>
                          <a:sym typeface="Webdings"/>
                        </a:rPr>
                        <a:t></a:t>
                      </a:r>
                      <a:endParaRPr lang="en-US" sz="1100" dirty="0">
                        <a:solidFill>
                          <a:schemeClr val="tx1"/>
                        </a:solidFill>
                        <a:effectLst/>
                        <a:latin typeface="Arial Narrow" pitchFamily="34" charset="0"/>
                        <a:ea typeface="Tahoma" pitchFamily="34" charset="0"/>
                        <a:cs typeface="Tahoma" pitchFamily="34" charset="0"/>
                      </a:endParaRPr>
                    </a:p>
                  </a:txBody>
                  <a:tcPr marL="54664" marR="54664" marT="0" marB="0" anchor="ctr">
                    <a:solidFill>
                      <a:schemeClr val="accent6">
                        <a:lumMod val="20000"/>
                        <a:lumOff val="80000"/>
                      </a:schemeClr>
                    </a:solidFill>
                  </a:tcPr>
                </a:tc>
                <a:tc>
                  <a:txBody>
                    <a:bodyPr/>
                    <a:lstStyle/>
                    <a:p>
                      <a:pPr algn="ctr">
                        <a:lnSpc>
                          <a:spcPct val="115000"/>
                        </a:lnSpc>
                        <a:spcAft>
                          <a:spcPts val="0"/>
                        </a:spcAft>
                      </a:pPr>
                      <a:r>
                        <a:rPr lang="en-US" sz="1100" dirty="0">
                          <a:effectLst/>
                          <a:latin typeface="Arial Narrow" pitchFamily="34" charset="0"/>
                          <a:ea typeface="Tahoma" pitchFamily="34" charset="0"/>
                          <a:cs typeface="Tahoma" pitchFamily="34" charset="0"/>
                          <a:sym typeface="Webdings"/>
                        </a:rPr>
                        <a:t></a:t>
                      </a:r>
                      <a:endParaRPr lang="en-US" sz="1100" dirty="0">
                        <a:effectLst/>
                        <a:latin typeface="Arial Narrow" pitchFamily="34" charset="0"/>
                        <a:ea typeface="Tahoma" pitchFamily="34" charset="0"/>
                        <a:cs typeface="Tahoma" pitchFamily="34" charset="0"/>
                      </a:endParaRPr>
                    </a:p>
                  </a:txBody>
                  <a:tcPr marL="54664" marR="54664" marT="0" marB="0" anchor="ctr">
                    <a:solidFill>
                      <a:schemeClr val="accent6">
                        <a:lumMod val="20000"/>
                        <a:lumOff val="80000"/>
                      </a:schemeClr>
                    </a:solidFill>
                  </a:tcPr>
                </a:tc>
                <a:tc>
                  <a:txBody>
                    <a:bodyPr/>
                    <a:lstStyle/>
                    <a:p>
                      <a:pPr algn="ctr">
                        <a:lnSpc>
                          <a:spcPct val="115000"/>
                        </a:lnSpc>
                        <a:spcAft>
                          <a:spcPts val="0"/>
                        </a:spcAft>
                      </a:pPr>
                      <a:r>
                        <a:rPr lang="en-US" sz="1100" dirty="0">
                          <a:effectLst/>
                          <a:latin typeface="Arial Narrow" pitchFamily="34" charset="0"/>
                          <a:ea typeface="Tahoma" pitchFamily="34" charset="0"/>
                          <a:cs typeface="Tahoma" pitchFamily="34" charset="0"/>
                          <a:sym typeface="Webdings"/>
                        </a:rPr>
                        <a:t></a:t>
                      </a:r>
                      <a:endParaRPr lang="en-US" sz="1100" dirty="0">
                        <a:effectLst/>
                        <a:latin typeface="Arial Narrow" pitchFamily="34" charset="0"/>
                        <a:ea typeface="Tahoma" pitchFamily="34" charset="0"/>
                        <a:cs typeface="Tahoma" pitchFamily="34" charset="0"/>
                      </a:endParaRPr>
                    </a:p>
                  </a:txBody>
                  <a:tcPr marL="54664" marR="54664" marT="0" marB="0" anchor="ctr">
                    <a:solidFill>
                      <a:schemeClr val="accent6">
                        <a:lumMod val="20000"/>
                        <a:lumOff val="80000"/>
                      </a:schemeClr>
                    </a:solidFill>
                  </a:tcPr>
                </a:tc>
                <a:tc>
                  <a:txBody>
                    <a:bodyPr/>
                    <a:lstStyle/>
                    <a:p>
                      <a:pPr algn="ctr">
                        <a:lnSpc>
                          <a:spcPct val="115000"/>
                        </a:lnSpc>
                        <a:spcAft>
                          <a:spcPts val="0"/>
                        </a:spcAft>
                      </a:pPr>
                      <a:r>
                        <a:rPr lang="en-US" sz="1100" dirty="0">
                          <a:effectLst/>
                          <a:latin typeface="Arial Narrow" pitchFamily="34" charset="0"/>
                          <a:ea typeface="Tahoma" pitchFamily="34" charset="0"/>
                          <a:cs typeface="Tahoma" pitchFamily="34" charset="0"/>
                          <a:sym typeface="Webdings"/>
                        </a:rPr>
                        <a:t></a:t>
                      </a:r>
                      <a:endParaRPr lang="en-US" sz="1100" dirty="0">
                        <a:effectLst/>
                        <a:latin typeface="Arial Narrow" pitchFamily="34" charset="0"/>
                        <a:ea typeface="Tahoma" pitchFamily="34" charset="0"/>
                        <a:cs typeface="Tahoma" pitchFamily="34" charset="0"/>
                      </a:endParaRPr>
                    </a:p>
                  </a:txBody>
                  <a:tcPr marL="54664" marR="54664" marT="0" marB="0" anchor="ctr">
                    <a:solidFill>
                      <a:schemeClr val="accent6">
                        <a:lumMod val="20000"/>
                        <a:lumOff val="80000"/>
                      </a:schemeClr>
                    </a:solidFill>
                  </a:tcPr>
                </a:tc>
                <a:tc vMerge="1">
                  <a:txBody>
                    <a:bodyPr/>
                    <a:lstStyle/>
                    <a:p>
                      <a:endParaRPr lang="th-TH"/>
                    </a:p>
                  </a:txBody>
                  <a:tcPr/>
                </a:tc>
              </a:tr>
              <a:tr h="285608">
                <a:tc>
                  <a:txBody>
                    <a:bodyPr/>
                    <a:lstStyle/>
                    <a:p>
                      <a:pPr algn="ctr">
                        <a:lnSpc>
                          <a:spcPct val="115000"/>
                        </a:lnSpc>
                        <a:spcAft>
                          <a:spcPts val="0"/>
                        </a:spcAft>
                      </a:pPr>
                      <a:r>
                        <a:rPr lang="th-TH" sz="1100" b="0" dirty="0">
                          <a:effectLst/>
                          <a:latin typeface="Arial Narrow" pitchFamily="34" charset="0"/>
                          <a:ea typeface="Tahoma" pitchFamily="34" charset="0"/>
                          <a:cs typeface="Tahoma" pitchFamily="34" charset="0"/>
                        </a:rPr>
                        <a:t>13</a:t>
                      </a:r>
                      <a:endParaRPr lang="en-US" sz="1100" b="0" dirty="0">
                        <a:effectLst/>
                        <a:latin typeface="Arial Narrow" pitchFamily="34" charset="0"/>
                        <a:ea typeface="Tahoma" pitchFamily="34" charset="0"/>
                        <a:cs typeface="Tahoma" pitchFamily="34" charset="0"/>
                      </a:endParaRPr>
                    </a:p>
                  </a:txBody>
                  <a:tcPr marL="54665" marR="54665" marT="0" marB="0" anchor="ctr">
                    <a:solidFill>
                      <a:schemeClr val="accent6">
                        <a:lumMod val="75000"/>
                      </a:schemeClr>
                    </a:solidFill>
                  </a:tcPr>
                </a:tc>
                <a:tc>
                  <a:txBody>
                    <a:bodyPr/>
                    <a:lstStyle/>
                    <a:p>
                      <a:pPr>
                        <a:lnSpc>
                          <a:spcPct val="115000"/>
                        </a:lnSpc>
                        <a:spcAft>
                          <a:spcPts val="0"/>
                        </a:spcAft>
                      </a:pPr>
                      <a:r>
                        <a:rPr lang="th-TH" sz="1400" b="1" dirty="0">
                          <a:effectLst/>
                          <a:latin typeface="TH SarabunPSK" pitchFamily="34" charset="-34"/>
                          <a:cs typeface="TH SarabunPSK" pitchFamily="34" charset="-34"/>
                        </a:rPr>
                        <a:t>กิจการเพื่อสนับสนุนการท่องเที่ยว</a:t>
                      </a:r>
                      <a:endParaRPr lang="en-US" sz="800" b="1" dirty="0">
                        <a:effectLst/>
                        <a:latin typeface="TH SarabunPSK" pitchFamily="34" charset="-34"/>
                        <a:ea typeface="Times New Roman"/>
                        <a:cs typeface="TH SarabunPSK" pitchFamily="34" charset="-34"/>
                      </a:endParaRPr>
                    </a:p>
                  </a:txBody>
                  <a:tcPr marL="50456" marR="50456" marT="0" marB="0">
                    <a:solidFill>
                      <a:schemeClr val="accent6">
                        <a:lumMod val="20000"/>
                        <a:lumOff val="80000"/>
                      </a:schemeClr>
                    </a:solidFill>
                  </a:tcPr>
                </a:tc>
                <a:tc>
                  <a:txBody>
                    <a:bodyPr/>
                    <a:lstStyle/>
                    <a:p>
                      <a:pPr algn="ctr">
                        <a:lnSpc>
                          <a:spcPct val="115000"/>
                        </a:lnSpc>
                        <a:spcAft>
                          <a:spcPts val="0"/>
                        </a:spcAft>
                      </a:pPr>
                      <a:r>
                        <a:rPr lang="en-US" sz="1100" dirty="0">
                          <a:effectLst/>
                          <a:latin typeface="Arial Narrow" pitchFamily="34" charset="0"/>
                          <a:ea typeface="Tahoma" pitchFamily="34" charset="0"/>
                          <a:cs typeface="Tahoma" pitchFamily="34" charset="0"/>
                          <a:sym typeface="Webdings"/>
                        </a:rPr>
                        <a:t></a:t>
                      </a:r>
                      <a:endParaRPr lang="en-US" sz="1100" dirty="0">
                        <a:effectLst/>
                        <a:latin typeface="Arial Narrow" pitchFamily="34" charset="0"/>
                        <a:ea typeface="Tahoma" pitchFamily="34" charset="0"/>
                        <a:cs typeface="Tahoma" pitchFamily="34" charset="0"/>
                      </a:endParaRPr>
                    </a:p>
                  </a:txBody>
                  <a:tcPr marL="54665" marR="54665" marT="0" marB="0" anchor="ctr">
                    <a:solidFill>
                      <a:schemeClr val="accent6">
                        <a:lumMod val="20000"/>
                        <a:lumOff val="80000"/>
                      </a:schemeClr>
                    </a:solidFill>
                  </a:tcPr>
                </a:tc>
                <a:tc>
                  <a:txBody>
                    <a:bodyPr/>
                    <a:lstStyle/>
                    <a:p>
                      <a:pPr algn="ctr">
                        <a:lnSpc>
                          <a:spcPct val="115000"/>
                        </a:lnSpc>
                        <a:spcAft>
                          <a:spcPts val="0"/>
                        </a:spcAft>
                      </a:pPr>
                      <a:r>
                        <a:rPr lang="en-US" sz="1100" dirty="0">
                          <a:effectLst/>
                          <a:latin typeface="Arial Narrow" pitchFamily="34" charset="0"/>
                          <a:ea typeface="Tahoma" pitchFamily="34" charset="0"/>
                          <a:cs typeface="Tahoma" pitchFamily="34" charset="0"/>
                          <a:sym typeface="Webdings"/>
                        </a:rPr>
                        <a:t></a:t>
                      </a:r>
                      <a:endParaRPr lang="en-US" sz="1100" dirty="0">
                        <a:effectLst/>
                        <a:latin typeface="Arial Narrow" pitchFamily="34" charset="0"/>
                        <a:ea typeface="Tahoma" pitchFamily="34" charset="0"/>
                        <a:cs typeface="Tahoma" pitchFamily="34" charset="0"/>
                      </a:endParaRPr>
                    </a:p>
                  </a:txBody>
                  <a:tcPr marL="54665" marR="54665" marT="0" marB="0" anchor="ctr">
                    <a:solidFill>
                      <a:schemeClr val="accent6">
                        <a:lumMod val="20000"/>
                        <a:lumOff val="80000"/>
                      </a:schemeClr>
                    </a:solidFill>
                  </a:tcPr>
                </a:tc>
                <a:tc>
                  <a:txBody>
                    <a:bodyPr/>
                    <a:lstStyle/>
                    <a:p>
                      <a:pPr algn="ctr">
                        <a:lnSpc>
                          <a:spcPct val="115000"/>
                        </a:lnSpc>
                        <a:spcAft>
                          <a:spcPts val="0"/>
                        </a:spcAft>
                      </a:pPr>
                      <a:r>
                        <a:rPr lang="en-US" sz="1100" dirty="0">
                          <a:effectLst/>
                          <a:latin typeface="Arial Narrow" pitchFamily="34" charset="0"/>
                          <a:ea typeface="Tahoma" pitchFamily="34" charset="0"/>
                          <a:cs typeface="Tahoma" pitchFamily="34" charset="0"/>
                          <a:sym typeface="Webdings"/>
                        </a:rPr>
                        <a:t></a:t>
                      </a:r>
                      <a:endParaRPr lang="en-US" sz="1100" dirty="0">
                        <a:effectLst/>
                        <a:latin typeface="Arial Narrow" pitchFamily="34" charset="0"/>
                        <a:ea typeface="Tahoma" pitchFamily="34" charset="0"/>
                        <a:cs typeface="Tahoma" pitchFamily="34" charset="0"/>
                      </a:endParaRPr>
                    </a:p>
                  </a:txBody>
                  <a:tcPr marL="54665" marR="54665" marT="0" marB="0" anchor="ctr">
                    <a:solidFill>
                      <a:schemeClr val="accent6">
                        <a:lumMod val="20000"/>
                        <a:lumOff val="80000"/>
                      </a:schemeClr>
                    </a:solidFill>
                  </a:tcPr>
                </a:tc>
                <a:tc>
                  <a:txBody>
                    <a:bodyPr/>
                    <a:lstStyle/>
                    <a:p>
                      <a:pPr algn="ctr">
                        <a:lnSpc>
                          <a:spcPct val="115000"/>
                        </a:lnSpc>
                        <a:spcAft>
                          <a:spcPts val="0"/>
                        </a:spcAft>
                      </a:pPr>
                      <a:r>
                        <a:rPr lang="en-US" sz="1100" dirty="0">
                          <a:effectLst/>
                          <a:latin typeface="Arial Narrow" pitchFamily="34" charset="0"/>
                          <a:ea typeface="Tahoma" pitchFamily="34" charset="0"/>
                          <a:cs typeface="Tahoma" pitchFamily="34" charset="0"/>
                          <a:sym typeface="Webdings"/>
                        </a:rPr>
                        <a:t></a:t>
                      </a:r>
                      <a:endParaRPr lang="en-US" sz="1100" dirty="0">
                        <a:effectLst/>
                        <a:latin typeface="Arial Narrow" pitchFamily="34" charset="0"/>
                        <a:ea typeface="Tahoma" pitchFamily="34" charset="0"/>
                        <a:cs typeface="Tahoma" pitchFamily="34" charset="0"/>
                      </a:endParaRPr>
                    </a:p>
                  </a:txBody>
                  <a:tcPr marL="54665" marR="54665" marT="0" marB="0" anchor="ctr">
                    <a:solidFill>
                      <a:schemeClr val="accent6">
                        <a:lumMod val="20000"/>
                        <a:lumOff val="80000"/>
                      </a:schemeClr>
                    </a:solidFill>
                  </a:tcPr>
                </a:tc>
                <a:tc>
                  <a:txBody>
                    <a:bodyPr/>
                    <a:lstStyle/>
                    <a:p>
                      <a:pPr algn="ctr">
                        <a:lnSpc>
                          <a:spcPct val="115000"/>
                        </a:lnSpc>
                        <a:spcAft>
                          <a:spcPts val="0"/>
                        </a:spcAft>
                      </a:pPr>
                      <a:r>
                        <a:rPr lang="en-US" sz="1100" dirty="0">
                          <a:effectLst/>
                          <a:latin typeface="Arial Narrow" pitchFamily="34" charset="0"/>
                          <a:ea typeface="Tahoma" pitchFamily="34" charset="0"/>
                          <a:cs typeface="Tahoma" pitchFamily="34" charset="0"/>
                          <a:sym typeface="Webdings"/>
                        </a:rPr>
                        <a:t></a:t>
                      </a:r>
                      <a:endParaRPr lang="en-US" sz="1100" dirty="0">
                        <a:effectLst/>
                        <a:latin typeface="Arial Narrow" pitchFamily="34" charset="0"/>
                        <a:ea typeface="Tahoma" pitchFamily="34" charset="0"/>
                        <a:cs typeface="Tahoma" pitchFamily="34" charset="0"/>
                      </a:endParaRPr>
                    </a:p>
                  </a:txBody>
                  <a:tcPr marL="54665" marR="54665" marT="0" marB="0" anchor="ctr">
                    <a:solidFill>
                      <a:schemeClr val="accent6">
                        <a:lumMod val="20000"/>
                        <a:lumOff val="80000"/>
                      </a:schemeClr>
                    </a:solidFill>
                  </a:tcPr>
                </a:tc>
                <a:tc>
                  <a:txBody>
                    <a:bodyPr/>
                    <a:lstStyle/>
                    <a:p>
                      <a:pPr algn="ctr">
                        <a:lnSpc>
                          <a:spcPct val="115000"/>
                        </a:lnSpc>
                        <a:spcAft>
                          <a:spcPts val="0"/>
                        </a:spcAft>
                      </a:pPr>
                      <a:r>
                        <a:rPr lang="en-US" sz="1100" dirty="0">
                          <a:solidFill>
                            <a:schemeClr val="tx1"/>
                          </a:solidFill>
                          <a:effectLst/>
                          <a:latin typeface="Arial Narrow" pitchFamily="34" charset="0"/>
                          <a:ea typeface="Tahoma" pitchFamily="34" charset="0"/>
                          <a:cs typeface="Tahoma" pitchFamily="34" charset="0"/>
                          <a:sym typeface="Webdings"/>
                        </a:rPr>
                        <a:t></a:t>
                      </a:r>
                      <a:endParaRPr lang="en-US" sz="1100" dirty="0">
                        <a:solidFill>
                          <a:schemeClr val="tx1"/>
                        </a:solidFill>
                        <a:effectLst/>
                        <a:latin typeface="Arial Narrow" pitchFamily="34" charset="0"/>
                        <a:ea typeface="Tahoma" pitchFamily="34" charset="0"/>
                        <a:cs typeface="Tahoma" pitchFamily="34" charset="0"/>
                      </a:endParaRPr>
                    </a:p>
                  </a:txBody>
                  <a:tcPr marL="54664" marR="54664" marT="0" marB="0" anchor="ctr">
                    <a:solidFill>
                      <a:schemeClr val="accent6">
                        <a:lumMod val="20000"/>
                        <a:lumOff val="80000"/>
                      </a:schemeClr>
                    </a:solidFill>
                  </a:tcPr>
                </a:tc>
                <a:tc>
                  <a:txBody>
                    <a:bodyPr/>
                    <a:lstStyle/>
                    <a:p>
                      <a:pPr algn="ctr">
                        <a:lnSpc>
                          <a:spcPct val="115000"/>
                        </a:lnSpc>
                        <a:spcAft>
                          <a:spcPts val="0"/>
                        </a:spcAft>
                      </a:pPr>
                      <a:r>
                        <a:rPr lang="en-US" sz="1100" dirty="0">
                          <a:effectLst/>
                          <a:latin typeface="Arial Narrow" pitchFamily="34" charset="0"/>
                          <a:ea typeface="Tahoma" pitchFamily="34" charset="0"/>
                          <a:cs typeface="Tahoma" pitchFamily="34" charset="0"/>
                          <a:sym typeface="Webdings"/>
                        </a:rPr>
                        <a:t></a:t>
                      </a:r>
                      <a:endParaRPr lang="en-US" sz="1100" dirty="0">
                        <a:effectLst/>
                        <a:latin typeface="Arial Narrow" pitchFamily="34" charset="0"/>
                        <a:ea typeface="Tahoma" pitchFamily="34" charset="0"/>
                        <a:cs typeface="Tahoma" pitchFamily="34" charset="0"/>
                      </a:endParaRPr>
                    </a:p>
                  </a:txBody>
                  <a:tcPr marL="54664" marR="54664" marT="0" marB="0" anchor="ctr">
                    <a:solidFill>
                      <a:schemeClr val="accent6">
                        <a:lumMod val="20000"/>
                        <a:lumOff val="80000"/>
                      </a:schemeClr>
                    </a:solidFill>
                  </a:tcPr>
                </a:tc>
                <a:tc>
                  <a:txBody>
                    <a:bodyPr/>
                    <a:lstStyle/>
                    <a:p>
                      <a:pPr algn="ctr">
                        <a:lnSpc>
                          <a:spcPct val="115000"/>
                        </a:lnSpc>
                        <a:spcAft>
                          <a:spcPts val="0"/>
                        </a:spcAft>
                      </a:pPr>
                      <a:r>
                        <a:rPr lang="en-US" sz="1100" dirty="0">
                          <a:effectLst/>
                          <a:latin typeface="Arial Narrow" pitchFamily="34" charset="0"/>
                          <a:ea typeface="Tahoma" pitchFamily="34" charset="0"/>
                          <a:cs typeface="Tahoma" pitchFamily="34" charset="0"/>
                          <a:sym typeface="Webdings"/>
                        </a:rPr>
                        <a:t></a:t>
                      </a:r>
                      <a:endParaRPr lang="en-US" sz="1100" dirty="0">
                        <a:effectLst/>
                        <a:latin typeface="Arial Narrow" pitchFamily="34" charset="0"/>
                        <a:ea typeface="Tahoma" pitchFamily="34" charset="0"/>
                        <a:cs typeface="Tahoma" pitchFamily="34" charset="0"/>
                      </a:endParaRPr>
                    </a:p>
                  </a:txBody>
                  <a:tcPr marL="54664" marR="54664" marT="0" marB="0" anchor="ctr">
                    <a:solidFill>
                      <a:schemeClr val="accent6">
                        <a:lumMod val="20000"/>
                        <a:lumOff val="80000"/>
                      </a:schemeClr>
                    </a:solidFill>
                  </a:tcPr>
                </a:tc>
                <a:tc>
                  <a:txBody>
                    <a:bodyPr/>
                    <a:lstStyle/>
                    <a:p>
                      <a:pPr algn="ctr">
                        <a:lnSpc>
                          <a:spcPct val="115000"/>
                        </a:lnSpc>
                        <a:spcAft>
                          <a:spcPts val="0"/>
                        </a:spcAft>
                      </a:pPr>
                      <a:r>
                        <a:rPr lang="en-US" sz="1100" dirty="0">
                          <a:effectLst/>
                          <a:latin typeface="Arial Narrow" pitchFamily="34" charset="0"/>
                          <a:ea typeface="Tahoma" pitchFamily="34" charset="0"/>
                          <a:cs typeface="Tahoma" pitchFamily="34" charset="0"/>
                          <a:sym typeface="Webdings"/>
                        </a:rPr>
                        <a:t></a:t>
                      </a:r>
                      <a:endParaRPr lang="en-US" sz="1100" dirty="0">
                        <a:effectLst/>
                        <a:latin typeface="Arial Narrow" pitchFamily="34" charset="0"/>
                        <a:ea typeface="Tahoma" pitchFamily="34" charset="0"/>
                        <a:cs typeface="Tahoma" pitchFamily="34" charset="0"/>
                      </a:endParaRPr>
                    </a:p>
                  </a:txBody>
                  <a:tcPr marL="54664" marR="54664" marT="0" marB="0" anchor="ctr">
                    <a:solidFill>
                      <a:schemeClr val="accent6">
                        <a:lumMod val="20000"/>
                        <a:lumOff val="80000"/>
                      </a:schemeClr>
                    </a:solidFill>
                  </a:tcPr>
                </a:tc>
                <a:tc vMerge="1">
                  <a:txBody>
                    <a:bodyPr/>
                    <a:lstStyle/>
                    <a:p>
                      <a:pPr algn="ctr">
                        <a:lnSpc>
                          <a:spcPct val="115000"/>
                        </a:lnSpc>
                        <a:spcAft>
                          <a:spcPts val="0"/>
                        </a:spcAft>
                      </a:pPr>
                      <a:endParaRPr lang="en-US" sz="1300" dirty="0">
                        <a:effectLst/>
                        <a:latin typeface="Tahoma" pitchFamily="34" charset="0"/>
                        <a:ea typeface="Tahoma" pitchFamily="34" charset="0"/>
                        <a:cs typeface="Tahoma" pitchFamily="34" charset="0"/>
                      </a:endParaRPr>
                    </a:p>
                  </a:txBody>
                  <a:tcPr marL="59220" marR="59220" marT="0" marB="0">
                    <a:solidFill>
                      <a:schemeClr val="accent6">
                        <a:lumMod val="20000"/>
                        <a:lumOff val="80000"/>
                      </a:schemeClr>
                    </a:solidFill>
                  </a:tcPr>
                </a:tc>
              </a:tr>
            </a:tbl>
          </a:graphicData>
        </a:graphic>
      </p:graphicFrame>
      <p:sp>
        <p:nvSpPr>
          <p:cNvPr id="11" name="Rectangle 10"/>
          <p:cNvSpPr/>
          <p:nvPr/>
        </p:nvSpPr>
        <p:spPr>
          <a:xfrm>
            <a:off x="0" y="6698"/>
            <a:ext cx="9144000" cy="332429"/>
          </a:xfrm>
          <a:prstGeom prst="rect">
            <a:avLst/>
          </a:prstGeom>
        </p:spPr>
        <p:txBody>
          <a:bodyPr wrap="square" lIns="87916" tIns="43957" rIns="87916" bIns="43957" anchor="ctr">
            <a:spAutoFit/>
          </a:bodyPr>
          <a:lstStyle/>
          <a:p>
            <a:pPr algn="ctr">
              <a:lnSpc>
                <a:spcPts val="1923"/>
              </a:lnSpc>
              <a:defRPr/>
            </a:pPr>
            <a:r>
              <a:rPr lang="th-TH" sz="2300" b="1" dirty="0">
                <a:latin typeface="TH SarabunPSK" pitchFamily="34" charset="-34"/>
                <a:ea typeface="+mj-ea"/>
                <a:cs typeface="TH SarabunPSK" pitchFamily="34" charset="-34"/>
                <a:sym typeface="+mn-lt"/>
              </a:rPr>
              <a:t>โอกาสการลงทุน </a:t>
            </a:r>
            <a:r>
              <a:rPr lang="en-US" sz="2300" b="1" dirty="0">
                <a:latin typeface="TH SarabunPSK" pitchFamily="34" charset="-34"/>
                <a:ea typeface="+mj-ea"/>
                <a:cs typeface="TH SarabunPSK" pitchFamily="34" charset="-34"/>
                <a:sym typeface="+mn-lt"/>
              </a:rPr>
              <a:t>: </a:t>
            </a:r>
            <a:r>
              <a:rPr lang="th-TH" sz="2300" b="1" dirty="0">
                <a:latin typeface="TH SarabunPSK" pitchFamily="34" charset="-34"/>
                <a:ea typeface="+mj-ea"/>
                <a:cs typeface="TH SarabunPSK" pitchFamily="34" charset="-34"/>
                <a:sym typeface="+mn-lt"/>
              </a:rPr>
              <a:t>กิจการเป้าหมายในแต่ละเขตเศรษฐกิจพิเศษจะแตกต่างกันตามศักยภาพของพื้นที่</a:t>
            </a:r>
          </a:p>
        </p:txBody>
      </p:sp>
    </p:spTree>
    <p:extLst>
      <p:ext uri="{BB962C8B-B14F-4D97-AF65-F5344CB8AC3E}">
        <p14:creationId xmlns:p14="http://schemas.microsoft.com/office/powerpoint/2010/main" xmlns="" val="3360266544"/>
      </p:ext>
    </p:extLst>
  </p:cSld>
  <p:clrMapOvr>
    <a:masterClrMapping/>
  </p:clrMapOvr>
  <p:transition spd="med">
    <p:fade thruBlk="1"/>
  </p:transition>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251520" y="147950"/>
            <a:ext cx="8618531" cy="560923"/>
          </a:xfrm>
        </p:spPr>
        <p:txBody>
          <a:bodyPr/>
          <a:lstStyle/>
          <a:p>
            <a:r>
              <a:rPr lang="th-TH" sz="2700" b="1" dirty="0">
                <a:latin typeface="TH SarabunPSK" pitchFamily="34" charset="-34"/>
                <a:cs typeface="TH SarabunPSK" pitchFamily="34" charset="-34"/>
              </a:rPr>
              <a:t>เขตเศรษฐกิจพิเศษบริเวณชายแดนของไทยจะส่งเสริมกิจกรรมเศรษฐกิจเชื่อมโยงประเทศในภูมิภาคและประเทศเพื่อนบ้าน โดยเฉพาะระหว่างเขตพัฒนาเศรษฐกิจพิเศษทั้งสองประเทศ</a:t>
            </a:r>
            <a:endParaRPr lang="en-US" sz="2700" b="1" dirty="0">
              <a:latin typeface="TH SarabunPSK" pitchFamily="34" charset="-34"/>
              <a:cs typeface="TH SarabunPSK" pitchFamily="34" charset="-34"/>
            </a:endParaRPr>
          </a:p>
        </p:txBody>
      </p:sp>
      <p:grpSp>
        <p:nvGrpSpPr>
          <p:cNvPr id="2" name="Group 26"/>
          <p:cNvGrpSpPr/>
          <p:nvPr/>
        </p:nvGrpSpPr>
        <p:grpSpPr>
          <a:xfrm>
            <a:off x="683568" y="1093117"/>
            <a:ext cx="7693892" cy="3808776"/>
            <a:chOff x="683568" y="1093116"/>
            <a:chExt cx="7693892" cy="3808776"/>
          </a:xfrm>
        </p:grpSpPr>
        <p:grpSp>
          <p:nvGrpSpPr>
            <p:cNvPr id="4" name="Group 84"/>
            <p:cNvGrpSpPr/>
            <p:nvPr/>
          </p:nvGrpSpPr>
          <p:grpSpPr>
            <a:xfrm>
              <a:off x="2483768" y="1635646"/>
              <a:ext cx="4084872" cy="3054236"/>
              <a:chOff x="819807" y="2128346"/>
              <a:chExt cx="4716256" cy="4398575"/>
            </a:xfrm>
          </p:grpSpPr>
          <p:grpSp>
            <p:nvGrpSpPr>
              <p:cNvPr id="6" name="Group 32"/>
              <p:cNvGrpSpPr/>
              <p:nvPr/>
            </p:nvGrpSpPr>
            <p:grpSpPr>
              <a:xfrm>
                <a:off x="819807" y="2128346"/>
                <a:ext cx="4716256" cy="4398575"/>
                <a:chOff x="1409046" y="2593976"/>
                <a:chExt cx="3376746" cy="3461038"/>
              </a:xfrm>
            </p:grpSpPr>
            <p:sp>
              <p:nvSpPr>
                <p:cNvPr id="35" name="Freeform 34"/>
                <p:cNvSpPr>
                  <a:spLocks noEditPoints="1"/>
                </p:cNvSpPr>
                <p:nvPr/>
              </p:nvSpPr>
              <p:spPr bwMode="auto">
                <a:xfrm>
                  <a:off x="1888729" y="2663357"/>
                  <a:ext cx="1890216" cy="3391657"/>
                </a:xfrm>
                <a:custGeom>
                  <a:avLst/>
                  <a:gdLst>
                    <a:gd name="T0" fmla="*/ 918 w 1444"/>
                    <a:gd name="T1" fmla="*/ 1530 h 2591"/>
                    <a:gd name="T2" fmla="*/ 159 w 1444"/>
                    <a:gd name="T3" fmla="*/ 1971 h 2591"/>
                    <a:gd name="T4" fmla="*/ 216 w 1444"/>
                    <a:gd name="T5" fmla="*/ 2173 h 2591"/>
                    <a:gd name="T6" fmla="*/ 184 w 1444"/>
                    <a:gd name="T7" fmla="*/ 2180 h 2591"/>
                    <a:gd name="T8" fmla="*/ 295 w 1444"/>
                    <a:gd name="T9" fmla="*/ 2202 h 2591"/>
                    <a:gd name="T10" fmla="*/ 303 w 1444"/>
                    <a:gd name="T11" fmla="*/ 2245 h 2591"/>
                    <a:gd name="T12" fmla="*/ 454 w 1444"/>
                    <a:gd name="T13" fmla="*/ 0 h 2591"/>
                    <a:gd name="T14" fmla="*/ 324 w 1444"/>
                    <a:gd name="T15" fmla="*/ 57 h 2591"/>
                    <a:gd name="T16" fmla="*/ 159 w 1444"/>
                    <a:gd name="T17" fmla="*/ 137 h 2591"/>
                    <a:gd name="T18" fmla="*/ 58 w 1444"/>
                    <a:gd name="T19" fmla="*/ 263 h 2591"/>
                    <a:gd name="T20" fmla="*/ 25 w 1444"/>
                    <a:gd name="T21" fmla="*/ 382 h 2591"/>
                    <a:gd name="T22" fmla="*/ 112 w 1444"/>
                    <a:gd name="T23" fmla="*/ 516 h 2591"/>
                    <a:gd name="T24" fmla="*/ 223 w 1444"/>
                    <a:gd name="T25" fmla="*/ 707 h 2591"/>
                    <a:gd name="T26" fmla="*/ 220 w 1444"/>
                    <a:gd name="T27" fmla="*/ 801 h 2591"/>
                    <a:gd name="T28" fmla="*/ 155 w 1444"/>
                    <a:gd name="T29" fmla="*/ 945 h 2591"/>
                    <a:gd name="T30" fmla="*/ 267 w 1444"/>
                    <a:gd name="T31" fmla="*/ 1104 h 2591"/>
                    <a:gd name="T32" fmla="*/ 321 w 1444"/>
                    <a:gd name="T33" fmla="*/ 1303 h 2591"/>
                    <a:gd name="T34" fmla="*/ 382 w 1444"/>
                    <a:gd name="T35" fmla="*/ 1476 h 2591"/>
                    <a:gd name="T36" fmla="*/ 328 w 1444"/>
                    <a:gd name="T37" fmla="*/ 1631 h 2591"/>
                    <a:gd name="T38" fmla="*/ 234 w 1444"/>
                    <a:gd name="T39" fmla="*/ 1794 h 2591"/>
                    <a:gd name="T40" fmla="*/ 205 w 1444"/>
                    <a:gd name="T41" fmla="*/ 1898 h 2591"/>
                    <a:gd name="T42" fmla="*/ 184 w 1444"/>
                    <a:gd name="T43" fmla="*/ 1996 h 2591"/>
                    <a:gd name="T44" fmla="*/ 151 w 1444"/>
                    <a:gd name="T45" fmla="*/ 2086 h 2591"/>
                    <a:gd name="T46" fmla="*/ 205 w 1444"/>
                    <a:gd name="T47" fmla="*/ 2104 h 2591"/>
                    <a:gd name="T48" fmla="*/ 249 w 1444"/>
                    <a:gd name="T49" fmla="*/ 2173 h 2591"/>
                    <a:gd name="T50" fmla="*/ 328 w 1444"/>
                    <a:gd name="T51" fmla="*/ 2241 h 2591"/>
                    <a:gd name="T52" fmla="*/ 396 w 1444"/>
                    <a:gd name="T53" fmla="*/ 2292 h 2591"/>
                    <a:gd name="T54" fmla="*/ 407 w 1444"/>
                    <a:gd name="T55" fmla="*/ 2357 h 2591"/>
                    <a:gd name="T56" fmla="*/ 472 w 1444"/>
                    <a:gd name="T57" fmla="*/ 2433 h 2591"/>
                    <a:gd name="T58" fmla="*/ 576 w 1444"/>
                    <a:gd name="T59" fmla="*/ 2447 h 2591"/>
                    <a:gd name="T60" fmla="*/ 652 w 1444"/>
                    <a:gd name="T61" fmla="*/ 2573 h 2591"/>
                    <a:gd name="T62" fmla="*/ 799 w 1444"/>
                    <a:gd name="T63" fmla="*/ 2526 h 2591"/>
                    <a:gd name="T64" fmla="*/ 699 w 1444"/>
                    <a:gd name="T65" fmla="*/ 2368 h 2591"/>
                    <a:gd name="T66" fmla="*/ 565 w 1444"/>
                    <a:gd name="T67" fmla="*/ 2321 h 2591"/>
                    <a:gd name="T68" fmla="*/ 522 w 1444"/>
                    <a:gd name="T69" fmla="*/ 2187 h 2591"/>
                    <a:gd name="T70" fmla="*/ 454 w 1444"/>
                    <a:gd name="T71" fmla="*/ 2064 h 2591"/>
                    <a:gd name="T72" fmla="*/ 339 w 1444"/>
                    <a:gd name="T73" fmla="*/ 1967 h 2591"/>
                    <a:gd name="T74" fmla="*/ 339 w 1444"/>
                    <a:gd name="T75" fmla="*/ 1765 h 2591"/>
                    <a:gd name="T76" fmla="*/ 385 w 1444"/>
                    <a:gd name="T77" fmla="*/ 1592 h 2591"/>
                    <a:gd name="T78" fmla="*/ 461 w 1444"/>
                    <a:gd name="T79" fmla="*/ 1386 h 2591"/>
                    <a:gd name="T80" fmla="*/ 511 w 1444"/>
                    <a:gd name="T81" fmla="*/ 1209 h 2591"/>
                    <a:gd name="T82" fmla="*/ 627 w 1444"/>
                    <a:gd name="T83" fmla="*/ 1267 h 2591"/>
                    <a:gd name="T84" fmla="*/ 742 w 1444"/>
                    <a:gd name="T85" fmla="*/ 1364 h 2591"/>
                    <a:gd name="T86" fmla="*/ 810 w 1444"/>
                    <a:gd name="T87" fmla="*/ 1375 h 2591"/>
                    <a:gd name="T88" fmla="*/ 871 w 1444"/>
                    <a:gd name="T89" fmla="*/ 1415 h 2591"/>
                    <a:gd name="T90" fmla="*/ 918 w 1444"/>
                    <a:gd name="T91" fmla="*/ 1451 h 2591"/>
                    <a:gd name="T92" fmla="*/ 936 w 1444"/>
                    <a:gd name="T93" fmla="*/ 1415 h 2591"/>
                    <a:gd name="T94" fmla="*/ 875 w 1444"/>
                    <a:gd name="T95" fmla="*/ 1256 h 2591"/>
                    <a:gd name="T96" fmla="*/ 947 w 1444"/>
                    <a:gd name="T97" fmla="*/ 1140 h 2591"/>
                    <a:gd name="T98" fmla="*/ 1134 w 1444"/>
                    <a:gd name="T99" fmla="*/ 1065 h 2591"/>
                    <a:gd name="T100" fmla="*/ 1318 w 1444"/>
                    <a:gd name="T101" fmla="*/ 1057 h 2591"/>
                    <a:gd name="T102" fmla="*/ 1440 w 1444"/>
                    <a:gd name="T103" fmla="*/ 956 h 2591"/>
                    <a:gd name="T104" fmla="*/ 1394 w 1444"/>
                    <a:gd name="T105" fmla="*/ 794 h 2591"/>
                    <a:gd name="T106" fmla="*/ 1293 w 1444"/>
                    <a:gd name="T107" fmla="*/ 631 h 2591"/>
                    <a:gd name="T108" fmla="*/ 1177 w 1444"/>
                    <a:gd name="T109" fmla="*/ 411 h 2591"/>
                    <a:gd name="T110" fmla="*/ 1012 w 1444"/>
                    <a:gd name="T111" fmla="*/ 400 h 2591"/>
                    <a:gd name="T112" fmla="*/ 843 w 1444"/>
                    <a:gd name="T113" fmla="*/ 404 h 2591"/>
                    <a:gd name="T114" fmla="*/ 691 w 1444"/>
                    <a:gd name="T115" fmla="*/ 491 h 2591"/>
                    <a:gd name="T116" fmla="*/ 652 w 1444"/>
                    <a:gd name="T117" fmla="*/ 364 h 2591"/>
                    <a:gd name="T118" fmla="*/ 670 w 1444"/>
                    <a:gd name="T119" fmla="*/ 184 h 2591"/>
                    <a:gd name="T120" fmla="*/ 547 w 1444"/>
                    <a:gd name="T121" fmla="*/ 151 h 2591"/>
                    <a:gd name="T122" fmla="*/ 479 w 1444"/>
                    <a:gd name="T123" fmla="*/ 36 h 25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444" h="2591">
                      <a:moveTo>
                        <a:pt x="853" y="1451"/>
                      </a:moveTo>
                      <a:lnTo>
                        <a:pt x="861" y="1480"/>
                      </a:lnTo>
                      <a:lnTo>
                        <a:pt x="864" y="1483"/>
                      </a:lnTo>
                      <a:lnTo>
                        <a:pt x="879" y="1476"/>
                      </a:lnTo>
                      <a:lnTo>
                        <a:pt x="886" y="1487"/>
                      </a:lnTo>
                      <a:lnTo>
                        <a:pt x="889" y="1480"/>
                      </a:lnTo>
                      <a:lnTo>
                        <a:pt x="871" y="1458"/>
                      </a:lnTo>
                      <a:lnTo>
                        <a:pt x="853" y="1451"/>
                      </a:lnTo>
                      <a:close/>
                      <a:moveTo>
                        <a:pt x="907" y="1519"/>
                      </a:moveTo>
                      <a:lnTo>
                        <a:pt x="904" y="1545"/>
                      </a:lnTo>
                      <a:lnTo>
                        <a:pt x="915" y="1555"/>
                      </a:lnTo>
                      <a:lnTo>
                        <a:pt x="918" y="1530"/>
                      </a:lnTo>
                      <a:lnTo>
                        <a:pt x="907" y="1519"/>
                      </a:lnTo>
                      <a:close/>
                      <a:moveTo>
                        <a:pt x="457" y="1862"/>
                      </a:moveTo>
                      <a:lnTo>
                        <a:pt x="475" y="1884"/>
                      </a:lnTo>
                      <a:lnTo>
                        <a:pt x="472" y="1862"/>
                      </a:lnTo>
                      <a:lnTo>
                        <a:pt x="457" y="1862"/>
                      </a:lnTo>
                      <a:close/>
                      <a:moveTo>
                        <a:pt x="475" y="1898"/>
                      </a:moveTo>
                      <a:lnTo>
                        <a:pt x="447" y="1902"/>
                      </a:lnTo>
                      <a:lnTo>
                        <a:pt x="450" y="1927"/>
                      </a:lnTo>
                      <a:lnTo>
                        <a:pt x="475" y="1920"/>
                      </a:lnTo>
                      <a:lnTo>
                        <a:pt x="475" y="1898"/>
                      </a:lnTo>
                      <a:close/>
                      <a:moveTo>
                        <a:pt x="166" y="1956"/>
                      </a:moveTo>
                      <a:lnTo>
                        <a:pt x="159" y="1971"/>
                      </a:lnTo>
                      <a:lnTo>
                        <a:pt x="166" y="1967"/>
                      </a:lnTo>
                      <a:lnTo>
                        <a:pt x="166" y="1956"/>
                      </a:lnTo>
                      <a:close/>
                      <a:moveTo>
                        <a:pt x="166" y="1971"/>
                      </a:moveTo>
                      <a:lnTo>
                        <a:pt x="159" y="1996"/>
                      </a:lnTo>
                      <a:lnTo>
                        <a:pt x="173" y="1989"/>
                      </a:lnTo>
                      <a:lnTo>
                        <a:pt x="166" y="1971"/>
                      </a:lnTo>
                      <a:close/>
                      <a:moveTo>
                        <a:pt x="159" y="1999"/>
                      </a:moveTo>
                      <a:lnTo>
                        <a:pt x="159" y="2025"/>
                      </a:lnTo>
                      <a:lnTo>
                        <a:pt x="169" y="2003"/>
                      </a:lnTo>
                      <a:lnTo>
                        <a:pt x="159" y="1999"/>
                      </a:lnTo>
                      <a:close/>
                      <a:moveTo>
                        <a:pt x="205" y="2155"/>
                      </a:moveTo>
                      <a:lnTo>
                        <a:pt x="216" y="2173"/>
                      </a:lnTo>
                      <a:lnTo>
                        <a:pt x="216" y="2194"/>
                      </a:lnTo>
                      <a:lnTo>
                        <a:pt x="220" y="2169"/>
                      </a:lnTo>
                      <a:lnTo>
                        <a:pt x="205" y="2155"/>
                      </a:lnTo>
                      <a:close/>
                      <a:moveTo>
                        <a:pt x="166" y="2140"/>
                      </a:moveTo>
                      <a:lnTo>
                        <a:pt x="162" y="2162"/>
                      </a:lnTo>
                      <a:lnTo>
                        <a:pt x="166" y="2176"/>
                      </a:lnTo>
                      <a:lnTo>
                        <a:pt x="159" y="2187"/>
                      </a:lnTo>
                      <a:lnTo>
                        <a:pt x="166" y="2191"/>
                      </a:lnTo>
                      <a:lnTo>
                        <a:pt x="169" y="2220"/>
                      </a:lnTo>
                      <a:lnTo>
                        <a:pt x="177" y="2205"/>
                      </a:lnTo>
                      <a:lnTo>
                        <a:pt x="184" y="2209"/>
                      </a:lnTo>
                      <a:lnTo>
                        <a:pt x="184" y="2180"/>
                      </a:lnTo>
                      <a:lnTo>
                        <a:pt x="191" y="2162"/>
                      </a:lnTo>
                      <a:lnTo>
                        <a:pt x="177" y="2155"/>
                      </a:lnTo>
                      <a:lnTo>
                        <a:pt x="166" y="2140"/>
                      </a:lnTo>
                      <a:close/>
                      <a:moveTo>
                        <a:pt x="367" y="2306"/>
                      </a:moveTo>
                      <a:lnTo>
                        <a:pt x="353" y="2310"/>
                      </a:lnTo>
                      <a:lnTo>
                        <a:pt x="357" y="2303"/>
                      </a:lnTo>
                      <a:lnTo>
                        <a:pt x="367" y="2306"/>
                      </a:lnTo>
                      <a:close/>
                      <a:moveTo>
                        <a:pt x="223" y="2144"/>
                      </a:moveTo>
                      <a:lnTo>
                        <a:pt x="213" y="2155"/>
                      </a:lnTo>
                      <a:lnTo>
                        <a:pt x="220" y="2162"/>
                      </a:lnTo>
                      <a:lnTo>
                        <a:pt x="223" y="2144"/>
                      </a:lnTo>
                      <a:close/>
                      <a:moveTo>
                        <a:pt x="295" y="2202"/>
                      </a:moveTo>
                      <a:lnTo>
                        <a:pt x="292" y="2220"/>
                      </a:lnTo>
                      <a:lnTo>
                        <a:pt x="303" y="2230"/>
                      </a:lnTo>
                      <a:lnTo>
                        <a:pt x="310" y="2209"/>
                      </a:lnTo>
                      <a:lnTo>
                        <a:pt x="295" y="2202"/>
                      </a:lnTo>
                      <a:close/>
                      <a:moveTo>
                        <a:pt x="295" y="2230"/>
                      </a:moveTo>
                      <a:lnTo>
                        <a:pt x="310" y="2249"/>
                      </a:lnTo>
                      <a:lnTo>
                        <a:pt x="310" y="2230"/>
                      </a:lnTo>
                      <a:lnTo>
                        <a:pt x="295" y="2230"/>
                      </a:lnTo>
                      <a:close/>
                      <a:moveTo>
                        <a:pt x="292" y="2238"/>
                      </a:moveTo>
                      <a:lnTo>
                        <a:pt x="295" y="2252"/>
                      </a:lnTo>
                      <a:lnTo>
                        <a:pt x="306" y="2270"/>
                      </a:lnTo>
                      <a:lnTo>
                        <a:pt x="303" y="2245"/>
                      </a:lnTo>
                      <a:lnTo>
                        <a:pt x="292" y="2238"/>
                      </a:lnTo>
                      <a:close/>
                      <a:moveTo>
                        <a:pt x="321" y="2425"/>
                      </a:moveTo>
                      <a:lnTo>
                        <a:pt x="317" y="2429"/>
                      </a:lnTo>
                      <a:lnTo>
                        <a:pt x="331" y="2425"/>
                      </a:lnTo>
                      <a:lnTo>
                        <a:pt x="321" y="2425"/>
                      </a:lnTo>
                      <a:close/>
                      <a:moveTo>
                        <a:pt x="400" y="2397"/>
                      </a:moveTo>
                      <a:lnTo>
                        <a:pt x="393" y="2422"/>
                      </a:lnTo>
                      <a:lnTo>
                        <a:pt x="403" y="2436"/>
                      </a:lnTo>
                      <a:lnTo>
                        <a:pt x="411" y="2429"/>
                      </a:lnTo>
                      <a:lnTo>
                        <a:pt x="407" y="2404"/>
                      </a:lnTo>
                      <a:lnTo>
                        <a:pt x="400" y="2397"/>
                      </a:lnTo>
                      <a:close/>
                      <a:moveTo>
                        <a:pt x="454" y="0"/>
                      </a:moveTo>
                      <a:lnTo>
                        <a:pt x="439" y="3"/>
                      </a:lnTo>
                      <a:lnTo>
                        <a:pt x="429" y="21"/>
                      </a:lnTo>
                      <a:lnTo>
                        <a:pt x="407" y="25"/>
                      </a:lnTo>
                      <a:lnTo>
                        <a:pt x="400" y="21"/>
                      </a:lnTo>
                      <a:lnTo>
                        <a:pt x="396" y="21"/>
                      </a:lnTo>
                      <a:lnTo>
                        <a:pt x="367" y="10"/>
                      </a:lnTo>
                      <a:lnTo>
                        <a:pt x="378" y="39"/>
                      </a:lnTo>
                      <a:lnTo>
                        <a:pt x="385" y="43"/>
                      </a:lnTo>
                      <a:lnTo>
                        <a:pt x="378" y="54"/>
                      </a:lnTo>
                      <a:lnTo>
                        <a:pt x="364" y="65"/>
                      </a:lnTo>
                      <a:lnTo>
                        <a:pt x="346" y="68"/>
                      </a:lnTo>
                      <a:lnTo>
                        <a:pt x="324" y="57"/>
                      </a:lnTo>
                      <a:lnTo>
                        <a:pt x="303" y="61"/>
                      </a:lnTo>
                      <a:lnTo>
                        <a:pt x="292" y="86"/>
                      </a:lnTo>
                      <a:lnTo>
                        <a:pt x="292" y="108"/>
                      </a:lnTo>
                      <a:lnTo>
                        <a:pt x="285" y="126"/>
                      </a:lnTo>
                      <a:lnTo>
                        <a:pt x="259" y="112"/>
                      </a:lnTo>
                      <a:lnTo>
                        <a:pt x="249" y="122"/>
                      </a:lnTo>
                      <a:lnTo>
                        <a:pt x="238" y="122"/>
                      </a:lnTo>
                      <a:lnTo>
                        <a:pt x="216" y="130"/>
                      </a:lnTo>
                      <a:lnTo>
                        <a:pt x="213" y="137"/>
                      </a:lnTo>
                      <a:lnTo>
                        <a:pt x="195" y="133"/>
                      </a:lnTo>
                      <a:lnTo>
                        <a:pt x="184" y="133"/>
                      </a:lnTo>
                      <a:lnTo>
                        <a:pt x="159" y="137"/>
                      </a:lnTo>
                      <a:lnTo>
                        <a:pt x="144" y="122"/>
                      </a:lnTo>
                      <a:lnTo>
                        <a:pt x="119" y="115"/>
                      </a:lnTo>
                      <a:lnTo>
                        <a:pt x="123" y="144"/>
                      </a:lnTo>
                      <a:lnTo>
                        <a:pt x="108" y="151"/>
                      </a:lnTo>
                      <a:lnTo>
                        <a:pt x="90" y="155"/>
                      </a:lnTo>
                      <a:lnTo>
                        <a:pt x="94" y="169"/>
                      </a:lnTo>
                      <a:lnTo>
                        <a:pt x="76" y="184"/>
                      </a:lnTo>
                      <a:lnTo>
                        <a:pt x="87" y="202"/>
                      </a:lnTo>
                      <a:lnTo>
                        <a:pt x="76" y="209"/>
                      </a:lnTo>
                      <a:lnTo>
                        <a:pt x="87" y="238"/>
                      </a:lnTo>
                      <a:lnTo>
                        <a:pt x="76" y="241"/>
                      </a:lnTo>
                      <a:lnTo>
                        <a:pt x="58" y="263"/>
                      </a:lnTo>
                      <a:lnTo>
                        <a:pt x="69" y="274"/>
                      </a:lnTo>
                      <a:lnTo>
                        <a:pt x="72" y="303"/>
                      </a:lnTo>
                      <a:lnTo>
                        <a:pt x="76" y="310"/>
                      </a:lnTo>
                      <a:lnTo>
                        <a:pt x="72" y="328"/>
                      </a:lnTo>
                      <a:lnTo>
                        <a:pt x="54" y="328"/>
                      </a:lnTo>
                      <a:lnTo>
                        <a:pt x="33" y="343"/>
                      </a:lnTo>
                      <a:lnTo>
                        <a:pt x="18" y="343"/>
                      </a:lnTo>
                      <a:lnTo>
                        <a:pt x="4" y="324"/>
                      </a:lnTo>
                      <a:lnTo>
                        <a:pt x="0" y="335"/>
                      </a:lnTo>
                      <a:lnTo>
                        <a:pt x="15" y="357"/>
                      </a:lnTo>
                      <a:lnTo>
                        <a:pt x="18" y="361"/>
                      </a:lnTo>
                      <a:lnTo>
                        <a:pt x="25" y="382"/>
                      </a:lnTo>
                      <a:lnTo>
                        <a:pt x="36" y="371"/>
                      </a:lnTo>
                      <a:lnTo>
                        <a:pt x="51" y="379"/>
                      </a:lnTo>
                      <a:lnTo>
                        <a:pt x="47" y="389"/>
                      </a:lnTo>
                      <a:lnTo>
                        <a:pt x="58" y="400"/>
                      </a:lnTo>
                      <a:lnTo>
                        <a:pt x="58" y="418"/>
                      </a:lnTo>
                      <a:lnTo>
                        <a:pt x="69" y="433"/>
                      </a:lnTo>
                      <a:lnTo>
                        <a:pt x="58" y="451"/>
                      </a:lnTo>
                      <a:lnTo>
                        <a:pt x="69" y="469"/>
                      </a:lnTo>
                      <a:lnTo>
                        <a:pt x="79" y="487"/>
                      </a:lnTo>
                      <a:lnTo>
                        <a:pt x="97" y="501"/>
                      </a:lnTo>
                      <a:lnTo>
                        <a:pt x="101" y="509"/>
                      </a:lnTo>
                      <a:lnTo>
                        <a:pt x="112" y="516"/>
                      </a:lnTo>
                      <a:lnTo>
                        <a:pt x="126" y="537"/>
                      </a:lnTo>
                      <a:lnTo>
                        <a:pt x="133" y="537"/>
                      </a:lnTo>
                      <a:lnTo>
                        <a:pt x="137" y="552"/>
                      </a:lnTo>
                      <a:lnTo>
                        <a:pt x="155" y="563"/>
                      </a:lnTo>
                      <a:lnTo>
                        <a:pt x="169" y="592"/>
                      </a:lnTo>
                      <a:lnTo>
                        <a:pt x="184" y="595"/>
                      </a:lnTo>
                      <a:lnTo>
                        <a:pt x="202" y="613"/>
                      </a:lnTo>
                      <a:lnTo>
                        <a:pt x="209" y="635"/>
                      </a:lnTo>
                      <a:lnTo>
                        <a:pt x="195" y="653"/>
                      </a:lnTo>
                      <a:lnTo>
                        <a:pt x="213" y="667"/>
                      </a:lnTo>
                      <a:lnTo>
                        <a:pt x="227" y="696"/>
                      </a:lnTo>
                      <a:lnTo>
                        <a:pt x="223" y="707"/>
                      </a:lnTo>
                      <a:lnTo>
                        <a:pt x="231" y="732"/>
                      </a:lnTo>
                      <a:lnTo>
                        <a:pt x="234" y="732"/>
                      </a:lnTo>
                      <a:lnTo>
                        <a:pt x="241" y="722"/>
                      </a:lnTo>
                      <a:lnTo>
                        <a:pt x="259" y="704"/>
                      </a:lnTo>
                      <a:lnTo>
                        <a:pt x="274" y="711"/>
                      </a:lnTo>
                      <a:lnTo>
                        <a:pt x="274" y="725"/>
                      </a:lnTo>
                      <a:lnTo>
                        <a:pt x="263" y="740"/>
                      </a:lnTo>
                      <a:lnTo>
                        <a:pt x="263" y="758"/>
                      </a:lnTo>
                      <a:lnTo>
                        <a:pt x="234" y="754"/>
                      </a:lnTo>
                      <a:lnTo>
                        <a:pt x="213" y="768"/>
                      </a:lnTo>
                      <a:lnTo>
                        <a:pt x="220" y="783"/>
                      </a:lnTo>
                      <a:lnTo>
                        <a:pt x="220" y="801"/>
                      </a:lnTo>
                      <a:lnTo>
                        <a:pt x="213" y="815"/>
                      </a:lnTo>
                      <a:lnTo>
                        <a:pt x="209" y="833"/>
                      </a:lnTo>
                      <a:lnTo>
                        <a:pt x="213" y="841"/>
                      </a:lnTo>
                      <a:lnTo>
                        <a:pt x="213" y="848"/>
                      </a:lnTo>
                      <a:lnTo>
                        <a:pt x="216" y="877"/>
                      </a:lnTo>
                      <a:lnTo>
                        <a:pt x="213" y="895"/>
                      </a:lnTo>
                      <a:lnTo>
                        <a:pt x="198" y="884"/>
                      </a:lnTo>
                      <a:lnTo>
                        <a:pt x="184" y="909"/>
                      </a:lnTo>
                      <a:lnTo>
                        <a:pt x="166" y="898"/>
                      </a:lnTo>
                      <a:lnTo>
                        <a:pt x="148" y="913"/>
                      </a:lnTo>
                      <a:lnTo>
                        <a:pt x="144" y="935"/>
                      </a:lnTo>
                      <a:lnTo>
                        <a:pt x="155" y="945"/>
                      </a:lnTo>
                      <a:lnTo>
                        <a:pt x="151" y="956"/>
                      </a:lnTo>
                      <a:lnTo>
                        <a:pt x="159" y="985"/>
                      </a:lnTo>
                      <a:lnTo>
                        <a:pt x="169" y="1003"/>
                      </a:lnTo>
                      <a:lnTo>
                        <a:pt x="191" y="1021"/>
                      </a:lnTo>
                      <a:lnTo>
                        <a:pt x="195" y="1036"/>
                      </a:lnTo>
                      <a:lnTo>
                        <a:pt x="198" y="1032"/>
                      </a:lnTo>
                      <a:lnTo>
                        <a:pt x="213" y="1061"/>
                      </a:lnTo>
                      <a:lnTo>
                        <a:pt x="220" y="1065"/>
                      </a:lnTo>
                      <a:lnTo>
                        <a:pt x="220" y="1072"/>
                      </a:lnTo>
                      <a:lnTo>
                        <a:pt x="234" y="1079"/>
                      </a:lnTo>
                      <a:lnTo>
                        <a:pt x="238" y="1086"/>
                      </a:lnTo>
                      <a:lnTo>
                        <a:pt x="267" y="1104"/>
                      </a:lnTo>
                      <a:lnTo>
                        <a:pt x="270" y="1108"/>
                      </a:lnTo>
                      <a:lnTo>
                        <a:pt x="281" y="1111"/>
                      </a:lnTo>
                      <a:lnTo>
                        <a:pt x="292" y="1137"/>
                      </a:lnTo>
                      <a:lnTo>
                        <a:pt x="306" y="1148"/>
                      </a:lnTo>
                      <a:lnTo>
                        <a:pt x="317" y="1176"/>
                      </a:lnTo>
                      <a:lnTo>
                        <a:pt x="317" y="1202"/>
                      </a:lnTo>
                      <a:lnTo>
                        <a:pt x="324" y="1223"/>
                      </a:lnTo>
                      <a:lnTo>
                        <a:pt x="321" y="1252"/>
                      </a:lnTo>
                      <a:lnTo>
                        <a:pt x="324" y="1267"/>
                      </a:lnTo>
                      <a:lnTo>
                        <a:pt x="310" y="1270"/>
                      </a:lnTo>
                      <a:lnTo>
                        <a:pt x="306" y="1292"/>
                      </a:lnTo>
                      <a:lnTo>
                        <a:pt x="321" y="1303"/>
                      </a:lnTo>
                      <a:lnTo>
                        <a:pt x="317" y="1314"/>
                      </a:lnTo>
                      <a:lnTo>
                        <a:pt x="328" y="1332"/>
                      </a:lnTo>
                      <a:lnTo>
                        <a:pt x="331" y="1350"/>
                      </a:lnTo>
                      <a:lnTo>
                        <a:pt x="339" y="1353"/>
                      </a:lnTo>
                      <a:lnTo>
                        <a:pt x="339" y="1361"/>
                      </a:lnTo>
                      <a:lnTo>
                        <a:pt x="364" y="1375"/>
                      </a:lnTo>
                      <a:lnTo>
                        <a:pt x="357" y="1397"/>
                      </a:lnTo>
                      <a:lnTo>
                        <a:pt x="367" y="1407"/>
                      </a:lnTo>
                      <a:lnTo>
                        <a:pt x="371" y="1429"/>
                      </a:lnTo>
                      <a:lnTo>
                        <a:pt x="371" y="1454"/>
                      </a:lnTo>
                      <a:lnTo>
                        <a:pt x="389" y="1451"/>
                      </a:lnTo>
                      <a:lnTo>
                        <a:pt x="382" y="1476"/>
                      </a:lnTo>
                      <a:lnTo>
                        <a:pt x="389" y="1498"/>
                      </a:lnTo>
                      <a:lnTo>
                        <a:pt x="403" y="1509"/>
                      </a:lnTo>
                      <a:lnTo>
                        <a:pt x="400" y="1527"/>
                      </a:lnTo>
                      <a:lnTo>
                        <a:pt x="385" y="1541"/>
                      </a:lnTo>
                      <a:lnTo>
                        <a:pt x="371" y="1545"/>
                      </a:lnTo>
                      <a:lnTo>
                        <a:pt x="367" y="1566"/>
                      </a:lnTo>
                      <a:lnTo>
                        <a:pt x="357" y="1570"/>
                      </a:lnTo>
                      <a:lnTo>
                        <a:pt x="357" y="1584"/>
                      </a:lnTo>
                      <a:lnTo>
                        <a:pt x="342" y="1595"/>
                      </a:lnTo>
                      <a:lnTo>
                        <a:pt x="342" y="1613"/>
                      </a:lnTo>
                      <a:lnTo>
                        <a:pt x="335" y="1617"/>
                      </a:lnTo>
                      <a:lnTo>
                        <a:pt x="328" y="1631"/>
                      </a:lnTo>
                      <a:lnTo>
                        <a:pt x="313" y="1646"/>
                      </a:lnTo>
                      <a:lnTo>
                        <a:pt x="292" y="1657"/>
                      </a:lnTo>
                      <a:lnTo>
                        <a:pt x="288" y="1678"/>
                      </a:lnTo>
                      <a:lnTo>
                        <a:pt x="270" y="1693"/>
                      </a:lnTo>
                      <a:lnTo>
                        <a:pt x="249" y="1707"/>
                      </a:lnTo>
                      <a:lnTo>
                        <a:pt x="256" y="1740"/>
                      </a:lnTo>
                      <a:lnTo>
                        <a:pt x="245" y="1758"/>
                      </a:lnTo>
                      <a:lnTo>
                        <a:pt x="245" y="1772"/>
                      </a:lnTo>
                      <a:lnTo>
                        <a:pt x="234" y="1794"/>
                      </a:lnTo>
                      <a:lnTo>
                        <a:pt x="238" y="1794"/>
                      </a:lnTo>
                      <a:lnTo>
                        <a:pt x="245" y="1797"/>
                      </a:lnTo>
                      <a:lnTo>
                        <a:pt x="234" y="1794"/>
                      </a:lnTo>
                      <a:lnTo>
                        <a:pt x="231" y="1805"/>
                      </a:lnTo>
                      <a:lnTo>
                        <a:pt x="216" y="1830"/>
                      </a:lnTo>
                      <a:lnTo>
                        <a:pt x="220" y="1837"/>
                      </a:lnTo>
                      <a:lnTo>
                        <a:pt x="213" y="1841"/>
                      </a:lnTo>
                      <a:lnTo>
                        <a:pt x="216" y="1848"/>
                      </a:lnTo>
                      <a:lnTo>
                        <a:pt x="202" y="1851"/>
                      </a:lnTo>
                      <a:lnTo>
                        <a:pt x="213" y="1859"/>
                      </a:lnTo>
                      <a:lnTo>
                        <a:pt x="202" y="1873"/>
                      </a:lnTo>
                      <a:lnTo>
                        <a:pt x="213" y="1873"/>
                      </a:lnTo>
                      <a:lnTo>
                        <a:pt x="209" y="1884"/>
                      </a:lnTo>
                      <a:lnTo>
                        <a:pt x="198" y="1880"/>
                      </a:lnTo>
                      <a:lnTo>
                        <a:pt x="205" y="1898"/>
                      </a:lnTo>
                      <a:lnTo>
                        <a:pt x="195" y="1895"/>
                      </a:lnTo>
                      <a:lnTo>
                        <a:pt x="213" y="1902"/>
                      </a:lnTo>
                      <a:lnTo>
                        <a:pt x="202" y="1906"/>
                      </a:lnTo>
                      <a:lnTo>
                        <a:pt x="195" y="1924"/>
                      </a:lnTo>
                      <a:lnTo>
                        <a:pt x="195" y="1902"/>
                      </a:lnTo>
                      <a:lnTo>
                        <a:pt x="184" y="1931"/>
                      </a:lnTo>
                      <a:lnTo>
                        <a:pt x="184" y="1942"/>
                      </a:lnTo>
                      <a:lnTo>
                        <a:pt x="180" y="1971"/>
                      </a:lnTo>
                      <a:lnTo>
                        <a:pt x="169" y="1967"/>
                      </a:lnTo>
                      <a:lnTo>
                        <a:pt x="184" y="1985"/>
                      </a:lnTo>
                      <a:lnTo>
                        <a:pt x="169" y="1996"/>
                      </a:lnTo>
                      <a:lnTo>
                        <a:pt x="184" y="1996"/>
                      </a:lnTo>
                      <a:lnTo>
                        <a:pt x="180" y="2018"/>
                      </a:lnTo>
                      <a:lnTo>
                        <a:pt x="169" y="2007"/>
                      </a:lnTo>
                      <a:lnTo>
                        <a:pt x="169" y="2018"/>
                      </a:lnTo>
                      <a:lnTo>
                        <a:pt x="159" y="2025"/>
                      </a:lnTo>
                      <a:lnTo>
                        <a:pt x="159" y="2043"/>
                      </a:lnTo>
                      <a:lnTo>
                        <a:pt x="151" y="2046"/>
                      </a:lnTo>
                      <a:lnTo>
                        <a:pt x="151" y="2075"/>
                      </a:lnTo>
                      <a:lnTo>
                        <a:pt x="162" y="2086"/>
                      </a:lnTo>
                      <a:lnTo>
                        <a:pt x="151" y="2082"/>
                      </a:lnTo>
                      <a:lnTo>
                        <a:pt x="155" y="2093"/>
                      </a:lnTo>
                      <a:lnTo>
                        <a:pt x="148" y="2079"/>
                      </a:lnTo>
                      <a:lnTo>
                        <a:pt x="151" y="2086"/>
                      </a:lnTo>
                      <a:lnTo>
                        <a:pt x="159" y="2111"/>
                      </a:lnTo>
                      <a:lnTo>
                        <a:pt x="159" y="2119"/>
                      </a:lnTo>
                      <a:lnTo>
                        <a:pt x="162" y="2122"/>
                      </a:lnTo>
                      <a:lnTo>
                        <a:pt x="162" y="2140"/>
                      </a:lnTo>
                      <a:lnTo>
                        <a:pt x="187" y="2151"/>
                      </a:lnTo>
                      <a:lnTo>
                        <a:pt x="195" y="2126"/>
                      </a:lnTo>
                      <a:lnTo>
                        <a:pt x="184" y="2122"/>
                      </a:lnTo>
                      <a:lnTo>
                        <a:pt x="195" y="2119"/>
                      </a:lnTo>
                      <a:lnTo>
                        <a:pt x="191" y="2115"/>
                      </a:lnTo>
                      <a:lnTo>
                        <a:pt x="195" y="2108"/>
                      </a:lnTo>
                      <a:lnTo>
                        <a:pt x="202" y="2115"/>
                      </a:lnTo>
                      <a:lnTo>
                        <a:pt x="205" y="2104"/>
                      </a:lnTo>
                      <a:lnTo>
                        <a:pt x="205" y="2119"/>
                      </a:lnTo>
                      <a:lnTo>
                        <a:pt x="220" y="2097"/>
                      </a:lnTo>
                      <a:lnTo>
                        <a:pt x="227" y="2108"/>
                      </a:lnTo>
                      <a:lnTo>
                        <a:pt x="231" y="2097"/>
                      </a:lnTo>
                      <a:lnTo>
                        <a:pt x="234" y="2108"/>
                      </a:lnTo>
                      <a:lnTo>
                        <a:pt x="223" y="2126"/>
                      </a:lnTo>
                      <a:lnTo>
                        <a:pt x="238" y="2115"/>
                      </a:lnTo>
                      <a:lnTo>
                        <a:pt x="238" y="2137"/>
                      </a:lnTo>
                      <a:lnTo>
                        <a:pt x="241" y="2126"/>
                      </a:lnTo>
                      <a:lnTo>
                        <a:pt x="245" y="2140"/>
                      </a:lnTo>
                      <a:lnTo>
                        <a:pt x="241" y="2162"/>
                      </a:lnTo>
                      <a:lnTo>
                        <a:pt x="249" y="2173"/>
                      </a:lnTo>
                      <a:lnTo>
                        <a:pt x="259" y="2176"/>
                      </a:lnTo>
                      <a:lnTo>
                        <a:pt x="274" y="2162"/>
                      </a:lnTo>
                      <a:lnTo>
                        <a:pt x="281" y="2176"/>
                      </a:lnTo>
                      <a:lnTo>
                        <a:pt x="281" y="2162"/>
                      </a:lnTo>
                      <a:lnTo>
                        <a:pt x="285" y="2187"/>
                      </a:lnTo>
                      <a:lnTo>
                        <a:pt x="292" y="2194"/>
                      </a:lnTo>
                      <a:lnTo>
                        <a:pt x="306" y="2180"/>
                      </a:lnTo>
                      <a:lnTo>
                        <a:pt x="299" y="2202"/>
                      </a:lnTo>
                      <a:lnTo>
                        <a:pt x="317" y="2209"/>
                      </a:lnTo>
                      <a:lnTo>
                        <a:pt x="321" y="2234"/>
                      </a:lnTo>
                      <a:lnTo>
                        <a:pt x="339" y="2230"/>
                      </a:lnTo>
                      <a:lnTo>
                        <a:pt x="328" y="2241"/>
                      </a:lnTo>
                      <a:lnTo>
                        <a:pt x="339" y="2234"/>
                      </a:lnTo>
                      <a:lnTo>
                        <a:pt x="346" y="2252"/>
                      </a:lnTo>
                      <a:lnTo>
                        <a:pt x="339" y="2259"/>
                      </a:lnTo>
                      <a:lnTo>
                        <a:pt x="346" y="2259"/>
                      </a:lnTo>
                      <a:lnTo>
                        <a:pt x="346" y="2285"/>
                      </a:lnTo>
                      <a:lnTo>
                        <a:pt x="357" y="2295"/>
                      </a:lnTo>
                      <a:lnTo>
                        <a:pt x="371" y="2299"/>
                      </a:lnTo>
                      <a:lnTo>
                        <a:pt x="371" y="2285"/>
                      </a:lnTo>
                      <a:lnTo>
                        <a:pt x="382" y="2270"/>
                      </a:lnTo>
                      <a:lnTo>
                        <a:pt x="378" y="2299"/>
                      </a:lnTo>
                      <a:lnTo>
                        <a:pt x="396" y="2274"/>
                      </a:lnTo>
                      <a:lnTo>
                        <a:pt x="396" y="2292"/>
                      </a:lnTo>
                      <a:lnTo>
                        <a:pt x="378" y="2306"/>
                      </a:lnTo>
                      <a:lnTo>
                        <a:pt x="389" y="2324"/>
                      </a:lnTo>
                      <a:lnTo>
                        <a:pt x="393" y="2306"/>
                      </a:lnTo>
                      <a:lnTo>
                        <a:pt x="393" y="2328"/>
                      </a:lnTo>
                      <a:lnTo>
                        <a:pt x="400" y="2303"/>
                      </a:lnTo>
                      <a:lnTo>
                        <a:pt x="403" y="2332"/>
                      </a:lnTo>
                      <a:lnTo>
                        <a:pt x="414" y="2317"/>
                      </a:lnTo>
                      <a:lnTo>
                        <a:pt x="411" y="2328"/>
                      </a:lnTo>
                      <a:lnTo>
                        <a:pt x="414" y="2317"/>
                      </a:lnTo>
                      <a:lnTo>
                        <a:pt x="421" y="2328"/>
                      </a:lnTo>
                      <a:lnTo>
                        <a:pt x="403" y="2342"/>
                      </a:lnTo>
                      <a:lnTo>
                        <a:pt x="407" y="2357"/>
                      </a:lnTo>
                      <a:lnTo>
                        <a:pt x="421" y="2357"/>
                      </a:lnTo>
                      <a:lnTo>
                        <a:pt x="407" y="2360"/>
                      </a:lnTo>
                      <a:lnTo>
                        <a:pt x="411" y="2375"/>
                      </a:lnTo>
                      <a:lnTo>
                        <a:pt x="429" y="2389"/>
                      </a:lnTo>
                      <a:lnTo>
                        <a:pt x="436" y="2382"/>
                      </a:lnTo>
                      <a:lnTo>
                        <a:pt x="439" y="2400"/>
                      </a:lnTo>
                      <a:lnTo>
                        <a:pt x="447" y="2393"/>
                      </a:lnTo>
                      <a:lnTo>
                        <a:pt x="447" y="2404"/>
                      </a:lnTo>
                      <a:lnTo>
                        <a:pt x="457" y="2407"/>
                      </a:lnTo>
                      <a:lnTo>
                        <a:pt x="454" y="2422"/>
                      </a:lnTo>
                      <a:lnTo>
                        <a:pt x="461" y="2415"/>
                      </a:lnTo>
                      <a:lnTo>
                        <a:pt x="472" y="2433"/>
                      </a:lnTo>
                      <a:lnTo>
                        <a:pt x="486" y="2433"/>
                      </a:lnTo>
                      <a:lnTo>
                        <a:pt x="483" y="2454"/>
                      </a:lnTo>
                      <a:lnTo>
                        <a:pt x="490" y="2425"/>
                      </a:lnTo>
                      <a:lnTo>
                        <a:pt x="493" y="2425"/>
                      </a:lnTo>
                      <a:lnTo>
                        <a:pt x="493" y="2404"/>
                      </a:lnTo>
                      <a:lnTo>
                        <a:pt x="497" y="2397"/>
                      </a:lnTo>
                      <a:lnTo>
                        <a:pt x="515" y="2400"/>
                      </a:lnTo>
                      <a:lnTo>
                        <a:pt x="519" y="2418"/>
                      </a:lnTo>
                      <a:lnTo>
                        <a:pt x="537" y="2436"/>
                      </a:lnTo>
                      <a:lnTo>
                        <a:pt x="547" y="2433"/>
                      </a:lnTo>
                      <a:lnTo>
                        <a:pt x="551" y="2440"/>
                      </a:lnTo>
                      <a:lnTo>
                        <a:pt x="576" y="2447"/>
                      </a:lnTo>
                      <a:lnTo>
                        <a:pt x="591" y="2436"/>
                      </a:lnTo>
                      <a:lnTo>
                        <a:pt x="605" y="2451"/>
                      </a:lnTo>
                      <a:lnTo>
                        <a:pt x="609" y="2472"/>
                      </a:lnTo>
                      <a:lnTo>
                        <a:pt x="612" y="2483"/>
                      </a:lnTo>
                      <a:lnTo>
                        <a:pt x="634" y="2476"/>
                      </a:lnTo>
                      <a:lnTo>
                        <a:pt x="655" y="2483"/>
                      </a:lnTo>
                      <a:lnTo>
                        <a:pt x="648" y="2501"/>
                      </a:lnTo>
                      <a:lnTo>
                        <a:pt x="659" y="2508"/>
                      </a:lnTo>
                      <a:lnTo>
                        <a:pt x="659" y="2530"/>
                      </a:lnTo>
                      <a:lnTo>
                        <a:pt x="641" y="2541"/>
                      </a:lnTo>
                      <a:lnTo>
                        <a:pt x="634" y="2559"/>
                      </a:lnTo>
                      <a:lnTo>
                        <a:pt x="652" y="2573"/>
                      </a:lnTo>
                      <a:lnTo>
                        <a:pt x="659" y="2591"/>
                      </a:lnTo>
                      <a:lnTo>
                        <a:pt x="681" y="2573"/>
                      </a:lnTo>
                      <a:lnTo>
                        <a:pt x="684" y="2559"/>
                      </a:lnTo>
                      <a:lnTo>
                        <a:pt x="706" y="2548"/>
                      </a:lnTo>
                      <a:lnTo>
                        <a:pt x="724" y="2545"/>
                      </a:lnTo>
                      <a:lnTo>
                        <a:pt x="738" y="2537"/>
                      </a:lnTo>
                      <a:lnTo>
                        <a:pt x="753" y="2548"/>
                      </a:lnTo>
                      <a:lnTo>
                        <a:pt x="760" y="2566"/>
                      </a:lnTo>
                      <a:lnTo>
                        <a:pt x="767" y="2559"/>
                      </a:lnTo>
                      <a:lnTo>
                        <a:pt x="781" y="2570"/>
                      </a:lnTo>
                      <a:lnTo>
                        <a:pt x="799" y="2548"/>
                      </a:lnTo>
                      <a:lnTo>
                        <a:pt x="799" y="2526"/>
                      </a:lnTo>
                      <a:lnTo>
                        <a:pt x="821" y="2512"/>
                      </a:lnTo>
                      <a:lnTo>
                        <a:pt x="828" y="2501"/>
                      </a:lnTo>
                      <a:lnTo>
                        <a:pt x="825" y="2483"/>
                      </a:lnTo>
                      <a:lnTo>
                        <a:pt x="803" y="2465"/>
                      </a:lnTo>
                      <a:lnTo>
                        <a:pt x="789" y="2451"/>
                      </a:lnTo>
                      <a:lnTo>
                        <a:pt x="778" y="2447"/>
                      </a:lnTo>
                      <a:lnTo>
                        <a:pt x="763" y="2425"/>
                      </a:lnTo>
                      <a:lnTo>
                        <a:pt x="753" y="2415"/>
                      </a:lnTo>
                      <a:lnTo>
                        <a:pt x="749" y="2400"/>
                      </a:lnTo>
                      <a:lnTo>
                        <a:pt x="735" y="2378"/>
                      </a:lnTo>
                      <a:lnTo>
                        <a:pt x="727" y="2375"/>
                      </a:lnTo>
                      <a:lnTo>
                        <a:pt x="699" y="2368"/>
                      </a:lnTo>
                      <a:lnTo>
                        <a:pt x="684" y="2360"/>
                      </a:lnTo>
                      <a:lnTo>
                        <a:pt x="695" y="2371"/>
                      </a:lnTo>
                      <a:lnTo>
                        <a:pt x="681" y="2368"/>
                      </a:lnTo>
                      <a:lnTo>
                        <a:pt x="670" y="2375"/>
                      </a:lnTo>
                      <a:lnTo>
                        <a:pt x="648" y="2375"/>
                      </a:lnTo>
                      <a:lnTo>
                        <a:pt x="630" y="2375"/>
                      </a:lnTo>
                      <a:lnTo>
                        <a:pt x="609" y="2357"/>
                      </a:lnTo>
                      <a:lnTo>
                        <a:pt x="598" y="2353"/>
                      </a:lnTo>
                      <a:lnTo>
                        <a:pt x="583" y="2339"/>
                      </a:lnTo>
                      <a:lnTo>
                        <a:pt x="569" y="2317"/>
                      </a:lnTo>
                      <a:lnTo>
                        <a:pt x="562" y="2310"/>
                      </a:lnTo>
                      <a:lnTo>
                        <a:pt x="565" y="2321"/>
                      </a:lnTo>
                      <a:lnTo>
                        <a:pt x="558" y="2324"/>
                      </a:lnTo>
                      <a:lnTo>
                        <a:pt x="540" y="2324"/>
                      </a:lnTo>
                      <a:lnTo>
                        <a:pt x="537" y="2310"/>
                      </a:lnTo>
                      <a:lnTo>
                        <a:pt x="540" y="2306"/>
                      </a:lnTo>
                      <a:lnTo>
                        <a:pt x="562" y="2317"/>
                      </a:lnTo>
                      <a:lnTo>
                        <a:pt x="562" y="2310"/>
                      </a:lnTo>
                      <a:lnTo>
                        <a:pt x="551" y="2295"/>
                      </a:lnTo>
                      <a:lnTo>
                        <a:pt x="544" y="2277"/>
                      </a:lnTo>
                      <a:lnTo>
                        <a:pt x="533" y="2249"/>
                      </a:lnTo>
                      <a:lnTo>
                        <a:pt x="533" y="2234"/>
                      </a:lnTo>
                      <a:lnTo>
                        <a:pt x="526" y="2209"/>
                      </a:lnTo>
                      <a:lnTo>
                        <a:pt x="522" y="2187"/>
                      </a:lnTo>
                      <a:lnTo>
                        <a:pt x="519" y="2176"/>
                      </a:lnTo>
                      <a:lnTo>
                        <a:pt x="515" y="2162"/>
                      </a:lnTo>
                      <a:lnTo>
                        <a:pt x="515" y="2144"/>
                      </a:lnTo>
                      <a:lnTo>
                        <a:pt x="511" y="2133"/>
                      </a:lnTo>
                      <a:lnTo>
                        <a:pt x="508" y="2119"/>
                      </a:lnTo>
                      <a:lnTo>
                        <a:pt x="497" y="2097"/>
                      </a:lnTo>
                      <a:lnTo>
                        <a:pt x="483" y="2086"/>
                      </a:lnTo>
                      <a:lnTo>
                        <a:pt x="493" y="2108"/>
                      </a:lnTo>
                      <a:lnTo>
                        <a:pt x="479" y="2104"/>
                      </a:lnTo>
                      <a:lnTo>
                        <a:pt x="465" y="2075"/>
                      </a:lnTo>
                      <a:lnTo>
                        <a:pt x="457" y="2072"/>
                      </a:lnTo>
                      <a:lnTo>
                        <a:pt x="454" y="2064"/>
                      </a:lnTo>
                      <a:lnTo>
                        <a:pt x="454" y="2061"/>
                      </a:lnTo>
                      <a:lnTo>
                        <a:pt x="454" y="2057"/>
                      </a:lnTo>
                      <a:lnTo>
                        <a:pt x="450" y="2036"/>
                      </a:lnTo>
                      <a:lnTo>
                        <a:pt x="447" y="2025"/>
                      </a:lnTo>
                      <a:lnTo>
                        <a:pt x="450" y="1999"/>
                      </a:lnTo>
                      <a:lnTo>
                        <a:pt x="439" y="1978"/>
                      </a:lnTo>
                      <a:lnTo>
                        <a:pt x="443" y="1963"/>
                      </a:lnTo>
                      <a:lnTo>
                        <a:pt x="421" y="1945"/>
                      </a:lnTo>
                      <a:lnTo>
                        <a:pt x="393" y="1953"/>
                      </a:lnTo>
                      <a:lnTo>
                        <a:pt x="382" y="1953"/>
                      </a:lnTo>
                      <a:lnTo>
                        <a:pt x="371" y="1967"/>
                      </a:lnTo>
                      <a:lnTo>
                        <a:pt x="339" y="1967"/>
                      </a:lnTo>
                      <a:lnTo>
                        <a:pt x="324" y="1945"/>
                      </a:lnTo>
                      <a:lnTo>
                        <a:pt x="342" y="1934"/>
                      </a:lnTo>
                      <a:lnTo>
                        <a:pt x="331" y="1916"/>
                      </a:lnTo>
                      <a:lnTo>
                        <a:pt x="324" y="1895"/>
                      </a:lnTo>
                      <a:lnTo>
                        <a:pt x="317" y="1877"/>
                      </a:lnTo>
                      <a:lnTo>
                        <a:pt x="313" y="1859"/>
                      </a:lnTo>
                      <a:lnTo>
                        <a:pt x="313" y="1826"/>
                      </a:lnTo>
                      <a:lnTo>
                        <a:pt x="321" y="1819"/>
                      </a:lnTo>
                      <a:lnTo>
                        <a:pt x="313" y="1805"/>
                      </a:lnTo>
                      <a:lnTo>
                        <a:pt x="331" y="1786"/>
                      </a:lnTo>
                      <a:lnTo>
                        <a:pt x="313" y="1765"/>
                      </a:lnTo>
                      <a:lnTo>
                        <a:pt x="339" y="1765"/>
                      </a:lnTo>
                      <a:lnTo>
                        <a:pt x="328" y="1732"/>
                      </a:lnTo>
                      <a:lnTo>
                        <a:pt x="342" y="1711"/>
                      </a:lnTo>
                      <a:lnTo>
                        <a:pt x="353" y="1707"/>
                      </a:lnTo>
                      <a:lnTo>
                        <a:pt x="349" y="1707"/>
                      </a:lnTo>
                      <a:lnTo>
                        <a:pt x="360" y="1693"/>
                      </a:lnTo>
                      <a:lnTo>
                        <a:pt x="364" y="1675"/>
                      </a:lnTo>
                      <a:lnTo>
                        <a:pt x="378" y="1675"/>
                      </a:lnTo>
                      <a:lnTo>
                        <a:pt x="375" y="1653"/>
                      </a:lnTo>
                      <a:lnTo>
                        <a:pt x="375" y="1628"/>
                      </a:lnTo>
                      <a:lnTo>
                        <a:pt x="389" y="1617"/>
                      </a:lnTo>
                      <a:lnTo>
                        <a:pt x="385" y="1599"/>
                      </a:lnTo>
                      <a:lnTo>
                        <a:pt x="385" y="1592"/>
                      </a:lnTo>
                      <a:lnTo>
                        <a:pt x="396" y="1570"/>
                      </a:lnTo>
                      <a:lnTo>
                        <a:pt x="400" y="1563"/>
                      </a:lnTo>
                      <a:lnTo>
                        <a:pt x="414" y="1537"/>
                      </a:lnTo>
                      <a:lnTo>
                        <a:pt x="414" y="1530"/>
                      </a:lnTo>
                      <a:lnTo>
                        <a:pt x="429" y="1523"/>
                      </a:lnTo>
                      <a:lnTo>
                        <a:pt x="429" y="1509"/>
                      </a:lnTo>
                      <a:lnTo>
                        <a:pt x="436" y="1483"/>
                      </a:lnTo>
                      <a:lnTo>
                        <a:pt x="454" y="1462"/>
                      </a:lnTo>
                      <a:lnTo>
                        <a:pt x="465" y="1444"/>
                      </a:lnTo>
                      <a:lnTo>
                        <a:pt x="457" y="1429"/>
                      </a:lnTo>
                      <a:lnTo>
                        <a:pt x="461" y="1418"/>
                      </a:lnTo>
                      <a:lnTo>
                        <a:pt x="461" y="1386"/>
                      </a:lnTo>
                      <a:lnTo>
                        <a:pt x="454" y="1368"/>
                      </a:lnTo>
                      <a:lnTo>
                        <a:pt x="457" y="1346"/>
                      </a:lnTo>
                      <a:lnTo>
                        <a:pt x="465" y="1321"/>
                      </a:lnTo>
                      <a:lnTo>
                        <a:pt x="468" y="1310"/>
                      </a:lnTo>
                      <a:lnTo>
                        <a:pt x="479" y="1292"/>
                      </a:lnTo>
                      <a:lnTo>
                        <a:pt x="475" y="1274"/>
                      </a:lnTo>
                      <a:lnTo>
                        <a:pt x="454" y="1256"/>
                      </a:lnTo>
                      <a:lnTo>
                        <a:pt x="454" y="1252"/>
                      </a:lnTo>
                      <a:lnTo>
                        <a:pt x="475" y="1227"/>
                      </a:lnTo>
                      <a:lnTo>
                        <a:pt x="504" y="1220"/>
                      </a:lnTo>
                      <a:lnTo>
                        <a:pt x="508" y="1220"/>
                      </a:lnTo>
                      <a:lnTo>
                        <a:pt x="511" y="1209"/>
                      </a:lnTo>
                      <a:lnTo>
                        <a:pt x="533" y="1216"/>
                      </a:lnTo>
                      <a:lnTo>
                        <a:pt x="540" y="1216"/>
                      </a:lnTo>
                      <a:lnTo>
                        <a:pt x="565" y="1213"/>
                      </a:lnTo>
                      <a:lnTo>
                        <a:pt x="558" y="1194"/>
                      </a:lnTo>
                      <a:lnTo>
                        <a:pt x="573" y="1213"/>
                      </a:lnTo>
                      <a:lnTo>
                        <a:pt x="598" y="1216"/>
                      </a:lnTo>
                      <a:lnTo>
                        <a:pt x="605" y="1216"/>
                      </a:lnTo>
                      <a:lnTo>
                        <a:pt x="609" y="1220"/>
                      </a:lnTo>
                      <a:lnTo>
                        <a:pt x="634" y="1220"/>
                      </a:lnTo>
                      <a:lnTo>
                        <a:pt x="634" y="1241"/>
                      </a:lnTo>
                      <a:lnTo>
                        <a:pt x="619" y="1249"/>
                      </a:lnTo>
                      <a:lnTo>
                        <a:pt x="627" y="1267"/>
                      </a:lnTo>
                      <a:lnTo>
                        <a:pt x="612" y="1288"/>
                      </a:lnTo>
                      <a:lnTo>
                        <a:pt x="623" y="1299"/>
                      </a:lnTo>
                      <a:lnTo>
                        <a:pt x="612" y="1317"/>
                      </a:lnTo>
                      <a:lnTo>
                        <a:pt x="619" y="1335"/>
                      </a:lnTo>
                      <a:lnTo>
                        <a:pt x="609" y="1353"/>
                      </a:lnTo>
                      <a:lnTo>
                        <a:pt x="627" y="1371"/>
                      </a:lnTo>
                      <a:lnTo>
                        <a:pt x="634" y="1364"/>
                      </a:lnTo>
                      <a:lnTo>
                        <a:pt x="659" y="1368"/>
                      </a:lnTo>
                      <a:lnTo>
                        <a:pt x="684" y="1361"/>
                      </a:lnTo>
                      <a:lnTo>
                        <a:pt x="709" y="1375"/>
                      </a:lnTo>
                      <a:lnTo>
                        <a:pt x="713" y="1368"/>
                      </a:lnTo>
                      <a:lnTo>
                        <a:pt x="742" y="1364"/>
                      </a:lnTo>
                      <a:lnTo>
                        <a:pt x="749" y="1364"/>
                      </a:lnTo>
                      <a:lnTo>
                        <a:pt x="756" y="1342"/>
                      </a:lnTo>
                      <a:lnTo>
                        <a:pt x="760" y="1357"/>
                      </a:lnTo>
                      <a:lnTo>
                        <a:pt x="774" y="1350"/>
                      </a:lnTo>
                      <a:lnTo>
                        <a:pt x="774" y="1357"/>
                      </a:lnTo>
                      <a:lnTo>
                        <a:pt x="785" y="1364"/>
                      </a:lnTo>
                      <a:lnTo>
                        <a:pt x="803" y="1386"/>
                      </a:lnTo>
                      <a:lnTo>
                        <a:pt x="799" y="1375"/>
                      </a:lnTo>
                      <a:lnTo>
                        <a:pt x="807" y="1368"/>
                      </a:lnTo>
                      <a:lnTo>
                        <a:pt x="803" y="1382"/>
                      </a:lnTo>
                      <a:lnTo>
                        <a:pt x="817" y="1393"/>
                      </a:lnTo>
                      <a:lnTo>
                        <a:pt x="810" y="1375"/>
                      </a:lnTo>
                      <a:lnTo>
                        <a:pt x="828" y="1382"/>
                      </a:lnTo>
                      <a:lnTo>
                        <a:pt x="821" y="1393"/>
                      </a:lnTo>
                      <a:lnTo>
                        <a:pt x="832" y="1407"/>
                      </a:lnTo>
                      <a:lnTo>
                        <a:pt x="853" y="1422"/>
                      </a:lnTo>
                      <a:lnTo>
                        <a:pt x="843" y="1397"/>
                      </a:lnTo>
                      <a:lnTo>
                        <a:pt x="864" y="1404"/>
                      </a:lnTo>
                      <a:lnTo>
                        <a:pt x="864" y="1422"/>
                      </a:lnTo>
                      <a:lnTo>
                        <a:pt x="864" y="1411"/>
                      </a:lnTo>
                      <a:lnTo>
                        <a:pt x="875" y="1407"/>
                      </a:lnTo>
                      <a:lnTo>
                        <a:pt x="875" y="1411"/>
                      </a:lnTo>
                      <a:lnTo>
                        <a:pt x="871" y="1411"/>
                      </a:lnTo>
                      <a:lnTo>
                        <a:pt x="871" y="1415"/>
                      </a:lnTo>
                      <a:lnTo>
                        <a:pt x="868" y="1425"/>
                      </a:lnTo>
                      <a:lnTo>
                        <a:pt x="857" y="1425"/>
                      </a:lnTo>
                      <a:lnTo>
                        <a:pt x="861" y="1444"/>
                      </a:lnTo>
                      <a:lnTo>
                        <a:pt x="879" y="1447"/>
                      </a:lnTo>
                      <a:lnTo>
                        <a:pt x="897" y="1447"/>
                      </a:lnTo>
                      <a:lnTo>
                        <a:pt x="911" y="1469"/>
                      </a:lnTo>
                      <a:lnTo>
                        <a:pt x="911" y="1447"/>
                      </a:lnTo>
                      <a:lnTo>
                        <a:pt x="900" y="1429"/>
                      </a:lnTo>
                      <a:lnTo>
                        <a:pt x="900" y="1422"/>
                      </a:lnTo>
                      <a:lnTo>
                        <a:pt x="907" y="1444"/>
                      </a:lnTo>
                      <a:lnTo>
                        <a:pt x="915" y="1440"/>
                      </a:lnTo>
                      <a:lnTo>
                        <a:pt x="918" y="1451"/>
                      </a:lnTo>
                      <a:lnTo>
                        <a:pt x="943" y="1472"/>
                      </a:lnTo>
                      <a:lnTo>
                        <a:pt x="943" y="1490"/>
                      </a:lnTo>
                      <a:lnTo>
                        <a:pt x="961" y="1512"/>
                      </a:lnTo>
                      <a:lnTo>
                        <a:pt x="965" y="1519"/>
                      </a:lnTo>
                      <a:lnTo>
                        <a:pt x="969" y="1537"/>
                      </a:lnTo>
                      <a:lnTo>
                        <a:pt x="969" y="1516"/>
                      </a:lnTo>
                      <a:lnTo>
                        <a:pt x="954" y="1501"/>
                      </a:lnTo>
                      <a:lnTo>
                        <a:pt x="947" y="1480"/>
                      </a:lnTo>
                      <a:lnTo>
                        <a:pt x="943" y="1465"/>
                      </a:lnTo>
                      <a:lnTo>
                        <a:pt x="933" y="1447"/>
                      </a:lnTo>
                      <a:lnTo>
                        <a:pt x="936" y="1436"/>
                      </a:lnTo>
                      <a:lnTo>
                        <a:pt x="936" y="1415"/>
                      </a:lnTo>
                      <a:lnTo>
                        <a:pt x="947" y="1404"/>
                      </a:lnTo>
                      <a:lnTo>
                        <a:pt x="929" y="1382"/>
                      </a:lnTo>
                      <a:lnTo>
                        <a:pt x="922" y="1371"/>
                      </a:lnTo>
                      <a:lnTo>
                        <a:pt x="900" y="1361"/>
                      </a:lnTo>
                      <a:lnTo>
                        <a:pt x="900" y="1346"/>
                      </a:lnTo>
                      <a:lnTo>
                        <a:pt x="904" y="1339"/>
                      </a:lnTo>
                      <a:lnTo>
                        <a:pt x="897" y="1328"/>
                      </a:lnTo>
                      <a:lnTo>
                        <a:pt x="897" y="1306"/>
                      </a:lnTo>
                      <a:lnTo>
                        <a:pt x="904" y="1303"/>
                      </a:lnTo>
                      <a:lnTo>
                        <a:pt x="886" y="1288"/>
                      </a:lnTo>
                      <a:lnTo>
                        <a:pt x="879" y="1274"/>
                      </a:lnTo>
                      <a:lnTo>
                        <a:pt x="875" y="1256"/>
                      </a:lnTo>
                      <a:lnTo>
                        <a:pt x="871" y="1256"/>
                      </a:lnTo>
                      <a:lnTo>
                        <a:pt x="871" y="1252"/>
                      </a:lnTo>
                      <a:lnTo>
                        <a:pt x="871" y="1241"/>
                      </a:lnTo>
                      <a:lnTo>
                        <a:pt x="875" y="1216"/>
                      </a:lnTo>
                      <a:lnTo>
                        <a:pt x="871" y="1205"/>
                      </a:lnTo>
                      <a:lnTo>
                        <a:pt x="875" y="1202"/>
                      </a:lnTo>
                      <a:lnTo>
                        <a:pt x="904" y="1205"/>
                      </a:lnTo>
                      <a:lnTo>
                        <a:pt x="918" y="1198"/>
                      </a:lnTo>
                      <a:lnTo>
                        <a:pt x="907" y="1187"/>
                      </a:lnTo>
                      <a:lnTo>
                        <a:pt x="915" y="1180"/>
                      </a:lnTo>
                      <a:lnTo>
                        <a:pt x="940" y="1169"/>
                      </a:lnTo>
                      <a:lnTo>
                        <a:pt x="947" y="1140"/>
                      </a:lnTo>
                      <a:lnTo>
                        <a:pt x="969" y="1126"/>
                      </a:lnTo>
                      <a:lnTo>
                        <a:pt x="972" y="1097"/>
                      </a:lnTo>
                      <a:lnTo>
                        <a:pt x="994" y="1079"/>
                      </a:lnTo>
                      <a:lnTo>
                        <a:pt x="1026" y="1072"/>
                      </a:lnTo>
                      <a:lnTo>
                        <a:pt x="1055" y="1065"/>
                      </a:lnTo>
                      <a:lnTo>
                        <a:pt x="1062" y="1061"/>
                      </a:lnTo>
                      <a:lnTo>
                        <a:pt x="1066" y="1065"/>
                      </a:lnTo>
                      <a:lnTo>
                        <a:pt x="1084" y="1054"/>
                      </a:lnTo>
                      <a:lnTo>
                        <a:pt x="1095" y="1057"/>
                      </a:lnTo>
                      <a:lnTo>
                        <a:pt x="1105" y="1050"/>
                      </a:lnTo>
                      <a:lnTo>
                        <a:pt x="1109" y="1061"/>
                      </a:lnTo>
                      <a:lnTo>
                        <a:pt x="1134" y="1065"/>
                      </a:lnTo>
                      <a:lnTo>
                        <a:pt x="1149" y="1072"/>
                      </a:lnTo>
                      <a:lnTo>
                        <a:pt x="1170" y="1068"/>
                      </a:lnTo>
                      <a:lnTo>
                        <a:pt x="1199" y="1065"/>
                      </a:lnTo>
                      <a:lnTo>
                        <a:pt x="1206" y="1057"/>
                      </a:lnTo>
                      <a:lnTo>
                        <a:pt x="1217" y="1065"/>
                      </a:lnTo>
                      <a:lnTo>
                        <a:pt x="1239" y="1068"/>
                      </a:lnTo>
                      <a:lnTo>
                        <a:pt x="1260" y="1065"/>
                      </a:lnTo>
                      <a:lnTo>
                        <a:pt x="1271" y="1054"/>
                      </a:lnTo>
                      <a:lnTo>
                        <a:pt x="1278" y="1061"/>
                      </a:lnTo>
                      <a:lnTo>
                        <a:pt x="1282" y="1054"/>
                      </a:lnTo>
                      <a:lnTo>
                        <a:pt x="1286" y="1057"/>
                      </a:lnTo>
                      <a:lnTo>
                        <a:pt x="1318" y="1057"/>
                      </a:lnTo>
                      <a:lnTo>
                        <a:pt x="1332" y="1061"/>
                      </a:lnTo>
                      <a:lnTo>
                        <a:pt x="1336" y="1086"/>
                      </a:lnTo>
                      <a:lnTo>
                        <a:pt x="1347" y="1090"/>
                      </a:lnTo>
                      <a:lnTo>
                        <a:pt x="1365" y="1068"/>
                      </a:lnTo>
                      <a:lnTo>
                        <a:pt x="1372" y="1068"/>
                      </a:lnTo>
                      <a:lnTo>
                        <a:pt x="1390" y="1057"/>
                      </a:lnTo>
                      <a:lnTo>
                        <a:pt x="1408" y="1057"/>
                      </a:lnTo>
                      <a:lnTo>
                        <a:pt x="1426" y="1032"/>
                      </a:lnTo>
                      <a:lnTo>
                        <a:pt x="1426" y="1000"/>
                      </a:lnTo>
                      <a:lnTo>
                        <a:pt x="1422" y="989"/>
                      </a:lnTo>
                      <a:lnTo>
                        <a:pt x="1430" y="963"/>
                      </a:lnTo>
                      <a:lnTo>
                        <a:pt x="1440" y="956"/>
                      </a:lnTo>
                      <a:lnTo>
                        <a:pt x="1430" y="942"/>
                      </a:lnTo>
                      <a:lnTo>
                        <a:pt x="1415" y="935"/>
                      </a:lnTo>
                      <a:lnTo>
                        <a:pt x="1415" y="924"/>
                      </a:lnTo>
                      <a:lnTo>
                        <a:pt x="1437" y="906"/>
                      </a:lnTo>
                      <a:lnTo>
                        <a:pt x="1433" y="898"/>
                      </a:lnTo>
                      <a:lnTo>
                        <a:pt x="1415" y="891"/>
                      </a:lnTo>
                      <a:lnTo>
                        <a:pt x="1437" y="880"/>
                      </a:lnTo>
                      <a:lnTo>
                        <a:pt x="1437" y="866"/>
                      </a:lnTo>
                      <a:lnTo>
                        <a:pt x="1444" y="837"/>
                      </a:lnTo>
                      <a:lnTo>
                        <a:pt x="1430" y="823"/>
                      </a:lnTo>
                      <a:lnTo>
                        <a:pt x="1401" y="812"/>
                      </a:lnTo>
                      <a:lnTo>
                        <a:pt x="1394" y="794"/>
                      </a:lnTo>
                      <a:lnTo>
                        <a:pt x="1404" y="776"/>
                      </a:lnTo>
                      <a:lnTo>
                        <a:pt x="1379" y="772"/>
                      </a:lnTo>
                      <a:lnTo>
                        <a:pt x="1372" y="768"/>
                      </a:lnTo>
                      <a:lnTo>
                        <a:pt x="1343" y="761"/>
                      </a:lnTo>
                      <a:lnTo>
                        <a:pt x="1336" y="736"/>
                      </a:lnTo>
                      <a:lnTo>
                        <a:pt x="1329" y="729"/>
                      </a:lnTo>
                      <a:lnTo>
                        <a:pt x="1314" y="718"/>
                      </a:lnTo>
                      <a:lnTo>
                        <a:pt x="1307" y="700"/>
                      </a:lnTo>
                      <a:lnTo>
                        <a:pt x="1289" y="685"/>
                      </a:lnTo>
                      <a:lnTo>
                        <a:pt x="1293" y="657"/>
                      </a:lnTo>
                      <a:lnTo>
                        <a:pt x="1286" y="639"/>
                      </a:lnTo>
                      <a:lnTo>
                        <a:pt x="1293" y="631"/>
                      </a:lnTo>
                      <a:lnTo>
                        <a:pt x="1286" y="602"/>
                      </a:lnTo>
                      <a:lnTo>
                        <a:pt x="1296" y="584"/>
                      </a:lnTo>
                      <a:lnTo>
                        <a:pt x="1300" y="563"/>
                      </a:lnTo>
                      <a:lnTo>
                        <a:pt x="1300" y="537"/>
                      </a:lnTo>
                      <a:lnTo>
                        <a:pt x="1282" y="512"/>
                      </a:lnTo>
                      <a:lnTo>
                        <a:pt x="1253" y="494"/>
                      </a:lnTo>
                      <a:lnTo>
                        <a:pt x="1239" y="491"/>
                      </a:lnTo>
                      <a:lnTo>
                        <a:pt x="1221" y="462"/>
                      </a:lnTo>
                      <a:lnTo>
                        <a:pt x="1206" y="454"/>
                      </a:lnTo>
                      <a:lnTo>
                        <a:pt x="1199" y="433"/>
                      </a:lnTo>
                      <a:lnTo>
                        <a:pt x="1192" y="426"/>
                      </a:lnTo>
                      <a:lnTo>
                        <a:pt x="1177" y="411"/>
                      </a:lnTo>
                      <a:lnTo>
                        <a:pt x="1170" y="393"/>
                      </a:lnTo>
                      <a:lnTo>
                        <a:pt x="1156" y="371"/>
                      </a:lnTo>
                      <a:lnTo>
                        <a:pt x="1134" y="379"/>
                      </a:lnTo>
                      <a:lnTo>
                        <a:pt x="1127" y="371"/>
                      </a:lnTo>
                      <a:lnTo>
                        <a:pt x="1105" y="371"/>
                      </a:lnTo>
                      <a:lnTo>
                        <a:pt x="1091" y="361"/>
                      </a:lnTo>
                      <a:lnTo>
                        <a:pt x="1066" y="357"/>
                      </a:lnTo>
                      <a:lnTo>
                        <a:pt x="1055" y="350"/>
                      </a:lnTo>
                      <a:lnTo>
                        <a:pt x="1030" y="364"/>
                      </a:lnTo>
                      <a:lnTo>
                        <a:pt x="1037" y="375"/>
                      </a:lnTo>
                      <a:lnTo>
                        <a:pt x="1012" y="386"/>
                      </a:lnTo>
                      <a:lnTo>
                        <a:pt x="1012" y="400"/>
                      </a:lnTo>
                      <a:lnTo>
                        <a:pt x="1001" y="408"/>
                      </a:lnTo>
                      <a:lnTo>
                        <a:pt x="990" y="433"/>
                      </a:lnTo>
                      <a:lnTo>
                        <a:pt x="961" y="433"/>
                      </a:lnTo>
                      <a:lnTo>
                        <a:pt x="943" y="447"/>
                      </a:lnTo>
                      <a:lnTo>
                        <a:pt x="929" y="451"/>
                      </a:lnTo>
                      <a:lnTo>
                        <a:pt x="929" y="465"/>
                      </a:lnTo>
                      <a:lnTo>
                        <a:pt x="915" y="454"/>
                      </a:lnTo>
                      <a:lnTo>
                        <a:pt x="915" y="436"/>
                      </a:lnTo>
                      <a:lnTo>
                        <a:pt x="893" y="433"/>
                      </a:lnTo>
                      <a:lnTo>
                        <a:pt x="871" y="422"/>
                      </a:lnTo>
                      <a:lnTo>
                        <a:pt x="861" y="418"/>
                      </a:lnTo>
                      <a:lnTo>
                        <a:pt x="843" y="404"/>
                      </a:lnTo>
                      <a:lnTo>
                        <a:pt x="839" y="393"/>
                      </a:lnTo>
                      <a:lnTo>
                        <a:pt x="828" y="393"/>
                      </a:lnTo>
                      <a:lnTo>
                        <a:pt x="817" y="397"/>
                      </a:lnTo>
                      <a:lnTo>
                        <a:pt x="817" y="404"/>
                      </a:lnTo>
                      <a:lnTo>
                        <a:pt x="796" y="426"/>
                      </a:lnTo>
                      <a:lnTo>
                        <a:pt x="774" y="418"/>
                      </a:lnTo>
                      <a:lnTo>
                        <a:pt x="763" y="444"/>
                      </a:lnTo>
                      <a:lnTo>
                        <a:pt x="738" y="451"/>
                      </a:lnTo>
                      <a:lnTo>
                        <a:pt x="724" y="476"/>
                      </a:lnTo>
                      <a:lnTo>
                        <a:pt x="706" y="476"/>
                      </a:lnTo>
                      <a:lnTo>
                        <a:pt x="706" y="483"/>
                      </a:lnTo>
                      <a:lnTo>
                        <a:pt x="691" y="491"/>
                      </a:lnTo>
                      <a:lnTo>
                        <a:pt x="670" y="512"/>
                      </a:lnTo>
                      <a:lnTo>
                        <a:pt x="666" y="523"/>
                      </a:lnTo>
                      <a:lnTo>
                        <a:pt x="655" y="519"/>
                      </a:lnTo>
                      <a:lnTo>
                        <a:pt x="630" y="505"/>
                      </a:lnTo>
                      <a:lnTo>
                        <a:pt x="634" y="472"/>
                      </a:lnTo>
                      <a:lnTo>
                        <a:pt x="641" y="447"/>
                      </a:lnTo>
                      <a:lnTo>
                        <a:pt x="655" y="436"/>
                      </a:lnTo>
                      <a:lnTo>
                        <a:pt x="670" y="418"/>
                      </a:lnTo>
                      <a:lnTo>
                        <a:pt x="670" y="393"/>
                      </a:lnTo>
                      <a:lnTo>
                        <a:pt x="663" y="382"/>
                      </a:lnTo>
                      <a:lnTo>
                        <a:pt x="670" y="371"/>
                      </a:lnTo>
                      <a:lnTo>
                        <a:pt x="652" y="364"/>
                      </a:lnTo>
                      <a:lnTo>
                        <a:pt x="645" y="353"/>
                      </a:lnTo>
                      <a:lnTo>
                        <a:pt x="670" y="332"/>
                      </a:lnTo>
                      <a:lnTo>
                        <a:pt x="684" y="310"/>
                      </a:lnTo>
                      <a:lnTo>
                        <a:pt x="677" y="303"/>
                      </a:lnTo>
                      <a:lnTo>
                        <a:pt x="681" y="274"/>
                      </a:lnTo>
                      <a:lnTo>
                        <a:pt x="688" y="260"/>
                      </a:lnTo>
                      <a:lnTo>
                        <a:pt x="699" y="245"/>
                      </a:lnTo>
                      <a:lnTo>
                        <a:pt x="681" y="234"/>
                      </a:lnTo>
                      <a:lnTo>
                        <a:pt x="681" y="213"/>
                      </a:lnTo>
                      <a:lnTo>
                        <a:pt x="677" y="202"/>
                      </a:lnTo>
                      <a:lnTo>
                        <a:pt x="677" y="198"/>
                      </a:lnTo>
                      <a:lnTo>
                        <a:pt x="670" y="184"/>
                      </a:lnTo>
                      <a:lnTo>
                        <a:pt x="684" y="173"/>
                      </a:lnTo>
                      <a:lnTo>
                        <a:pt x="688" y="155"/>
                      </a:lnTo>
                      <a:lnTo>
                        <a:pt x="681" y="151"/>
                      </a:lnTo>
                      <a:lnTo>
                        <a:pt x="659" y="155"/>
                      </a:lnTo>
                      <a:lnTo>
                        <a:pt x="645" y="144"/>
                      </a:lnTo>
                      <a:lnTo>
                        <a:pt x="619" y="144"/>
                      </a:lnTo>
                      <a:lnTo>
                        <a:pt x="612" y="155"/>
                      </a:lnTo>
                      <a:lnTo>
                        <a:pt x="598" y="169"/>
                      </a:lnTo>
                      <a:lnTo>
                        <a:pt x="576" y="158"/>
                      </a:lnTo>
                      <a:lnTo>
                        <a:pt x="565" y="169"/>
                      </a:lnTo>
                      <a:lnTo>
                        <a:pt x="547" y="169"/>
                      </a:lnTo>
                      <a:lnTo>
                        <a:pt x="547" y="151"/>
                      </a:lnTo>
                      <a:lnTo>
                        <a:pt x="533" y="126"/>
                      </a:lnTo>
                      <a:lnTo>
                        <a:pt x="540" y="108"/>
                      </a:lnTo>
                      <a:lnTo>
                        <a:pt x="555" y="93"/>
                      </a:lnTo>
                      <a:lnTo>
                        <a:pt x="551" y="90"/>
                      </a:lnTo>
                      <a:lnTo>
                        <a:pt x="558" y="75"/>
                      </a:lnTo>
                      <a:lnTo>
                        <a:pt x="562" y="50"/>
                      </a:lnTo>
                      <a:lnTo>
                        <a:pt x="551" y="54"/>
                      </a:lnTo>
                      <a:lnTo>
                        <a:pt x="533" y="36"/>
                      </a:lnTo>
                      <a:lnTo>
                        <a:pt x="519" y="10"/>
                      </a:lnTo>
                      <a:lnTo>
                        <a:pt x="508" y="14"/>
                      </a:lnTo>
                      <a:lnTo>
                        <a:pt x="490" y="39"/>
                      </a:lnTo>
                      <a:lnTo>
                        <a:pt x="479" y="36"/>
                      </a:lnTo>
                      <a:lnTo>
                        <a:pt x="479" y="14"/>
                      </a:lnTo>
                      <a:lnTo>
                        <a:pt x="454" y="0"/>
                      </a:lnTo>
                      <a:close/>
                    </a:path>
                  </a:pathLst>
                </a:custGeom>
                <a:solidFill>
                  <a:schemeClr val="accent5"/>
                </a:solidFill>
                <a:ln w="9525" cmpd="sng">
                  <a:noFill/>
                  <a:round/>
                  <a:headEnd/>
                  <a:tailEnd/>
                </a:ln>
              </p:spPr>
              <p:txBody>
                <a:bodyPr vert="horz" wrap="square" lIns="91440" tIns="45720" rIns="91440" bIns="45720" numCol="1" anchor="t" anchorCtr="0" compatLnSpc="1">
                  <a:prstTxWarp prst="textNoShape">
                    <a:avLst/>
                  </a:prstTxWarp>
                </a:bodyPr>
                <a:lstStyle>
                  <a:defPPr>
                    <a:defRPr lang="de-DE"/>
                  </a:defPPr>
                  <a:lvl1pPr algn="l" rtl="0" fontAlgn="base">
                    <a:spcBef>
                      <a:spcPct val="0"/>
                    </a:spcBef>
                    <a:spcAft>
                      <a:spcPct val="0"/>
                    </a:spcAft>
                    <a:defRPr sz="1300" b="1" kern="1200">
                      <a:solidFill>
                        <a:schemeClr val="tx1"/>
                      </a:solidFill>
                      <a:latin typeface="Arial Narrow" charset="0"/>
                      <a:ea typeface="+mn-ea"/>
                      <a:cs typeface="+mn-cs"/>
                    </a:defRPr>
                  </a:lvl1pPr>
                  <a:lvl2pPr marL="457200" algn="l" rtl="0" fontAlgn="base">
                    <a:spcBef>
                      <a:spcPct val="0"/>
                    </a:spcBef>
                    <a:spcAft>
                      <a:spcPct val="0"/>
                    </a:spcAft>
                    <a:defRPr sz="1300" b="1" kern="1200">
                      <a:solidFill>
                        <a:schemeClr val="tx1"/>
                      </a:solidFill>
                      <a:latin typeface="Arial Narrow" charset="0"/>
                      <a:ea typeface="+mn-ea"/>
                      <a:cs typeface="+mn-cs"/>
                    </a:defRPr>
                  </a:lvl2pPr>
                  <a:lvl3pPr marL="914400" algn="l" rtl="0" fontAlgn="base">
                    <a:spcBef>
                      <a:spcPct val="0"/>
                    </a:spcBef>
                    <a:spcAft>
                      <a:spcPct val="0"/>
                    </a:spcAft>
                    <a:defRPr sz="1300" b="1" kern="1200">
                      <a:solidFill>
                        <a:schemeClr val="tx1"/>
                      </a:solidFill>
                      <a:latin typeface="Arial Narrow" charset="0"/>
                      <a:ea typeface="+mn-ea"/>
                      <a:cs typeface="+mn-cs"/>
                    </a:defRPr>
                  </a:lvl3pPr>
                  <a:lvl4pPr marL="1371600" algn="l" rtl="0" fontAlgn="base">
                    <a:spcBef>
                      <a:spcPct val="0"/>
                    </a:spcBef>
                    <a:spcAft>
                      <a:spcPct val="0"/>
                    </a:spcAft>
                    <a:defRPr sz="1300" b="1" kern="1200">
                      <a:solidFill>
                        <a:schemeClr val="tx1"/>
                      </a:solidFill>
                      <a:latin typeface="Arial Narrow" charset="0"/>
                      <a:ea typeface="+mn-ea"/>
                      <a:cs typeface="+mn-cs"/>
                    </a:defRPr>
                  </a:lvl4pPr>
                  <a:lvl5pPr marL="1828800" algn="l" rtl="0" fontAlgn="base">
                    <a:spcBef>
                      <a:spcPct val="0"/>
                    </a:spcBef>
                    <a:spcAft>
                      <a:spcPct val="0"/>
                    </a:spcAft>
                    <a:defRPr sz="1300" b="1" kern="1200">
                      <a:solidFill>
                        <a:schemeClr val="tx1"/>
                      </a:solidFill>
                      <a:latin typeface="Arial Narrow" charset="0"/>
                      <a:ea typeface="+mn-ea"/>
                      <a:cs typeface="+mn-cs"/>
                    </a:defRPr>
                  </a:lvl5pPr>
                  <a:lvl6pPr marL="2286000" algn="l" defTabSz="914400" rtl="0" eaLnBrk="1" latinLnBrk="0" hangingPunct="1">
                    <a:defRPr sz="1300" b="1" kern="1200">
                      <a:solidFill>
                        <a:schemeClr val="tx1"/>
                      </a:solidFill>
                      <a:latin typeface="Arial Narrow" charset="0"/>
                      <a:ea typeface="+mn-ea"/>
                      <a:cs typeface="+mn-cs"/>
                    </a:defRPr>
                  </a:lvl6pPr>
                  <a:lvl7pPr marL="2743200" algn="l" defTabSz="914400" rtl="0" eaLnBrk="1" latinLnBrk="0" hangingPunct="1">
                    <a:defRPr sz="1300" b="1" kern="1200">
                      <a:solidFill>
                        <a:schemeClr val="tx1"/>
                      </a:solidFill>
                      <a:latin typeface="Arial Narrow" charset="0"/>
                      <a:ea typeface="+mn-ea"/>
                      <a:cs typeface="+mn-cs"/>
                    </a:defRPr>
                  </a:lvl7pPr>
                  <a:lvl8pPr marL="3200400" algn="l" defTabSz="914400" rtl="0" eaLnBrk="1" latinLnBrk="0" hangingPunct="1">
                    <a:defRPr sz="1300" b="1" kern="1200">
                      <a:solidFill>
                        <a:schemeClr val="tx1"/>
                      </a:solidFill>
                      <a:latin typeface="Arial Narrow" charset="0"/>
                      <a:ea typeface="+mn-ea"/>
                      <a:cs typeface="+mn-cs"/>
                    </a:defRPr>
                  </a:lvl8pPr>
                  <a:lvl9pPr marL="3657600" algn="l" defTabSz="914400" rtl="0" eaLnBrk="1" latinLnBrk="0" hangingPunct="1">
                    <a:defRPr sz="1300" b="1" kern="1200">
                      <a:solidFill>
                        <a:schemeClr val="tx1"/>
                      </a:solidFill>
                      <a:latin typeface="Arial Narrow" charset="0"/>
                      <a:ea typeface="+mn-ea"/>
                      <a:cs typeface="+mn-cs"/>
                    </a:defRPr>
                  </a:lvl9pPr>
                </a:lstStyle>
                <a:p>
                  <a:endParaRPr lang="de-DE"/>
                </a:p>
              </p:txBody>
            </p:sp>
            <p:sp>
              <p:nvSpPr>
                <p:cNvPr id="37" name="Freeform 36"/>
                <p:cNvSpPr/>
                <p:nvPr/>
              </p:nvSpPr>
              <p:spPr>
                <a:xfrm>
                  <a:off x="2300712" y="2606523"/>
                  <a:ext cx="1209427" cy="1586245"/>
                </a:xfrm>
                <a:custGeom>
                  <a:avLst/>
                  <a:gdLst>
                    <a:gd name="connsiteX0" fmla="*/ 537403 w 2356678"/>
                    <a:gd name="connsiteY0" fmla="*/ 134099 h 2859022"/>
                    <a:gd name="connsiteX1" fmla="*/ 494540 w 2356678"/>
                    <a:gd name="connsiteY1" fmla="*/ 196011 h 2859022"/>
                    <a:gd name="connsiteX2" fmla="*/ 485015 w 2356678"/>
                    <a:gd name="connsiteY2" fmla="*/ 272211 h 2859022"/>
                    <a:gd name="connsiteX3" fmla="*/ 451678 w 2356678"/>
                    <a:gd name="connsiteY3" fmla="*/ 376986 h 2859022"/>
                    <a:gd name="connsiteX4" fmla="*/ 427865 w 2356678"/>
                    <a:gd name="connsiteY4" fmla="*/ 405561 h 2859022"/>
                    <a:gd name="connsiteX5" fmla="*/ 404053 w 2356678"/>
                    <a:gd name="connsiteY5" fmla="*/ 424611 h 2859022"/>
                    <a:gd name="connsiteX6" fmla="*/ 408815 w 2356678"/>
                    <a:gd name="connsiteY6" fmla="*/ 481761 h 2859022"/>
                    <a:gd name="connsiteX7" fmla="*/ 375478 w 2356678"/>
                    <a:gd name="connsiteY7" fmla="*/ 543674 h 2859022"/>
                    <a:gd name="connsiteX8" fmla="*/ 356428 w 2356678"/>
                    <a:gd name="connsiteY8" fmla="*/ 638924 h 2859022"/>
                    <a:gd name="connsiteX9" fmla="*/ 380240 w 2356678"/>
                    <a:gd name="connsiteY9" fmla="*/ 715124 h 2859022"/>
                    <a:gd name="connsiteX10" fmla="*/ 337378 w 2356678"/>
                    <a:gd name="connsiteY10" fmla="*/ 762749 h 2859022"/>
                    <a:gd name="connsiteX11" fmla="*/ 289753 w 2356678"/>
                    <a:gd name="connsiteY11" fmla="*/ 848474 h 2859022"/>
                    <a:gd name="connsiteX12" fmla="*/ 194503 w 2356678"/>
                    <a:gd name="connsiteY12" fmla="*/ 910386 h 2859022"/>
                    <a:gd name="connsiteX13" fmla="*/ 151640 w 2356678"/>
                    <a:gd name="connsiteY13" fmla="*/ 943724 h 2859022"/>
                    <a:gd name="connsiteX14" fmla="*/ 132590 w 2356678"/>
                    <a:gd name="connsiteY14" fmla="*/ 996111 h 2859022"/>
                    <a:gd name="connsiteX15" fmla="*/ 127828 w 2356678"/>
                    <a:gd name="connsiteY15" fmla="*/ 1086599 h 2859022"/>
                    <a:gd name="connsiteX16" fmla="*/ 80203 w 2356678"/>
                    <a:gd name="connsiteY16" fmla="*/ 1148511 h 2859022"/>
                    <a:gd name="connsiteX17" fmla="*/ 51628 w 2356678"/>
                    <a:gd name="connsiteY17" fmla="*/ 1277099 h 2859022"/>
                    <a:gd name="connsiteX18" fmla="*/ 13528 w 2356678"/>
                    <a:gd name="connsiteY18" fmla="*/ 1348536 h 2859022"/>
                    <a:gd name="connsiteX19" fmla="*/ 23053 w 2356678"/>
                    <a:gd name="connsiteY19" fmla="*/ 1405686 h 2859022"/>
                    <a:gd name="connsiteX20" fmla="*/ 4003 w 2356678"/>
                    <a:gd name="connsiteY20" fmla="*/ 1448549 h 2859022"/>
                    <a:gd name="connsiteX21" fmla="*/ 4003 w 2356678"/>
                    <a:gd name="connsiteY21" fmla="*/ 1515224 h 2859022"/>
                    <a:gd name="connsiteX22" fmla="*/ 46865 w 2356678"/>
                    <a:gd name="connsiteY22" fmla="*/ 1600949 h 2859022"/>
                    <a:gd name="connsiteX23" fmla="*/ 123065 w 2356678"/>
                    <a:gd name="connsiteY23" fmla="*/ 1667624 h 2859022"/>
                    <a:gd name="connsiteX24" fmla="*/ 189740 w 2356678"/>
                    <a:gd name="connsiteY24" fmla="*/ 1739061 h 2859022"/>
                    <a:gd name="connsiteX25" fmla="*/ 242128 w 2356678"/>
                    <a:gd name="connsiteY25" fmla="*/ 1853361 h 2859022"/>
                    <a:gd name="connsiteX26" fmla="*/ 318328 w 2356678"/>
                    <a:gd name="connsiteY26" fmla="*/ 1972424 h 2859022"/>
                    <a:gd name="connsiteX27" fmla="*/ 413578 w 2356678"/>
                    <a:gd name="connsiteY27" fmla="*/ 2034336 h 2859022"/>
                    <a:gd name="connsiteX28" fmla="*/ 432628 w 2356678"/>
                    <a:gd name="connsiteY28" fmla="*/ 2058149 h 2859022"/>
                    <a:gd name="connsiteX29" fmla="*/ 442153 w 2356678"/>
                    <a:gd name="connsiteY29" fmla="*/ 2153399 h 2859022"/>
                    <a:gd name="connsiteX30" fmla="*/ 475490 w 2356678"/>
                    <a:gd name="connsiteY30" fmla="*/ 2220074 h 2859022"/>
                    <a:gd name="connsiteX31" fmla="*/ 532640 w 2356678"/>
                    <a:gd name="connsiteY31" fmla="*/ 2358186 h 2859022"/>
                    <a:gd name="connsiteX32" fmla="*/ 546928 w 2356678"/>
                    <a:gd name="connsiteY32" fmla="*/ 2448674 h 2859022"/>
                    <a:gd name="connsiteX33" fmla="*/ 570740 w 2356678"/>
                    <a:gd name="connsiteY33" fmla="*/ 2529636 h 2859022"/>
                    <a:gd name="connsiteX34" fmla="*/ 561215 w 2356678"/>
                    <a:gd name="connsiteY34" fmla="*/ 2596311 h 2859022"/>
                    <a:gd name="connsiteX35" fmla="*/ 646940 w 2356678"/>
                    <a:gd name="connsiteY35" fmla="*/ 2710611 h 2859022"/>
                    <a:gd name="connsiteX36" fmla="*/ 642178 w 2356678"/>
                    <a:gd name="connsiteY36" fmla="*/ 2805861 h 2859022"/>
                    <a:gd name="connsiteX37" fmla="*/ 656465 w 2356678"/>
                    <a:gd name="connsiteY37" fmla="*/ 2858249 h 2859022"/>
                    <a:gd name="connsiteX38" fmla="*/ 889828 w 2356678"/>
                    <a:gd name="connsiteY38" fmla="*/ 2767761 h 2859022"/>
                    <a:gd name="connsiteX39" fmla="*/ 951740 w 2356678"/>
                    <a:gd name="connsiteY39" fmla="*/ 2739186 h 2859022"/>
                    <a:gd name="connsiteX40" fmla="*/ 1027940 w 2356678"/>
                    <a:gd name="connsiteY40" fmla="*/ 2762999 h 2859022"/>
                    <a:gd name="connsiteX41" fmla="*/ 1089853 w 2356678"/>
                    <a:gd name="connsiteY41" fmla="*/ 2767761 h 2859022"/>
                    <a:gd name="connsiteX42" fmla="*/ 1127953 w 2356678"/>
                    <a:gd name="connsiteY42" fmla="*/ 2686799 h 2859022"/>
                    <a:gd name="connsiteX43" fmla="*/ 1089853 w 2356678"/>
                    <a:gd name="connsiteY43" fmla="*/ 2610599 h 2859022"/>
                    <a:gd name="connsiteX44" fmla="*/ 1151765 w 2356678"/>
                    <a:gd name="connsiteY44" fmla="*/ 2548686 h 2859022"/>
                    <a:gd name="connsiteX45" fmla="*/ 1218440 w 2356678"/>
                    <a:gd name="connsiteY45" fmla="*/ 2486774 h 2859022"/>
                    <a:gd name="connsiteX46" fmla="*/ 1270828 w 2356678"/>
                    <a:gd name="connsiteY46" fmla="*/ 2372474 h 2859022"/>
                    <a:gd name="connsiteX47" fmla="*/ 1294640 w 2356678"/>
                    <a:gd name="connsiteY47" fmla="*/ 2320086 h 2859022"/>
                    <a:gd name="connsiteX48" fmla="*/ 1356553 w 2356678"/>
                    <a:gd name="connsiteY48" fmla="*/ 2258174 h 2859022"/>
                    <a:gd name="connsiteX49" fmla="*/ 1408940 w 2356678"/>
                    <a:gd name="connsiteY49" fmla="*/ 2177211 h 2859022"/>
                    <a:gd name="connsiteX50" fmla="*/ 1423228 w 2356678"/>
                    <a:gd name="connsiteY50" fmla="*/ 2096249 h 2859022"/>
                    <a:gd name="connsiteX51" fmla="*/ 1489903 w 2356678"/>
                    <a:gd name="connsiteY51" fmla="*/ 1962899 h 2859022"/>
                    <a:gd name="connsiteX52" fmla="*/ 1556578 w 2356678"/>
                    <a:gd name="connsiteY52" fmla="*/ 1848599 h 2859022"/>
                    <a:gd name="connsiteX53" fmla="*/ 1556578 w 2356678"/>
                    <a:gd name="connsiteY53" fmla="*/ 1767636 h 2859022"/>
                    <a:gd name="connsiteX54" fmla="*/ 1561340 w 2356678"/>
                    <a:gd name="connsiteY54" fmla="*/ 1639049 h 2859022"/>
                    <a:gd name="connsiteX55" fmla="*/ 1575628 w 2356678"/>
                    <a:gd name="connsiteY55" fmla="*/ 1543799 h 2859022"/>
                    <a:gd name="connsiteX56" fmla="*/ 1594678 w 2356678"/>
                    <a:gd name="connsiteY56" fmla="*/ 1462836 h 2859022"/>
                    <a:gd name="connsiteX57" fmla="*/ 1547053 w 2356678"/>
                    <a:gd name="connsiteY57" fmla="*/ 1329486 h 2859022"/>
                    <a:gd name="connsiteX58" fmla="*/ 1442278 w 2356678"/>
                    <a:gd name="connsiteY58" fmla="*/ 1115174 h 2859022"/>
                    <a:gd name="connsiteX59" fmla="*/ 1447040 w 2356678"/>
                    <a:gd name="connsiteY59" fmla="*/ 1067549 h 2859022"/>
                    <a:gd name="connsiteX60" fmla="*/ 1451803 w 2356678"/>
                    <a:gd name="connsiteY60" fmla="*/ 1024686 h 2859022"/>
                    <a:gd name="connsiteX61" fmla="*/ 1489903 w 2356678"/>
                    <a:gd name="connsiteY61" fmla="*/ 967536 h 2859022"/>
                    <a:gd name="connsiteX62" fmla="*/ 1508953 w 2356678"/>
                    <a:gd name="connsiteY62" fmla="*/ 929436 h 2859022"/>
                    <a:gd name="connsiteX63" fmla="*/ 1556578 w 2356678"/>
                    <a:gd name="connsiteY63" fmla="*/ 834186 h 2859022"/>
                    <a:gd name="connsiteX64" fmla="*/ 1594678 w 2356678"/>
                    <a:gd name="connsiteY64" fmla="*/ 757986 h 2859022"/>
                    <a:gd name="connsiteX65" fmla="*/ 1680403 w 2356678"/>
                    <a:gd name="connsiteY65" fmla="*/ 672261 h 2859022"/>
                    <a:gd name="connsiteX66" fmla="*/ 1728028 w 2356678"/>
                    <a:gd name="connsiteY66" fmla="*/ 615111 h 2859022"/>
                    <a:gd name="connsiteX67" fmla="*/ 1780415 w 2356678"/>
                    <a:gd name="connsiteY67" fmla="*/ 524624 h 2859022"/>
                    <a:gd name="connsiteX68" fmla="*/ 1828040 w 2356678"/>
                    <a:gd name="connsiteY68" fmla="*/ 500811 h 2859022"/>
                    <a:gd name="connsiteX69" fmla="*/ 1851853 w 2356678"/>
                    <a:gd name="connsiteY69" fmla="*/ 443661 h 2859022"/>
                    <a:gd name="connsiteX70" fmla="*/ 1875665 w 2356678"/>
                    <a:gd name="connsiteY70" fmla="*/ 372224 h 2859022"/>
                    <a:gd name="connsiteX71" fmla="*/ 1913765 w 2356678"/>
                    <a:gd name="connsiteY71" fmla="*/ 310311 h 2859022"/>
                    <a:gd name="connsiteX72" fmla="*/ 1961390 w 2356678"/>
                    <a:gd name="connsiteY72" fmla="*/ 253161 h 2859022"/>
                    <a:gd name="connsiteX73" fmla="*/ 2018540 w 2356678"/>
                    <a:gd name="connsiteY73" fmla="*/ 229349 h 2859022"/>
                    <a:gd name="connsiteX74" fmla="*/ 2066165 w 2356678"/>
                    <a:gd name="connsiteY74" fmla="*/ 215061 h 2859022"/>
                    <a:gd name="connsiteX75" fmla="*/ 2089978 w 2356678"/>
                    <a:gd name="connsiteY75" fmla="*/ 167436 h 2859022"/>
                    <a:gd name="connsiteX76" fmla="*/ 2085215 w 2356678"/>
                    <a:gd name="connsiteY76" fmla="*/ 91236 h 2859022"/>
                    <a:gd name="connsiteX77" fmla="*/ 2137603 w 2356678"/>
                    <a:gd name="connsiteY77" fmla="*/ 24561 h 2859022"/>
                    <a:gd name="connsiteX78" fmla="*/ 2199515 w 2356678"/>
                    <a:gd name="connsiteY78" fmla="*/ 15036 h 2859022"/>
                    <a:gd name="connsiteX79" fmla="*/ 2251903 w 2356678"/>
                    <a:gd name="connsiteY79" fmla="*/ 24561 h 2859022"/>
                    <a:gd name="connsiteX80" fmla="*/ 2294765 w 2356678"/>
                    <a:gd name="connsiteY80" fmla="*/ 749 h 2859022"/>
                    <a:gd name="connsiteX81" fmla="*/ 2356678 w 2356678"/>
                    <a:gd name="connsiteY81" fmla="*/ 5511 h 2859022"/>
                    <a:gd name="connsiteX82" fmla="*/ 2356678 w 2356678"/>
                    <a:gd name="connsiteY82" fmla="*/ 5511 h 2859022"/>
                    <a:gd name="connsiteX0" fmla="*/ 537403 w 2356678"/>
                    <a:gd name="connsiteY0" fmla="*/ 134099 h 2859022"/>
                    <a:gd name="connsiteX1" fmla="*/ 494540 w 2356678"/>
                    <a:gd name="connsiteY1" fmla="*/ 196011 h 2859022"/>
                    <a:gd name="connsiteX2" fmla="*/ 485015 w 2356678"/>
                    <a:gd name="connsiteY2" fmla="*/ 272211 h 2859022"/>
                    <a:gd name="connsiteX3" fmla="*/ 451678 w 2356678"/>
                    <a:gd name="connsiteY3" fmla="*/ 376986 h 2859022"/>
                    <a:gd name="connsiteX4" fmla="*/ 427865 w 2356678"/>
                    <a:gd name="connsiteY4" fmla="*/ 405561 h 2859022"/>
                    <a:gd name="connsiteX5" fmla="*/ 404053 w 2356678"/>
                    <a:gd name="connsiteY5" fmla="*/ 424611 h 2859022"/>
                    <a:gd name="connsiteX6" fmla="*/ 408815 w 2356678"/>
                    <a:gd name="connsiteY6" fmla="*/ 481761 h 2859022"/>
                    <a:gd name="connsiteX7" fmla="*/ 375478 w 2356678"/>
                    <a:gd name="connsiteY7" fmla="*/ 543674 h 2859022"/>
                    <a:gd name="connsiteX8" fmla="*/ 356428 w 2356678"/>
                    <a:gd name="connsiteY8" fmla="*/ 638924 h 2859022"/>
                    <a:gd name="connsiteX9" fmla="*/ 380240 w 2356678"/>
                    <a:gd name="connsiteY9" fmla="*/ 715124 h 2859022"/>
                    <a:gd name="connsiteX10" fmla="*/ 337378 w 2356678"/>
                    <a:gd name="connsiteY10" fmla="*/ 762749 h 2859022"/>
                    <a:gd name="connsiteX11" fmla="*/ 289753 w 2356678"/>
                    <a:gd name="connsiteY11" fmla="*/ 848474 h 2859022"/>
                    <a:gd name="connsiteX12" fmla="*/ 194503 w 2356678"/>
                    <a:gd name="connsiteY12" fmla="*/ 910386 h 2859022"/>
                    <a:gd name="connsiteX13" fmla="*/ 151640 w 2356678"/>
                    <a:gd name="connsiteY13" fmla="*/ 943724 h 2859022"/>
                    <a:gd name="connsiteX14" fmla="*/ 132590 w 2356678"/>
                    <a:gd name="connsiteY14" fmla="*/ 996111 h 2859022"/>
                    <a:gd name="connsiteX15" fmla="*/ 127828 w 2356678"/>
                    <a:gd name="connsiteY15" fmla="*/ 1086599 h 2859022"/>
                    <a:gd name="connsiteX16" fmla="*/ 80203 w 2356678"/>
                    <a:gd name="connsiteY16" fmla="*/ 1148511 h 2859022"/>
                    <a:gd name="connsiteX17" fmla="*/ 51628 w 2356678"/>
                    <a:gd name="connsiteY17" fmla="*/ 1277099 h 2859022"/>
                    <a:gd name="connsiteX18" fmla="*/ 13528 w 2356678"/>
                    <a:gd name="connsiteY18" fmla="*/ 1348536 h 2859022"/>
                    <a:gd name="connsiteX19" fmla="*/ 23053 w 2356678"/>
                    <a:gd name="connsiteY19" fmla="*/ 1405686 h 2859022"/>
                    <a:gd name="connsiteX20" fmla="*/ 4003 w 2356678"/>
                    <a:gd name="connsiteY20" fmla="*/ 1448549 h 2859022"/>
                    <a:gd name="connsiteX21" fmla="*/ 4003 w 2356678"/>
                    <a:gd name="connsiteY21" fmla="*/ 1515224 h 2859022"/>
                    <a:gd name="connsiteX22" fmla="*/ 46865 w 2356678"/>
                    <a:gd name="connsiteY22" fmla="*/ 1600949 h 2859022"/>
                    <a:gd name="connsiteX23" fmla="*/ 123065 w 2356678"/>
                    <a:gd name="connsiteY23" fmla="*/ 1667624 h 2859022"/>
                    <a:gd name="connsiteX24" fmla="*/ 189740 w 2356678"/>
                    <a:gd name="connsiteY24" fmla="*/ 1739061 h 2859022"/>
                    <a:gd name="connsiteX25" fmla="*/ 242128 w 2356678"/>
                    <a:gd name="connsiteY25" fmla="*/ 1853361 h 2859022"/>
                    <a:gd name="connsiteX26" fmla="*/ 318328 w 2356678"/>
                    <a:gd name="connsiteY26" fmla="*/ 1972424 h 2859022"/>
                    <a:gd name="connsiteX27" fmla="*/ 413578 w 2356678"/>
                    <a:gd name="connsiteY27" fmla="*/ 2034336 h 2859022"/>
                    <a:gd name="connsiteX28" fmla="*/ 432628 w 2356678"/>
                    <a:gd name="connsiteY28" fmla="*/ 2058149 h 2859022"/>
                    <a:gd name="connsiteX29" fmla="*/ 442153 w 2356678"/>
                    <a:gd name="connsiteY29" fmla="*/ 2153399 h 2859022"/>
                    <a:gd name="connsiteX30" fmla="*/ 461203 w 2356678"/>
                    <a:gd name="connsiteY30" fmla="*/ 2224837 h 2859022"/>
                    <a:gd name="connsiteX31" fmla="*/ 532640 w 2356678"/>
                    <a:gd name="connsiteY31" fmla="*/ 2358186 h 2859022"/>
                    <a:gd name="connsiteX32" fmla="*/ 546928 w 2356678"/>
                    <a:gd name="connsiteY32" fmla="*/ 2448674 h 2859022"/>
                    <a:gd name="connsiteX33" fmla="*/ 570740 w 2356678"/>
                    <a:gd name="connsiteY33" fmla="*/ 2529636 h 2859022"/>
                    <a:gd name="connsiteX34" fmla="*/ 561215 w 2356678"/>
                    <a:gd name="connsiteY34" fmla="*/ 2596311 h 2859022"/>
                    <a:gd name="connsiteX35" fmla="*/ 646940 w 2356678"/>
                    <a:gd name="connsiteY35" fmla="*/ 2710611 h 2859022"/>
                    <a:gd name="connsiteX36" fmla="*/ 642178 w 2356678"/>
                    <a:gd name="connsiteY36" fmla="*/ 2805861 h 2859022"/>
                    <a:gd name="connsiteX37" fmla="*/ 656465 w 2356678"/>
                    <a:gd name="connsiteY37" fmla="*/ 2858249 h 2859022"/>
                    <a:gd name="connsiteX38" fmla="*/ 889828 w 2356678"/>
                    <a:gd name="connsiteY38" fmla="*/ 2767761 h 2859022"/>
                    <a:gd name="connsiteX39" fmla="*/ 951740 w 2356678"/>
                    <a:gd name="connsiteY39" fmla="*/ 2739186 h 2859022"/>
                    <a:gd name="connsiteX40" fmla="*/ 1027940 w 2356678"/>
                    <a:gd name="connsiteY40" fmla="*/ 2762999 h 2859022"/>
                    <a:gd name="connsiteX41" fmla="*/ 1089853 w 2356678"/>
                    <a:gd name="connsiteY41" fmla="*/ 2767761 h 2859022"/>
                    <a:gd name="connsiteX42" fmla="*/ 1127953 w 2356678"/>
                    <a:gd name="connsiteY42" fmla="*/ 2686799 h 2859022"/>
                    <a:gd name="connsiteX43" fmla="*/ 1089853 w 2356678"/>
                    <a:gd name="connsiteY43" fmla="*/ 2610599 h 2859022"/>
                    <a:gd name="connsiteX44" fmla="*/ 1151765 w 2356678"/>
                    <a:gd name="connsiteY44" fmla="*/ 2548686 h 2859022"/>
                    <a:gd name="connsiteX45" fmla="*/ 1218440 w 2356678"/>
                    <a:gd name="connsiteY45" fmla="*/ 2486774 h 2859022"/>
                    <a:gd name="connsiteX46" fmla="*/ 1270828 w 2356678"/>
                    <a:gd name="connsiteY46" fmla="*/ 2372474 h 2859022"/>
                    <a:gd name="connsiteX47" fmla="*/ 1294640 w 2356678"/>
                    <a:gd name="connsiteY47" fmla="*/ 2320086 h 2859022"/>
                    <a:gd name="connsiteX48" fmla="*/ 1356553 w 2356678"/>
                    <a:gd name="connsiteY48" fmla="*/ 2258174 h 2859022"/>
                    <a:gd name="connsiteX49" fmla="*/ 1408940 w 2356678"/>
                    <a:gd name="connsiteY49" fmla="*/ 2177211 h 2859022"/>
                    <a:gd name="connsiteX50" fmla="*/ 1423228 w 2356678"/>
                    <a:gd name="connsiteY50" fmla="*/ 2096249 h 2859022"/>
                    <a:gd name="connsiteX51" fmla="*/ 1489903 w 2356678"/>
                    <a:gd name="connsiteY51" fmla="*/ 1962899 h 2859022"/>
                    <a:gd name="connsiteX52" fmla="*/ 1556578 w 2356678"/>
                    <a:gd name="connsiteY52" fmla="*/ 1848599 h 2859022"/>
                    <a:gd name="connsiteX53" fmla="*/ 1556578 w 2356678"/>
                    <a:gd name="connsiteY53" fmla="*/ 1767636 h 2859022"/>
                    <a:gd name="connsiteX54" fmla="*/ 1561340 w 2356678"/>
                    <a:gd name="connsiteY54" fmla="*/ 1639049 h 2859022"/>
                    <a:gd name="connsiteX55" fmla="*/ 1575628 w 2356678"/>
                    <a:gd name="connsiteY55" fmla="*/ 1543799 h 2859022"/>
                    <a:gd name="connsiteX56" fmla="*/ 1594678 w 2356678"/>
                    <a:gd name="connsiteY56" fmla="*/ 1462836 h 2859022"/>
                    <a:gd name="connsiteX57" fmla="*/ 1547053 w 2356678"/>
                    <a:gd name="connsiteY57" fmla="*/ 1329486 h 2859022"/>
                    <a:gd name="connsiteX58" fmla="*/ 1442278 w 2356678"/>
                    <a:gd name="connsiteY58" fmla="*/ 1115174 h 2859022"/>
                    <a:gd name="connsiteX59" fmla="*/ 1447040 w 2356678"/>
                    <a:gd name="connsiteY59" fmla="*/ 1067549 h 2859022"/>
                    <a:gd name="connsiteX60" fmla="*/ 1451803 w 2356678"/>
                    <a:gd name="connsiteY60" fmla="*/ 1024686 h 2859022"/>
                    <a:gd name="connsiteX61" fmla="*/ 1489903 w 2356678"/>
                    <a:gd name="connsiteY61" fmla="*/ 967536 h 2859022"/>
                    <a:gd name="connsiteX62" fmla="*/ 1508953 w 2356678"/>
                    <a:gd name="connsiteY62" fmla="*/ 929436 h 2859022"/>
                    <a:gd name="connsiteX63" fmla="*/ 1556578 w 2356678"/>
                    <a:gd name="connsiteY63" fmla="*/ 834186 h 2859022"/>
                    <a:gd name="connsiteX64" fmla="*/ 1594678 w 2356678"/>
                    <a:gd name="connsiteY64" fmla="*/ 757986 h 2859022"/>
                    <a:gd name="connsiteX65" fmla="*/ 1680403 w 2356678"/>
                    <a:gd name="connsiteY65" fmla="*/ 672261 h 2859022"/>
                    <a:gd name="connsiteX66" fmla="*/ 1728028 w 2356678"/>
                    <a:gd name="connsiteY66" fmla="*/ 615111 h 2859022"/>
                    <a:gd name="connsiteX67" fmla="*/ 1780415 w 2356678"/>
                    <a:gd name="connsiteY67" fmla="*/ 524624 h 2859022"/>
                    <a:gd name="connsiteX68" fmla="*/ 1828040 w 2356678"/>
                    <a:gd name="connsiteY68" fmla="*/ 500811 h 2859022"/>
                    <a:gd name="connsiteX69" fmla="*/ 1851853 w 2356678"/>
                    <a:gd name="connsiteY69" fmla="*/ 443661 h 2859022"/>
                    <a:gd name="connsiteX70" fmla="*/ 1875665 w 2356678"/>
                    <a:gd name="connsiteY70" fmla="*/ 372224 h 2859022"/>
                    <a:gd name="connsiteX71" fmla="*/ 1913765 w 2356678"/>
                    <a:gd name="connsiteY71" fmla="*/ 310311 h 2859022"/>
                    <a:gd name="connsiteX72" fmla="*/ 1961390 w 2356678"/>
                    <a:gd name="connsiteY72" fmla="*/ 253161 h 2859022"/>
                    <a:gd name="connsiteX73" fmla="*/ 2018540 w 2356678"/>
                    <a:gd name="connsiteY73" fmla="*/ 229349 h 2859022"/>
                    <a:gd name="connsiteX74" fmla="*/ 2066165 w 2356678"/>
                    <a:gd name="connsiteY74" fmla="*/ 215061 h 2859022"/>
                    <a:gd name="connsiteX75" fmla="*/ 2089978 w 2356678"/>
                    <a:gd name="connsiteY75" fmla="*/ 167436 h 2859022"/>
                    <a:gd name="connsiteX76" fmla="*/ 2085215 w 2356678"/>
                    <a:gd name="connsiteY76" fmla="*/ 91236 h 2859022"/>
                    <a:gd name="connsiteX77" fmla="*/ 2137603 w 2356678"/>
                    <a:gd name="connsiteY77" fmla="*/ 24561 h 2859022"/>
                    <a:gd name="connsiteX78" fmla="*/ 2199515 w 2356678"/>
                    <a:gd name="connsiteY78" fmla="*/ 15036 h 2859022"/>
                    <a:gd name="connsiteX79" fmla="*/ 2251903 w 2356678"/>
                    <a:gd name="connsiteY79" fmla="*/ 24561 h 2859022"/>
                    <a:gd name="connsiteX80" fmla="*/ 2294765 w 2356678"/>
                    <a:gd name="connsiteY80" fmla="*/ 749 h 2859022"/>
                    <a:gd name="connsiteX81" fmla="*/ 2356678 w 2356678"/>
                    <a:gd name="connsiteY81" fmla="*/ 5511 h 2859022"/>
                    <a:gd name="connsiteX82" fmla="*/ 2356678 w 2356678"/>
                    <a:gd name="connsiteY82" fmla="*/ 5511 h 2859022"/>
                    <a:gd name="connsiteX0" fmla="*/ 537403 w 2356678"/>
                    <a:gd name="connsiteY0" fmla="*/ 134099 h 2859022"/>
                    <a:gd name="connsiteX1" fmla="*/ 494540 w 2356678"/>
                    <a:gd name="connsiteY1" fmla="*/ 196011 h 2859022"/>
                    <a:gd name="connsiteX2" fmla="*/ 485015 w 2356678"/>
                    <a:gd name="connsiteY2" fmla="*/ 272211 h 2859022"/>
                    <a:gd name="connsiteX3" fmla="*/ 451678 w 2356678"/>
                    <a:gd name="connsiteY3" fmla="*/ 376986 h 2859022"/>
                    <a:gd name="connsiteX4" fmla="*/ 427865 w 2356678"/>
                    <a:gd name="connsiteY4" fmla="*/ 405561 h 2859022"/>
                    <a:gd name="connsiteX5" fmla="*/ 404053 w 2356678"/>
                    <a:gd name="connsiteY5" fmla="*/ 424611 h 2859022"/>
                    <a:gd name="connsiteX6" fmla="*/ 408815 w 2356678"/>
                    <a:gd name="connsiteY6" fmla="*/ 481761 h 2859022"/>
                    <a:gd name="connsiteX7" fmla="*/ 375478 w 2356678"/>
                    <a:gd name="connsiteY7" fmla="*/ 543674 h 2859022"/>
                    <a:gd name="connsiteX8" fmla="*/ 356428 w 2356678"/>
                    <a:gd name="connsiteY8" fmla="*/ 638924 h 2859022"/>
                    <a:gd name="connsiteX9" fmla="*/ 380240 w 2356678"/>
                    <a:gd name="connsiteY9" fmla="*/ 715124 h 2859022"/>
                    <a:gd name="connsiteX10" fmla="*/ 337378 w 2356678"/>
                    <a:gd name="connsiteY10" fmla="*/ 762749 h 2859022"/>
                    <a:gd name="connsiteX11" fmla="*/ 289753 w 2356678"/>
                    <a:gd name="connsiteY11" fmla="*/ 848474 h 2859022"/>
                    <a:gd name="connsiteX12" fmla="*/ 194503 w 2356678"/>
                    <a:gd name="connsiteY12" fmla="*/ 910386 h 2859022"/>
                    <a:gd name="connsiteX13" fmla="*/ 151640 w 2356678"/>
                    <a:gd name="connsiteY13" fmla="*/ 943724 h 2859022"/>
                    <a:gd name="connsiteX14" fmla="*/ 132590 w 2356678"/>
                    <a:gd name="connsiteY14" fmla="*/ 996111 h 2859022"/>
                    <a:gd name="connsiteX15" fmla="*/ 127828 w 2356678"/>
                    <a:gd name="connsiteY15" fmla="*/ 1086599 h 2859022"/>
                    <a:gd name="connsiteX16" fmla="*/ 80203 w 2356678"/>
                    <a:gd name="connsiteY16" fmla="*/ 1148511 h 2859022"/>
                    <a:gd name="connsiteX17" fmla="*/ 51628 w 2356678"/>
                    <a:gd name="connsiteY17" fmla="*/ 1277099 h 2859022"/>
                    <a:gd name="connsiteX18" fmla="*/ 13528 w 2356678"/>
                    <a:gd name="connsiteY18" fmla="*/ 1348536 h 2859022"/>
                    <a:gd name="connsiteX19" fmla="*/ 23053 w 2356678"/>
                    <a:gd name="connsiteY19" fmla="*/ 1405686 h 2859022"/>
                    <a:gd name="connsiteX20" fmla="*/ 4003 w 2356678"/>
                    <a:gd name="connsiteY20" fmla="*/ 1448549 h 2859022"/>
                    <a:gd name="connsiteX21" fmla="*/ 4003 w 2356678"/>
                    <a:gd name="connsiteY21" fmla="*/ 1515224 h 2859022"/>
                    <a:gd name="connsiteX22" fmla="*/ 46865 w 2356678"/>
                    <a:gd name="connsiteY22" fmla="*/ 1600949 h 2859022"/>
                    <a:gd name="connsiteX23" fmla="*/ 123065 w 2356678"/>
                    <a:gd name="connsiteY23" fmla="*/ 1667624 h 2859022"/>
                    <a:gd name="connsiteX24" fmla="*/ 189740 w 2356678"/>
                    <a:gd name="connsiteY24" fmla="*/ 1739061 h 2859022"/>
                    <a:gd name="connsiteX25" fmla="*/ 242128 w 2356678"/>
                    <a:gd name="connsiteY25" fmla="*/ 1853361 h 2859022"/>
                    <a:gd name="connsiteX26" fmla="*/ 318328 w 2356678"/>
                    <a:gd name="connsiteY26" fmla="*/ 1972424 h 2859022"/>
                    <a:gd name="connsiteX27" fmla="*/ 413578 w 2356678"/>
                    <a:gd name="connsiteY27" fmla="*/ 2034336 h 2859022"/>
                    <a:gd name="connsiteX28" fmla="*/ 432628 w 2356678"/>
                    <a:gd name="connsiteY28" fmla="*/ 2058149 h 2859022"/>
                    <a:gd name="connsiteX29" fmla="*/ 442153 w 2356678"/>
                    <a:gd name="connsiteY29" fmla="*/ 2153399 h 2859022"/>
                    <a:gd name="connsiteX30" fmla="*/ 461203 w 2356678"/>
                    <a:gd name="connsiteY30" fmla="*/ 2224837 h 2859022"/>
                    <a:gd name="connsiteX31" fmla="*/ 532640 w 2356678"/>
                    <a:gd name="connsiteY31" fmla="*/ 2358186 h 2859022"/>
                    <a:gd name="connsiteX32" fmla="*/ 546928 w 2356678"/>
                    <a:gd name="connsiteY32" fmla="*/ 2448674 h 2859022"/>
                    <a:gd name="connsiteX33" fmla="*/ 570740 w 2356678"/>
                    <a:gd name="connsiteY33" fmla="*/ 2529636 h 2859022"/>
                    <a:gd name="connsiteX34" fmla="*/ 561215 w 2356678"/>
                    <a:gd name="connsiteY34" fmla="*/ 2596311 h 2859022"/>
                    <a:gd name="connsiteX35" fmla="*/ 646940 w 2356678"/>
                    <a:gd name="connsiteY35" fmla="*/ 2710611 h 2859022"/>
                    <a:gd name="connsiteX36" fmla="*/ 642178 w 2356678"/>
                    <a:gd name="connsiteY36" fmla="*/ 2805861 h 2859022"/>
                    <a:gd name="connsiteX37" fmla="*/ 656465 w 2356678"/>
                    <a:gd name="connsiteY37" fmla="*/ 2858249 h 2859022"/>
                    <a:gd name="connsiteX38" fmla="*/ 889828 w 2356678"/>
                    <a:gd name="connsiteY38" fmla="*/ 2767761 h 2859022"/>
                    <a:gd name="connsiteX39" fmla="*/ 951740 w 2356678"/>
                    <a:gd name="connsiteY39" fmla="*/ 2739186 h 2859022"/>
                    <a:gd name="connsiteX40" fmla="*/ 1027940 w 2356678"/>
                    <a:gd name="connsiteY40" fmla="*/ 2762999 h 2859022"/>
                    <a:gd name="connsiteX41" fmla="*/ 1089853 w 2356678"/>
                    <a:gd name="connsiteY41" fmla="*/ 2767761 h 2859022"/>
                    <a:gd name="connsiteX42" fmla="*/ 1127953 w 2356678"/>
                    <a:gd name="connsiteY42" fmla="*/ 2686799 h 2859022"/>
                    <a:gd name="connsiteX43" fmla="*/ 1089853 w 2356678"/>
                    <a:gd name="connsiteY43" fmla="*/ 2610599 h 2859022"/>
                    <a:gd name="connsiteX44" fmla="*/ 1151765 w 2356678"/>
                    <a:gd name="connsiteY44" fmla="*/ 2548686 h 2859022"/>
                    <a:gd name="connsiteX45" fmla="*/ 1218440 w 2356678"/>
                    <a:gd name="connsiteY45" fmla="*/ 2486774 h 2859022"/>
                    <a:gd name="connsiteX46" fmla="*/ 1270828 w 2356678"/>
                    <a:gd name="connsiteY46" fmla="*/ 2372474 h 2859022"/>
                    <a:gd name="connsiteX47" fmla="*/ 1294640 w 2356678"/>
                    <a:gd name="connsiteY47" fmla="*/ 2320086 h 2859022"/>
                    <a:gd name="connsiteX48" fmla="*/ 1356553 w 2356678"/>
                    <a:gd name="connsiteY48" fmla="*/ 2258174 h 2859022"/>
                    <a:gd name="connsiteX49" fmla="*/ 1408940 w 2356678"/>
                    <a:gd name="connsiteY49" fmla="*/ 2177211 h 2859022"/>
                    <a:gd name="connsiteX50" fmla="*/ 1423228 w 2356678"/>
                    <a:gd name="connsiteY50" fmla="*/ 2096249 h 2859022"/>
                    <a:gd name="connsiteX51" fmla="*/ 1489903 w 2356678"/>
                    <a:gd name="connsiteY51" fmla="*/ 1962899 h 2859022"/>
                    <a:gd name="connsiteX52" fmla="*/ 1556578 w 2356678"/>
                    <a:gd name="connsiteY52" fmla="*/ 1848599 h 2859022"/>
                    <a:gd name="connsiteX53" fmla="*/ 1556578 w 2356678"/>
                    <a:gd name="connsiteY53" fmla="*/ 1767636 h 2859022"/>
                    <a:gd name="connsiteX54" fmla="*/ 1561340 w 2356678"/>
                    <a:gd name="connsiteY54" fmla="*/ 1639049 h 2859022"/>
                    <a:gd name="connsiteX55" fmla="*/ 1575628 w 2356678"/>
                    <a:gd name="connsiteY55" fmla="*/ 1543799 h 2859022"/>
                    <a:gd name="connsiteX56" fmla="*/ 1594678 w 2356678"/>
                    <a:gd name="connsiteY56" fmla="*/ 1462836 h 2859022"/>
                    <a:gd name="connsiteX57" fmla="*/ 1547053 w 2356678"/>
                    <a:gd name="connsiteY57" fmla="*/ 1329486 h 2859022"/>
                    <a:gd name="connsiteX58" fmla="*/ 1442278 w 2356678"/>
                    <a:gd name="connsiteY58" fmla="*/ 1115174 h 2859022"/>
                    <a:gd name="connsiteX59" fmla="*/ 1447040 w 2356678"/>
                    <a:gd name="connsiteY59" fmla="*/ 1067549 h 2859022"/>
                    <a:gd name="connsiteX60" fmla="*/ 1451803 w 2356678"/>
                    <a:gd name="connsiteY60" fmla="*/ 1024686 h 2859022"/>
                    <a:gd name="connsiteX61" fmla="*/ 1489903 w 2356678"/>
                    <a:gd name="connsiteY61" fmla="*/ 967536 h 2859022"/>
                    <a:gd name="connsiteX62" fmla="*/ 1508953 w 2356678"/>
                    <a:gd name="connsiteY62" fmla="*/ 929436 h 2859022"/>
                    <a:gd name="connsiteX63" fmla="*/ 1556578 w 2356678"/>
                    <a:gd name="connsiteY63" fmla="*/ 834186 h 2859022"/>
                    <a:gd name="connsiteX64" fmla="*/ 1594678 w 2356678"/>
                    <a:gd name="connsiteY64" fmla="*/ 757986 h 2859022"/>
                    <a:gd name="connsiteX65" fmla="*/ 1680403 w 2356678"/>
                    <a:gd name="connsiteY65" fmla="*/ 672261 h 2859022"/>
                    <a:gd name="connsiteX66" fmla="*/ 1728028 w 2356678"/>
                    <a:gd name="connsiteY66" fmla="*/ 615111 h 2859022"/>
                    <a:gd name="connsiteX67" fmla="*/ 1780415 w 2356678"/>
                    <a:gd name="connsiteY67" fmla="*/ 524624 h 2859022"/>
                    <a:gd name="connsiteX68" fmla="*/ 1828040 w 2356678"/>
                    <a:gd name="connsiteY68" fmla="*/ 500811 h 2859022"/>
                    <a:gd name="connsiteX69" fmla="*/ 1851853 w 2356678"/>
                    <a:gd name="connsiteY69" fmla="*/ 443661 h 2859022"/>
                    <a:gd name="connsiteX70" fmla="*/ 1875665 w 2356678"/>
                    <a:gd name="connsiteY70" fmla="*/ 372224 h 2859022"/>
                    <a:gd name="connsiteX71" fmla="*/ 1913765 w 2356678"/>
                    <a:gd name="connsiteY71" fmla="*/ 310311 h 2859022"/>
                    <a:gd name="connsiteX72" fmla="*/ 1961390 w 2356678"/>
                    <a:gd name="connsiteY72" fmla="*/ 253161 h 2859022"/>
                    <a:gd name="connsiteX73" fmla="*/ 2018540 w 2356678"/>
                    <a:gd name="connsiteY73" fmla="*/ 229349 h 2859022"/>
                    <a:gd name="connsiteX74" fmla="*/ 2066165 w 2356678"/>
                    <a:gd name="connsiteY74" fmla="*/ 215061 h 2859022"/>
                    <a:gd name="connsiteX75" fmla="*/ 2089978 w 2356678"/>
                    <a:gd name="connsiteY75" fmla="*/ 167436 h 2859022"/>
                    <a:gd name="connsiteX76" fmla="*/ 2085215 w 2356678"/>
                    <a:gd name="connsiteY76" fmla="*/ 91236 h 2859022"/>
                    <a:gd name="connsiteX77" fmla="*/ 2137603 w 2356678"/>
                    <a:gd name="connsiteY77" fmla="*/ 24561 h 2859022"/>
                    <a:gd name="connsiteX78" fmla="*/ 2199515 w 2356678"/>
                    <a:gd name="connsiteY78" fmla="*/ 15036 h 2859022"/>
                    <a:gd name="connsiteX79" fmla="*/ 2251903 w 2356678"/>
                    <a:gd name="connsiteY79" fmla="*/ 24561 h 2859022"/>
                    <a:gd name="connsiteX80" fmla="*/ 2294765 w 2356678"/>
                    <a:gd name="connsiteY80" fmla="*/ 749 h 2859022"/>
                    <a:gd name="connsiteX81" fmla="*/ 2356678 w 2356678"/>
                    <a:gd name="connsiteY81" fmla="*/ 5511 h 2859022"/>
                    <a:gd name="connsiteX0" fmla="*/ 537403 w 2356678"/>
                    <a:gd name="connsiteY0" fmla="*/ 128588 h 2853511"/>
                    <a:gd name="connsiteX1" fmla="*/ 494540 w 2356678"/>
                    <a:gd name="connsiteY1" fmla="*/ 190500 h 2853511"/>
                    <a:gd name="connsiteX2" fmla="*/ 485015 w 2356678"/>
                    <a:gd name="connsiteY2" fmla="*/ 266700 h 2853511"/>
                    <a:gd name="connsiteX3" fmla="*/ 451678 w 2356678"/>
                    <a:gd name="connsiteY3" fmla="*/ 371475 h 2853511"/>
                    <a:gd name="connsiteX4" fmla="*/ 427865 w 2356678"/>
                    <a:gd name="connsiteY4" fmla="*/ 400050 h 2853511"/>
                    <a:gd name="connsiteX5" fmla="*/ 404053 w 2356678"/>
                    <a:gd name="connsiteY5" fmla="*/ 419100 h 2853511"/>
                    <a:gd name="connsiteX6" fmla="*/ 408815 w 2356678"/>
                    <a:gd name="connsiteY6" fmla="*/ 476250 h 2853511"/>
                    <a:gd name="connsiteX7" fmla="*/ 375478 w 2356678"/>
                    <a:gd name="connsiteY7" fmla="*/ 538163 h 2853511"/>
                    <a:gd name="connsiteX8" fmla="*/ 356428 w 2356678"/>
                    <a:gd name="connsiteY8" fmla="*/ 633413 h 2853511"/>
                    <a:gd name="connsiteX9" fmla="*/ 380240 w 2356678"/>
                    <a:gd name="connsiteY9" fmla="*/ 709613 h 2853511"/>
                    <a:gd name="connsiteX10" fmla="*/ 337378 w 2356678"/>
                    <a:gd name="connsiteY10" fmla="*/ 757238 h 2853511"/>
                    <a:gd name="connsiteX11" fmla="*/ 289753 w 2356678"/>
                    <a:gd name="connsiteY11" fmla="*/ 842963 h 2853511"/>
                    <a:gd name="connsiteX12" fmla="*/ 194503 w 2356678"/>
                    <a:gd name="connsiteY12" fmla="*/ 904875 h 2853511"/>
                    <a:gd name="connsiteX13" fmla="*/ 151640 w 2356678"/>
                    <a:gd name="connsiteY13" fmla="*/ 938213 h 2853511"/>
                    <a:gd name="connsiteX14" fmla="*/ 132590 w 2356678"/>
                    <a:gd name="connsiteY14" fmla="*/ 990600 h 2853511"/>
                    <a:gd name="connsiteX15" fmla="*/ 127828 w 2356678"/>
                    <a:gd name="connsiteY15" fmla="*/ 1081088 h 2853511"/>
                    <a:gd name="connsiteX16" fmla="*/ 80203 w 2356678"/>
                    <a:gd name="connsiteY16" fmla="*/ 1143000 h 2853511"/>
                    <a:gd name="connsiteX17" fmla="*/ 51628 w 2356678"/>
                    <a:gd name="connsiteY17" fmla="*/ 1271588 h 2853511"/>
                    <a:gd name="connsiteX18" fmla="*/ 13528 w 2356678"/>
                    <a:gd name="connsiteY18" fmla="*/ 1343025 h 2853511"/>
                    <a:gd name="connsiteX19" fmla="*/ 23053 w 2356678"/>
                    <a:gd name="connsiteY19" fmla="*/ 1400175 h 2853511"/>
                    <a:gd name="connsiteX20" fmla="*/ 4003 w 2356678"/>
                    <a:gd name="connsiteY20" fmla="*/ 1443038 h 2853511"/>
                    <a:gd name="connsiteX21" fmla="*/ 4003 w 2356678"/>
                    <a:gd name="connsiteY21" fmla="*/ 1509713 h 2853511"/>
                    <a:gd name="connsiteX22" fmla="*/ 46865 w 2356678"/>
                    <a:gd name="connsiteY22" fmla="*/ 1595438 h 2853511"/>
                    <a:gd name="connsiteX23" fmla="*/ 123065 w 2356678"/>
                    <a:gd name="connsiteY23" fmla="*/ 1662113 h 2853511"/>
                    <a:gd name="connsiteX24" fmla="*/ 189740 w 2356678"/>
                    <a:gd name="connsiteY24" fmla="*/ 1733550 h 2853511"/>
                    <a:gd name="connsiteX25" fmla="*/ 242128 w 2356678"/>
                    <a:gd name="connsiteY25" fmla="*/ 1847850 h 2853511"/>
                    <a:gd name="connsiteX26" fmla="*/ 318328 w 2356678"/>
                    <a:gd name="connsiteY26" fmla="*/ 1966913 h 2853511"/>
                    <a:gd name="connsiteX27" fmla="*/ 413578 w 2356678"/>
                    <a:gd name="connsiteY27" fmla="*/ 2028825 h 2853511"/>
                    <a:gd name="connsiteX28" fmla="*/ 432628 w 2356678"/>
                    <a:gd name="connsiteY28" fmla="*/ 2052638 h 2853511"/>
                    <a:gd name="connsiteX29" fmla="*/ 442153 w 2356678"/>
                    <a:gd name="connsiteY29" fmla="*/ 2147888 h 2853511"/>
                    <a:gd name="connsiteX30" fmla="*/ 461203 w 2356678"/>
                    <a:gd name="connsiteY30" fmla="*/ 2219326 h 2853511"/>
                    <a:gd name="connsiteX31" fmla="*/ 532640 w 2356678"/>
                    <a:gd name="connsiteY31" fmla="*/ 2352675 h 2853511"/>
                    <a:gd name="connsiteX32" fmla="*/ 546928 w 2356678"/>
                    <a:gd name="connsiteY32" fmla="*/ 2443163 h 2853511"/>
                    <a:gd name="connsiteX33" fmla="*/ 570740 w 2356678"/>
                    <a:gd name="connsiteY33" fmla="*/ 2524125 h 2853511"/>
                    <a:gd name="connsiteX34" fmla="*/ 561215 w 2356678"/>
                    <a:gd name="connsiteY34" fmla="*/ 2590800 h 2853511"/>
                    <a:gd name="connsiteX35" fmla="*/ 646940 w 2356678"/>
                    <a:gd name="connsiteY35" fmla="*/ 2705100 h 2853511"/>
                    <a:gd name="connsiteX36" fmla="*/ 642178 w 2356678"/>
                    <a:gd name="connsiteY36" fmla="*/ 2800350 h 2853511"/>
                    <a:gd name="connsiteX37" fmla="*/ 656465 w 2356678"/>
                    <a:gd name="connsiteY37" fmla="*/ 2852738 h 2853511"/>
                    <a:gd name="connsiteX38" fmla="*/ 889828 w 2356678"/>
                    <a:gd name="connsiteY38" fmla="*/ 2762250 h 2853511"/>
                    <a:gd name="connsiteX39" fmla="*/ 951740 w 2356678"/>
                    <a:gd name="connsiteY39" fmla="*/ 2733675 h 2853511"/>
                    <a:gd name="connsiteX40" fmla="*/ 1027940 w 2356678"/>
                    <a:gd name="connsiteY40" fmla="*/ 2757488 h 2853511"/>
                    <a:gd name="connsiteX41" fmla="*/ 1089853 w 2356678"/>
                    <a:gd name="connsiteY41" fmla="*/ 2762250 h 2853511"/>
                    <a:gd name="connsiteX42" fmla="*/ 1127953 w 2356678"/>
                    <a:gd name="connsiteY42" fmla="*/ 2681288 h 2853511"/>
                    <a:gd name="connsiteX43" fmla="*/ 1089853 w 2356678"/>
                    <a:gd name="connsiteY43" fmla="*/ 2605088 h 2853511"/>
                    <a:gd name="connsiteX44" fmla="*/ 1151765 w 2356678"/>
                    <a:gd name="connsiteY44" fmla="*/ 2543175 h 2853511"/>
                    <a:gd name="connsiteX45" fmla="*/ 1218440 w 2356678"/>
                    <a:gd name="connsiteY45" fmla="*/ 2481263 h 2853511"/>
                    <a:gd name="connsiteX46" fmla="*/ 1270828 w 2356678"/>
                    <a:gd name="connsiteY46" fmla="*/ 2366963 h 2853511"/>
                    <a:gd name="connsiteX47" fmla="*/ 1294640 w 2356678"/>
                    <a:gd name="connsiteY47" fmla="*/ 2314575 h 2853511"/>
                    <a:gd name="connsiteX48" fmla="*/ 1356553 w 2356678"/>
                    <a:gd name="connsiteY48" fmla="*/ 2252663 h 2853511"/>
                    <a:gd name="connsiteX49" fmla="*/ 1408940 w 2356678"/>
                    <a:gd name="connsiteY49" fmla="*/ 2171700 h 2853511"/>
                    <a:gd name="connsiteX50" fmla="*/ 1423228 w 2356678"/>
                    <a:gd name="connsiteY50" fmla="*/ 2090738 h 2853511"/>
                    <a:gd name="connsiteX51" fmla="*/ 1489903 w 2356678"/>
                    <a:gd name="connsiteY51" fmla="*/ 1957388 h 2853511"/>
                    <a:gd name="connsiteX52" fmla="*/ 1556578 w 2356678"/>
                    <a:gd name="connsiteY52" fmla="*/ 1843088 h 2853511"/>
                    <a:gd name="connsiteX53" fmla="*/ 1556578 w 2356678"/>
                    <a:gd name="connsiteY53" fmla="*/ 1762125 h 2853511"/>
                    <a:gd name="connsiteX54" fmla="*/ 1561340 w 2356678"/>
                    <a:gd name="connsiteY54" fmla="*/ 1633538 h 2853511"/>
                    <a:gd name="connsiteX55" fmla="*/ 1575628 w 2356678"/>
                    <a:gd name="connsiteY55" fmla="*/ 1538288 h 2853511"/>
                    <a:gd name="connsiteX56" fmla="*/ 1594678 w 2356678"/>
                    <a:gd name="connsiteY56" fmla="*/ 1457325 h 2853511"/>
                    <a:gd name="connsiteX57" fmla="*/ 1547053 w 2356678"/>
                    <a:gd name="connsiteY57" fmla="*/ 1323975 h 2853511"/>
                    <a:gd name="connsiteX58" fmla="*/ 1442278 w 2356678"/>
                    <a:gd name="connsiteY58" fmla="*/ 1109663 h 2853511"/>
                    <a:gd name="connsiteX59" fmla="*/ 1447040 w 2356678"/>
                    <a:gd name="connsiteY59" fmla="*/ 1062038 h 2853511"/>
                    <a:gd name="connsiteX60" fmla="*/ 1451803 w 2356678"/>
                    <a:gd name="connsiteY60" fmla="*/ 1019175 h 2853511"/>
                    <a:gd name="connsiteX61" fmla="*/ 1489903 w 2356678"/>
                    <a:gd name="connsiteY61" fmla="*/ 962025 h 2853511"/>
                    <a:gd name="connsiteX62" fmla="*/ 1508953 w 2356678"/>
                    <a:gd name="connsiteY62" fmla="*/ 923925 h 2853511"/>
                    <a:gd name="connsiteX63" fmla="*/ 1556578 w 2356678"/>
                    <a:gd name="connsiteY63" fmla="*/ 828675 h 2853511"/>
                    <a:gd name="connsiteX64" fmla="*/ 1594678 w 2356678"/>
                    <a:gd name="connsiteY64" fmla="*/ 752475 h 2853511"/>
                    <a:gd name="connsiteX65" fmla="*/ 1680403 w 2356678"/>
                    <a:gd name="connsiteY65" fmla="*/ 666750 h 2853511"/>
                    <a:gd name="connsiteX66" fmla="*/ 1728028 w 2356678"/>
                    <a:gd name="connsiteY66" fmla="*/ 609600 h 2853511"/>
                    <a:gd name="connsiteX67" fmla="*/ 1780415 w 2356678"/>
                    <a:gd name="connsiteY67" fmla="*/ 519113 h 2853511"/>
                    <a:gd name="connsiteX68" fmla="*/ 1828040 w 2356678"/>
                    <a:gd name="connsiteY68" fmla="*/ 495300 h 2853511"/>
                    <a:gd name="connsiteX69" fmla="*/ 1851853 w 2356678"/>
                    <a:gd name="connsiteY69" fmla="*/ 438150 h 2853511"/>
                    <a:gd name="connsiteX70" fmla="*/ 1875665 w 2356678"/>
                    <a:gd name="connsiteY70" fmla="*/ 366713 h 2853511"/>
                    <a:gd name="connsiteX71" fmla="*/ 1913765 w 2356678"/>
                    <a:gd name="connsiteY71" fmla="*/ 304800 h 2853511"/>
                    <a:gd name="connsiteX72" fmla="*/ 1961390 w 2356678"/>
                    <a:gd name="connsiteY72" fmla="*/ 247650 h 2853511"/>
                    <a:gd name="connsiteX73" fmla="*/ 2018540 w 2356678"/>
                    <a:gd name="connsiteY73" fmla="*/ 223838 h 2853511"/>
                    <a:gd name="connsiteX74" fmla="*/ 2066165 w 2356678"/>
                    <a:gd name="connsiteY74" fmla="*/ 209550 h 2853511"/>
                    <a:gd name="connsiteX75" fmla="*/ 2089978 w 2356678"/>
                    <a:gd name="connsiteY75" fmla="*/ 161925 h 2853511"/>
                    <a:gd name="connsiteX76" fmla="*/ 2085215 w 2356678"/>
                    <a:gd name="connsiteY76" fmla="*/ 85725 h 2853511"/>
                    <a:gd name="connsiteX77" fmla="*/ 2137603 w 2356678"/>
                    <a:gd name="connsiteY77" fmla="*/ 19050 h 2853511"/>
                    <a:gd name="connsiteX78" fmla="*/ 2199515 w 2356678"/>
                    <a:gd name="connsiteY78" fmla="*/ 9525 h 2853511"/>
                    <a:gd name="connsiteX79" fmla="*/ 2251903 w 2356678"/>
                    <a:gd name="connsiteY79" fmla="*/ 19050 h 2853511"/>
                    <a:gd name="connsiteX80" fmla="*/ 2356678 w 2356678"/>
                    <a:gd name="connsiteY80" fmla="*/ 0 h 2853511"/>
                    <a:gd name="connsiteX0" fmla="*/ 537403 w 2251903"/>
                    <a:gd name="connsiteY0" fmla="*/ 119416 h 2844339"/>
                    <a:gd name="connsiteX1" fmla="*/ 494540 w 2251903"/>
                    <a:gd name="connsiteY1" fmla="*/ 181328 h 2844339"/>
                    <a:gd name="connsiteX2" fmla="*/ 485015 w 2251903"/>
                    <a:gd name="connsiteY2" fmla="*/ 257528 h 2844339"/>
                    <a:gd name="connsiteX3" fmla="*/ 451678 w 2251903"/>
                    <a:gd name="connsiteY3" fmla="*/ 362303 h 2844339"/>
                    <a:gd name="connsiteX4" fmla="*/ 427865 w 2251903"/>
                    <a:gd name="connsiteY4" fmla="*/ 390878 h 2844339"/>
                    <a:gd name="connsiteX5" fmla="*/ 404053 w 2251903"/>
                    <a:gd name="connsiteY5" fmla="*/ 409928 h 2844339"/>
                    <a:gd name="connsiteX6" fmla="*/ 408815 w 2251903"/>
                    <a:gd name="connsiteY6" fmla="*/ 467078 h 2844339"/>
                    <a:gd name="connsiteX7" fmla="*/ 375478 w 2251903"/>
                    <a:gd name="connsiteY7" fmla="*/ 528991 h 2844339"/>
                    <a:gd name="connsiteX8" fmla="*/ 356428 w 2251903"/>
                    <a:gd name="connsiteY8" fmla="*/ 624241 h 2844339"/>
                    <a:gd name="connsiteX9" fmla="*/ 380240 w 2251903"/>
                    <a:gd name="connsiteY9" fmla="*/ 700441 h 2844339"/>
                    <a:gd name="connsiteX10" fmla="*/ 337378 w 2251903"/>
                    <a:gd name="connsiteY10" fmla="*/ 748066 h 2844339"/>
                    <a:gd name="connsiteX11" fmla="*/ 289753 w 2251903"/>
                    <a:gd name="connsiteY11" fmla="*/ 833791 h 2844339"/>
                    <a:gd name="connsiteX12" fmla="*/ 194503 w 2251903"/>
                    <a:gd name="connsiteY12" fmla="*/ 895703 h 2844339"/>
                    <a:gd name="connsiteX13" fmla="*/ 151640 w 2251903"/>
                    <a:gd name="connsiteY13" fmla="*/ 929041 h 2844339"/>
                    <a:gd name="connsiteX14" fmla="*/ 132590 w 2251903"/>
                    <a:gd name="connsiteY14" fmla="*/ 981428 h 2844339"/>
                    <a:gd name="connsiteX15" fmla="*/ 127828 w 2251903"/>
                    <a:gd name="connsiteY15" fmla="*/ 1071916 h 2844339"/>
                    <a:gd name="connsiteX16" fmla="*/ 80203 w 2251903"/>
                    <a:gd name="connsiteY16" fmla="*/ 1133828 h 2844339"/>
                    <a:gd name="connsiteX17" fmla="*/ 51628 w 2251903"/>
                    <a:gd name="connsiteY17" fmla="*/ 1262416 h 2844339"/>
                    <a:gd name="connsiteX18" fmla="*/ 13528 w 2251903"/>
                    <a:gd name="connsiteY18" fmla="*/ 1333853 h 2844339"/>
                    <a:gd name="connsiteX19" fmla="*/ 23053 w 2251903"/>
                    <a:gd name="connsiteY19" fmla="*/ 1391003 h 2844339"/>
                    <a:gd name="connsiteX20" fmla="*/ 4003 w 2251903"/>
                    <a:gd name="connsiteY20" fmla="*/ 1433866 h 2844339"/>
                    <a:gd name="connsiteX21" fmla="*/ 4003 w 2251903"/>
                    <a:gd name="connsiteY21" fmla="*/ 1500541 h 2844339"/>
                    <a:gd name="connsiteX22" fmla="*/ 46865 w 2251903"/>
                    <a:gd name="connsiteY22" fmla="*/ 1586266 h 2844339"/>
                    <a:gd name="connsiteX23" fmla="*/ 123065 w 2251903"/>
                    <a:gd name="connsiteY23" fmla="*/ 1652941 h 2844339"/>
                    <a:gd name="connsiteX24" fmla="*/ 189740 w 2251903"/>
                    <a:gd name="connsiteY24" fmla="*/ 1724378 h 2844339"/>
                    <a:gd name="connsiteX25" fmla="*/ 242128 w 2251903"/>
                    <a:gd name="connsiteY25" fmla="*/ 1838678 h 2844339"/>
                    <a:gd name="connsiteX26" fmla="*/ 318328 w 2251903"/>
                    <a:gd name="connsiteY26" fmla="*/ 1957741 h 2844339"/>
                    <a:gd name="connsiteX27" fmla="*/ 413578 w 2251903"/>
                    <a:gd name="connsiteY27" fmla="*/ 2019653 h 2844339"/>
                    <a:gd name="connsiteX28" fmla="*/ 432628 w 2251903"/>
                    <a:gd name="connsiteY28" fmla="*/ 2043466 h 2844339"/>
                    <a:gd name="connsiteX29" fmla="*/ 442153 w 2251903"/>
                    <a:gd name="connsiteY29" fmla="*/ 2138716 h 2844339"/>
                    <a:gd name="connsiteX30" fmla="*/ 461203 w 2251903"/>
                    <a:gd name="connsiteY30" fmla="*/ 2210154 h 2844339"/>
                    <a:gd name="connsiteX31" fmla="*/ 532640 w 2251903"/>
                    <a:gd name="connsiteY31" fmla="*/ 2343503 h 2844339"/>
                    <a:gd name="connsiteX32" fmla="*/ 546928 w 2251903"/>
                    <a:gd name="connsiteY32" fmla="*/ 2433991 h 2844339"/>
                    <a:gd name="connsiteX33" fmla="*/ 570740 w 2251903"/>
                    <a:gd name="connsiteY33" fmla="*/ 2514953 h 2844339"/>
                    <a:gd name="connsiteX34" fmla="*/ 561215 w 2251903"/>
                    <a:gd name="connsiteY34" fmla="*/ 2581628 h 2844339"/>
                    <a:gd name="connsiteX35" fmla="*/ 646940 w 2251903"/>
                    <a:gd name="connsiteY35" fmla="*/ 2695928 h 2844339"/>
                    <a:gd name="connsiteX36" fmla="*/ 642178 w 2251903"/>
                    <a:gd name="connsiteY36" fmla="*/ 2791178 h 2844339"/>
                    <a:gd name="connsiteX37" fmla="*/ 656465 w 2251903"/>
                    <a:gd name="connsiteY37" fmla="*/ 2843566 h 2844339"/>
                    <a:gd name="connsiteX38" fmla="*/ 889828 w 2251903"/>
                    <a:gd name="connsiteY38" fmla="*/ 2753078 h 2844339"/>
                    <a:gd name="connsiteX39" fmla="*/ 951740 w 2251903"/>
                    <a:gd name="connsiteY39" fmla="*/ 2724503 h 2844339"/>
                    <a:gd name="connsiteX40" fmla="*/ 1027940 w 2251903"/>
                    <a:gd name="connsiteY40" fmla="*/ 2748316 h 2844339"/>
                    <a:gd name="connsiteX41" fmla="*/ 1089853 w 2251903"/>
                    <a:gd name="connsiteY41" fmla="*/ 2753078 h 2844339"/>
                    <a:gd name="connsiteX42" fmla="*/ 1127953 w 2251903"/>
                    <a:gd name="connsiteY42" fmla="*/ 2672116 h 2844339"/>
                    <a:gd name="connsiteX43" fmla="*/ 1089853 w 2251903"/>
                    <a:gd name="connsiteY43" fmla="*/ 2595916 h 2844339"/>
                    <a:gd name="connsiteX44" fmla="*/ 1151765 w 2251903"/>
                    <a:gd name="connsiteY44" fmla="*/ 2534003 h 2844339"/>
                    <a:gd name="connsiteX45" fmla="*/ 1218440 w 2251903"/>
                    <a:gd name="connsiteY45" fmla="*/ 2472091 h 2844339"/>
                    <a:gd name="connsiteX46" fmla="*/ 1270828 w 2251903"/>
                    <a:gd name="connsiteY46" fmla="*/ 2357791 h 2844339"/>
                    <a:gd name="connsiteX47" fmla="*/ 1294640 w 2251903"/>
                    <a:gd name="connsiteY47" fmla="*/ 2305403 h 2844339"/>
                    <a:gd name="connsiteX48" fmla="*/ 1356553 w 2251903"/>
                    <a:gd name="connsiteY48" fmla="*/ 2243491 h 2844339"/>
                    <a:gd name="connsiteX49" fmla="*/ 1408940 w 2251903"/>
                    <a:gd name="connsiteY49" fmla="*/ 2162528 h 2844339"/>
                    <a:gd name="connsiteX50" fmla="*/ 1423228 w 2251903"/>
                    <a:gd name="connsiteY50" fmla="*/ 2081566 h 2844339"/>
                    <a:gd name="connsiteX51" fmla="*/ 1489903 w 2251903"/>
                    <a:gd name="connsiteY51" fmla="*/ 1948216 h 2844339"/>
                    <a:gd name="connsiteX52" fmla="*/ 1556578 w 2251903"/>
                    <a:gd name="connsiteY52" fmla="*/ 1833916 h 2844339"/>
                    <a:gd name="connsiteX53" fmla="*/ 1556578 w 2251903"/>
                    <a:gd name="connsiteY53" fmla="*/ 1752953 h 2844339"/>
                    <a:gd name="connsiteX54" fmla="*/ 1561340 w 2251903"/>
                    <a:gd name="connsiteY54" fmla="*/ 1624366 h 2844339"/>
                    <a:gd name="connsiteX55" fmla="*/ 1575628 w 2251903"/>
                    <a:gd name="connsiteY55" fmla="*/ 1529116 h 2844339"/>
                    <a:gd name="connsiteX56" fmla="*/ 1594678 w 2251903"/>
                    <a:gd name="connsiteY56" fmla="*/ 1448153 h 2844339"/>
                    <a:gd name="connsiteX57" fmla="*/ 1547053 w 2251903"/>
                    <a:gd name="connsiteY57" fmla="*/ 1314803 h 2844339"/>
                    <a:gd name="connsiteX58" fmla="*/ 1442278 w 2251903"/>
                    <a:gd name="connsiteY58" fmla="*/ 1100491 h 2844339"/>
                    <a:gd name="connsiteX59" fmla="*/ 1447040 w 2251903"/>
                    <a:gd name="connsiteY59" fmla="*/ 1052866 h 2844339"/>
                    <a:gd name="connsiteX60" fmla="*/ 1451803 w 2251903"/>
                    <a:gd name="connsiteY60" fmla="*/ 1010003 h 2844339"/>
                    <a:gd name="connsiteX61" fmla="*/ 1489903 w 2251903"/>
                    <a:gd name="connsiteY61" fmla="*/ 952853 h 2844339"/>
                    <a:gd name="connsiteX62" fmla="*/ 1508953 w 2251903"/>
                    <a:gd name="connsiteY62" fmla="*/ 914753 h 2844339"/>
                    <a:gd name="connsiteX63" fmla="*/ 1556578 w 2251903"/>
                    <a:gd name="connsiteY63" fmla="*/ 819503 h 2844339"/>
                    <a:gd name="connsiteX64" fmla="*/ 1594678 w 2251903"/>
                    <a:gd name="connsiteY64" fmla="*/ 743303 h 2844339"/>
                    <a:gd name="connsiteX65" fmla="*/ 1680403 w 2251903"/>
                    <a:gd name="connsiteY65" fmla="*/ 657578 h 2844339"/>
                    <a:gd name="connsiteX66" fmla="*/ 1728028 w 2251903"/>
                    <a:gd name="connsiteY66" fmla="*/ 600428 h 2844339"/>
                    <a:gd name="connsiteX67" fmla="*/ 1780415 w 2251903"/>
                    <a:gd name="connsiteY67" fmla="*/ 509941 h 2844339"/>
                    <a:gd name="connsiteX68" fmla="*/ 1828040 w 2251903"/>
                    <a:gd name="connsiteY68" fmla="*/ 486128 h 2844339"/>
                    <a:gd name="connsiteX69" fmla="*/ 1851853 w 2251903"/>
                    <a:gd name="connsiteY69" fmla="*/ 428978 h 2844339"/>
                    <a:gd name="connsiteX70" fmla="*/ 1875665 w 2251903"/>
                    <a:gd name="connsiteY70" fmla="*/ 357541 h 2844339"/>
                    <a:gd name="connsiteX71" fmla="*/ 1913765 w 2251903"/>
                    <a:gd name="connsiteY71" fmla="*/ 295628 h 2844339"/>
                    <a:gd name="connsiteX72" fmla="*/ 1961390 w 2251903"/>
                    <a:gd name="connsiteY72" fmla="*/ 238478 h 2844339"/>
                    <a:gd name="connsiteX73" fmla="*/ 2018540 w 2251903"/>
                    <a:gd name="connsiteY73" fmla="*/ 214666 h 2844339"/>
                    <a:gd name="connsiteX74" fmla="*/ 2066165 w 2251903"/>
                    <a:gd name="connsiteY74" fmla="*/ 200378 h 2844339"/>
                    <a:gd name="connsiteX75" fmla="*/ 2089978 w 2251903"/>
                    <a:gd name="connsiteY75" fmla="*/ 152753 h 2844339"/>
                    <a:gd name="connsiteX76" fmla="*/ 2085215 w 2251903"/>
                    <a:gd name="connsiteY76" fmla="*/ 76553 h 2844339"/>
                    <a:gd name="connsiteX77" fmla="*/ 2137603 w 2251903"/>
                    <a:gd name="connsiteY77" fmla="*/ 9878 h 2844339"/>
                    <a:gd name="connsiteX78" fmla="*/ 2199515 w 2251903"/>
                    <a:gd name="connsiteY78" fmla="*/ 353 h 2844339"/>
                    <a:gd name="connsiteX79" fmla="*/ 2251903 w 2251903"/>
                    <a:gd name="connsiteY79" fmla="*/ 9878 h 2844339"/>
                    <a:gd name="connsiteX0" fmla="*/ 1004128 w 2251903"/>
                    <a:gd name="connsiteY0" fmla="*/ 0 h 2967810"/>
                    <a:gd name="connsiteX1" fmla="*/ 494540 w 2251903"/>
                    <a:gd name="connsiteY1" fmla="*/ 304799 h 2967810"/>
                    <a:gd name="connsiteX2" fmla="*/ 485015 w 2251903"/>
                    <a:gd name="connsiteY2" fmla="*/ 380999 h 2967810"/>
                    <a:gd name="connsiteX3" fmla="*/ 451678 w 2251903"/>
                    <a:gd name="connsiteY3" fmla="*/ 485774 h 2967810"/>
                    <a:gd name="connsiteX4" fmla="*/ 427865 w 2251903"/>
                    <a:gd name="connsiteY4" fmla="*/ 514349 h 2967810"/>
                    <a:gd name="connsiteX5" fmla="*/ 404053 w 2251903"/>
                    <a:gd name="connsiteY5" fmla="*/ 533399 h 2967810"/>
                    <a:gd name="connsiteX6" fmla="*/ 408815 w 2251903"/>
                    <a:gd name="connsiteY6" fmla="*/ 590549 h 2967810"/>
                    <a:gd name="connsiteX7" fmla="*/ 375478 w 2251903"/>
                    <a:gd name="connsiteY7" fmla="*/ 652462 h 2967810"/>
                    <a:gd name="connsiteX8" fmla="*/ 356428 w 2251903"/>
                    <a:gd name="connsiteY8" fmla="*/ 747712 h 2967810"/>
                    <a:gd name="connsiteX9" fmla="*/ 380240 w 2251903"/>
                    <a:gd name="connsiteY9" fmla="*/ 823912 h 2967810"/>
                    <a:gd name="connsiteX10" fmla="*/ 337378 w 2251903"/>
                    <a:gd name="connsiteY10" fmla="*/ 871537 h 2967810"/>
                    <a:gd name="connsiteX11" fmla="*/ 289753 w 2251903"/>
                    <a:gd name="connsiteY11" fmla="*/ 957262 h 2967810"/>
                    <a:gd name="connsiteX12" fmla="*/ 194503 w 2251903"/>
                    <a:gd name="connsiteY12" fmla="*/ 1019174 h 2967810"/>
                    <a:gd name="connsiteX13" fmla="*/ 151640 w 2251903"/>
                    <a:gd name="connsiteY13" fmla="*/ 1052512 h 2967810"/>
                    <a:gd name="connsiteX14" fmla="*/ 132590 w 2251903"/>
                    <a:gd name="connsiteY14" fmla="*/ 1104899 h 2967810"/>
                    <a:gd name="connsiteX15" fmla="*/ 127828 w 2251903"/>
                    <a:gd name="connsiteY15" fmla="*/ 1195387 h 2967810"/>
                    <a:gd name="connsiteX16" fmla="*/ 80203 w 2251903"/>
                    <a:gd name="connsiteY16" fmla="*/ 1257299 h 2967810"/>
                    <a:gd name="connsiteX17" fmla="*/ 51628 w 2251903"/>
                    <a:gd name="connsiteY17" fmla="*/ 1385887 h 2967810"/>
                    <a:gd name="connsiteX18" fmla="*/ 13528 w 2251903"/>
                    <a:gd name="connsiteY18" fmla="*/ 1457324 h 2967810"/>
                    <a:gd name="connsiteX19" fmla="*/ 23053 w 2251903"/>
                    <a:gd name="connsiteY19" fmla="*/ 1514474 h 2967810"/>
                    <a:gd name="connsiteX20" fmla="*/ 4003 w 2251903"/>
                    <a:gd name="connsiteY20" fmla="*/ 1557337 h 2967810"/>
                    <a:gd name="connsiteX21" fmla="*/ 4003 w 2251903"/>
                    <a:gd name="connsiteY21" fmla="*/ 1624012 h 2967810"/>
                    <a:gd name="connsiteX22" fmla="*/ 46865 w 2251903"/>
                    <a:gd name="connsiteY22" fmla="*/ 1709737 h 2967810"/>
                    <a:gd name="connsiteX23" fmla="*/ 123065 w 2251903"/>
                    <a:gd name="connsiteY23" fmla="*/ 1776412 h 2967810"/>
                    <a:gd name="connsiteX24" fmla="*/ 189740 w 2251903"/>
                    <a:gd name="connsiteY24" fmla="*/ 1847849 h 2967810"/>
                    <a:gd name="connsiteX25" fmla="*/ 242128 w 2251903"/>
                    <a:gd name="connsiteY25" fmla="*/ 1962149 h 2967810"/>
                    <a:gd name="connsiteX26" fmla="*/ 318328 w 2251903"/>
                    <a:gd name="connsiteY26" fmla="*/ 2081212 h 2967810"/>
                    <a:gd name="connsiteX27" fmla="*/ 413578 w 2251903"/>
                    <a:gd name="connsiteY27" fmla="*/ 2143124 h 2967810"/>
                    <a:gd name="connsiteX28" fmla="*/ 432628 w 2251903"/>
                    <a:gd name="connsiteY28" fmla="*/ 2166937 h 2967810"/>
                    <a:gd name="connsiteX29" fmla="*/ 442153 w 2251903"/>
                    <a:gd name="connsiteY29" fmla="*/ 2262187 h 2967810"/>
                    <a:gd name="connsiteX30" fmla="*/ 461203 w 2251903"/>
                    <a:gd name="connsiteY30" fmla="*/ 2333625 h 2967810"/>
                    <a:gd name="connsiteX31" fmla="*/ 532640 w 2251903"/>
                    <a:gd name="connsiteY31" fmla="*/ 2466974 h 2967810"/>
                    <a:gd name="connsiteX32" fmla="*/ 546928 w 2251903"/>
                    <a:gd name="connsiteY32" fmla="*/ 2557462 h 2967810"/>
                    <a:gd name="connsiteX33" fmla="*/ 570740 w 2251903"/>
                    <a:gd name="connsiteY33" fmla="*/ 2638424 h 2967810"/>
                    <a:gd name="connsiteX34" fmla="*/ 561215 w 2251903"/>
                    <a:gd name="connsiteY34" fmla="*/ 2705099 h 2967810"/>
                    <a:gd name="connsiteX35" fmla="*/ 646940 w 2251903"/>
                    <a:gd name="connsiteY35" fmla="*/ 2819399 h 2967810"/>
                    <a:gd name="connsiteX36" fmla="*/ 642178 w 2251903"/>
                    <a:gd name="connsiteY36" fmla="*/ 2914649 h 2967810"/>
                    <a:gd name="connsiteX37" fmla="*/ 656465 w 2251903"/>
                    <a:gd name="connsiteY37" fmla="*/ 2967037 h 2967810"/>
                    <a:gd name="connsiteX38" fmla="*/ 889828 w 2251903"/>
                    <a:gd name="connsiteY38" fmla="*/ 2876549 h 2967810"/>
                    <a:gd name="connsiteX39" fmla="*/ 951740 w 2251903"/>
                    <a:gd name="connsiteY39" fmla="*/ 2847974 h 2967810"/>
                    <a:gd name="connsiteX40" fmla="*/ 1027940 w 2251903"/>
                    <a:gd name="connsiteY40" fmla="*/ 2871787 h 2967810"/>
                    <a:gd name="connsiteX41" fmla="*/ 1089853 w 2251903"/>
                    <a:gd name="connsiteY41" fmla="*/ 2876549 h 2967810"/>
                    <a:gd name="connsiteX42" fmla="*/ 1127953 w 2251903"/>
                    <a:gd name="connsiteY42" fmla="*/ 2795587 h 2967810"/>
                    <a:gd name="connsiteX43" fmla="*/ 1089853 w 2251903"/>
                    <a:gd name="connsiteY43" fmla="*/ 2719387 h 2967810"/>
                    <a:gd name="connsiteX44" fmla="*/ 1151765 w 2251903"/>
                    <a:gd name="connsiteY44" fmla="*/ 2657474 h 2967810"/>
                    <a:gd name="connsiteX45" fmla="*/ 1218440 w 2251903"/>
                    <a:gd name="connsiteY45" fmla="*/ 2595562 h 2967810"/>
                    <a:gd name="connsiteX46" fmla="*/ 1270828 w 2251903"/>
                    <a:gd name="connsiteY46" fmla="*/ 2481262 h 2967810"/>
                    <a:gd name="connsiteX47" fmla="*/ 1294640 w 2251903"/>
                    <a:gd name="connsiteY47" fmla="*/ 2428874 h 2967810"/>
                    <a:gd name="connsiteX48" fmla="*/ 1356553 w 2251903"/>
                    <a:gd name="connsiteY48" fmla="*/ 2366962 h 2967810"/>
                    <a:gd name="connsiteX49" fmla="*/ 1408940 w 2251903"/>
                    <a:gd name="connsiteY49" fmla="*/ 2285999 h 2967810"/>
                    <a:gd name="connsiteX50" fmla="*/ 1423228 w 2251903"/>
                    <a:gd name="connsiteY50" fmla="*/ 2205037 h 2967810"/>
                    <a:gd name="connsiteX51" fmla="*/ 1489903 w 2251903"/>
                    <a:gd name="connsiteY51" fmla="*/ 2071687 h 2967810"/>
                    <a:gd name="connsiteX52" fmla="*/ 1556578 w 2251903"/>
                    <a:gd name="connsiteY52" fmla="*/ 1957387 h 2967810"/>
                    <a:gd name="connsiteX53" fmla="*/ 1556578 w 2251903"/>
                    <a:gd name="connsiteY53" fmla="*/ 1876424 h 2967810"/>
                    <a:gd name="connsiteX54" fmla="*/ 1561340 w 2251903"/>
                    <a:gd name="connsiteY54" fmla="*/ 1747837 h 2967810"/>
                    <a:gd name="connsiteX55" fmla="*/ 1575628 w 2251903"/>
                    <a:gd name="connsiteY55" fmla="*/ 1652587 h 2967810"/>
                    <a:gd name="connsiteX56" fmla="*/ 1594678 w 2251903"/>
                    <a:gd name="connsiteY56" fmla="*/ 1571624 h 2967810"/>
                    <a:gd name="connsiteX57" fmla="*/ 1547053 w 2251903"/>
                    <a:gd name="connsiteY57" fmla="*/ 1438274 h 2967810"/>
                    <a:gd name="connsiteX58" fmla="*/ 1442278 w 2251903"/>
                    <a:gd name="connsiteY58" fmla="*/ 1223962 h 2967810"/>
                    <a:gd name="connsiteX59" fmla="*/ 1447040 w 2251903"/>
                    <a:gd name="connsiteY59" fmla="*/ 1176337 h 2967810"/>
                    <a:gd name="connsiteX60" fmla="*/ 1451803 w 2251903"/>
                    <a:gd name="connsiteY60" fmla="*/ 1133474 h 2967810"/>
                    <a:gd name="connsiteX61" fmla="*/ 1489903 w 2251903"/>
                    <a:gd name="connsiteY61" fmla="*/ 1076324 h 2967810"/>
                    <a:gd name="connsiteX62" fmla="*/ 1508953 w 2251903"/>
                    <a:gd name="connsiteY62" fmla="*/ 1038224 h 2967810"/>
                    <a:gd name="connsiteX63" fmla="*/ 1556578 w 2251903"/>
                    <a:gd name="connsiteY63" fmla="*/ 942974 h 2967810"/>
                    <a:gd name="connsiteX64" fmla="*/ 1594678 w 2251903"/>
                    <a:gd name="connsiteY64" fmla="*/ 866774 h 2967810"/>
                    <a:gd name="connsiteX65" fmla="*/ 1680403 w 2251903"/>
                    <a:gd name="connsiteY65" fmla="*/ 781049 h 2967810"/>
                    <a:gd name="connsiteX66" fmla="*/ 1728028 w 2251903"/>
                    <a:gd name="connsiteY66" fmla="*/ 723899 h 2967810"/>
                    <a:gd name="connsiteX67" fmla="*/ 1780415 w 2251903"/>
                    <a:gd name="connsiteY67" fmla="*/ 633412 h 2967810"/>
                    <a:gd name="connsiteX68" fmla="*/ 1828040 w 2251903"/>
                    <a:gd name="connsiteY68" fmla="*/ 609599 h 2967810"/>
                    <a:gd name="connsiteX69" fmla="*/ 1851853 w 2251903"/>
                    <a:gd name="connsiteY69" fmla="*/ 552449 h 2967810"/>
                    <a:gd name="connsiteX70" fmla="*/ 1875665 w 2251903"/>
                    <a:gd name="connsiteY70" fmla="*/ 481012 h 2967810"/>
                    <a:gd name="connsiteX71" fmla="*/ 1913765 w 2251903"/>
                    <a:gd name="connsiteY71" fmla="*/ 419099 h 2967810"/>
                    <a:gd name="connsiteX72" fmla="*/ 1961390 w 2251903"/>
                    <a:gd name="connsiteY72" fmla="*/ 361949 h 2967810"/>
                    <a:gd name="connsiteX73" fmla="*/ 2018540 w 2251903"/>
                    <a:gd name="connsiteY73" fmla="*/ 338137 h 2967810"/>
                    <a:gd name="connsiteX74" fmla="*/ 2066165 w 2251903"/>
                    <a:gd name="connsiteY74" fmla="*/ 323849 h 2967810"/>
                    <a:gd name="connsiteX75" fmla="*/ 2089978 w 2251903"/>
                    <a:gd name="connsiteY75" fmla="*/ 276224 h 2967810"/>
                    <a:gd name="connsiteX76" fmla="*/ 2085215 w 2251903"/>
                    <a:gd name="connsiteY76" fmla="*/ 200024 h 2967810"/>
                    <a:gd name="connsiteX77" fmla="*/ 2137603 w 2251903"/>
                    <a:gd name="connsiteY77" fmla="*/ 133349 h 2967810"/>
                    <a:gd name="connsiteX78" fmla="*/ 2199515 w 2251903"/>
                    <a:gd name="connsiteY78" fmla="*/ 123824 h 2967810"/>
                    <a:gd name="connsiteX79" fmla="*/ 2251903 w 2251903"/>
                    <a:gd name="connsiteY79" fmla="*/ 133349 h 2967810"/>
                    <a:gd name="connsiteX0" fmla="*/ 1004128 w 2251903"/>
                    <a:gd name="connsiteY0" fmla="*/ 0 h 2967810"/>
                    <a:gd name="connsiteX1" fmla="*/ 823154 w 2251903"/>
                    <a:gd name="connsiteY1" fmla="*/ 180974 h 2967810"/>
                    <a:gd name="connsiteX2" fmla="*/ 494540 w 2251903"/>
                    <a:gd name="connsiteY2" fmla="*/ 304799 h 2967810"/>
                    <a:gd name="connsiteX3" fmla="*/ 485015 w 2251903"/>
                    <a:gd name="connsiteY3" fmla="*/ 380999 h 2967810"/>
                    <a:gd name="connsiteX4" fmla="*/ 451678 w 2251903"/>
                    <a:gd name="connsiteY4" fmla="*/ 485774 h 2967810"/>
                    <a:gd name="connsiteX5" fmla="*/ 427865 w 2251903"/>
                    <a:gd name="connsiteY5" fmla="*/ 514349 h 2967810"/>
                    <a:gd name="connsiteX6" fmla="*/ 404053 w 2251903"/>
                    <a:gd name="connsiteY6" fmla="*/ 533399 h 2967810"/>
                    <a:gd name="connsiteX7" fmla="*/ 408815 w 2251903"/>
                    <a:gd name="connsiteY7" fmla="*/ 590549 h 2967810"/>
                    <a:gd name="connsiteX8" fmla="*/ 375478 w 2251903"/>
                    <a:gd name="connsiteY8" fmla="*/ 652462 h 2967810"/>
                    <a:gd name="connsiteX9" fmla="*/ 356428 w 2251903"/>
                    <a:gd name="connsiteY9" fmla="*/ 747712 h 2967810"/>
                    <a:gd name="connsiteX10" fmla="*/ 380240 w 2251903"/>
                    <a:gd name="connsiteY10" fmla="*/ 823912 h 2967810"/>
                    <a:gd name="connsiteX11" fmla="*/ 337378 w 2251903"/>
                    <a:gd name="connsiteY11" fmla="*/ 871537 h 2967810"/>
                    <a:gd name="connsiteX12" fmla="*/ 289753 w 2251903"/>
                    <a:gd name="connsiteY12" fmla="*/ 957262 h 2967810"/>
                    <a:gd name="connsiteX13" fmla="*/ 194503 w 2251903"/>
                    <a:gd name="connsiteY13" fmla="*/ 1019174 h 2967810"/>
                    <a:gd name="connsiteX14" fmla="*/ 151640 w 2251903"/>
                    <a:gd name="connsiteY14" fmla="*/ 1052512 h 2967810"/>
                    <a:gd name="connsiteX15" fmla="*/ 132590 w 2251903"/>
                    <a:gd name="connsiteY15" fmla="*/ 1104899 h 2967810"/>
                    <a:gd name="connsiteX16" fmla="*/ 127828 w 2251903"/>
                    <a:gd name="connsiteY16" fmla="*/ 1195387 h 2967810"/>
                    <a:gd name="connsiteX17" fmla="*/ 80203 w 2251903"/>
                    <a:gd name="connsiteY17" fmla="*/ 1257299 h 2967810"/>
                    <a:gd name="connsiteX18" fmla="*/ 51628 w 2251903"/>
                    <a:gd name="connsiteY18" fmla="*/ 1385887 h 2967810"/>
                    <a:gd name="connsiteX19" fmla="*/ 13528 w 2251903"/>
                    <a:gd name="connsiteY19" fmla="*/ 1457324 h 2967810"/>
                    <a:gd name="connsiteX20" fmla="*/ 23053 w 2251903"/>
                    <a:gd name="connsiteY20" fmla="*/ 1514474 h 2967810"/>
                    <a:gd name="connsiteX21" fmla="*/ 4003 w 2251903"/>
                    <a:gd name="connsiteY21" fmla="*/ 1557337 h 2967810"/>
                    <a:gd name="connsiteX22" fmla="*/ 4003 w 2251903"/>
                    <a:gd name="connsiteY22" fmla="*/ 1624012 h 2967810"/>
                    <a:gd name="connsiteX23" fmla="*/ 46865 w 2251903"/>
                    <a:gd name="connsiteY23" fmla="*/ 1709737 h 2967810"/>
                    <a:gd name="connsiteX24" fmla="*/ 123065 w 2251903"/>
                    <a:gd name="connsiteY24" fmla="*/ 1776412 h 2967810"/>
                    <a:gd name="connsiteX25" fmla="*/ 189740 w 2251903"/>
                    <a:gd name="connsiteY25" fmla="*/ 1847849 h 2967810"/>
                    <a:gd name="connsiteX26" fmla="*/ 242128 w 2251903"/>
                    <a:gd name="connsiteY26" fmla="*/ 1962149 h 2967810"/>
                    <a:gd name="connsiteX27" fmla="*/ 318328 w 2251903"/>
                    <a:gd name="connsiteY27" fmla="*/ 2081212 h 2967810"/>
                    <a:gd name="connsiteX28" fmla="*/ 413578 w 2251903"/>
                    <a:gd name="connsiteY28" fmla="*/ 2143124 h 2967810"/>
                    <a:gd name="connsiteX29" fmla="*/ 432628 w 2251903"/>
                    <a:gd name="connsiteY29" fmla="*/ 2166937 h 2967810"/>
                    <a:gd name="connsiteX30" fmla="*/ 442153 w 2251903"/>
                    <a:gd name="connsiteY30" fmla="*/ 2262187 h 2967810"/>
                    <a:gd name="connsiteX31" fmla="*/ 461203 w 2251903"/>
                    <a:gd name="connsiteY31" fmla="*/ 2333625 h 2967810"/>
                    <a:gd name="connsiteX32" fmla="*/ 532640 w 2251903"/>
                    <a:gd name="connsiteY32" fmla="*/ 2466974 h 2967810"/>
                    <a:gd name="connsiteX33" fmla="*/ 546928 w 2251903"/>
                    <a:gd name="connsiteY33" fmla="*/ 2557462 h 2967810"/>
                    <a:gd name="connsiteX34" fmla="*/ 570740 w 2251903"/>
                    <a:gd name="connsiteY34" fmla="*/ 2638424 h 2967810"/>
                    <a:gd name="connsiteX35" fmla="*/ 561215 w 2251903"/>
                    <a:gd name="connsiteY35" fmla="*/ 2705099 h 2967810"/>
                    <a:gd name="connsiteX36" fmla="*/ 646940 w 2251903"/>
                    <a:gd name="connsiteY36" fmla="*/ 2819399 h 2967810"/>
                    <a:gd name="connsiteX37" fmla="*/ 642178 w 2251903"/>
                    <a:gd name="connsiteY37" fmla="*/ 2914649 h 2967810"/>
                    <a:gd name="connsiteX38" fmla="*/ 656465 w 2251903"/>
                    <a:gd name="connsiteY38" fmla="*/ 2967037 h 2967810"/>
                    <a:gd name="connsiteX39" fmla="*/ 889828 w 2251903"/>
                    <a:gd name="connsiteY39" fmla="*/ 2876549 h 2967810"/>
                    <a:gd name="connsiteX40" fmla="*/ 951740 w 2251903"/>
                    <a:gd name="connsiteY40" fmla="*/ 2847974 h 2967810"/>
                    <a:gd name="connsiteX41" fmla="*/ 1027940 w 2251903"/>
                    <a:gd name="connsiteY41" fmla="*/ 2871787 h 2967810"/>
                    <a:gd name="connsiteX42" fmla="*/ 1089853 w 2251903"/>
                    <a:gd name="connsiteY42" fmla="*/ 2876549 h 2967810"/>
                    <a:gd name="connsiteX43" fmla="*/ 1127953 w 2251903"/>
                    <a:gd name="connsiteY43" fmla="*/ 2795587 h 2967810"/>
                    <a:gd name="connsiteX44" fmla="*/ 1089853 w 2251903"/>
                    <a:gd name="connsiteY44" fmla="*/ 2719387 h 2967810"/>
                    <a:gd name="connsiteX45" fmla="*/ 1151765 w 2251903"/>
                    <a:gd name="connsiteY45" fmla="*/ 2657474 h 2967810"/>
                    <a:gd name="connsiteX46" fmla="*/ 1218440 w 2251903"/>
                    <a:gd name="connsiteY46" fmla="*/ 2595562 h 2967810"/>
                    <a:gd name="connsiteX47" fmla="*/ 1270828 w 2251903"/>
                    <a:gd name="connsiteY47" fmla="*/ 2481262 h 2967810"/>
                    <a:gd name="connsiteX48" fmla="*/ 1294640 w 2251903"/>
                    <a:gd name="connsiteY48" fmla="*/ 2428874 h 2967810"/>
                    <a:gd name="connsiteX49" fmla="*/ 1356553 w 2251903"/>
                    <a:gd name="connsiteY49" fmla="*/ 2366962 h 2967810"/>
                    <a:gd name="connsiteX50" fmla="*/ 1408940 w 2251903"/>
                    <a:gd name="connsiteY50" fmla="*/ 2285999 h 2967810"/>
                    <a:gd name="connsiteX51" fmla="*/ 1423228 w 2251903"/>
                    <a:gd name="connsiteY51" fmla="*/ 2205037 h 2967810"/>
                    <a:gd name="connsiteX52" fmla="*/ 1489903 w 2251903"/>
                    <a:gd name="connsiteY52" fmla="*/ 2071687 h 2967810"/>
                    <a:gd name="connsiteX53" fmla="*/ 1556578 w 2251903"/>
                    <a:gd name="connsiteY53" fmla="*/ 1957387 h 2967810"/>
                    <a:gd name="connsiteX54" fmla="*/ 1556578 w 2251903"/>
                    <a:gd name="connsiteY54" fmla="*/ 1876424 h 2967810"/>
                    <a:gd name="connsiteX55" fmla="*/ 1561340 w 2251903"/>
                    <a:gd name="connsiteY55" fmla="*/ 1747837 h 2967810"/>
                    <a:gd name="connsiteX56" fmla="*/ 1575628 w 2251903"/>
                    <a:gd name="connsiteY56" fmla="*/ 1652587 h 2967810"/>
                    <a:gd name="connsiteX57" fmla="*/ 1594678 w 2251903"/>
                    <a:gd name="connsiteY57" fmla="*/ 1571624 h 2967810"/>
                    <a:gd name="connsiteX58" fmla="*/ 1547053 w 2251903"/>
                    <a:gd name="connsiteY58" fmla="*/ 1438274 h 2967810"/>
                    <a:gd name="connsiteX59" fmla="*/ 1442278 w 2251903"/>
                    <a:gd name="connsiteY59" fmla="*/ 1223962 h 2967810"/>
                    <a:gd name="connsiteX60" fmla="*/ 1447040 w 2251903"/>
                    <a:gd name="connsiteY60" fmla="*/ 1176337 h 2967810"/>
                    <a:gd name="connsiteX61" fmla="*/ 1451803 w 2251903"/>
                    <a:gd name="connsiteY61" fmla="*/ 1133474 h 2967810"/>
                    <a:gd name="connsiteX62" fmla="*/ 1489903 w 2251903"/>
                    <a:gd name="connsiteY62" fmla="*/ 1076324 h 2967810"/>
                    <a:gd name="connsiteX63" fmla="*/ 1508953 w 2251903"/>
                    <a:gd name="connsiteY63" fmla="*/ 1038224 h 2967810"/>
                    <a:gd name="connsiteX64" fmla="*/ 1556578 w 2251903"/>
                    <a:gd name="connsiteY64" fmla="*/ 942974 h 2967810"/>
                    <a:gd name="connsiteX65" fmla="*/ 1594678 w 2251903"/>
                    <a:gd name="connsiteY65" fmla="*/ 866774 h 2967810"/>
                    <a:gd name="connsiteX66" fmla="*/ 1680403 w 2251903"/>
                    <a:gd name="connsiteY66" fmla="*/ 781049 h 2967810"/>
                    <a:gd name="connsiteX67" fmla="*/ 1728028 w 2251903"/>
                    <a:gd name="connsiteY67" fmla="*/ 723899 h 2967810"/>
                    <a:gd name="connsiteX68" fmla="*/ 1780415 w 2251903"/>
                    <a:gd name="connsiteY68" fmla="*/ 633412 h 2967810"/>
                    <a:gd name="connsiteX69" fmla="*/ 1828040 w 2251903"/>
                    <a:gd name="connsiteY69" fmla="*/ 609599 h 2967810"/>
                    <a:gd name="connsiteX70" fmla="*/ 1851853 w 2251903"/>
                    <a:gd name="connsiteY70" fmla="*/ 552449 h 2967810"/>
                    <a:gd name="connsiteX71" fmla="*/ 1875665 w 2251903"/>
                    <a:gd name="connsiteY71" fmla="*/ 481012 h 2967810"/>
                    <a:gd name="connsiteX72" fmla="*/ 1913765 w 2251903"/>
                    <a:gd name="connsiteY72" fmla="*/ 419099 h 2967810"/>
                    <a:gd name="connsiteX73" fmla="*/ 1961390 w 2251903"/>
                    <a:gd name="connsiteY73" fmla="*/ 361949 h 2967810"/>
                    <a:gd name="connsiteX74" fmla="*/ 2018540 w 2251903"/>
                    <a:gd name="connsiteY74" fmla="*/ 338137 h 2967810"/>
                    <a:gd name="connsiteX75" fmla="*/ 2066165 w 2251903"/>
                    <a:gd name="connsiteY75" fmla="*/ 323849 h 2967810"/>
                    <a:gd name="connsiteX76" fmla="*/ 2089978 w 2251903"/>
                    <a:gd name="connsiteY76" fmla="*/ 276224 h 2967810"/>
                    <a:gd name="connsiteX77" fmla="*/ 2085215 w 2251903"/>
                    <a:gd name="connsiteY77" fmla="*/ 200024 h 2967810"/>
                    <a:gd name="connsiteX78" fmla="*/ 2137603 w 2251903"/>
                    <a:gd name="connsiteY78" fmla="*/ 133349 h 2967810"/>
                    <a:gd name="connsiteX79" fmla="*/ 2199515 w 2251903"/>
                    <a:gd name="connsiteY79" fmla="*/ 123824 h 2967810"/>
                    <a:gd name="connsiteX80" fmla="*/ 2251903 w 2251903"/>
                    <a:gd name="connsiteY80" fmla="*/ 133349 h 2967810"/>
                    <a:gd name="connsiteX0" fmla="*/ 1004128 w 2251903"/>
                    <a:gd name="connsiteY0" fmla="*/ 0 h 2967810"/>
                    <a:gd name="connsiteX1" fmla="*/ 823154 w 2251903"/>
                    <a:gd name="connsiteY1" fmla="*/ 180974 h 2967810"/>
                    <a:gd name="connsiteX2" fmla="*/ 585029 w 2251903"/>
                    <a:gd name="connsiteY2" fmla="*/ 200024 h 2967810"/>
                    <a:gd name="connsiteX3" fmla="*/ 494540 w 2251903"/>
                    <a:gd name="connsiteY3" fmla="*/ 304799 h 2967810"/>
                    <a:gd name="connsiteX4" fmla="*/ 485015 w 2251903"/>
                    <a:gd name="connsiteY4" fmla="*/ 380999 h 2967810"/>
                    <a:gd name="connsiteX5" fmla="*/ 451678 w 2251903"/>
                    <a:gd name="connsiteY5" fmla="*/ 485774 h 2967810"/>
                    <a:gd name="connsiteX6" fmla="*/ 427865 w 2251903"/>
                    <a:gd name="connsiteY6" fmla="*/ 514349 h 2967810"/>
                    <a:gd name="connsiteX7" fmla="*/ 404053 w 2251903"/>
                    <a:gd name="connsiteY7" fmla="*/ 533399 h 2967810"/>
                    <a:gd name="connsiteX8" fmla="*/ 408815 w 2251903"/>
                    <a:gd name="connsiteY8" fmla="*/ 590549 h 2967810"/>
                    <a:gd name="connsiteX9" fmla="*/ 375478 w 2251903"/>
                    <a:gd name="connsiteY9" fmla="*/ 652462 h 2967810"/>
                    <a:gd name="connsiteX10" fmla="*/ 356428 w 2251903"/>
                    <a:gd name="connsiteY10" fmla="*/ 747712 h 2967810"/>
                    <a:gd name="connsiteX11" fmla="*/ 380240 w 2251903"/>
                    <a:gd name="connsiteY11" fmla="*/ 823912 h 2967810"/>
                    <a:gd name="connsiteX12" fmla="*/ 337378 w 2251903"/>
                    <a:gd name="connsiteY12" fmla="*/ 871537 h 2967810"/>
                    <a:gd name="connsiteX13" fmla="*/ 289753 w 2251903"/>
                    <a:gd name="connsiteY13" fmla="*/ 957262 h 2967810"/>
                    <a:gd name="connsiteX14" fmla="*/ 194503 w 2251903"/>
                    <a:gd name="connsiteY14" fmla="*/ 1019174 h 2967810"/>
                    <a:gd name="connsiteX15" fmla="*/ 151640 w 2251903"/>
                    <a:gd name="connsiteY15" fmla="*/ 1052512 h 2967810"/>
                    <a:gd name="connsiteX16" fmla="*/ 132590 w 2251903"/>
                    <a:gd name="connsiteY16" fmla="*/ 1104899 h 2967810"/>
                    <a:gd name="connsiteX17" fmla="*/ 127828 w 2251903"/>
                    <a:gd name="connsiteY17" fmla="*/ 1195387 h 2967810"/>
                    <a:gd name="connsiteX18" fmla="*/ 80203 w 2251903"/>
                    <a:gd name="connsiteY18" fmla="*/ 1257299 h 2967810"/>
                    <a:gd name="connsiteX19" fmla="*/ 51628 w 2251903"/>
                    <a:gd name="connsiteY19" fmla="*/ 1385887 h 2967810"/>
                    <a:gd name="connsiteX20" fmla="*/ 13528 w 2251903"/>
                    <a:gd name="connsiteY20" fmla="*/ 1457324 h 2967810"/>
                    <a:gd name="connsiteX21" fmla="*/ 23053 w 2251903"/>
                    <a:gd name="connsiteY21" fmla="*/ 1514474 h 2967810"/>
                    <a:gd name="connsiteX22" fmla="*/ 4003 w 2251903"/>
                    <a:gd name="connsiteY22" fmla="*/ 1557337 h 2967810"/>
                    <a:gd name="connsiteX23" fmla="*/ 4003 w 2251903"/>
                    <a:gd name="connsiteY23" fmla="*/ 1624012 h 2967810"/>
                    <a:gd name="connsiteX24" fmla="*/ 46865 w 2251903"/>
                    <a:gd name="connsiteY24" fmla="*/ 1709737 h 2967810"/>
                    <a:gd name="connsiteX25" fmla="*/ 123065 w 2251903"/>
                    <a:gd name="connsiteY25" fmla="*/ 1776412 h 2967810"/>
                    <a:gd name="connsiteX26" fmla="*/ 189740 w 2251903"/>
                    <a:gd name="connsiteY26" fmla="*/ 1847849 h 2967810"/>
                    <a:gd name="connsiteX27" fmla="*/ 242128 w 2251903"/>
                    <a:gd name="connsiteY27" fmla="*/ 1962149 h 2967810"/>
                    <a:gd name="connsiteX28" fmla="*/ 318328 w 2251903"/>
                    <a:gd name="connsiteY28" fmla="*/ 2081212 h 2967810"/>
                    <a:gd name="connsiteX29" fmla="*/ 413578 w 2251903"/>
                    <a:gd name="connsiteY29" fmla="*/ 2143124 h 2967810"/>
                    <a:gd name="connsiteX30" fmla="*/ 432628 w 2251903"/>
                    <a:gd name="connsiteY30" fmla="*/ 2166937 h 2967810"/>
                    <a:gd name="connsiteX31" fmla="*/ 442153 w 2251903"/>
                    <a:gd name="connsiteY31" fmla="*/ 2262187 h 2967810"/>
                    <a:gd name="connsiteX32" fmla="*/ 461203 w 2251903"/>
                    <a:gd name="connsiteY32" fmla="*/ 2333625 h 2967810"/>
                    <a:gd name="connsiteX33" fmla="*/ 532640 w 2251903"/>
                    <a:gd name="connsiteY33" fmla="*/ 2466974 h 2967810"/>
                    <a:gd name="connsiteX34" fmla="*/ 546928 w 2251903"/>
                    <a:gd name="connsiteY34" fmla="*/ 2557462 h 2967810"/>
                    <a:gd name="connsiteX35" fmla="*/ 570740 w 2251903"/>
                    <a:gd name="connsiteY35" fmla="*/ 2638424 h 2967810"/>
                    <a:gd name="connsiteX36" fmla="*/ 561215 w 2251903"/>
                    <a:gd name="connsiteY36" fmla="*/ 2705099 h 2967810"/>
                    <a:gd name="connsiteX37" fmla="*/ 646940 w 2251903"/>
                    <a:gd name="connsiteY37" fmla="*/ 2819399 h 2967810"/>
                    <a:gd name="connsiteX38" fmla="*/ 642178 w 2251903"/>
                    <a:gd name="connsiteY38" fmla="*/ 2914649 h 2967810"/>
                    <a:gd name="connsiteX39" fmla="*/ 656465 w 2251903"/>
                    <a:gd name="connsiteY39" fmla="*/ 2967037 h 2967810"/>
                    <a:gd name="connsiteX40" fmla="*/ 889828 w 2251903"/>
                    <a:gd name="connsiteY40" fmla="*/ 2876549 h 2967810"/>
                    <a:gd name="connsiteX41" fmla="*/ 951740 w 2251903"/>
                    <a:gd name="connsiteY41" fmla="*/ 2847974 h 2967810"/>
                    <a:gd name="connsiteX42" fmla="*/ 1027940 w 2251903"/>
                    <a:gd name="connsiteY42" fmla="*/ 2871787 h 2967810"/>
                    <a:gd name="connsiteX43" fmla="*/ 1089853 w 2251903"/>
                    <a:gd name="connsiteY43" fmla="*/ 2876549 h 2967810"/>
                    <a:gd name="connsiteX44" fmla="*/ 1127953 w 2251903"/>
                    <a:gd name="connsiteY44" fmla="*/ 2795587 h 2967810"/>
                    <a:gd name="connsiteX45" fmla="*/ 1089853 w 2251903"/>
                    <a:gd name="connsiteY45" fmla="*/ 2719387 h 2967810"/>
                    <a:gd name="connsiteX46" fmla="*/ 1151765 w 2251903"/>
                    <a:gd name="connsiteY46" fmla="*/ 2657474 h 2967810"/>
                    <a:gd name="connsiteX47" fmla="*/ 1218440 w 2251903"/>
                    <a:gd name="connsiteY47" fmla="*/ 2595562 h 2967810"/>
                    <a:gd name="connsiteX48" fmla="*/ 1270828 w 2251903"/>
                    <a:gd name="connsiteY48" fmla="*/ 2481262 h 2967810"/>
                    <a:gd name="connsiteX49" fmla="*/ 1294640 w 2251903"/>
                    <a:gd name="connsiteY49" fmla="*/ 2428874 h 2967810"/>
                    <a:gd name="connsiteX50" fmla="*/ 1356553 w 2251903"/>
                    <a:gd name="connsiteY50" fmla="*/ 2366962 h 2967810"/>
                    <a:gd name="connsiteX51" fmla="*/ 1408940 w 2251903"/>
                    <a:gd name="connsiteY51" fmla="*/ 2285999 h 2967810"/>
                    <a:gd name="connsiteX52" fmla="*/ 1423228 w 2251903"/>
                    <a:gd name="connsiteY52" fmla="*/ 2205037 h 2967810"/>
                    <a:gd name="connsiteX53" fmla="*/ 1489903 w 2251903"/>
                    <a:gd name="connsiteY53" fmla="*/ 2071687 h 2967810"/>
                    <a:gd name="connsiteX54" fmla="*/ 1556578 w 2251903"/>
                    <a:gd name="connsiteY54" fmla="*/ 1957387 h 2967810"/>
                    <a:gd name="connsiteX55" fmla="*/ 1556578 w 2251903"/>
                    <a:gd name="connsiteY55" fmla="*/ 1876424 h 2967810"/>
                    <a:gd name="connsiteX56" fmla="*/ 1561340 w 2251903"/>
                    <a:gd name="connsiteY56" fmla="*/ 1747837 h 2967810"/>
                    <a:gd name="connsiteX57" fmla="*/ 1575628 w 2251903"/>
                    <a:gd name="connsiteY57" fmla="*/ 1652587 h 2967810"/>
                    <a:gd name="connsiteX58" fmla="*/ 1594678 w 2251903"/>
                    <a:gd name="connsiteY58" fmla="*/ 1571624 h 2967810"/>
                    <a:gd name="connsiteX59" fmla="*/ 1547053 w 2251903"/>
                    <a:gd name="connsiteY59" fmla="*/ 1438274 h 2967810"/>
                    <a:gd name="connsiteX60" fmla="*/ 1442278 w 2251903"/>
                    <a:gd name="connsiteY60" fmla="*/ 1223962 h 2967810"/>
                    <a:gd name="connsiteX61" fmla="*/ 1447040 w 2251903"/>
                    <a:gd name="connsiteY61" fmla="*/ 1176337 h 2967810"/>
                    <a:gd name="connsiteX62" fmla="*/ 1451803 w 2251903"/>
                    <a:gd name="connsiteY62" fmla="*/ 1133474 h 2967810"/>
                    <a:gd name="connsiteX63" fmla="*/ 1489903 w 2251903"/>
                    <a:gd name="connsiteY63" fmla="*/ 1076324 h 2967810"/>
                    <a:gd name="connsiteX64" fmla="*/ 1508953 w 2251903"/>
                    <a:gd name="connsiteY64" fmla="*/ 1038224 h 2967810"/>
                    <a:gd name="connsiteX65" fmla="*/ 1556578 w 2251903"/>
                    <a:gd name="connsiteY65" fmla="*/ 942974 h 2967810"/>
                    <a:gd name="connsiteX66" fmla="*/ 1594678 w 2251903"/>
                    <a:gd name="connsiteY66" fmla="*/ 866774 h 2967810"/>
                    <a:gd name="connsiteX67" fmla="*/ 1680403 w 2251903"/>
                    <a:gd name="connsiteY67" fmla="*/ 781049 h 2967810"/>
                    <a:gd name="connsiteX68" fmla="*/ 1728028 w 2251903"/>
                    <a:gd name="connsiteY68" fmla="*/ 723899 h 2967810"/>
                    <a:gd name="connsiteX69" fmla="*/ 1780415 w 2251903"/>
                    <a:gd name="connsiteY69" fmla="*/ 633412 h 2967810"/>
                    <a:gd name="connsiteX70" fmla="*/ 1828040 w 2251903"/>
                    <a:gd name="connsiteY70" fmla="*/ 609599 h 2967810"/>
                    <a:gd name="connsiteX71" fmla="*/ 1851853 w 2251903"/>
                    <a:gd name="connsiteY71" fmla="*/ 552449 h 2967810"/>
                    <a:gd name="connsiteX72" fmla="*/ 1875665 w 2251903"/>
                    <a:gd name="connsiteY72" fmla="*/ 481012 h 2967810"/>
                    <a:gd name="connsiteX73" fmla="*/ 1913765 w 2251903"/>
                    <a:gd name="connsiteY73" fmla="*/ 419099 h 2967810"/>
                    <a:gd name="connsiteX74" fmla="*/ 1961390 w 2251903"/>
                    <a:gd name="connsiteY74" fmla="*/ 361949 h 2967810"/>
                    <a:gd name="connsiteX75" fmla="*/ 2018540 w 2251903"/>
                    <a:gd name="connsiteY75" fmla="*/ 338137 h 2967810"/>
                    <a:gd name="connsiteX76" fmla="*/ 2066165 w 2251903"/>
                    <a:gd name="connsiteY76" fmla="*/ 323849 h 2967810"/>
                    <a:gd name="connsiteX77" fmla="*/ 2089978 w 2251903"/>
                    <a:gd name="connsiteY77" fmla="*/ 276224 h 2967810"/>
                    <a:gd name="connsiteX78" fmla="*/ 2085215 w 2251903"/>
                    <a:gd name="connsiteY78" fmla="*/ 200024 h 2967810"/>
                    <a:gd name="connsiteX79" fmla="*/ 2137603 w 2251903"/>
                    <a:gd name="connsiteY79" fmla="*/ 133349 h 2967810"/>
                    <a:gd name="connsiteX80" fmla="*/ 2199515 w 2251903"/>
                    <a:gd name="connsiteY80" fmla="*/ 123824 h 2967810"/>
                    <a:gd name="connsiteX81" fmla="*/ 2251903 w 2251903"/>
                    <a:gd name="connsiteY81" fmla="*/ 133349 h 2967810"/>
                    <a:gd name="connsiteX0" fmla="*/ 1004128 w 2251903"/>
                    <a:gd name="connsiteY0" fmla="*/ 0 h 2967810"/>
                    <a:gd name="connsiteX1" fmla="*/ 889829 w 2251903"/>
                    <a:gd name="connsiteY1" fmla="*/ 90487 h 2967810"/>
                    <a:gd name="connsiteX2" fmla="*/ 823154 w 2251903"/>
                    <a:gd name="connsiteY2" fmla="*/ 180974 h 2967810"/>
                    <a:gd name="connsiteX3" fmla="*/ 585029 w 2251903"/>
                    <a:gd name="connsiteY3" fmla="*/ 200024 h 2967810"/>
                    <a:gd name="connsiteX4" fmla="*/ 494540 w 2251903"/>
                    <a:gd name="connsiteY4" fmla="*/ 304799 h 2967810"/>
                    <a:gd name="connsiteX5" fmla="*/ 485015 w 2251903"/>
                    <a:gd name="connsiteY5" fmla="*/ 380999 h 2967810"/>
                    <a:gd name="connsiteX6" fmla="*/ 451678 w 2251903"/>
                    <a:gd name="connsiteY6" fmla="*/ 485774 h 2967810"/>
                    <a:gd name="connsiteX7" fmla="*/ 427865 w 2251903"/>
                    <a:gd name="connsiteY7" fmla="*/ 514349 h 2967810"/>
                    <a:gd name="connsiteX8" fmla="*/ 404053 w 2251903"/>
                    <a:gd name="connsiteY8" fmla="*/ 533399 h 2967810"/>
                    <a:gd name="connsiteX9" fmla="*/ 408815 w 2251903"/>
                    <a:gd name="connsiteY9" fmla="*/ 590549 h 2967810"/>
                    <a:gd name="connsiteX10" fmla="*/ 375478 w 2251903"/>
                    <a:gd name="connsiteY10" fmla="*/ 652462 h 2967810"/>
                    <a:gd name="connsiteX11" fmla="*/ 356428 w 2251903"/>
                    <a:gd name="connsiteY11" fmla="*/ 747712 h 2967810"/>
                    <a:gd name="connsiteX12" fmla="*/ 380240 w 2251903"/>
                    <a:gd name="connsiteY12" fmla="*/ 823912 h 2967810"/>
                    <a:gd name="connsiteX13" fmla="*/ 337378 w 2251903"/>
                    <a:gd name="connsiteY13" fmla="*/ 871537 h 2967810"/>
                    <a:gd name="connsiteX14" fmla="*/ 289753 w 2251903"/>
                    <a:gd name="connsiteY14" fmla="*/ 957262 h 2967810"/>
                    <a:gd name="connsiteX15" fmla="*/ 194503 w 2251903"/>
                    <a:gd name="connsiteY15" fmla="*/ 1019174 h 2967810"/>
                    <a:gd name="connsiteX16" fmla="*/ 151640 w 2251903"/>
                    <a:gd name="connsiteY16" fmla="*/ 1052512 h 2967810"/>
                    <a:gd name="connsiteX17" fmla="*/ 132590 w 2251903"/>
                    <a:gd name="connsiteY17" fmla="*/ 1104899 h 2967810"/>
                    <a:gd name="connsiteX18" fmla="*/ 127828 w 2251903"/>
                    <a:gd name="connsiteY18" fmla="*/ 1195387 h 2967810"/>
                    <a:gd name="connsiteX19" fmla="*/ 80203 w 2251903"/>
                    <a:gd name="connsiteY19" fmla="*/ 1257299 h 2967810"/>
                    <a:gd name="connsiteX20" fmla="*/ 51628 w 2251903"/>
                    <a:gd name="connsiteY20" fmla="*/ 1385887 h 2967810"/>
                    <a:gd name="connsiteX21" fmla="*/ 13528 w 2251903"/>
                    <a:gd name="connsiteY21" fmla="*/ 1457324 h 2967810"/>
                    <a:gd name="connsiteX22" fmla="*/ 23053 w 2251903"/>
                    <a:gd name="connsiteY22" fmla="*/ 1514474 h 2967810"/>
                    <a:gd name="connsiteX23" fmla="*/ 4003 w 2251903"/>
                    <a:gd name="connsiteY23" fmla="*/ 1557337 h 2967810"/>
                    <a:gd name="connsiteX24" fmla="*/ 4003 w 2251903"/>
                    <a:gd name="connsiteY24" fmla="*/ 1624012 h 2967810"/>
                    <a:gd name="connsiteX25" fmla="*/ 46865 w 2251903"/>
                    <a:gd name="connsiteY25" fmla="*/ 1709737 h 2967810"/>
                    <a:gd name="connsiteX26" fmla="*/ 123065 w 2251903"/>
                    <a:gd name="connsiteY26" fmla="*/ 1776412 h 2967810"/>
                    <a:gd name="connsiteX27" fmla="*/ 189740 w 2251903"/>
                    <a:gd name="connsiteY27" fmla="*/ 1847849 h 2967810"/>
                    <a:gd name="connsiteX28" fmla="*/ 242128 w 2251903"/>
                    <a:gd name="connsiteY28" fmla="*/ 1962149 h 2967810"/>
                    <a:gd name="connsiteX29" fmla="*/ 318328 w 2251903"/>
                    <a:gd name="connsiteY29" fmla="*/ 2081212 h 2967810"/>
                    <a:gd name="connsiteX30" fmla="*/ 413578 w 2251903"/>
                    <a:gd name="connsiteY30" fmla="*/ 2143124 h 2967810"/>
                    <a:gd name="connsiteX31" fmla="*/ 432628 w 2251903"/>
                    <a:gd name="connsiteY31" fmla="*/ 2166937 h 2967810"/>
                    <a:gd name="connsiteX32" fmla="*/ 442153 w 2251903"/>
                    <a:gd name="connsiteY32" fmla="*/ 2262187 h 2967810"/>
                    <a:gd name="connsiteX33" fmla="*/ 461203 w 2251903"/>
                    <a:gd name="connsiteY33" fmla="*/ 2333625 h 2967810"/>
                    <a:gd name="connsiteX34" fmla="*/ 532640 w 2251903"/>
                    <a:gd name="connsiteY34" fmla="*/ 2466974 h 2967810"/>
                    <a:gd name="connsiteX35" fmla="*/ 546928 w 2251903"/>
                    <a:gd name="connsiteY35" fmla="*/ 2557462 h 2967810"/>
                    <a:gd name="connsiteX36" fmla="*/ 570740 w 2251903"/>
                    <a:gd name="connsiteY36" fmla="*/ 2638424 h 2967810"/>
                    <a:gd name="connsiteX37" fmla="*/ 561215 w 2251903"/>
                    <a:gd name="connsiteY37" fmla="*/ 2705099 h 2967810"/>
                    <a:gd name="connsiteX38" fmla="*/ 646940 w 2251903"/>
                    <a:gd name="connsiteY38" fmla="*/ 2819399 h 2967810"/>
                    <a:gd name="connsiteX39" fmla="*/ 642178 w 2251903"/>
                    <a:gd name="connsiteY39" fmla="*/ 2914649 h 2967810"/>
                    <a:gd name="connsiteX40" fmla="*/ 656465 w 2251903"/>
                    <a:gd name="connsiteY40" fmla="*/ 2967037 h 2967810"/>
                    <a:gd name="connsiteX41" fmla="*/ 889828 w 2251903"/>
                    <a:gd name="connsiteY41" fmla="*/ 2876549 h 2967810"/>
                    <a:gd name="connsiteX42" fmla="*/ 951740 w 2251903"/>
                    <a:gd name="connsiteY42" fmla="*/ 2847974 h 2967810"/>
                    <a:gd name="connsiteX43" fmla="*/ 1027940 w 2251903"/>
                    <a:gd name="connsiteY43" fmla="*/ 2871787 h 2967810"/>
                    <a:gd name="connsiteX44" fmla="*/ 1089853 w 2251903"/>
                    <a:gd name="connsiteY44" fmla="*/ 2876549 h 2967810"/>
                    <a:gd name="connsiteX45" fmla="*/ 1127953 w 2251903"/>
                    <a:gd name="connsiteY45" fmla="*/ 2795587 h 2967810"/>
                    <a:gd name="connsiteX46" fmla="*/ 1089853 w 2251903"/>
                    <a:gd name="connsiteY46" fmla="*/ 2719387 h 2967810"/>
                    <a:gd name="connsiteX47" fmla="*/ 1151765 w 2251903"/>
                    <a:gd name="connsiteY47" fmla="*/ 2657474 h 2967810"/>
                    <a:gd name="connsiteX48" fmla="*/ 1218440 w 2251903"/>
                    <a:gd name="connsiteY48" fmla="*/ 2595562 h 2967810"/>
                    <a:gd name="connsiteX49" fmla="*/ 1270828 w 2251903"/>
                    <a:gd name="connsiteY49" fmla="*/ 2481262 h 2967810"/>
                    <a:gd name="connsiteX50" fmla="*/ 1294640 w 2251903"/>
                    <a:gd name="connsiteY50" fmla="*/ 2428874 h 2967810"/>
                    <a:gd name="connsiteX51" fmla="*/ 1356553 w 2251903"/>
                    <a:gd name="connsiteY51" fmla="*/ 2366962 h 2967810"/>
                    <a:gd name="connsiteX52" fmla="*/ 1408940 w 2251903"/>
                    <a:gd name="connsiteY52" fmla="*/ 2285999 h 2967810"/>
                    <a:gd name="connsiteX53" fmla="*/ 1423228 w 2251903"/>
                    <a:gd name="connsiteY53" fmla="*/ 2205037 h 2967810"/>
                    <a:gd name="connsiteX54" fmla="*/ 1489903 w 2251903"/>
                    <a:gd name="connsiteY54" fmla="*/ 2071687 h 2967810"/>
                    <a:gd name="connsiteX55" fmla="*/ 1556578 w 2251903"/>
                    <a:gd name="connsiteY55" fmla="*/ 1957387 h 2967810"/>
                    <a:gd name="connsiteX56" fmla="*/ 1556578 w 2251903"/>
                    <a:gd name="connsiteY56" fmla="*/ 1876424 h 2967810"/>
                    <a:gd name="connsiteX57" fmla="*/ 1561340 w 2251903"/>
                    <a:gd name="connsiteY57" fmla="*/ 1747837 h 2967810"/>
                    <a:gd name="connsiteX58" fmla="*/ 1575628 w 2251903"/>
                    <a:gd name="connsiteY58" fmla="*/ 1652587 h 2967810"/>
                    <a:gd name="connsiteX59" fmla="*/ 1594678 w 2251903"/>
                    <a:gd name="connsiteY59" fmla="*/ 1571624 h 2967810"/>
                    <a:gd name="connsiteX60" fmla="*/ 1547053 w 2251903"/>
                    <a:gd name="connsiteY60" fmla="*/ 1438274 h 2967810"/>
                    <a:gd name="connsiteX61" fmla="*/ 1442278 w 2251903"/>
                    <a:gd name="connsiteY61" fmla="*/ 1223962 h 2967810"/>
                    <a:gd name="connsiteX62" fmla="*/ 1447040 w 2251903"/>
                    <a:gd name="connsiteY62" fmla="*/ 1176337 h 2967810"/>
                    <a:gd name="connsiteX63" fmla="*/ 1451803 w 2251903"/>
                    <a:gd name="connsiteY63" fmla="*/ 1133474 h 2967810"/>
                    <a:gd name="connsiteX64" fmla="*/ 1489903 w 2251903"/>
                    <a:gd name="connsiteY64" fmla="*/ 1076324 h 2967810"/>
                    <a:gd name="connsiteX65" fmla="*/ 1508953 w 2251903"/>
                    <a:gd name="connsiteY65" fmla="*/ 1038224 h 2967810"/>
                    <a:gd name="connsiteX66" fmla="*/ 1556578 w 2251903"/>
                    <a:gd name="connsiteY66" fmla="*/ 942974 h 2967810"/>
                    <a:gd name="connsiteX67" fmla="*/ 1594678 w 2251903"/>
                    <a:gd name="connsiteY67" fmla="*/ 866774 h 2967810"/>
                    <a:gd name="connsiteX68" fmla="*/ 1680403 w 2251903"/>
                    <a:gd name="connsiteY68" fmla="*/ 781049 h 2967810"/>
                    <a:gd name="connsiteX69" fmla="*/ 1728028 w 2251903"/>
                    <a:gd name="connsiteY69" fmla="*/ 723899 h 2967810"/>
                    <a:gd name="connsiteX70" fmla="*/ 1780415 w 2251903"/>
                    <a:gd name="connsiteY70" fmla="*/ 633412 h 2967810"/>
                    <a:gd name="connsiteX71" fmla="*/ 1828040 w 2251903"/>
                    <a:gd name="connsiteY71" fmla="*/ 609599 h 2967810"/>
                    <a:gd name="connsiteX72" fmla="*/ 1851853 w 2251903"/>
                    <a:gd name="connsiteY72" fmla="*/ 552449 h 2967810"/>
                    <a:gd name="connsiteX73" fmla="*/ 1875665 w 2251903"/>
                    <a:gd name="connsiteY73" fmla="*/ 481012 h 2967810"/>
                    <a:gd name="connsiteX74" fmla="*/ 1913765 w 2251903"/>
                    <a:gd name="connsiteY74" fmla="*/ 419099 h 2967810"/>
                    <a:gd name="connsiteX75" fmla="*/ 1961390 w 2251903"/>
                    <a:gd name="connsiteY75" fmla="*/ 361949 h 2967810"/>
                    <a:gd name="connsiteX76" fmla="*/ 2018540 w 2251903"/>
                    <a:gd name="connsiteY76" fmla="*/ 338137 h 2967810"/>
                    <a:gd name="connsiteX77" fmla="*/ 2066165 w 2251903"/>
                    <a:gd name="connsiteY77" fmla="*/ 323849 h 2967810"/>
                    <a:gd name="connsiteX78" fmla="*/ 2089978 w 2251903"/>
                    <a:gd name="connsiteY78" fmla="*/ 276224 h 2967810"/>
                    <a:gd name="connsiteX79" fmla="*/ 2085215 w 2251903"/>
                    <a:gd name="connsiteY79" fmla="*/ 200024 h 2967810"/>
                    <a:gd name="connsiteX80" fmla="*/ 2137603 w 2251903"/>
                    <a:gd name="connsiteY80" fmla="*/ 133349 h 2967810"/>
                    <a:gd name="connsiteX81" fmla="*/ 2199515 w 2251903"/>
                    <a:gd name="connsiteY81" fmla="*/ 123824 h 2967810"/>
                    <a:gd name="connsiteX82" fmla="*/ 2251903 w 2251903"/>
                    <a:gd name="connsiteY82" fmla="*/ 133349 h 2967810"/>
                    <a:gd name="connsiteX0" fmla="*/ 1013653 w 2251903"/>
                    <a:gd name="connsiteY0" fmla="*/ 0 h 2953522"/>
                    <a:gd name="connsiteX1" fmla="*/ 889829 w 2251903"/>
                    <a:gd name="connsiteY1" fmla="*/ 76199 h 2953522"/>
                    <a:gd name="connsiteX2" fmla="*/ 823154 w 2251903"/>
                    <a:gd name="connsiteY2" fmla="*/ 166686 h 2953522"/>
                    <a:gd name="connsiteX3" fmla="*/ 585029 w 2251903"/>
                    <a:gd name="connsiteY3" fmla="*/ 185736 h 2953522"/>
                    <a:gd name="connsiteX4" fmla="*/ 494540 w 2251903"/>
                    <a:gd name="connsiteY4" fmla="*/ 290511 h 2953522"/>
                    <a:gd name="connsiteX5" fmla="*/ 485015 w 2251903"/>
                    <a:gd name="connsiteY5" fmla="*/ 366711 h 2953522"/>
                    <a:gd name="connsiteX6" fmla="*/ 451678 w 2251903"/>
                    <a:gd name="connsiteY6" fmla="*/ 471486 h 2953522"/>
                    <a:gd name="connsiteX7" fmla="*/ 427865 w 2251903"/>
                    <a:gd name="connsiteY7" fmla="*/ 500061 h 2953522"/>
                    <a:gd name="connsiteX8" fmla="*/ 404053 w 2251903"/>
                    <a:gd name="connsiteY8" fmla="*/ 519111 h 2953522"/>
                    <a:gd name="connsiteX9" fmla="*/ 408815 w 2251903"/>
                    <a:gd name="connsiteY9" fmla="*/ 576261 h 2953522"/>
                    <a:gd name="connsiteX10" fmla="*/ 375478 w 2251903"/>
                    <a:gd name="connsiteY10" fmla="*/ 638174 h 2953522"/>
                    <a:gd name="connsiteX11" fmla="*/ 356428 w 2251903"/>
                    <a:gd name="connsiteY11" fmla="*/ 733424 h 2953522"/>
                    <a:gd name="connsiteX12" fmla="*/ 380240 w 2251903"/>
                    <a:gd name="connsiteY12" fmla="*/ 809624 h 2953522"/>
                    <a:gd name="connsiteX13" fmla="*/ 337378 w 2251903"/>
                    <a:gd name="connsiteY13" fmla="*/ 857249 h 2953522"/>
                    <a:gd name="connsiteX14" fmla="*/ 289753 w 2251903"/>
                    <a:gd name="connsiteY14" fmla="*/ 942974 h 2953522"/>
                    <a:gd name="connsiteX15" fmla="*/ 194503 w 2251903"/>
                    <a:gd name="connsiteY15" fmla="*/ 1004886 h 2953522"/>
                    <a:gd name="connsiteX16" fmla="*/ 151640 w 2251903"/>
                    <a:gd name="connsiteY16" fmla="*/ 1038224 h 2953522"/>
                    <a:gd name="connsiteX17" fmla="*/ 132590 w 2251903"/>
                    <a:gd name="connsiteY17" fmla="*/ 1090611 h 2953522"/>
                    <a:gd name="connsiteX18" fmla="*/ 127828 w 2251903"/>
                    <a:gd name="connsiteY18" fmla="*/ 1181099 h 2953522"/>
                    <a:gd name="connsiteX19" fmla="*/ 80203 w 2251903"/>
                    <a:gd name="connsiteY19" fmla="*/ 1243011 h 2953522"/>
                    <a:gd name="connsiteX20" fmla="*/ 51628 w 2251903"/>
                    <a:gd name="connsiteY20" fmla="*/ 1371599 h 2953522"/>
                    <a:gd name="connsiteX21" fmla="*/ 13528 w 2251903"/>
                    <a:gd name="connsiteY21" fmla="*/ 1443036 h 2953522"/>
                    <a:gd name="connsiteX22" fmla="*/ 23053 w 2251903"/>
                    <a:gd name="connsiteY22" fmla="*/ 1500186 h 2953522"/>
                    <a:gd name="connsiteX23" fmla="*/ 4003 w 2251903"/>
                    <a:gd name="connsiteY23" fmla="*/ 1543049 h 2953522"/>
                    <a:gd name="connsiteX24" fmla="*/ 4003 w 2251903"/>
                    <a:gd name="connsiteY24" fmla="*/ 1609724 h 2953522"/>
                    <a:gd name="connsiteX25" fmla="*/ 46865 w 2251903"/>
                    <a:gd name="connsiteY25" fmla="*/ 1695449 h 2953522"/>
                    <a:gd name="connsiteX26" fmla="*/ 123065 w 2251903"/>
                    <a:gd name="connsiteY26" fmla="*/ 1762124 h 2953522"/>
                    <a:gd name="connsiteX27" fmla="*/ 189740 w 2251903"/>
                    <a:gd name="connsiteY27" fmla="*/ 1833561 h 2953522"/>
                    <a:gd name="connsiteX28" fmla="*/ 242128 w 2251903"/>
                    <a:gd name="connsiteY28" fmla="*/ 1947861 h 2953522"/>
                    <a:gd name="connsiteX29" fmla="*/ 318328 w 2251903"/>
                    <a:gd name="connsiteY29" fmla="*/ 2066924 h 2953522"/>
                    <a:gd name="connsiteX30" fmla="*/ 413578 w 2251903"/>
                    <a:gd name="connsiteY30" fmla="*/ 2128836 h 2953522"/>
                    <a:gd name="connsiteX31" fmla="*/ 432628 w 2251903"/>
                    <a:gd name="connsiteY31" fmla="*/ 2152649 h 2953522"/>
                    <a:gd name="connsiteX32" fmla="*/ 442153 w 2251903"/>
                    <a:gd name="connsiteY32" fmla="*/ 2247899 h 2953522"/>
                    <a:gd name="connsiteX33" fmla="*/ 461203 w 2251903"/>
                    <a:gd name="connsiteY33" fmla="*/ 2319337 h 2953522"/>
                    <a:gd name="connsiteX34" fmla="*/ 532640 w 2251903"/>
                    <a:gd name="connsiteY34" fmla="*/ 2452686 h 2953522"/>
                    <a:gd name="connsiteX35" fmla="*/ 546928 w 2251903"/>
                    <a:gd name="connsiteY35" fmla="*/ 2543174 h 2953522"/>
                    <a:gd name="connsiteX36" fmla="*/ 570740 w 2251903"/>
                    <a:gd name="connsiteY36" fmla="*/ 2624136 h 2953522"/>
                    <a:gd name="connsiteX37" fmla="*/ 561215 w 2251903"/>
                    <a:gd name="connsiteY37" fmla="*/ 2690811 h 2953522"/>
                    <a:gd name="connsiteX38" fmla="*/ 646940 w 2251903"/>
                    <a:gd name="connsiteY38" fmla="*/ 2805111 h 2953522"/>
                    <a:gd name="connsiteX39" fmla="*/ 642178 w 2251903"/>
                    <a:gd name="connsiteY39" fmla="*/ 2900361 h 2953522"/>
                    <a:gd name="connsiteX40" fmla="*/ 656465 w 2251903"/>
                    <a:gd name="connsiteY40" fmla="*/ 2952749 h 2953522"/>
                    <a:gd name="connsiteX41" fmla="*/ 889828 w 2251903"/>
                    <a:gd name="connsiteY41" fmla="*/ 2862261 h 2953522"/>
                    <a:gd name="connsiteX42" fmla="*/ 951740 w 2251903"/>
                    <a:gd name="connsiteY42" fmla="*/ 2833686 h 2953522"/>
                    <a:gd name="connsiteX43" fmla="*/ 1027940 w 2251903"/>
                    <a:gd name="connsiteY43" fmla="*/ 2857499 h 2953522"/>
                    <a:gd name="connsiteX44" fmla="*/ 1089853 w 2251903"/>
                    <a:gd name="connsiteY44" fmla="*/ 2862261 h 2953522"/>
                    <a:gd name="connsiteX45" fmla="*/ 1127953 w 2251903"/>
                    <a:gd name="connsiteY45" fmla="*/ 2781299 h 2953522"/>
                    <a:gd name="connsiteX46" fmla="*/ 1089853 w 2251903"/>
                    <a:gd name="connsiteY46" fmla="*/ 2705099 h 2953522"/>
                    <a:gd name="connsiteX47" fmla="*/ 1151765 w 2251903"/>
                    <a:gd name="connsiteY47" fmla="*/ 2643186 h 2953522"/>
                    <a:gd name="connsiteX48" fmla="*/ 1218440 w 2251903"/>
                    <a:gd name="connsiteY48" fmla="*/ 2581274 h 2953522"/>
                    <a:gd name="connsiteX49" fmla="*/ 1270828 w 2251903"/>
                    <a:gd name="connsiteY49" fmla="*/ 2466974 h 2953522"/>
                    <a:gd name="connsiteX50" fmla="*/ 1294640 w 2251903"/>
                    <a:gd name="connsiteY50" fmla="*/ 2414586 h 2953522"/>
                    <a:gd name="connsiteX51" fmla="*/ 1356553 w 2251903"/>
                    <a:gd name="connsiteY51" fmla="*/ 2352674 h 2953522"/>
                    <a:gd name="connsiteX52" fmla="*/ 1408940 w 2251903"/>
                    <a:gd name="connsiteY52" fmla="*/ 2271711 h 2953522"/>
                    <a:gd name="connsiteX53" fmla="*/ 1423228 w 2251903"/>
                    <a:gd name="connsiteY53" fmla="*/ 2190749 h 2953522"/>
                    <a:gd name="connsiteX54" fmla="*/ 1489903 w 2251903"/>
                    <a:gd name="connsiteY54" fmla="*/ 2057399 h 2953522"/>
                    <a:gd name="connsiteX55" fmla="*/ 1556578 w 2251903"/>
                    <a:gd name="connsiteY55" fmla="*/ 1943099 h 2953522"/>
                    <a:gd name="connsiteX56" fmla="*/ 1556578 w 2251903"/>
                    <a:gd name="connsiteY56" fmla="*/ 1862136 h 2953522"/>
                    <a:gd name="connsiteX57" fmla="*/ 1561340 w 2251903"/>
                    <a:gd name="connsiteY57" fmla="*/ 1733549 h 2953522"/>
                    <a:gd name="connsiteX58" fmla="*/ 1575628 w 2251903"/>
                    <a:gd name="connsiteY58" fmla="*/ 1638299 h 2953522"/>
                    <a:gd name="connsiteX59" fmla="*/ 1594678 w 2251903"/>
                    <a:gd name="connsiteY59" fmla="*/ 1557336 h 2953522"/>
                    <a:gd name="connsiteX60" fmla="*/ 1547053 w 2251903"/>
                    <a:gd name="connsiteY60" fmla="*/ 1423986 h 2953522"/>
                    <a:gd name="connsiteX61" fmla="*/ 1442278 w 2251903"/>
                    <a:gd name="connsiteY61" fmla="*/ 1209674 h 2953522"/>
                    <a:gd name="connsiteX62" fmla="*/ 1447040 w 2251903"/>
                    <a:gd name="connsiteY62" fmla="*/ 1162049 h 2953522"/>
                    <a:gd name="connsiteX63" fmla="*/ 1451803 w 2251903"/>
                    <a:gd name="connsiteY63" fmla="*/ 1119186 h 2953522"/>
                    <a:gd name="connsiteX64" fmla="*/ 1489903 w 2251903"/>
                    <a:gd name="connsiteY64" fmla="*/ 1062036 h 2953522"/>
                    <a:gd name="connsiteX65" fmla="*/ 1508953 w 2251903"/>
                    <a:gd name="connsiteY65" fmla="*/ 1023936 h 2953522"/>
                    <a:gd name="connsiteX66" fmla="*/ 1556578 w 2251903"/>
                    <a:gd name="connsiteY66" fmla="*/ 928686 h 2953522"/>
                    <a:gd name="connsiteX67" fmla="*/ 1594678 w 2251903"/>
                    <a:gd name="connsiteY67" fmla="*/ 852486 h 2953522"/>
                    <a:gd name="connsiteX68" fmla="*/ 1680403 w 2251903"/>
                    <a:gd name="connsiteY68" fmla="*/ 766761 h 2953522"/>
                    <a:gd name="connsiteX69" fmla="*/ 1728028 w 2251903"/>
                    <a:gd name="connsiteY69" fmla="*/ 709611 h 2953522"/>
                    <a:gd name="connsiteX70" fmla="*/ 1780415 w 2251903"/>
                    <a:gd name="connsiteY70" fmla="*/ 619124 h 2953522"/>
                    <a:gd name="connsiteX71" fmla="*/ 1828040 w 2251903"/>
                    <a:gd name="connsiteY71" fmla="*/ 595311 h 2953522"/>
                    <a:gd name="connsiteX72" fmla="*/ 1851853 w 2251903"/>
                    <a:gd name="connsiteY72" fmla="*/ 538161 h 2953522"/>
                    <a:gd name="connsiteX73" fmla="*/ 1875665 w 2251903"/>
                    <a:gd name="connsiteY73" fmla="*/ 466724 h 2953522"/>
                    <a:gd name="connsiteX74" fmla="*/ 1913765 w 2251903"/>
                    <a:gd name="connsiteY74" fmla="*/ 404811 h 2953522"/>
                    <a:gd name="connsiteX75" fmla="*/ 1961390 w 2251903"/>
                    <a:gd name="connsiteY75" fmla="*/ 347661 h 2953522"/>
                    <a:gd name="connsiteX76" fmla="*/ 2018540 w 2251903"/>
                    <a:gd name="connsiteY76" fmla="*/ 323849 h 2953522"/>
                    <a:gd name="connsiteX77" fmla="*/ 2066165 w 2251903"/>
                    <a:gd name="connsiteY77" fmla="*/ 309561 h 2953522"/>
                    <a:gd name="connsiteX78" fmla="*/ 2089978 w 2251903"/>
                    <a:gd name="connsiteY78" fmla="*/ 261936 h 2953522"/>
                    <a:gd name="connsiteX79" fmla="*/ 2085215 w 2251903"/>
                    <a:gd name="connsiteY79" fmla="*/ 185736 h 2953522"/>
                    <a:gd name="connsiteX80" fmla="*/ 2137603 w 2251903"/>
                    <a:gd name="connsiteY80" fmla="*/ 119061 h 2953522"/>
                    <a:gd name="connsiteX81" fmla="*/ 2199515 w 2251903"/>
                    <a:gd name="connsiteY81" fmla="*/ 109536 h 2953522"/>
                    <a:gd name="connsiteX82" fmla="*/ 2251903 w 2251903"/>
                    <a:gd name="connsiteY82" fmla="*/ 119061 h 29535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2251903" h="2953522">
                      <a:moveTo>
                        <a:pt x="1013653" y="0"/>
                      </a:moveTo>
                      <a:cubicBezTo>
                        <a:pt x="998572" y="17462"/>
                        <a:pt x="919991" y="46037"/>
                        <a:pt x="889829" y="76199"/>
                      </a:cubicBezTo>
                      <a:cubicBezTo>
                        <a:pt x="859667" y="106361"/>
                        <a:pt x="877923" y="150811"/>
                        <a:pt x="823154" y="166686"/>
                      </a:cubicBezTo>
                      <a:cubicBezTo>
                        <a:pt x="759654" y="210342"/>
                        <a:pt x="639798" y="165099"/>
                        <a:pt x="585029" y="185736"/>
                      </a:cubicBezTo>
                      <a:cubicBezTo>
                        <a:pt x="530260" y="206373"/>
                        <a:pt x="511209" y="260348"/>
                        <a:pt x="494540" y="290511"/>
                      </a:cubicBezTo>
                      <a:cubicBezTo>
                        <a:pt x="477871" y="320674"/>
                        <a:pt x="492159" y="336549"/>
                        <a:pt x="485015" y="366711"/>
                      </a:cubicBezTo>
                      <a:cubicBezTo>
                        <a:pt x="477871" y="396873"/>
                        <a:pt x="461203" y="449261"/>
                        <a:pt x="451678" y="471486"/>
                      </a:cubicBezTo>
                      <a:cubicBezTo>
                        <a:pt x="442153" y="493711"/>
                        <a:pt x="435802" y="492124"/>
                        <a:pt x="427865" y="500061"/>
                      </a:cubicBezTo>
                      <a:cubicBezTo>
                        <a:pt x="419928" y="507998"/>
                        <a:pt x="407228" y="506411"/>
                        <a:pt x="404053" y="519111"/>
                      </a:cubicBezTo>
                      <a:cubicBezTo>
                        <a:pt x="400878" y="531811"/>
                        <a:pt x="413577" y="556417"/>
                        <a:pt x="408815" y="576261"/>
                      </a:cubicBezTo>
                      <a:cubicBezTo>
                        <a:pt x="404053" y="596105"/>
                        <a:pt x="384209" y="611980"/>
                        <a:pt x="375478" y="638174"/>
                      </a:cubicBezTo>
                      <a:cubicBezTo>
                        <a:pt x="366747" y="664368"/>
                        <a:pt x="355634" y="704849"/>
                        <a:pt x="356428" y="733424"/>
                      </a:cubicBezTo>
                      <a:cubicBezTo>
                        <a:pt x="357222" y="761999"/>
                        <a:pt x="383415" y="788987"/>
                        <a:pt x="380240" y="809624"/>
                      </a:cubicBezTo>
                      <a:cubicBezTo>
                        <a:pt x="377065" y="830262"/>
                        <a:pt x="352459" y="835024"/>
                        <a:pt x="337378" y="857249"/>
                      </a:cubicBezTo>
                      <a:cubicBezTo>
                        <a:pt x="322297" y="879474"/>
                        <a:pt x="313565" y="918368"/>
                        <a:pt x="289753" y="942974"/>
                      </a:cubicBezTo>
                      <a:cubicBezTo>
                        <a:pt x="265941" y="967580"/>
                        <a:pt x="217522" y="989011"/>
                        <a:pt x="194503" y="1004886"/>
                      </a:cubicBezTo>
                      <a:cubicBezTo>
                        <a:pt x="171484" y="1020761"/>
                        <a:pt x="161959" y="1023937"/>
                        <a:pt x="151640" y="1038224"/>
                      </a:cubicBezTo>
                      <a:cubicBezTo>
                        <a:pt x="141321" y="1052511"/>
                        <a:pt x="136559" y="1066799"/>
                        <a:pt x="132590" y="1090611"/>
                      </a:cubicBezTo>
                      <a:cubicBezTo>
                        <a:pt x="128621" y="1114423"/>
                        <a:pt x="136559" y="1155699"/>
                        <a:pt x="127828" y="1181099"/>
                      </a:cubicBezTo>
                      <a:cubicBezTo>
                        <a:pt x="119097" y="1206499"/>
                        <a:pt x="92903" y="1211261"/>
                        <a:pt x="80203" y="1243011"/>
                      </a:cubicBezTo>
                      <a:cubicBezTo>
                        <a:pt x="67503" y="1274761"/>
                        <a:pt x="62740" y="1338262"/>
                        <a:pt x="51628" y="1371599"/>
                      </a:cubicBezTo>
                      <a:cubicBezTo>
                        <a:pt x="40516" y="1404936"/>
                        <a:pt x="18290" y="1421605"/>
                        <a:pt x="13528" y="1443036"/>
                      </a:cubicBezTo>
                      <a:cubicBezTo>
                        <a:pt x="8766" y="1464467"/>
                        <a:pt x="24640" y="1483517"/>
                        <a:pt x="23053" y="1500186"/>
                      </a:cubicBezTo>
                      <a:cubicBezTo>
                        <a:pt x="21466" y="1516855"/>
                        <a:pt x="7178" y="1524793"/>
                        <a:pt x="4003" y="1543049"/>
                      </a:cubicBezTo>
                      <a:cubicBezTo>
                        <a:pt x="828" y="1561305"/>
                        <a:pt x="-3141" y="1584324"/>
                        <a:pt x="4003" y="1609724"/>
                      </a:cubicBezTo>
                      <a:cubicBezTo>
                        <a:pt x="11147" y="1635124"/>
                        <a:pt x="27021" y="1670049"/>
                        <a:pt x="46865" y="1695449"/>
                      </a:cubicBezTo>
                      <a:cubicBezTo>
                        <a:pt x="66709" y="1720849"/>
                        <a:pt x="99252" y="1739105"/>
                        <a:pt x="123065" y="1762124"/>
                      </a:cubicBezTo>
                      <a:cubicBezTo>
                        <a:pt x="146877" y="1785143"/>
                        <a:pt x="169896" y="1802605"/>
                        <a:pt x="189740" y="1833561"/>
                      </a:cubicBezTo>
                      <a:cubicBezTo>
                        <a:pt x="209584" y="1864517"/>
                        <a:pt x="220697" y="1908967"/>
                        <a:pt x="242128" y="1947861"/>
                      </a:cubicBezTo>
                      <a:cubicBezTo>
                        <a:pt x="263559" y="1986755"/>
                        <a:pt x="289753" y="2036762"/>
                        <a:pt x="318328" y="2066924"/>
                      </a:cubicBezTo>
                      <a:cubicBezTo>
                        <a:pt x="346903" y="2097086"/>
                        <a:pt x="394528" y="2114549"/>
                        <a:pt x="413578" y="2128836"/>
                      </a:cubicBezTo>
                      <a:cubicBezTo>
                        <a:pt x="432628" y="2143124"/>
                        <a:pt x="427866" y="2132805"/>
                        <a:pt x="432628" y="2152649"/>
                      </a:cubicBezTo>
                      <a:cubicBezTo>
                        <a:pt x="437390" y="2172493"/>
                        <a:pt x="437391" y="2220118"/>
                        <a:pt x="442153" y="2247899"/>
                      </a:cubicBezTo>
                      <a:cubicBezTo>
                        <a:pt x="446916" y="2275680"/>
                        <a:pt x="446122" y="2285206"/>
                        <a:pt x="461203" y="2319337"/>
                      </a:cubicBezTo>
                      <a:cubicBezTo>
                        <a:pt x="476284" y="2353468"/>
                        <a:pt x="518353" y="2415380"/>
                        <a:pt x="532640" y="2452686"/>
                      </a:cubicBezTo>
                      <a:cubicBezTo>
                        <a:pt x="546928" y="2489992"/>
                        <a:pt x="540578" y="2514599"/>
                        <a:pt x="546928" y="2543174"/>
                      </a:cubicBezTo>
                      <a:cubicBezTo>
                        <a:pt x="553278" y="2571749"/>
                        <a:pt x="568359" y="2599530"/>
                        <a:pt x="570740" y="2624136"/>
                      </a:cubicBezTo>
                      <a:cubicBezTo>
                        <a:pt x="573121" y="2648742"/>
                        <a:pt x="548515" y="2660649"/>
                        <a:pt x="561215" y="2690811"/>
                      </a:cubicBezTo>
                      <a:cubicBezTo>
                        <a:pt x="573915" y="2720974"/>
                        <a:pt x="633446" y="2770186"/>
                        <a:pt x="646940" y="2805111"/>
                      </a:cubicBezTo>
                      <a:cubicBezTo>
                        <a:pt x="660434" y="2840036"/>
                        <a:pt x="640591" y="2875755"/>
                        <a:pt x="642178" y="2900361"/>
                      </a:cubicBezTo>
                      <a:cubicBezTo>
                        <a:pt x="643765" y="2924967"/>
                        <a:pt x="615190" y="2959099"/>
                        <a:pt x="656465" y="2952749"/>
                      </a:cubicBezTo>
                      <a:cubicBezTo>
                        <a:pt x="697740" y="2946399"/>
                        <a:pt x="840616" y="2882105"/>
                        <a:pt x="889828" y="2862261"/>
                      </a:cubicBezTo>
                      <a:cubicBezTo>
                        <a:pt x="939041" y="2842417"/>
                        <a:pt x="928721" y="2834480"/>
                        <a:pt x="951740" y="2833686"/>
                      </a:cubicBezTo>
                      <a:cubicBezTo>
                        <a:pt x="974759" y="2832892"/>
                        <a:pt x="1004921" y="2852737"/>
                        <a:pt x="1027940" y="2857499"/>
                      </a:cubicBezTo>
                      <a:cubicBezTo>
                        <a:pt x="1050959" y="2862262"/>
                        <a:pt x="1073184" y="2874961"/>
                        <a:pt x="1089853" y="2862261"/>
                      </a:cubicBezTo>
                      <a:cubicBezTo>
                        <a:pt x="1106522" y="2849561"/>
                        <a:pt x="1127953" y="2807493"/>
                        <a:pt x="1127953" y="2781299"/>
                      </a:cubicBezTo>
                      <a:cubicBezTo>
                        <a:pt x="1127953" y="2755105"/>
                        <a:pt x="1085884" y="2728118"/>
                        <a:pt x="1089853" y="2705099"/>
                      </a:cubicBezTo>
                      <a:cubicBezTo>
                        <a:pt x="1093822" y="2682080"/>
                        <a:pt x="1130334" y="2663824"/>
                        <a:pt x="1151765" y="2643186"/>
                      </a:cubicBezTo>
                      <a:cubicBezTo>
                        <a:pt x="1173196" y="2622549"/>
                        <a:pt x="1198596" y="2610643"/>
                        <a:pt x="1218440" y="2581274"/>
                      </a:cubicBezTo>
                      <a:cubicBezTo>
                        <a:pt x="1238284" y="2551905"/>
                        <a:pt x="1258128" y="2494755"/>
                        <a:pt x="1270828" y="2466974"/>
                      </a:cubicBezTo>
                      <a:cubicBezTo>
                        <a:pt x="1283528" y="2439193"/>
                        <a:pt x="1280353" y="2433636"/>
                        <a:pt x="1294640" y="2414586"/>
                      </a:cubicBezTo>
                      <a:cubicBezTo>
                        <a:pt x="1308928" y="2395536"/>
                        <a:pt x="1337503" y="2376486"/>
                        <a:pt x="1356553" y="2352674"/>
                      </a:cubicBezTo>
                      <a:cubicBezTo>
                        <a:pt x="1375603" y="2328862"/>
                        <a:pt x="1397828" y="2298698"/>
                        <a:pt x="1408940" y="2271711"/>
                      </a:cubicBezTo>
                      <a:cubicBezTo>
                        <a:pt x="1420052" y="2244724"/>
                        <a:pt x="1409734" y="2226468"/>
                        <a:pt x="1423228" y="2190749"/>
                      </a:cubicBezTo>
                      <a:cubicBezTo>
                        <a:pt x="1436722" y="2155030"/>
                        <a:pt x="1467678" y="2098674"/>
                        <a:pt x="1489903" y="2057399"/>
                      </a:cubicBezTo>
                      <a:cubicBezTo>
                        <a:pt x="1512128" y="2016124"/>
                        <a:pt x="1545466" y="1975643"/>
                        <a:pt x="1556578" y="1943099"/>
                      </a:cubicBezTo>
                      <a:cubicBezTo>
                        <a:pt x="1567690" y="1910555"/>
                        <a:pt x="1555784" y="1897061"/>
                        <a:pt x="1556578" y="1862136"/>
                      </a:cubicBezTo>
                      <a:cubicBezTo>
                        <a:pt x="1557372" y="1827211"/>
                        <a:pt x="1558165" y="1770855"/>
                        <a:pt x="1561340" y="1733549"/>
                      </a:cubicBezTo>
                      <a:cubicBezTo>
                        <a:pt x="1564515" y="1696243"/>
                        <a:pt x="1570072" y="1667668"/>
                        <a:pt x="1575628" y="1638299"/>
                      </a:cubicBezTo>
                      <a:cubicBezTo>
                        <a:pt x="1581184" y="1608930"/>
                        <a:pt x="1599440" y="1593055"/>
                        <a:pt x="1594678" y="1557336"/>
                      </a:cubicBezTo>
                      <a:cubicBezTo>
                        <a:pt x="1589916" y="1521617"/>
                        <a:pt x="1572453" y="1481930"/>
                        <a:pt x="1547053" y="1423986"/>
                      </a:cubicBezTo>
                      <a:cubicBezTo>
                        <a:pt x="1521653" y="1366042"/>
                        <a:pt x="1458947" y="1253330"/>
                        <a:pt x="1442278" y="1209674"/>
                      </a:cubicBezTo>
                      <a:cubicBezTo>
                        <a:pt x="1425609" y="1166018"/>
                        <a:pt x="1445453" y="1177130"/>
                        <a:pt x="1447040" y="1162049"/>
                      </a:cubicBezTo>
                      <a:cubicBezTo>
                        <a:pt x="1448627" y="1146968"/>
                        <a:pt x="1444659" y="1135855"/>
                        <a:pt x="1451803" y="1119186"/>
                      </a:cubicBezTo>
                      <a:cubicBezTo>
                        <a:pt x="1458947" y="1102517"/>
                        <a:pt x="1480378" y="1077911"/>
                        <a:pt x="1489903" y="1062036"/>
                      </a:cubicBezTo>
                      <a:cubicBezTo>
                        <a:pt x="1499428" y="1046161"/>
                        <a:pt x="1508953" y="1023936"/>
                        <a:pt x="1508953" y="1023936"/>
                      </a:cubicBezTo>
                      <a:lnTo>
                        <a:pt x="1556578" y="928686"/>
                      </a:lnTo>
                      <a:cubicBezTo>
                        <a:pt x="1570865" y="900111"/>
                        <a:pt x="1574040" y="879474"/>
                        <a:pt x="1594678" y="852486"/>
                      </a:cubicBezTo>
                      <a:cubicBezTo>
                        <a:pt x="1615316" y="825498"/>
                        <a:pt x="1658178" y="790573"/>
                        <a:pt x="1680403" y="766761"/>
                      </a:cubicBezTo>
                      <a:cubicBezTo>
                        <a:pt x="1702628" y="742949"/>
                        <a:pt x="1711359" y="734217"/>
                        <a:pt x="1728028" y="709611"/>
                      </a:cubicBezTo>
                      <a:cubicBezTo>
                        <a:pt x="1744697" y="685005"/>
                        <a:pt x="1763746" y="638174"/>
                        <a:pt x="1780415" y="619124"/>
                      </a:cubicBezTo>
                      <a:cubicBezTo>
                        <a:pt x="1797084" y="600074"/>
                        <a:pt x="1816134" y="608805"/>
                        <a:pt x="1828040" y="595311"/>
                      </a:cubicBezTo>
                      <a:cubicBezTo>
                        <a:pt x="1839946" y="581817"/>
                        <a:pt x="1843916" y="559592"/>
                        <a:pt x="1851853" y="538161"/>
                      </a:cubicBezTo>
                      <a:cubicBezTo>
                        <a:pt x="1859790" y="516730"/>
                        <a:pt x="1865346" y="488949"/>
                        <a:pt x="1875665" y="466724"/>
                      </a:cubicBezTo>
                      <a:cubicBezTo>
                        <a:pt x="1885984" y="444499"/>
                        <a:pt x="1899478" y="424655"/>
                        <a:pt x="1913765" y="404811"/>
                      </a:cubicBezTo>
                      <a:cubicBezTo>
                        <a:pt x="1928052" y="384967"/>
                        <a:pt x="1943928" y="361155"/>
                        <a:pt x="1961390" y="347661"/>
                      </a:cubicBezTo>
                      <a:cubicBezTo>
                        <a:pt x="1978853" y="334167"/>
                        <a:pt x="2001078" y="330199"/>
                        <a:pt x="2018540" y="323849"/>
                      </a:cubicBezTo>
                      <a:cubicBezTo>
                        <a:pt x="2036002" y="317499"/>
                        <a:pt x="2054259" y="319880"/>
                        <a:pt x="2066165" y="309561"/>
                      </a:cubicBezTo>
                      <a:cubicBezTo>
                        <a:pt x="2078071" y="299242"/>
                        <a:pt x="2086803" y="282574"/>
                        <a:pt x="2089978" y="261936"/>
                      </a:cubicBezTo>
                      <a:cubicBezTo>
                        <a:pt x="2093153" y="241299"/>
                        <a:pt x="2077278" y="209548"/>
                        <a:pt x="2085215" y="185736"/>
                      </a:cubicBezTo>
                      <a:cubicBezTo>
                        <a:pt x="2093153" y="161923"/>
                        <a:pt x="2118553" y="131761"/>
                        <a:pt x="2137603" y="119061"/>
                      </a:cubicBezTo>
                      <a:cubicBezTo>
                        <a:pt x="2156653" y="106361"/>
                        <a:pt x="2180465" y="109536"/>
                        <a:pt x="2199515" y="109536"/>
                      </a:cubicBezTo>
                      <a:cubicBezTo>
                        <a:pt x="2218565" y="109536"/>
                        <a:pt x="2225709" y="120649"/>
                        <a:pt x="2251903" y="119061"/>
                      </a:cubicBezTo>
                    </a:path>
                  </a:pathLst>
                </a:custGeom>
                <a:noFill/>
                <a:ln w="15875" cmpd="sng">
                  <a:solidFill>
                    <a:schemeClr val="accent4"/>
                  </a:solidFill>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38" name="Freeform 37"/>
                <p:cNvSpPr/>
                <p:nvPr/>
              </p:nvSpPr>
              <p:spPr>
                <a:xfrm>
                  <a:off x="2468425" y="2609080"/>
                  <a:ext cx="108121" cy="125332"/>
                </a:xfrm>
                <a:custGeom>
                  <a:avLst/>
                  <a:gdLst>
                    <a:gd name="connsiteX0" fmla="*/ 201316 w 201316"/>
                    <a:gd name="connsiteY0" fmla="*/ 233363 h 233363"/>
                    <a:gd name="connsiteX1" fmla="*/ 144166 w 201316"/>
                    <a:gd name="connsiteY1" fmla="*/ 185738 h 233363"/>
                    <a:gd name="connsiteX2" fmla="*/ 53679 w 201316"/>
                    <a:gd name="connsiteY2" fmla="*/ 157163 h 233363"/>
                    <a:gd name="connsiteX3" fmla="*/ 1291 w 201316"/>
                    <a:gd name="connsiteY3" fmla="*/ 104775 h 233363"/>
                    <a:gd name="connsiteX4" fmla="*/ 20341 w 201316"/>
                    <a:gd name="connsiteY4" fmla="*/ 57150 h 233363"/>
                    <a:gd name="connsiteX5" fmla="*/ 67966 w 201316"/>
                    <a:gd name="connsiteY5" fmla="*/ 0 h 2333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1316" h="233363">
                      <a:moveTo>
                        <a:pt x="201316" y="233363"/>
                      </a:moveTo>
                      <a:cubicBezTo>
                        <a:pt x="185044" y="215900"/>
                        <a:pt x="168772" y="198438"/>
                        <a:pt x="144166" y="185738"/>
                      </a:cubicBezTo>
                      <a:cubicBezTo>
                        <a:pt x="119560" y="173038"/>
                        <a:pt x="77491" y="170657"/>
                        <a:pt x="53679" y="157163"/>
                      </a:cubicBezTo>
                      <a:cubicBezTo>
                        <a:pt x="29867" y="143669"/>
                        <a:pt x="6847" y="121444"/>
                        <a:pt x="1291" y="104775"/>
                      </a:cubicBezTo>
                      <a:cubicBezTo>
                        <a:pt x="-4265" y="88106"/>
                        <a:pt x="9229" y="74612"/>
                        <a:pt x="20341" y="57150"/>
                      </a:cubicBezTo>
                      <a:cubicBezTo>
                        <a:pt x="31453" y="39688"/>
                        <a:pt x="49709" y="19844"/>
                        <a:pt x="67966" y="0"/>
                      </a:cubicBezTo>
                    </a:path>
                  </a:pathLst>
                </a:custGeom>
                <a:noFill/>
                <a:ln w="15875" cmpd="sng">
                  <a:solidFill>
                    <a:schemeClr val="accent4"/>
                  </a:solidFill>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39" name="Freeform 38"/>
                <p:cNvSpPr/>
                <p:nvPr/>
              </p:nvSpPr>
              <p:spPr>
                <a:xfrm>
                  <a:off x="2001043" y="3450468"/>
                  <a:ext cx="1752720" cy="166832"/>
                </a:xfrm>
                <a:custGeom>
                  <a:avLst/>
                  <a:gdLst>
                    <a:gd name="connsiteX0" fmla="*/ 0 w 3367087"/>
                    <a:gd name="connsiteY0" fmla="*/ 233600 h 310634"/>
                    <a:gd name="connsiteX1" fmla="*/ 90487 w 3367087"/>
                    <a:gd name="connsiteY1" fmla="*/ 166925 h 310634"/>
                    <a:gd name="connsiteX2" fmla="*/ 180975 w 3367087"/>
                    <a:gd name="connsiteY2" fmla="*/ 157400 h 310634"/>
                    <a:gd name="connsiteX3" fmla="*/ 347662 w 3367087"/>
                    <a:gd name="connsiteY3" fmla="*/ 124063 h 310634"/>
                    <a:gd name="connsiteX4" fmla="*/ 395287 w 3367087"/>
                    <a:gd name="connsiteY4" fmla="*/ 90725 h 310634"/>
                    <a:gd name="connsiteX5" fmla="*/ 495300 w 3367087"/>
                    <a:gd name="connsiteY5" fmla="*/ 71675 h 310634"/>
                    <a:gd name="connsiteX6" fmla="*/ 547687 w 3367087"/>
                    <a:gd name="connsiteY6" fmla="*/ 38338 h 310634"/>
                    <a:gd name="connsiteX7" fmla="*/ 819150 w 3367087"/>
                    <a:gd name="connsiteY7" fmla="*/ 238 h 310634"/>
                    <a:gd name="connsiteX8" fmla="*/ 981075 w 3367087"/>
                    <a:gd name="connsiteY8" fmla="*/ 57388 h 310634"/>
                    <a:gd name="connsiteX9" fmla="*/ 1104900 w 3367087"/>
                    <a:gd name="connsiteY9" fmla="*/ 66913 h 310634"/>
                    <a:gd name="connsiteX10" fmla="*/ 1166812 w 3367087"/>
                    <a:gd name="connsiteY10" fmla="*/ 90725 h 310634"/>
                    <a:gd name="connsiteX11" fmla="*/ 1276350 w 3367087"/>
                    <a:gd name="connsiteY11" fmla="*/ 66913 h 310634"/>
                    <a:gd name="connsiteX12" fmla="*/ 1333500 w 3367087"/>
                    <a:gd name="connsiteY12" fmla="*/ 109775 h 310634"/>
                    <a:gd name="connsiteX13" fmla="*/ 1400175 w 3367087"/>
                    <a:gd name="connsiteY13" fmla="*/ 124063 h 310634"/>
                    <a:gd name="connsiteX14" fmla="*/ 1447800 w 3367087"/>
                    <a:gd name="connsiteY14" fmla="*/ 152638 h 310634"/>
                    <a:gd name="connsiteX15" fmla="*/ 1552575 w 3367087"/>
                    <a:gd name="connsiteY15" fmla="*/ 162163 h 310634"/>
                    <a:gd name="connsiteX16" fmla="*/ 1671637 w 3367087"/>
                    <a:gd name="connsiteY16" fmla="*/ 176450 h 310634"/>
                    <a:gd name="connsiteX17" fmla="*/ 1752600 w 3367087"/>
                    <a:gd name="connsiteY17" fmla="*/ 205025 h 310634"/>
                    <a:gd name="connsiteX18" fmla="*/ 1876425 w 3367087"/>
                    <a:gd name="connsiteY18" fmla="*/ 205025 h 310634"/>
                    <a:gd name="connsiteX19" fmla="*/ 1985962 w 3367087"/>
                    <a:gd name="connsiteY19" fmla="*/ 247888 h 310634"/>
                    <a:gd name="connsiteX20" fmla="*/ 2100262 w 3367087"/>
                    <a:gd name="connsiteY20" fmla="*/ 238363 h 310634"/>
                    <a:gd name="connsiteX21" fmla="*/ 2233612 w 3367087"/>
                    <a:gd name="connsiteY21" fmla="*/ 285988 h 310634"/>
                    <a:gd name="connsiteX22" fmla="*/ 2343150 w 3367087"/>
                    <a:gd name="connsiteY22" fmla="*/ 309800 h 310634"/>
                    <a:gd name="connsiteX23" fmla="*/ 2443162 w 3367087"/>
                    <a:gd name="connsiteY23" fmla="*/ 257413 h 310634"/>
                    <a:gd name="connsiteX24" fmla="*/ 2505075 w 3367087"/>
                    <a:gd name="connsiteY24" fmla="*/ 185975 h 310634"/>
                    <a:gd name="connsiteX25" fmla="*/ 2605087 w 3367087"/>
                    <a:gd name="connsiteY25" fmla="*/ 185975 h 310634"/>
                    <a:gd name="connsiteX26" fmla="*/ 2809875 w 3367087"/>
                    <a:gd name="connsiteY26" fmla="*/ 195500 h 310634"/>
                    <a:gd name="connsiteX27" fmla="*/ 2981325 w 3367087"/>
                    <a:gd name="connsiteY27" fmla="*/ 181213 h 310634"/>
                    <a:gd name="connsiteX28" fmla="*/ 3109912 w 3367087"/>
                    <a:gd name="connsiteY28" fmla="*/ 138350 h 310634"/>
                    <a:gd name="connsiteX29" fmla="*/ 3271837 w 3367087"/>
                    <a:gd name="connsiteY29" fmla="*/ 195500 h 310634"/>
                    <a:gd name="connsiteX30" fmla="*/ 3367087 w 3367087"/>
                    <a:gd name="connsiteY30" fmla="*/ 238363 h 310634"/>
                    <a:gd name="connsiteX0" fmla="*/ 0 w 3367087"/>
                    <a:gd name="connsiteY0" fmla="*/ 233600 h 310634"/>
                    <a:gd name="connsiteX1" fmla="*/ 90487 w 3367087"/>
                    <a:gd name="connsiteY1" fmla="*/ 166925 h 310634"/>
                    <a:gd name="connsiteX2" fmla="*/ 180975 w 3367087"/>
                    <a:gd name="connsiteY2" fmla="*/ 157400 h 310634"/>
                    <a:gd name="connsiteX3" fmla="*/ 347662 w 3367087"/>
                    <a:gd name="connsiteY3" fmla="*/ 124063 h 310634"/>
                    <a:gd name="connsiteX4" fmla="*/ 395287 w 3367087"/>
                    <a:gd name="connsiteY4" fmla="*/ 90725 h 310634"/>
                    <a:gd name="connsiteX5" fmla="*/ 495300 w 3367087"/>
                    <a:gd name="connsiteY5" fmla="*/ 71675 h 310634"/>
                    <a:gd name="connsiteX6" fmla="*/ 547687 w 3367087"/>
                    <a:gd name="connsiteY6" fmla="*/ 38338 h 310634"/>
                    <a:gd name="connsiteX7" fmla="*/ 819150 w 3367087"/>
                    <a:gd name="connsiteY7" fmla="*/ 238 h 310634"/>
                    <a:gd name="connsiteX8" fmla="*/ 981075 w 3367087"/>
                    <a:gd name="connsiteY8" fmla="*/ 57388 h 310634"/>
                    <a:gd name="connsiteX9" fmla="*/ 1104900 w 3367087"/>
                    <a:gd name="connsiteY9" fmla="*/ 66913 h 310634"/>
                    <a:gd name="connsiteX10" fmla="*/ 1166812 w 3367087"/>
                    <a:gd name="connsiteY10" fmla="*/ 90725 h 310634"/>
                    <a:gd name="connsiteX11" fmla="*/ 1276350 w 3367087"/>
                    <a:gd name="connsiteY11" fmla="*/ 66913 h 310634"/>
                    <a:gd name="connsiteX12" fmla="*/ 1333500 w 3367087"/>
                    <a:gd name="connsiteY12" fmla="*/ 109775 h 310634"/>
                    <a:gd name="connsiteX13" fmla="*/ 1400175 w 3367087"/>
                    <a:gd name="connsiteY13" fmla="*/ 124063 h 310634"/>
                    <a:gd name="connsiteX14" fmla="*/ 1447800 w 3367087"/>
                    <a:gd name="connsiteY14" fmla="*/ 152638 h 310634"/>
                    <a:gd name="connsiteX15" fmla="*/ 1552575 w 3367087"/>
                    <a:gd name="connsiteY15" fmla="*/ 162163 h 310634"/>
                    <a:gd name="connsiteX16" fmla="*/ 1671637 w 3367087"/>
                    <a:gd name="connsiteY16" fmla="*/ 176450 h 310634"/>
                    <a:gd name="connsiteX17" fmla="*/ 1752600 w 3367087"/>
                    <a:gd name="connsiteY17" fmla="*/ 205025 h 310634"/>
                    <a:gd name="connsiteX18" fmla="*/ 1876425 w 3367087"/>
                    <a:gd name="connsiteY18" fmla="*/ 224075 h 310634"/>
                    <a:gd name="connsiteX19" fmla="*/ 1985962 w 3367087"/>
                    <a:gd name="connsiteY19" fmla="*/ 247888 h 310634"/>
                    <a:gd name="connsiteX20" fmla="*/ 2100262 w 3367087"/>
                    <a:gd name="connsiteY20" fmla="*/ 238363 h 310634"/>
                    <a:gd name="connsiteX21" fmla="*/ 2233612 w 3367087"/>
                    <a:gd name="connsiteY21" fmla="*/ 285988 h 310634"/>
                    <a:gd name="connsiteX22" fmla="*/ 2343150 w 3367087"/>
                    <a:gd name="connsiteY22" fmla="*/ 309800 h 310634"/>
                    <a:gd name="connsiteX23" fmla="*/ 2443162 w 3367087"/>
                    <a:gd name="connsiteY23" fmla="*/ 257413 h 310634"/>
                    <a:gd name="connsiteX24" fmla="*/ 2505075 w 3367087"/>
                    <a:gd name="connsiteY24" fmla="*/ 185975 h 310634"/>
                    <a:gd name="connsiteX25" fmla="*/ 2605087 w 3367087"/>
                    <a:gd name="connsiteY25" fmla="*/ 185975 h 310634"/>
                    <a:gd name="connsiteX26" fmla="*/ 2809875 w 3367087"/>
                    <a:gd name="connsiteY26" fmla="*/ 195500 h 310634"/>
                    <a:gd name="connsiteX27" fmla="*/ 2981325 w 3367087"/>
                    <a:gd name="connsiteY27" fmla="*/ 181213 h 310634"/>
                    <a:gd name="connsiteX28" fmla="*/ 3109912 w 3367087"/>
                    <a:gd name="connsiteY28" fmla="*/ 138350 h 310634"/>
                    <a:gd name="connsiteX29" fmla="*/ 3271837 w 3367087"/>
                    <a:gd name="connsiteY29" fmla="*/ 195500 h 310634"/>
                    <a:gd name="connsiteX30" fmla="*/ 3367087 w 3367087"/>
                    <a:gd name="connsiteY30" fmla="*/ 238363 h 3106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Lst>
                  <a:rect l="l" t="t" r="r" b="b"/>
                  <a:pathLst>
                    <a:path w="3367087" h="310634">
                      <a:moveTo>
                        <a:pt x="0" y="233600"/>
                      </a:moveTo>
                      <a:cubicBezTo>
                        <a:pt x="30162" y="206612"/>
                        <a:pt x="60325" y="179625"/>
                        <a:pt x="90487" y="166925"/>
                      </a:cubicBezTo>
                      <a:cubicBezTo>
                        <a:pt x="120650" y="154225"/>
                        <a:pt x="138112" y="164544"/>
                        <a:pt x="180975" y="157400"/>
                      </a:cubicBezTo>
                      <a:cubicBezTo>
                        <a:pt x="223838" y="150256"/>
                        <a:pt x="311943" y="135175"/>
                        <a:pt x="347662" y="124063"/>
                      </a:cubicBezTo>
                      <a:cubicBezTo>
                        <a:pt x="383381" y="112950"/>
                        <a:pt x="370681" y="99456"/>
                        <a:pt x="395287" y="90725"/>
                      </a:cubicBezTo>
                      <a:cubicBezTo>
                        <a:pt x="419893" y="81994"/>
                        <a:pt x="469900" y="80406"/>
                        <a:pt x="495300" y="71675"/>
                      </a:cubicBezTo>
                      <a:cubicBezTo>
                        <a:pt x="520700" y="62944"/>
                        <a:pt x="493712" y="50244"/>
                        <a:pt x="547687" y="38338"/>
                      </a:cubicBezTo>
                      <a:cubicBezTo>
                        <a:pt x="601662" y="26432"/>
                        <a:pt x="746919" y="-2937"/>
                        <a:pt x="819150" y="238"/>
                      </a:cubicBezTo>
                      <a:cubicBezTo>
                        <a:pt x="891381" y="3413"/>
                        <a:pt x="933450" y="46276"/>
                        <a:pt x="981075" y="57388"/>
                      </a:cubicBezTo>
                      <a:cubicBezTo>
                        <a:pt x="1028700" y="68500"/>
                        <a:pt x="1073944" y="61357"/>
                        <a:pt x="1104900" y="66913"/>
                      </a:cubicBezTo>
                      <a:cubicBezTo>
                        <a:pt x="1135856" y="72469"/>
                        <a:pt x="1138237" y="90725"/>
                        <a:pt x="1166812" y="90725"/>
                      </a:cubicBezTo>
                      <a:cubicBezTo>
                        <a:pt x="1195387" y="90725"/>
                        <a:pt x="1248569" y="63738"/>
                        <a:pt x="1276350" y="66913"/>
                      </a:cubicBezTo>
                      <a:cubicBezTo>
                        <a:pt x="1304131" y="70088"/>
                        <a:pt x="1312863" y="100250"/>
                        <a:pt x="1333500" y="109775"/>
                      </a:cubicBezTo>
                      <a:cubicBezTo>
                        <a:pt x="1354137" y="119300"/>
                        <a:pt x="1381125" y="116919"/>
                        <a:pt x="1400175" y="124063"/>
                      </a:cubicBezTo>
                      <a:cubicBezTo>
                        <a:pt x="1419225" y="131207"/>
                        <a:pt x="1422400" y="146288"/>
                        <a:pt x="1447800" y="152638"/>
                      </a:cubicBezTo>
                      <a:cubicBezTo>
                        <a:pt x="1473200" y="158988"/>
                        <a:pt x="1515269" y="158194"/>
                        <a:pt x="1552575" y="162163"/>
                      </a:cubicBezTo>
                      <a:cubicBezTo>
                        <a:pt x="1589881" y="166132"/>
                        <a:pt x="1638300" y="169306"/>
                        <a:pt x="1671637" y="176450"/>
                      </a:cubicBezTo>
                      <a:cubicBezTo>
                        <a:pt x="1704974" y="183594"/>
                        <a:pt x="1718469" y="197087"/>
                        <a:pt x="1752600" y="205025"/>
                      </a:cubicBezTo>
                      <a:cubicBezTo>
                        <a:pt x="1786731" y="212963"/>
                        <a:pt x="1837531" y="216931"/>
                        <a:pt x="1876425" y="224075"/>
                      </a:cubicBezTo>
                      <a:cubicBezTo>
                        <a:pt x="1915319" y="231219"/>
                        <a:pt x="1948656" y="245507"/>
                        <a:pt x="1985962" y="247888"/>
                      </a:cubicBezTo>
                      <a:cubicBezTo>
                        <a:pt x="2023268" y="250269"/>
                        <a:pt x="2058987" y="232013"/>
                        <a:pt x="2100262" y="238363"/>
                      </a:cubicBezTo>
                      <a:cubicBezTo>
                        <a:pt x="2141537" y="244713"/>
                        <a:pt x="2193131" y="274082"/>
                        <a:pt x="2233612" y="285988"/>
                      </a:cubicBezTo>
                      <a:cubicBezTo>
                        <a:pt x="2274093" y="297894"/>
                        <a:pt x="2308225" y="314563"/>
                        <a:pt x="2343150" y="309800"/>
                      </a:cubicBezTo>
                      <a:cubicBezTo>
                        <a:pt x="2378075" y="305038"/>
                        <a:pt x="2416174" y="278051"/>
                        <a:pt x="2443162" y="257413"/>
                      </a:cubicBezTo>
                      <a:cubicBezTo>
                        <a:pt x="2470150" y="236775"/>
                        <a:pt x="2478088" y="197881"/>
                        <a:pt x="2505075" y="185975"/>
                      </a:cubicBezTo>
                      <a:cubicBezTo>
                        <a:pt x="2532062" y="174069"/>
                        <a:pt x="2554287" y="184387"/>
                        <a:pt x="2605087" y="185975"/>
                      </a:cubicBezTo>
                      <a:cubicBezTo>
                        <a:pt x="2655887" y="187562"/>
                        <a:pt x="2747169" y="196294"/>
                        <a:pt x="2809875" y="195500"/>
                      </a:cubicBezTo>
                      <a:cubicBezTo>
                        <a:pt x="2872581" y="194706"/>
                        <a:pt x="2931319" y="190738"/>
                        <a:pt x="2981325" y="181213"/>
                      </a:cubicBezTo>
                      <a:cubicBezTo>
                        <a:pt x="3031331" y="171688"/>
                        <a:pt x="3061493" y="135969"/>
                        <a:pt x="3109912" y="138350"/>
                      </a:cubicBezTo>
                      <a:cubicBezTo>
                        <a:pt x="3158331" y="140731"/>
                        <a:pt x="3228975" y="178831"/>
                        <a:pt x="3271837" y="195500"/>
                      </a:cubicBezTo>
                      <a:cubicBezTo>
                        <a:pt x="3314699" y="212169"/>
                        <a:pt x="3340893" y="225266"/>
                        <a:pt x="3367087" y="238363"/>
                      </a:cubicBezTo>
                    </a:path>
                  </a:pathLst>
                </a:custGeom>
                <a:noFill/>
                <a:ln w="15875" cmpd="sng">
                  <a:solidFill>
                    <a:srgbClr val="FF6400"/>
                  </a:solidFill>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40" name="Freeform 39"/>
                <p:cNvSpPr/>
                <p:nvPr/>
              </p:nvSpPr>
              <p:spPr>
                <a:xfrm>
                  <a:off x="2011270" y="3496049"/>
                  <a:ext cx="734251" cy="964875"/>
                </a:xfrm>
                <a:custGeom>
                  <a:avLst/>
                  <a:gdLst>
                    <a:gd name="connsiteX0" fmla="*/ 537403 w 2356678"/>
                    <a:gd name="connsiteY0" fmla="*/ 134099 h 2859022"/>
                    <a:gd name="connsiteX1" fmla="*/ 494540 w 2356678"/>
                    <a:gd name="connsiteY1" fmla="*/ 196011 h 2859022"/>
                    <a:gd name="connsiteX2" fmla="*/ 485015 w 2356678"/>
                    <a:gd name="connsiteY2" fmla="*/ 272211 h 2859022"/>
                    <a:gd name="connsiteX3" fmla="*/ 451678 w 2356678"/>
                    <a:gd name="connsiteY3" fmla="*/ 376986 h 2859022"/>
                    <a:gd name="connsiteX4" fmla="*/ 427865 w 2356678"/>
                    <a:gd name="connsiteY4" fmla="*/ 405561 h 2859022"/>
                    <a:gd name="connsiteX5" fmla="*/ 404053 w 2356678"/>
                    <a:gd name="connsiteY5" fmla="*/ 424611 h 2859022"/>
                    <a:gd name="connsiteX6" fmla="*/ 408815 w 2356678"/>
                    <a:gd name="connsiteY6" fmla="*/ 481761 h 2859022"/>
                    <a:gd name="connsiteX7" fmla="*/ 375478 w 2356678"/>
                    <a:gd name="connsiteY7" fmla="*/ 543674 h 2859022"/>
                    <a:gd name="connsiteX8" fmla="*/ 356428 w 2356678"/>
                    <a:gd name="connsiteY8" fmla="*/ 638924 h 2859022"/>
                    <a:gd name="connsiteX9" fmla="*/ 380240 w 2356678"/>
                    <a:gd name="connsiteY9" fmla="*/ 715124 h 2859022"/>
                    <a:gd name="connsiteX10" fmla="*/ 337378 w 2356678"/>
                    <a:gd name="connsiteY10" fmla="*/ 762749 h 2859022"/>
                    <a:gd name="connsiteX11" fmla="*/ 289753 w 2356678"/>
                    <a:gd name="connsiteY11" fmla="*/ 848474 h 2859022"/>
                    <a:gd name="connsiteX12" fmla="*/ 194503 w 2356678"/>
                    <a:gd name="connsiteY12" fmla="*/ 910386 h 2859022"/>
                    <a:gd name="connsiteX13" fmla="*/ 151640 w 2356678"/>
                    <a:gd name="connsiteY13" fmla="*/ 943724 h 2859022"/>
                    <a:gd name="connsiteX14" fmla="*/ 132590 w 2356678"/>
                    <a:gd name="connsiteY14" fmla="*/ 996111 h 2859022"/>
                    <a:gd name="connsiteX15" fmla="*/ 127828 w 2356678"/>
                    <a:gd name="connsiteY15" fmla="*/ 1086599 h 2859022"/>
                    <a:gd name="connsiteX16" fmla="*/ 80203 w 2356678"/>
                    <a:gd name="connsiteY16" fmla="*/ 1148511 h 2859022"/>
                    <a:gd name="connsiteX17" fmla="*/ 51628 w 2356678"/>
                    <a:gd name="connsiteY17" fmla="*/ 1277099 h 2859022"/>
                    <a:gd name="connsiteX18" fmla="*/ 13528 w 2356678"/>
                    <a:gd name="connsiteY18" fmla="*/ 1348536 h 2859022"/>
                    <a:gd name="connsiteX19" fmla="*/ 23053 w 2356678"/>
                    <a:gd name="connsiteY19" fmla="*/ 1405686 h 2859022"/>
                    <a:gd name="connsiteX20" fmla="*/ 4003 w 2356678"/>
                    <a:gd name="connsiteY20" fmla="*/ 1448549 h 2859022"/>
                    <a:gd name="connsiteX21" fmla="*/ 4003 w 2356678"/>
                    <a:gd name="connsiteY21" fmla="*/ 1515224 h 2859022"/>
                    <a:gd name="connsiteX22" fmla="*/ 46865 w 2356678"/>
                    <a:gd name="connsiteY22" fmla="*/ 1600949 h 2859022"/>
                    <a:gd name="connsiteX23" fmla="*/ 123065 w 2356678"/>
                    <a:gd name="connsiteY23" fmla="*/ 1667624 h 2859022"/>
                    <a:gd name="connsiteX24" fmla="*/ 189740 w 2356678"/>
                    <a:gd name="connsiteY24" fmla="*/ 1739061 h 2859022"/>
                    <a:gd name="connsiteX25" fmla="*/ 242128 w 2356678"/>
                    <a:gd name="connsiteY25" fmla="*/ 1853361 h 2859022"/>
                    <a:gd name="connsiteX26" fmla="*/ 318328 w 2356678"/>
                    <a:gd name="connsiteY26" fmla="*/ 1972424 h 2859022"/>
                    <a:gd name="connsiteX27" fmla="*/ 413578 w 2356678"/>
                    <a:gd name="connsiteY27" fmla="*/ 2034336 h 2859022"/>
                    <a:gd name="connsiteX28" fmla="*/ 432628 w 2356678"/>
                    <a:gd name="connsiteY28" fmla="*/ 2058149 h 2859022"/>
                    <a:gd name="connsiteX29" fmla="*/ 442153 w 2356678"/>
                    <a:gd name="connsiteY29" fmla="*/ 2153399 h 2859022"/>
                    <a:gd name="connsiteX30" fmla="*/ 475490 w 2356678"/>
                    <a:gd name="connsiteY30" fmla="*/ 2220074 h 2859022"/>
                    <a:gd name="connsiteX31" fmla="*/ 532640 w 2356678"/>
                    <a:gd name="connsiteY31" fmla="*/ 2358186 h 2859022"/>
                    <a:gd name="connsiteX32" fmla="*/ 546928 w 2356678"/>
                    <a:gd name="connsiteY32" fmla="*/ 2448674 h 2859022"/>
                    <a:gd name="connsiteX33" fmla="*/ 570740 w 2356678"/>
                    <a:gd name="connsiteY33" fmla="*/ 2529636 h 2859022"/>
                    <a:gd name="connsiteX34" fmla="*/ 561215 w 2356678"/>
                    <a:gd name="connsiteY34" fmla="*/ 2596311 h 2859022"/>
                    <a:gd name="connsiteX35" fmla="*/ 646940 w 2356678"/>
                    <a:gd name="connsiteY35" fmla="*/ 2710611 h 2859022"/>
                    <a:gd name="connsiteX36" fmla="*/ 642178 w 2356678"/>
                    <a:gd name="connsiteY36" fmla="*/ 2805861 h 2859022"/>
                    <a:gd name="connsiteX37" fmla="*/ 656465 w 2356678"/>
                    <a:gd name="connsiteY37" fmla="*/ 2858249 h 2859022"/>
                    <a:gd name="connsiteX38" fmla="*/ 889828 w 2356678"/>
                    <a:gd name="connsiteY38" fmla="*/ 2767761 h 2859022"/>
                    <a:gd name="connsiteX39" fmla="*/ 951740 w 2356678"/>
                    <a:gd name="connsiteY39" fmla="*/ 2739186 h 2859022"/>
                    <a:gd name="connsiteX40" fmla="*/ 1027940 w 2356678"/>
                    <a:gd name="connsiteY40" fmla="*/ 2762999 h 2859022"/>
                    <a:gd name="connsiteX41" fmla="*/ 1089853 w 2356678"/>
                    <a:gd name="connsiteY41" fmla="*/ 2767761 h 2859022"/>
                    <a:gd name="connsiteX42" fmla="*/ 1127953 w 2356678"/>
                    <a:gd name="connsiteY42" fmla="*/ 2686799 h 2859022"/>
                    <a:gd name="connsiteX43" fmla="*/ 1089853 w 2356678"/>
                    <a:gd name="connsiteY43" fmla="*/ 2610599 h 2859022"/>
                    <a:gd name="connsiteX44" fmla="*/ 1151765 w 2356678"/>
                    <a:gd name="connsiteY44" fmla="*/ 2548686 h 2859022"/>
                    <a:gd name="connsiteX45" fmla="*/ 1218440 w 2356678"/>
                    <a:gd name="connsiteY45" fmla="*/ 2486774 h 2859022"/>
                    <a:gd name="connsiteX46" fmla="*/ 1270828 w 2356678"/>
                    <a:gd name="connsiteY46" fmla="*/ 2372474 h 2859022"/>
                    <a:gd name="connsiteX47" fmla="*/ 1294640 w 2356678"/>
                    <a:gd name="connsiteY47" fmla="*/ 2320086 h 2859022"/>
                    <a:gd name="connsiteX48" fmla="*/ 1356553 w 2356678"/>
                    <a:gd name="connsiteY48" fmla="*/ 2258174 h 2859022"/>
                    <a:gd name="connsiteX49" fmla="*/ 1408940 w 2356678"/>
                    <a:gd name="connsiteY49" fmla="*/ 2177211 h 2859022"/>
                    <a:gd name="connsiteX50" fmla="*/ 1423228 w 2356678"/>
                    <a:gd name="connsiteY50" fmla="*/ 2096249 h 2859022"/>
                    <a:gd name="connsiteX51" fmla="*/ 1489903 w 2356678"/>
                    <a:gd name="connsiteY51" fmla="*/ 1962899 h 2859022"/>
                    <a:gd name="connsiteX52" fmla="*/ 1556578 w 2356678"/>
                    <a:gd name="connsiteY52" fmla="*/ 1848599 h 2859022"/>
                    <a:gd name="connsiteX53" fmla="*/ 1556578 w 2356678"/>
                    <a:gd name="connsiteY53" fmla="*/ 1767636 h 2859022"/>
                    <a:gd name="connsiteX54" fmla="*/ 1561340 w 2356678"/>
                    <a:gd name="connsiteY54" fmla="*/ 1639049 h 2859022"/>
                    <a:gd name="connsiteX55" fmla="*/ 1575628 w 2356678"/>
                    <a:gd name="connsiteY55" fmla="*/ 1543799 h 2859022"/>
                    <a:gd name="connsiteX56" fmla="*/ 1594678 w 2356678"/>
                    <a:gd name="connsiteY56" fmla="*/ 1462836 h 2859022"/>
                    <a:gd name="connsiteX57" fmla="*/ 1547053 w 2356678"/>
                    <a:gd name="connsiteY57" fmla="*/ 1329486 h 2859022"/>
                    <a:gd name="connsiteX58" fmla="*/ 1442278 w 2356678"/>
                    <a:gd name="connsiteY58" fmla="*/ 1115174 h 2859022"/>
                    <a:gd name="connsiteX59" fmla="*/ 1447040 w 2356678"/>
                    <a:gd name="connsiteY59" fmla="*/ 1067549 h 2859022"/>
                    <a:gd name="connsiteX60" fmla="*/ 1451803 w 2356678"/>
                    <a:gd name="connsiteY60" fmla="*/ 1024686 h 2859022"/>
                    <a:gd name="connsiteX61" fmla="*/ 1489903 w 2356678"/>
                    <a:gd name="connsiteY61" fmla="*/ 967536 h 2859022"/>
                    <a:gd name="connsiteX62" fmla="*/ 1508953 w 2356678"/>
                    <a:gd name="connsiteY62" fmla="*/ 929436 h 2859022"/>
                    <a:gd name="connsiteX63" fmla="*/ 1556578 w 2356678"/>
                    <a:gd name="connsiteY63" fmla="*/ 834186 h 2859022"/>
                    <a:gd name="connsiteX64" fmla="*/ 1594678 w 2356678"/>
                    <a:gd name="connsiteY64" fmla="*/ 757986 h 2859022"/>
                    <a:gd name="connsiteX65" fmla="*/ 1680403 w 2356678"/>
                    <a:gd name="connsiteY65" fmla="*/ 672261 h 2859022"/>
                    <a:gd name="connsiteX66" fmla="*/ 1728028 w 2356678"/>
                    <a:gd name="connsiteY66" fmla="*/ 615111 h 2859022"/>
                    <a:gd name="connsiteX67" fmla="*/ 1780415 w 2356678"/>
                    <a:gd name="connsiteY67" fmla="*/ 524624 h 2859022"/>
                    <a:gd name="connsiteX68" fmla="*/ 1828040 w 2356678"/>
                    <a:gd name="connsiteY68" fmla="*/ 500811 h 2859022"/>
                    <a:gd name="connsiteX69" fmla="*/ 1851853 w 2356678"/>
                    <a:gd name="connsiteY69" fmla="*/ 443661 h 2859022"/>
                    <a:gd name="connsiteX70" fmla="*/ 1875665 w 2356678"/>
                    <a:gd name="connsiteY70" fmla="*/ 372224 h 2859022"/>
                    <a:gd name="connsiteX71" fmla="*/ 1913765 w 2356678"/>
                    <a:gd name="connsiteY71" fmla="*/ 310311 h 2859022"/>
                    <a:gd name="connsiteX72" fmla="*/ 1961390 w 2356678"/>
                    <a:gd name="connsiteY72" fmla="*/ 253161 h 2859022"/>
                    <a:gd name="connsiteX73" fmla="*/ 2018540 w 2356678"/>
                    <a:gd name="connsiteY73" fmla="*/ 229349 h 2859022"/>
                    <a:gd name="connsiteX74" fmla="*/ 2066165 w 2356678"/>
                    <a:gd name="connsiteY74" fmla="*/ 215061 h 2859022"/>
                    <a:gd name="connsiteX75" fmla="*/ 2089978 w 2356678"/>
                    <a:gd name="connsiteY75" fmla="*/ 167436 h 2859022"/>
                    <a:gd name="connsiteX76" fmla="*/ 2085215 w 2356678"/>
                    <a:gd name="connsiteY76" fmla="*/ 91236 h 2859022"/>
                    <a:gd name="connsiteX77" fmla="*/ 2137603 w 2356678"/>
                    <a:gd name="connsiteY77" fmla="*/ 24561 h 2859022"/>
                    <a:gd name="connsiteX78" fmla="*/ 2199515 w 2356678"/>
                    <a:gd name="connsiteY78" fmla="*/ 15036 h 2859022"/>
                    <a:gd name="connsiteX79" fmla="*/ 2251903 w 2356678"/>
                    <a:gd name="connsiteY79" fmla="*/ 24561 h 2859022"/>
                    <a:gd name="connsiteX80" fmla="*/ 2294765 w 2356678"/>
                    <a:gd name="connsiteY80" fmla="*/ 749 h 2859022"/>
                    <a:gd name="connsiteX81" fmla="*/ 2356678 w 2356678"/>
                    <a:gd name="connsiteY81" fmla="*/ 5511 h 2859022"/>
                    <a:gd name="connsiteX82" fmla="*/ 2356678 w 2356678"/>
                    <a:gd name="connsiteY82" fmla="*/ 5511 h 2859022"/>
                    <a:gd name="connsiteX0" fmla="*/ 537403 w 2356678"/>
                    <a:gd name="connsiteY0" fmla="*/ 134099 h 2859022"/>
                    <a:gd name="connsiteX1" fmla="*/ 494540 w 2356678"/>
                    <a:gd name="connsiteY1" fmla="*/ 196011 h 2859022"/>
                    <a:gd name="connsiteX2" fmla="*/ 485015 w 2356678"/>
                    <a:gd name="connsiteY2" fmla="*/ 272211 h 2859022"/>
                    <a:gd name="connsiteX3" fmla="*/ 451678 w 2356678"/>
                    <a:gd name="connsiteY3" fmla="*/ 376986 h 2859022"/>
                    <a:gd name="connsiteX4" fmla="*/ 427865 w 2356678"/>
                    <a:gd name="connsiteY4" fmla="*/ 405561 h 2859022"/>
                    <a:gd name="connsiteX5" fmla="*/ 404053 w 2356678"/>
                    <a:gd name="connsiteY5" fmla="*/ 424611 h 2859022"/>
                    <a:gd name="connsiteX6" fmla="*/ 408815 w 2356678"/>
                    <a:gd name="connsiteY6" fmla="*/ 481761 h 2859022"/>
                    <a:gd name="connsiteX7" fmla="*/ 375478 w 2356678"/>
                    <a:gd name="connsiteY7" fmla="*/ 543674 h 2859022"/>
                    <a:gd name="connsiteX8" fmla="*/ 356428 w 2356678"/>
                    <a:gd name="connsiteY8" fmla="*/ 638924 h 2859022"/>
                    <a:gd name="connsiteX9" fmla="*/ 380240 w 2356678"/>
                    <a:gd name="connsiteY9" fmla="*/ 715124 h 2859022"/>
                    <a:gd name="connsiteX10" fmla="*/ 337378 w 2356678"/>
                    <a:gd name="connsiteY10" fmla="*/ 762749 h 2859022"/>
                    <a:gd name="connsiteX11" fmla="*/ 289753 w 2356678"/>
                    <a:gd name="connsiteY11" fmla="*/ 848474 h 2859022"/>
                    <a:gd name="connsiteX12" fmla="*/ 194503 w 2356678"/>
                    <a:gd name="connsiteY12" fmla="*/ 910386 h 2859022"/>
                    <a:gd name="connsiteX13" fmla="*/ 151640 w 2356678"/>
                    <a:gd name="connsiteY13" fmla="*/ 943724 h 2859022"/>
                    <a:gd name="connsiteX14" fmla="*/ 132590 w 2356678"/>
                    <a:gd name="connsiteY14" fmla="*/ 996111 h 2859022"/>
                    <a:gd name="connsiteX15" fmla="*/ 127828 w 2356678"/>
                    <a:gd name="connsiteY15" fmla="*/ 1086599 h 2859022"/>
                    <a:gd name="connsiteX16" fmla="*/ 80203 w 2356678"/>
                    <a:gd name="connsiteY16" fmla="*/ 1148511 h 2859022"/>
                    <a:gd name="connsiteX17" fmla="*/ 51628 w 2356678"/>
                    <a:gd name="connsiteY17" fmla="*/ 1277099 h 2859022"/>
                    <a:gd name="connsiteX18" fmla="*/ 13528 w 2356678"/>
                    <a:gd name="connsiteY18" fmla="*/ 1348536 h 2859022"/>
                    <a:gd name="connsiteX19" fmla="*/ 23053 w 2356678"/>
                    <a:gd name="connsiteY19" fmla="*/ 1405686 h 2859022"/>
                    <a:gd name="connsiteX20" fmla="*/ 4003 w 2356678"/>
                    <a:gd name="connsiteY20" fmla="*/ 1448549 h 2859022"/>
                    <a:gd name="connsiteX21" fmla="*/ 4003 w 2356678"/>
                    <a:gd name="connsiteY21" fmla="*/ 1515224 h 2859022"/>
                    <a:gd name="connsiteX22" fmla="*/ 46865 w 2356678"/>
                    <a:gd name="connsiteY22" fmla="*/ 1600949 h 2859022"/>
                    <a:gd name="connsiteX23" fmla="*/ 123065 w 2356678"/>
                    <a:gd name="connsiteY23" fmla="*/ 1667624 h 2859022"/>
                    <a:gd name="connsiteX24" fmla="*/ 189740 w 2356678"/>
                    <a:gd name="connsiteY24" fmla="*/ 1739061 h 2859022"/>
                    <a:gd name="connsiteX25" fmla="*/ 242128 w 2356678"/>
                    <a:gd name="connsiteY25" fmla="*/ 1853361 h 2859022"/>
                    <a:gd name="connsiteX26" fmla="*/ 318328 w 2356678"/>
                    <a:gd name="connsiteY26" fmla="*/ 1972424 h 2859022"/>
                    <a:gd name="connsiteX27" fmla="*/ 413578 w 2356678"/>
                    <a:gd name="connsiteY27" fmla="*/ 2034336 h 2859022"/>
                    <a:gd name="connsiteX28" fmla="*/ 432628 w 2356678"/>
                    <a:gd name="connsiteY28" fmla="*/ 2058149 h 2859022"/>
                    <a:gd name="connsiteX29" fmla="*/ 442153 w 2356678"/>
                    <a:gd name="connsiteY29" fmla="*/ 2153399 h 2859022"/>
                    <a:gd name="connsiteX30" fmla="*/ 461203 w 2356678"/>
                    <a:gd name="connsiteY30" fmla="*/ 2224837 h 2859022"/>
                    <a:gd name="connsiteX31" fmla="*/ 532640 w 2356678"/>
                    <a:gd name="connsiteY31" fmla="*/ 2358186 h 2859022"/>
                    <a:gd name="connsiteX32" fmla="*/ 546928 w 2356678"/>
                    <a:gd name="connsiteY32" fmla="*/ 2448674 h 2859022"/>
                    <a:gd name="connsiteX33" fmla="*/ 570740 w 2356678"/>
                    <a:gd name="connsiteY33" fmla="*/ 2529636 h 2859022"/>
                    <a:gd name="connsiteX34" fmla="*/ 561215 w 2356678"/>
                    <a:gd name="connsiteY34" fmla="*/ 2596311 h 2859022"/>
                    <a:gd name="connsiteX35" fmla="*/ 646940 w 2356678"/>
                    <a:gd name="connsiteY35" fmla="*/ 2710611 h 2859022"/>
                    <a:gd name="connsiteX36" fmla="*/ 642178 w 2356678"/>
                    <a:gd name="connsiteY36" fmla="*/ 2805861 h 2859022"/>
                    <a:gd name="connsiteX37" fmla="*/ 656465 w 2356678"/>
                    <a:gd name="connsiteY37" fmla="*/ 2858249 h 2859022"/>
                    <a:gd name="connsiteX38" fmla="*/ 889828 w 2356678"/>
                    <a:gd name="connsiteY38" fmla="*/ 2767761 h 2859022"/>
                    <a:gd name="connsiteX39" fmla="*/ 951740 w 2356678"/>
                    <a:gd name="connsiteY39" fmla="*/ 2739186 h 2859022"/>
                    <a:gd name="connsiteX40" fmla="*/ 1027940 w 2356678"/>
                    <a:gd name="connsiteY40" fmla="*/ 2762999 h 2859022"/>
                    <a:gd name="connsiteX41" fmla="*/ 1089853 w 2356678"/>
                    <a:gd name="connsiteY41" fmla="*/ 2767761 h 2859022"/>
                    <a:gd name="connsiteX42" fmla="*/ 1127953 w 2356678"/>
                    <a:gd name="connsiteY42" fmla="*/ 2686799 h 2859022"/>
                    <a:gd name="connsiteX43" fmla="*/ 1089853 w 2356678"/>
                    <a:gd name="connsiteY43" fmla="*/ 2610599 h 2859022"/>
                    <a:gd name="connsiteX44" fmla="*/ 1151765 w 2356678"/>
                    <a:gd name="connsiteY44" fmla="*/ 2548686 h 2859022"/>
                    <a:gd name="connsiteX45" fmla="*/ 1218440 w 2356678"/>
                    <a:gd name="connsiteY45" fmla="*/ 2486774 h 2859022"/>
                    <a:gd name="connsiteX46" fmla="*/ 1270828 w 2356678"/>
                    <a:gd name="connsiteY46" fmla="*/ 2372474 h 2859022"/>
                    <a:gd name="connsiteX47" fmla="*/ 1294640 w 2356678"/>
                    <a:gd name="connsiteY47" fmla="*/ 2320086 h 2859022"/>
                    <a:gd name="connsiteX48" fmla="*/ 1356553 w 2356678"/>
                    <a:gd name="connsiteY48" fmla="*/ 2258174 h 2859022"/>
                    <a:gd name="connsiteX49" fmla="*/ 1408940 w 2356678"/>
                    <a:gd name="connsiteY49" fmla="*/ 2177211 h 2859022"/>
                    <a:gd name="connsiteX50" fmla="*/ 1423228 w 2356678"/>
                    <a:gd name="connsiteY50" fmla="*/ 2096249 h 2859022"/>
                    <a:gd name="connsiteX51" fmla="*/ 1489903 w 2356678"/>
                    <a:gd name="connsiteY51" fmla="*/ 1962899 h 2859022"/>
                    <a:gd name="connsiteX52" fmla="*/ 1556578 w 2356678"/>
                    <a:gd name="connsiteY52" fmla="*/ 1848599 h 2859022"/>
                    <a:gd name="connsiteX53" fmla="*/ 1556578 w 2356678"/>
                    <a:gd name="connsiteY53" fmla="*/ 1767636 h 2859022"/>
                    <a:gd name="connsiteX54" fmla="*/ 1561340 w 2356678"/>
                    <a:gd name="connsiteY54" fmla="*/ 1639049 h 2859022"/>
                    <a:gd name="connsiteX55" fmla="*/ 1575628 w 2356678"/>
                    <a:gd name="connsiteY55" fmla="*/ 1543799 h 2859022"/>
                    <a:gd name="connsiteX56" fmla="*/ 1594678 w 2356678"/>
                    <a:gd name="connsiteY56" fmla="*/ 1462836 h 2859022"/>
                    <a:gd name="connsiteX57" fmla="*/ 1547053 w 2356678"/>
                    <a:gd name="connsiteY57" fmla="*/ 1329486 h 2859022"/>
                    <a:gd name="connsiteX58" fmla="*/ 1442278 w 2356678"/>
                    <a:gd name="connsiteY58" fmla="*/ 1115174 h 2859022"/>
                    <a:gd name="connsiteX59" fmla="*/ 1447040 w 2356678"/>
                    <a:gd name="connsiteY59" fmla="*/ 1067549 h 2859022"/>
                    <a:gd name="connsiteX60" fmla="*/ 1451803 w 2356678"/>
                    <a:gd name="connsiteY60" fmla="*/ 1024686 h 2859022"/>
                    <a:gd name="connsiteX61" fmla="*/ 1489903 w 2356678"/>
                    <a:gd name="connsiteY61" fmla="*/ 967536 h 2859022"/>
                    <a:gd name="connsiteX62" fmla="*/ 1508953 w 2356678"/>
                    <a:gd name="connsiteY62" fmla="*/ 929436 h 2859022"/>
                    <a:gd name="connsiteX63" fmla="*/ 1556578 w 2356678"/>
                    <a:gd name="connsiteY63" fmla="*/ 834186 h 2859022"/>
                    <a:gd name="connsiteX64" fmla="*/ 1594678 w 2356678"/>
                    <a:gd name="connsiteY64" fmla="*/ 757986 h 2859022"/>
                    <a:gd name="connsiteX65" fmla="*/ 1680403 w 2356678"/>
                    <a:gd name="connsiteY65" fmla="*/ 672261 h 2859022"/>
                    <a:gd name="connsiteX66" fmla="*/ 1728028 w 2356678"/>
                    <a:gd name="connsiteY66" fmla="*/ 615111 h 2859022"/>
                    <a:gd name="connsiteX67" fmla="*/ 1780415 w 2356678"/>
                    <a:gd name="connsiteY67" fmla="*/ 524624 h 2859022"/>
                    <a:gd name="connsiteX68" fmla="*/ 1828040 w 2356678"/>
                    <a:gd name="connsiteY68" fmla="*/ 500811 h 2859022"/>
                    <a:gd name="connsiteX69" fmla="*/ 1851853 w 2356678"/>
                    <a:gd name="connsiteY69" fmla="*/ 443661 h 2859022"/>
                    <a:gd name="connsiteX70" fmla="*/ 1875665 w 2356678"/>
                    <a:gd name="connsiteY70" fmla="*/ 372224 h 2859022"/>
                    <a:gd name="connsiteX71" fmla="*/ 1913765 w 2356678"/>
                    <a:gd name="connsiteY71" fmla="*/ 310311 h 2859022"/>
                    <a:gd name="connsiteX72" fmla="*/ 1961390 w 2356678"/>
                    <a:gd name="connsiteY72" fmla="*/ 253161 h 2859022"/>
                    <a:gd name="connsiteX73" fmla="*/ 2018540 w 2356678"/>
                    <a:gd name="connsiteY73" fmla="*/ 229349 h 2859022"/>
                    <a:gd name="connsiteX74" fmla="*/ 2066165 w 2356678"/>
                    <a:gd name="connsiteY74" fmla="*/ 215061 h 2859022"/>
                    <a:gd name="connsiteX75" fmla="*/ 2089978 w 2356678"/>
                    <a:gd name="connsiteY75" fmla="*/ 167436 h 2859022"/>
                    <a:gd name="connsiteX76" fmla="*/ 2085215 w 2356678"/>
                    <a:gd name="connsiteY76" fmla="*/ 91236 h 2859022"/>
                    <a:gd name="connsiteX77" fmla="*/ 2137603 w 2356678"/>
                    <a:gd name="connsiteY77" fmla="*/ 24561 h 2859022"/>
                    <a:gd name="connsiteX78" fmla="*/ 2199515 w 2356678"/>
                    <a:gd name="connsiteY78" fmla="*/ 15036 h 2859022"/>
                    <a:gd name="connsiteX79" fmla="*/ 2251903 w 2356678"/>
                    <a:gd name="connsiteY79" fmla="*/ 24561 h 2859022"/>
                    <a:gd name="connsiteX80" fmla="*/ 2294765 w 2356678"/>
                    <a:gd name="connsiteY80" fmla="*/ 749 h 2859022"/>
                    <a:gd name="connsiteX81" fmla="*/ 2356678 w 2356678"/>
                    <a:gd name="connsiteY81" fmla="*/ 5511 h 2859022"/>
                    <a:gd name="connsiteX82" fmla="*/ 2356678 w 2356678"/>
                    <a:gd name="connsiteY82" fmla="*/ 5511 h 2859022"/>
                    <a:gd name="connsiteX0" fmla="*/ 537403 w 2356678"/>
                    <a:gd name="connsiteY0" fmla="*/ 134099 h 2859022"/>
                    <a:gd name="connsiteX1" fmla="*/ 494540 w 2356678"/>
                    <a:gd name="connsiteY1" fmla="*/ 196011 h 2859022"/>
                    <a:gd name="connsiteX2" fmla="*/ 485015 w 2356678"/>
                    <a:gd name="connsiteY2" fmla="*/ 272211 h 2859022"/>
                    <a:gd name="connsiteX3" fmla="*/ 451678 w 2356678"/>
                    <a:gd name="connsiteY3" fmla="*/ 376986 h 2859022"/>
                    <a:gd name="connsiteX4" fmla="*/ 427865 w 2356678"/>
                    <a:gd name="connsiteY4" fmla="*/ 405561 h 2859022"/>
                    <a:gd name="connsiteX5" fmla="*/ 404053 w 2356678"/>
                    <a:gd name="connsiteY5" fmla="*/ 424611 h 2859022"/>
                    <a:gd name="connsiteX6" fmla="*/ 408815 w 2356678"/>
                    <a:gd name="connsiteY6" fmla="*/ 481761 h 2859022"/>
                    <a:gd name="connsiteX7" fmla="*/ 375478 w 2356678"/>
                    <a:gd name="connsiteY7" fmla="*/ 543674 h 2859022"/>
                    <a:gd name="connsiteX8" fmla="*/ 356428 w 2356678"/>
                    <a:gd name="connsiteY8" fmla="*/ 638924 h 2859022"/>
                    <a:gd name="connsiteX9" fmla="*/ 380240 w 2356678"/>
                    <a:gd name="connsiteY9" fmla="*/ 715124 h 2859022"/>
                    <a:gd name="connsiteX10" fmla="*/ 337378 w 2356678"/>
                    <a:gd name="connsiteY10" fmla="*/ 762749 h 2859022"/>
                    <a:gd name="connsiteX11" fmla="*/ 289753 w 2356678"/>
                    <a:gd name="connsiteY11" fmla="*/ 848474 h 2859022"/>
                    <a:gd name="connsiteX12" fmla="*/ 194503 w 2356678"/>
                    <a:gd name="connsiteY12" fmla="*/ 910386 h 2859022"/>
                    <a:gd name="connsiteX13" fmla="*/ 151640 w 2356678"/>
                    <a:gd name="connsiteY13" fmla="*/ 943724 h 2859022"/>
                    <a:gd name="connsiteX14" fmla="*/ 132590 w 2356678"/>
                    <a:gd name="connsiteY14" fmla="*/ 996111 h 2859022"/>
                    <a:gd name="connsiteX15" fmla="*/ 127828 w 2356678"/>
                    <a:gd name="connsiteY15" fmla="*/ 1086599 h 2859022"/>
                    <a:gd name="connsiteX16" fmla="*/ 80203 w 2356678"/>
                    <a:gd name="connsiteY16" fmla="*/ 1148511 h 2859022"/>
                    <a:gd name="connsiteX17" fmla="*/ 51628 w 2356678"/>
                    <a:gd name="connsiteY17" fmla="*/ 1277099 h 2859022"/>
                    <a:gd name="connsiteX18" fmla="*/ 13528 w 2356678"/>
                    <a:gd name="connsiteY18" fmla="*/ 1348536 h 2859022"/>
                    <a:gd name="connsiteX19" fmla="*/ 23053 w 2356678"/>
                    <a:gd name="connsiteY19" fmla="*/ 1405686 h 2859022"/>
                    <a:gd name="connsiteX20" fmla="*/ 4003 w 2356678"/>
                    <a:gd name="connsiteY20" fmla="*/ 1448549 h 2859022"/>
                    <a:gd name="connsiteX21" fmla="*/ 4003 w 2356678"/>
                    <a:gd name="connsiteY21" fmla="*/ 1515224 h 2859022"/>
                    <a:gd name="connsiteX22" fmla="*/ 46865 w 2356678"/>
                    <a:gd name="connsiteY22" fmla="*/ 1600949 h 2859022"/>
                    <a:gd name="connsiteX23" fmla="*/ 123065 w 2356678"/>
                    <a:gd name="connsiteY23" fmla="*/ 1667624 h 2859022"/>
                    <a:gd name="connsiteX24" fmla="*/ 189740 w 2356678"/>
                    <a:gd name="connsiteY24" fmla="*/ 1739061 h 2859022"/>
                    <a:gd name="connsiteX25" fmla="*/ 242128 w 2356678"/>
                    <a:gd name="connsiteY25" fmla="*/ 1853361 h 2859022"/>
                    <a:gd name="connsiteX26" fmla="*/ 318328 w 2356678"/>
                    <a:gd name="connsiteY26" fmla="*/ 1972424 h 2859022"/>
                    <a:gd name="connsiteX27" fmla="*/ 413578 w 2356678"/>
                    <a:gd name="connsiteY27" fmla="*/ 2034336 h 2859022"/>
                    <a:gd name="connsiteX28" fmla="*/ 432628 w 2356678"/>
                    <a:gd name="connsiteY28" fmla="*/ 2058149 h 2859022"/>
                    <a:gd name="connsiteX29" fmla="*/ 442153 w 2356678"/>
                    <a:gd name="connsiteY29" fmla="*/ 2153399 h 2859022"/>
                    <a:gd name="connsiteX30" fmla="*/ 461203 w 2356678"/>
                    <a:gd name="connsiteY30" fmla="*/ 2224837 h 2859022"/>
                    <a:gd name="connsiteX31" fmla="*/ 532640 w 2356678"/>
                    <a:gd name="connsiteY31" fmla="*/ 2358186 h 2859022"/>
                    <a:gd name="connsiteX32" fmla="*/ 546928 w 2356678"/>
                    <a:gd name="connsiteY32" fmla="*/ 2448674 h 2859022"/>
                    <a:gd name="connsiteX33" fmla="*/ 570740 w 2356678"/>
                    <a:gd name="connsiteY33" fmla="*/ 2529636 h 2859022"/>
                    <a:gd name="connsiteX34" fmla="*/ 561215 w 2356678"/>
                    <a:gd name="connsiteY34" fmla="*/ 2596311 h 2859022"/>
                    <a:gd name="connsiteX35" fmla="*/ 646940 w 2356678"/>
                    <a:gd name="connsiteY35" fmla="*/ 2710611 h 2859022"/>
                    <a:gd name="connsiteX36" fmla="*/ 642178 w 2356678"/>
                    <a:gd name="connsiteY36" fmla="*/ 2805861 h 2859022"/>
                    <a:gd name="connsiteX37" fmla="*/ 656465 w 2356678"/>
                    <a:gd name="connsiteY37" fmla="*/ 2858249 h 2859022"/>
                    <a:gd name="connsiteX38" fmla="*/ 889828 w 2356678"/>
                    <a:gd name="connsiteY38" fmla="*/ 2767761 h 2859022"/>
                    <a:gd name="connsiteX39" fmla="*/ 951740 w 2356678"/>
                    <a:gd name="connsiteY39" fmla="*/ 2739186 h 2859022"/>
                    <a:gd name="connsiteX40" fmla="*/ 1027940 w 2356678"/>
                    <a:gd name="connsiteY40" fmla="*/ 2762999 h 2859022"/>
                    <a:gd name="connsiteX41" fmla="*/ 1089853 w 2356678"/>
                    <a:gd name="connsiteY41" fmla="*/ 2767761 h 2859022"/>
                    <a:gd name="connsiteX42" fmla="*/ 1127953 w 2356678"/>
                    <a:gd name="connsiteY42" fmla="*/ 2686799 h 2859022"/>
                    <a:gd name="connsiteX43" fmla="*/ 1089853 w 2356678"/>
                    <a:gd name="connsiteY43" fmla="*/ 2610599 h 2859022"/>
                    <a:gd name="connsiteX44" fmla="*/ 1151765 w 2356678"/>
                    <a:gd name="connsiteY44" fmla="*/ 2548686 h 2859022"/>
                    <a:gd name="connsiteX45" fmla="*/ 1218440 w 2356678"/>
                    <a:gd name="connsiteY45" fmla="*/ 2486774 h 2859022"/>
                    <a:gd name="connsiteX46" fmla="*/ 1270828 w 2356678"/>
                    <a:gd name="connsiteY46" fmla="*/ 2372474 h 2859022"/>
                    <a:gd name="connsiteX47" fmla="*/ 1294640 w 2356678"/>
                    <a:gd name="connsiteY47" fmla="*/ 2320086 h 2859022"/>
                    <a:gd name="connsiteX48" fmla="*/ 1356553 w 2356678"/>
                    <a:gd name="connsiteY48" fmla="*/ 2258174 h 2859022"/>
                    <a:gd name="connsiteX49" fmla="*/ 1408940 w 2356678"/>
                    <a:gd name="connsiteY49" fmla="*/ 2177211 h 2859022"/>
                    <a:gd name="connsiteX50" fmla="*/ 1423228 w 2356678"/>
                    <a:gd name="connsiteY50" fmla="*/ 2096249 h 2859022"/>
                    <a:gd name="connsiteX51" fmla="*/ 1489903 w 2356678"/>
                    <a:gd name="connsiteY51" fmla="*/ 1962899 h 2859022"/>
                    <a:gd name="connsiteX52" fmla="*/ 1556578 w 2356678"/>
                    <a:gd name="connsiteY52" fmla="*/ 1848599 h 2859022"/>
                    <a:gd name="connsiteX53" fmla="*/ 1556578 w 2356678"/>
                    <a:gd name="connsiteY53" fmla="*/ 1767636 h 2859022"/>
                    <a:gd name="connsiteX54" fmla="*/ 1561340 w 2356678"/>
                    <a:gd name="connsiteY54" fmla="*/ 1639049 h 2859022"/>
                    <a:gd name="connsiteX55" fmla="*/ 1575628 w 2356678"/>
                    <a:gd name="connsiteY55" fmla="*/ 1543799 h 2859022"/>
                    <a:gd name="connsiteX56" fmla="*/ 1594678 w 2356678"/>
                    <a:gd name="connsiteY56" fmla="*/ 1462836 h 2859022"/>
                    <a:gd name="connsiteX57" fmla="*/ 1547053 w 2356678"/>
                    <a:gd name="connsiteY57" fmla="*/ 1329486 h 2859022"/>
                    <a:gd name="connsiteX58" fmla="*/ 1442278 w 2356678"/>
                    <a:gd name="connsiteY58" fmla="*/ 1115174 h 2859022"/>
                    <a:gd name="connsiteX59" fmla="*/ 1447040 w 2356678"/>
                    <a:gd name="connsiteY59" fmla="*/ 1067549 h 2859022"/>
                    <a:gd name="connsiteX60" fmla="*/ 1451803 w 2356678"/>
                    <a:gd name="connsiteY60" fmla="*/ 1024686 h 2859022"/>
                    <a:gd name="connsiteX61" fmla="*/ 1489903 w 2356678"/>
                    <a:gd name="connsiteY61" fmla="*/ 967536 h 2859022"/>
                    <a:gd name="connsiteX62" fmla="*/ 1508953 w 2356678"/>
                    <a:gd name="connsiteY62" fmla="*/ 929436 h 2859022"/>
                    <a:gd name="connsiteX63" fmla="*/ 1556578 w 2356678"/>
                    <a:gd name="connsiteY63" fmla="*/ 834186 h 2859022"/>
                    <a:gd name="connsiteX64" fmla="*/ 1594678 w 2356678"/>
                    <a:gd name="connsiteY64" fmla="*/ 757986 h 2859022"/>
                    <a:gd name="connsiteX65" fmla="*/ 1680403 w 2356678"/>
                    <a:gd name="connsiteY65" fmla="*/ 672261 h 2859022"/>
                    <a:gd name="connsiteX66" fmla="*/ 1728028 w 2356678"/>
                    <a:gd name="connsiteY66" fmla="*/ 615111 h 2859022"/>
                    <a:gd name="connsiteX67" fmla="*/ 1780415 w 2356678"/>
                    <a:gd name="connsiteY67" fmla="*/ 524624 h 2859022"/>
                    <a:gd name="connsiteX68" fmla="*/ 1828040 w 2356678"/>
                    <a:gd name="connsiteY68" fmla="*/ 500811 h 2859022"/>
                    <a:gd name="connsiteX69" fmla="*/ 1851853 w 2356678"/>
                    <a:gd name="connsiteY69" fmla="*/ 443661 h 2859022"/>
                    <a:gd name="connsiteX70" fmla="*/ 1875665 w 2356678"/>
                    <a:gd name="connsiteY70" fmla="*/ 372224 h 2859022"/>
                    <a:gd name="connsiteX71" fmla="*/ 1913765 w 2356678"/>
                    <a:gd name="connsiteY71" fmla="*/ 310311 h 2859022"/>
                    <a:gd name="connsiteX72" fmla="*/ 1961390 w 2356678"/>
                    <a:gd name="connsiteY72" fmla="*/ 253161 h 2859022"/>
                    <a:gd name="connsiteX73" fmla="*/ 2018540 w 2356678"/>
                    <a:gd name="connsiteY73" fmla="*/ 229349 h 2859022"/>
                    <a:gd name="connsiteX74" fmla="*/ 2066165 w 2356678"/>
                    <a:gd name="connsiteY74" fmla="*/ 215061 h 2859022"/>
                    <a:gd name="connsiteX75" fmla="*/ 2089978 w 2356678"/>
                    <a:gd name="connsiteY75" fmla="*/ 167436 h 2859022"/>
                    <a:gd name="connsiteX76" fmla="*/ 2085215 w 2356678"/>
                    <a:gd name="connsiteY76" fmla="*/ 91236 h 2859022"/>
                    <a:gd name="connsiteX77" fmla="*/ 2137603 w 2356678"/>
                    <a:gd name="connsiteY77" fmla="*/ 24561 h 2859022"/>
                    <a:gd name="connsiteX78" fmla="*/ 2199515 w 2356678"/>
                    <a:gd name="connsiteY78" fmla="*/ 15036 h 2859022"/>
                    <a:gd name="connsiteX79" fmla="*/ 2251903 w 2356678"/>
                    <a:gd name="connsiteY79" fmla="*/ 24561 h 2859022"/>
                    <a:gd name="connsiteX80" fmla="*/ 2294765 w 2356678"/>
                    <a:gd name="connsiteY80" fmla="*/ 749 h 2859022"/>
                    <a:gd name="connsiteX81" fmla="*/ 2356678 w 2356678"/>
                    <a:gd name="connsiteY81" fmla="*/ 5511 h 2859022"/>
                    <a:gd name="connsiteX0" fmla="*/ 537403 w 2356678"/>
                    <a:gd name="connsiteY0" fmla="*/ 128588 h 2853511"/>
                    <a:gd name="connsiteX1" fmla="*/ 494540 w 2356678"/>
                    <a:gd name="connsiteY1" fmla="*/ 190500 h 2853511"/>
                    <a:gd name="connsiteX2" fmla="*/ 485015 w 2356678"/>
                    <a:gd name="connsiteY2" fmla="*/ 266700 h 2853511"/>
                    <a:gd name="connsiteX3" fmla="*/ 451678 w 2356678"/>
                    <a:gd name="connsiteY3" fmla="*/ 371475 h 2853511"/>
                    <a:gd name="connsiteX4" fmla="*/ 427865 w 2356678"/>
                    <a:gd name="connsiteY4" fmla="*/ 400050 h 2853511"/>
                    <a:gd name="connsiteX5" fmla="*/ 404053 w 2356678"/>
                    <a:gd name="connsiteY5" fmla="*/ 419100 h 2853511"/>
                    <a:gd name="connsiteX6" fmla="*/ 408815 w 2356678"/>
                    <a:gd name="connsiteY6" fmla="*/ 476250 h 2853511"/>
                    <a:gd name="connsiteX7" fmla="*/ 375478 w 2356678"/>
                    <a:gd name="connsiteY7" fmla="*/ 538163 h 2853511"/>
                    <a:gd name="connsiteX8" fmla="*/ 356428 w 2356678"/>
                    <a:gd name="connsiteY8" fmla="*/ 633413 h 2853511"/>
                    <a:gd name="connsiteX9" fmla="*/ 380240 w 2356678"/>
                    <a:gd name="connsiteY9" fmla="*/ 709613 h 2853511"/>
                    <a:gd name="connsiteX10" fmla="*/ 337378 w 2356678"/>
                    <a:gd name="connsiteY10" fmla="*/ 757238 h 2853511"/>
                    <a:gd name="connsiteX11" fmla="*/ 289753 w 2356678"/>
                    <a:gd name="connsiteY11" fmla="*/ 842963 h 2853511"/>
                    <a:gd name="connsiteX12" fmla="*/ 194503 w 2356678"/>
                    <a:gd name="connsiteY12" fmla="*/ 904875 h 2853511"/>
                    <a:gd name="connsiteX13" fmla="*/ 151640 w 2356678"/>
                    <a:gd name="connsiteY13" fmla="*/ 938213 h 2853511"/>
                    <a:gd name="connsiteX14" fmla="*/ 132590 w 2356678"/>
                    <a:gd name="connsiteY14" fmla="*/ 990600 h 2853511"/>
                    <a:gd name="connsiteX15" fmla="*/ 127828 w 2356678"/>
                    <a:gd name="connsiteY15" fmla="*/ 1081088 h 2853511"/>
                    <a:gd name="connsiteX16" fmla="*/ 80203 w 2356678"/>
                    <a:gd name="connsiteY16" fmla="*/ 1143000 h 2853511"/>
                    <a:gd name="connsiteX17" fmla="*/ 51628 w 2356678"/>
                    <a:gd name="connsiteY17" fmla="*/ 1271588 h 2853511"/>
                    <a:gd name="connsiteX18" fmla="*/ 13528 w 2356678"/>
                    <a:gd name="connsiteY18" fmla="*/ 1343025 h 2853511"/>
                    <a:gd name="connsiteX19" fmla="*/ 23053 w 2356678"/>
                    <a:gd name="connsiteY19" fmla="*/ 1400175 h 2853511"/>
                    <a:gd name="connsiteX20" fmla="*/ 4003 w 2356678"/>
                    <a:gd name="connsiteY20" fmla="*/ 1443038 h 2853511"/>
                    <a:gd name="connsiteX21" fmla="*/ 4003 w 2356678"/>
                    <a:gd name="connsiteY21" fmla="*/ 1509713 h 2853511"/>
                    <a:gd name="connsiteX22" fmla="*/ 46865 w 2356678"/>
                    <a:gd name="connsiteY22" fmla="*/ 1595438 h 2853511"/>
                    <a:gd name="connsiteX23" fmla="*/ 123065 w 2356678"/>
                    <a:gd name="connsiteY23" fmla="*/ 1662113 h 2853511"/>
                    <a:gd name="connsiteX24" fmla="*/ 189740 w 2356678"/>
                    <a:gd name="connsiteY24" fmla="*/ 1733550 h 2853511"/>
                    <a:gd name="connsiteX25" fmla="*/ 242128 w 2356678"/>
                    <a:gd name="connsiteY25" fmla="*/ 1847850 h 2853511"/>
                    <a:gd name="connsiteX26" fmla="*/ 318328 w 2356678"/>
                    <a:gd name="connsiteY26" fmla="*/ 1966913 h 2853511"/>
                    <a:gd name="connsiteX27" fmla="*/ 413578 w 2356678"/>
                    <a:gd name="connsiteY27" fmla="*/ 2028825 h 2853511"/>
                    <a:gd name="connsiteX28" fmla="*/ 432628 w 2356678"/>
                    <a:gd name="connsiteY28" fmla="*/ 2052638 h 2853511"/>
                    <a:gd name="connsiteX29" fmla="*/ 442153 w 2356678"/>
                    <a:gd name="connsiteY29" fmla="*/ 2147888 h 2853511"/>
                    <a:gd name="connsiteX30" fmla="*/ 461203 w 2356678"/>
                    <a:gd name="connsiteY30" fmla="*/ 2219326 h 2853511"/>
                    <a:gd name="connsiteX31" fmla="*/ 532640 w 2356678"/>
                    <a:gd name="connsiteY31" fmla="*/ 2352675 h 2853511"/>
                    <a:gd name="connsiteX32" fmla="*/ 546928 w 2356678"/>
                    <a:gd name="connsiteY32" fmla="*/ 2443163 h 2853511"/>
                    <a:gd name="connsiteX33" fmla="*/ 570740 w 2356678"/>
                    <a:gd name="connsiteY33" fmla="*/ 2524125 h 2853511"/>
                    <a:gd name="connsiteX34" fmla="*/ 561215 w 2356678"/>
                    <a:gd name="connsiteY34" fmla="*/ 2590800 h 2853511"/>
                    <a:gd name="connsiteX35" fmla="*/ 646940 w 2356678"/>
                    <a:gd name="connsiteY35" fmla="*/ 2705100 h 2853511"/>
                    <a:gd name="connsiteX36" fmla="*/ 642178 w 2356678"/>
                    <a:gd name="connsiteY36" fmla="*/ 2800350 h 2853511"/>
                    <a:gd name="connsiteX37" fmla="*/ 656465 w 2356678"/>
                    <a:gd name="connsiteY37" fmla="*/ 2852738 h 2853511"/>
                    <a:gd name="connsiteX38" fmla="*/ 889828 w 2356678"/>
                    <a:gd name="connsiteY38" fmla="*/ 2762250 h 2853511"/>
                    <a:gd name="connsiteX39" fmla="*/ 951740 w 2356678"/>
                    <a:gd name="connsiteY39" fmla="*/ 2733675 h 2853511"/>
                    <a:gd name="connsiteX40" fmla="*/ 1027940 w 2356678"/>
                    <a:gd name="connsiteY40" fmla="*/ 2757488 h 2853511"/>
                    <a:gd name="connsiteX41" fmla="*/ 1089853 w 2356678"/>
                    <a:gd name="connsiteY41" fmla="*/ 2762250 h 2853511"/>
                    <a:gd name="connsiteX42" fmla="*/ 1127953 w 2356678"/>
                    <a:gd name="connsiteY42" fmla="*/ 2681288 h 2853511"/>
                    <a:gd name="connsiteX43" fmla="*/ 1089853 w 2356678"/>
                    <a:gd name="connsiteY43" fmla="*/ 2605088 h 2853511"/>
                    <a:gd name="connsiteX44" fmla="*/ 1151765 w 2356678"/>
                    <a:gd name="connsiteY44" fmla="*/ 2543175 h 2853511"/>
                    <a:gd name="connsiteX45" fmla="*/ 1218440 w 2356678"/>
                    <a:gd name="connsiteY45" fmla="*/ 2481263 h 2853511"/>
                    <a:gd name="connsiteX46" fmla="*/ 1270828 w 2356678"/>
                    <a:gd name="connsiteY46" fmla="*/ 2366963 h 2853511"/>
                    <a:gd name="connsiteX47" fmla="*/ 1294640 w 2356678"/>
                    <a:gd name="connsiteY47" fmla="*/ 2314575 h 2853511"/>
                    <a:gd name="connsiteX48" fmla="*/ 1356553 w 2356678"/>
                    <a:gd name="connsiteY48" fmla="*/ 2252663 h 2853511"/>
                    <a:gd name="connsiteX49" fmla="*/ 1408940 w 2356678"/>
                    <a:gd name="connsiteY49" fmla="*/ 2171700 h 2853511"/>
                    <a:gd name="connsiteX50" fmla="*/ 1423228 w 2356678"/>
                    <a:gd name="connsiteY50" fmla="*/ 2090738 h 2853511"/>
                    <a:gd name="connsiteX51" fmla="*/ 1489903 w 2356678"/>
                    <a:gd name="connsiteY51" fmla="*/ 1957388 h 2853511"/>
                    <a:gd name="connsiteX52" fmla="*/ 1556578 w 2356678"/>
                    <a:gd name="connsiteY52" fmla="*/ 1843088 h 2853511"/>
                    <a:gd name="connsiteX53" fmla="*/ 1556578 w 2356678"/>
                    <a:gd name="connsiteY53" fmla="*/ 1762125 h 2853511"/>
                    <a:gd name="connsiteX54" fmla="*/ 1561340 w 2356678"/>
                    <a:gd name="connsiteY54" fmla="*/ 1633538 h 2853511"/>
                    <a:gd name="connsiteX55" fmla="*/ 1575628 w 2356678"/>
                    <a:gd name="connsiteY55" fmla="*/ 1538288 h 2853511"/>
                    <a:gd name="connsiteX56" fmla="*/ 1594678 w 2356678"/>
                    <a:gd name="connsiteY56" fmla="*/ 1457325 h 2853511"/>
                    <a:gd name="connsiteX57" fmla="*/ 1547053 w 2356678"/>
                    <a:gd name="connsiteY57" fmla="*/ 1323975 h 2853511"/>
                    <a:gd name="connsiteX58" fmla="*/ 1442278 w 2356678"/>
                    <a:gd name="connsiteY58" fmla="*/ 1109663 h 2853511"/>
                    <a:gd name="connsiteX59" fmla="*/ 1447040 w 2356678"/>
                    <a:gd name="connsiteY59" fmla="*/ 1062038 h 2853511"/>
                    <a:gd name="connsiteX60" fmla="*/ 1451803 w 2356678"/>
                    <a:gd name="connsiteY60" fmla="*/ 1019175 h 2853511"/>
                    <a:gd name="connsiteX61" fmla="*/ 1489903 w 2356678"/>
                    <a:gd name="connsiteY61" fmla="*/ 962025 h 2853511"/>
                    <a:gd name="connsiteX62" fmla="*/ 1508953 w 2356678"/>
                    <a:gd name="connsiteY62" fmla="*/ 923925 h 2853511"/>
                    <a:gd name="connsiteX63" fmla="*/ 1556578 w 2356678"/>
                    <a:gd name="connsiteY63" fmla="*/ 828675 h 2853511"/>
                    <a:gd name="connsiteX64" fmla="*/ 1594678 w 2356678"/>
                    <a:gd name="connsiteY64" fmla="*/ 752475 h 2853511"/>
                    <a:gd name="connsiteX65" fmla="*/ 1680403 w 2356678"/>
                    <a:gd name="connsiteY65" fmla="*/ 666750 h 2853511"/>
                    <a:gd name="connsiteX66" fmla="*/ 1728028 w 2356678"/>
                    <a:gd name="connsiteY66" fmla="*/ 609600 h 2853511"/>
                    <a:gd name="connsiteX67" fmla="*/ 1780415 w 2356678"/>
                    <a:gd name="connsiteY67" fmla="*/ 519113 h 2853511"/>
                    <a:gd name="connsiteX68" fmla="*/ 1828040 w 2356678"/>
                    <a:gd name="connsiteY68" fmla="*/ 495300 h 2853511"/>
                    <a:gd name="connsiteX69" fmla="*/ 1851853 w 2356678"/>
                    <a:gd name="connsiteY69" fmla="*/ 438150 h 2853511"/>
                    <a:gd name="connsiteX70" fmla="*/ 1875665 w 2356678"/>
                    <a:gd name="connsiteY70" fmla="*/ 366713 h 2853511"/>
                    <a:gd name="connsiteX71" fmla="*/ 1913765 w 2356678"/>
                    <a:gd name="connsiteY71" fmla="*/ 304800 h 2853511"/>
                    <a:gd name="connsiteX72" fmla="*/ 1961390 w 2356678"/>
                    <a:gd name="connsiteY72" fmla="*/ 247650 h 2853511"/>
                    <a:gd name="connsiteX73" fmla="*/ 2018540 w 2356678"/>
                    <a:gd name="connsiteY73" fmla="*/ 223838 h 2853511"/>
                    <a:gd name="connsiteX74" fmla="*/ 2066165 w 2356678"/>
                    <a:gd name="connsiteY74" fmla="*/ 209550 h 2853511"/>
                    <a:gd name="connsiteX75" fmla="*/ 2089978 w 2356678"/>
                    <a:gd name="connsiteY75" fmla="*/ 161925 h 2853511"/>
                    <a:gd name="connsiteX76" fmla="*/ 2085215 w 2356678"/>
                    <a:gd name="connsiteY76" fmla="*/ 85725 h 2853511"/>
                    <a:gd name="connsiteX77" fmla="*/ 2137603 w 2356678"/>
                    <a:gd name="connsiteY77" fmla="*/ 19050 h 2853511"/>
                    <a:gd name="connsiteX78" fmla="*/ 2199515 w 2356678"/>
                    <a:gd name="connsiteY78" fmla="*/ 9525 h 2853511"/>
                    <a:gd name="connsiteX79" fmla="*/ 2251903 w 2356678"/>
                    <a:gd name="connsiteY79" fmla="*/ 19050 h 2853511"/>
                    <a:gd name="connsiteX80" fmla="*/ 2356678 w 2356678"/>
                    <a:gd name="connsiteY80" fmla="*/ 0 h 2853511"/>
                    <a:gd name="connsiteX0" fmla="*/ 537403 w 2251903"/>
                    <a:gd name="connsiteY0" fmla="*/ 119416 h 2844339"/>
                    <a:gd name="connsiteX1" fmla="*/ 494540 w 2251903"/>
                    <a:gd name="connsiteY1" fmla="*/ 181328 h 2844339"/>
                    <a:gd name="connsiteX2" fmla="*/ 485015 w 2251903"/>
                    <a:gd name="connsiteY2" fmla="*/ 257528 h 2844339"/>
                    <a:gd name="connsiteX3" fmla="*/ 451678 w 2251903"/>
                    <a:gd name="connsiteY3" fmla="*/ 362303 h 2844339"/>
                    <a:gd name="connsiteX4" fmla="*/ 427865 w 2251903"/>
                    <a:gd name="connsiteY4" fmla="*/ 390878 h 2844339"/>
                    <a:gd name="connsiteX5" fmla="*/ 404053 w 2251903"/>
                    <a:gd name="connsiteY5" fmla="*/ 409928 h 2844339"/>
                    <a:gd name="connsiteX6" fmla="*/ 408815 w 2251903"/>
                    <a:gd name="connsiteY6" fmla="*/ 467078 h 2844339"/>
                    <a:gd name="connsiteX7" fmla="*/ 375478 w 2251903"/>
                    <a:gd name="connsiteY7" fmla="*/ 528991 h 2844339"/>
                    <a:gd name="connsiteX8" fmla="*/ 356428 w 2251903"/>
                    <a:gd name="connsiteY8" fmla="*/ 624241 h 2844339"/>
                    <a:gd name="connsiteX9" fmla="*/ 380240 w 2251903"/>
                    <a:gd name="connsiteY9" fmla="*/ 700441 h 2844339"/>
                    <a:gd name="connsiteX10" fmla="*/ 337378 w 2251903"/>
                    <a:gd name="connsiteY10" fmla="*/ 748066 h 2844339"/>
                    <a:gd name="connsiteX11" fmla="*/ 289753 w 2251903"/>
                    <a:gd name="connsiteY11" fmla="*/ 833791 h 2844339"/>
                    <a:gd name="connsiteX12" fmla="*/ 194503 w 2251903"/>
                    <a:gd name="connsiteY12" fmla="*/ 895703 h 2844339"/>
                    <a:gd name="connsiteX13" fmla="*/ 151640 w 2251903"/>
                    <a:gd name="connsiteY13" fmla="*/ 929041 h 2844339"/>
                    <a:gd name="connsiteX14" fmla="*/ 132590 w 2251903"/>
                    <a:gd name="connsiteY14" fmla="*/ 981428 h 2844339"/>
                    <a:gd name="connsiteX15" fmla="*/ 127828 w 2251903"/>
                    <a:gd name="connsiteY15" fmla="*/ 1071916 h 2844339"/>
                    <a:gd name="connsiteX16" fmla="*/ 80203 w 2251903"/>
                    <a:gd name="connsiteY16" fmla="*/ 1133828 h 2844339"/>
                    <a:gd name="connsiteX17" fmla="*/ 51628 w 2251903"/>
                    <a:gd name="connsiteY17" fmla="*/ 1262416 h 2844339"/>
                    <a:gd name="connsiteX18" fmla="*/ 13528 w 2251903"/>
                    <a:gd name="connsiteY18" fmla="*/ 1333853 h 2844339"/>
                    <a:gd name="connsiteX19" fmla="*/ 23053 w 2251903"/>
                    <a:gd name="connsiteY19" fmla="*/ 1391003 h 2844339"/>
                    <a:gd name="connsiteX20" fmla="*/ 4003 w 2251903"/>
                    <a:gd name="connsiteY20" fmla="*/ 1433866 h 2844339"/>
                    <a:gd name="connsiteX21" fmla="*/ 4003 w 2251903"/>
                    <a:gd name="connsiteY21" fmla="*/ 1500541 h 2844339"/>
                    <a:gd name="connsiteX22" fmla="*/ 46865 w 2251903"/>
                    <a:gd name="connsiteY22" fmla="*/ 1586266 h 2844339"/>
                    <a:gd name="connsiteX23" fmla="*/ 123065 w 2251903"/>
                    <a:gd name="connsiteY23" fmla="*/ 1652941 h 2844339"/>
                    <a:gd name="connsiteX24" fmla="*/ 189740 w 2251903"/>
                    <a:gd name="connsiteY24" fmla="*/ 1724378 h 2844339"/>
                    <a:gd name="connsiteX25" fmla="*/ 242128 w 2251903"/>
                    <a:gd name="connsiteY25" fmla="*/ 1838678 h 2844339"/>
                    <a:gd name="connsiteX26" fmla="*/ 318328 w 2251903"/>
                    <a:gd name="connsiteY26" fmla="*/ 1957741 h 2844339"/>
                    <a:gd name="connsiteX27" fmla="*/ 413578 w 2251903"/>
                    <a:gd name="connsiteY27" fmla="*/ 2019653 h 2844339"/>
                    <a:gd name="connsiteX28" fmla="*/ 432628 w 2251903"/>
                    <a:gd name="connsiteY28" fmla="*/ 2043466 h 2844339"/>
                    <a:gd name="connsiteX29" fmla="*/ 442153 w 2251903"/>
                    <a:gd name="connsiteY29" fmla="*/ 2138716 h 2844339"/>
                    <a:gd name="connsiteX30" fmla="*/ 461203 w 2251903"/>
                    <a:gd name="connsiteY30" fmla="*/ 2210154 h 2844339"/>
                    <a:gd name="connsiteX31" fmla="*/ 532640 w 2251903"/>
                    <a:gd name="connsiteY31" fmla="*/ 2343503 h 2844339"/>
                    <a:gd name="connsiteX32" fmla="*/ 546928 w 2251903"/>
                    <a:gd name="connsiteY32" fmla="*/ 2433991 h 2844339"/>
                    <a:gd name="connsiteX33" fmla="*/ 570740 w 2251903"/>
                    <a:gd name="connsiteY33" fmla="*/ 2514953 h 2844339"/>
                    <a:gd name="connsiteX34" fmla="*/ 561215 w 2251903"/>
                    <a:gd name="connsiteY34" fmla="*/ 2581628 h 2844339"/>
                    <a:gd name="connsiteX35" fmla="*/ 646940 w 2251903"/>
                    <a:gd name="connsiteY35" fmla="*/ 2695928 h 2844339"/>
                    <a:gd name="connsiteX36" fmla="*/ 642178 w 2251903"/>
                    <a:gd name="connsiteY36" fmla="*/ 2791178 h 2844339"/>
                    <a:gd name="connsiteX37" fmla="*/ 656465 w 2251903"/>
                    <a:gd name="connsiteY37" fmla="*/ 2843566 h 2844339"/>
                    <a:gd name="connsiteX38" fmla="*/ 889828 w 2251903"/>
                    <a:gd name="connsiteY38" fmla="*/ 2753078 h 2844339"/>
                    <a:gd name="connsiteX39" fmla="*/ 951740 w 2251903"/>
                    <a:gd name="connsiteY39" fmla="*/ 2724503 h 2844339"/>
                    <a:gd name="connsiteX40" fmla="*/ 1027940 w 2251903"/>
                    <a:gd name="connsiteY40" fmla="*/ 2748316 h 2844339"/>
                    <a:gd name="connsiteX41" fmla="*/ 1089853 w 2251903"/>
                    <a:gd name="connsiteY41" fmla="*/ 2753078 h 2844339"/>
                    <a:gd name="connsiteX42" fmla="*/ 1127953 w 2251903"/>
                    <a:gd name="connsiteY42" fmla="*/ 2672116 h 2844339"/>
                    <a:gd name="connsiteX43" fmla="*/ 1089853 w 2251903"/>
                    <a:gd name="connsiteY43" fmla="*/ 2595916 h 2844339"/>
                    <a:gd name="connsiteX44" fmla="*/ 1151765 w 2251903"/>
                    <a:gd name="connsiteY44" fmla="*/ 2534003 h 2844339"/>
                    <a:gd name="connsiteX45" fmla="*/ 1218440 w 2251903"/>
                    <a:gd name="connsiteY45" fmla="*/ 2472091 h 2844339"/>
                    <a:gd name="connsiteX46" fmla="*/ 1270828 w 2251903"/>
                    <a:gd name="connsiteY46" fmla="*/ 2357791 h 2844339"/>
                    <a:gd name="connsiteX47" fmla="*/ 1294640 w 2251903"/>
                    <a:gd name="connsiteY47" fmla="*/ 2305403 h 2844339"/>
                    <a:gd name="connsiteX48" fmla="*/ 1356553 w 2251903"/>
                    <a:gd name="connsiteY48" fmla="*/ 2243491 h 2844339"/>
                    <a:gd name="connsiteX49" fmla="*/ 1408940 w 2251903"/>
                    <a:gd name="connsiteY49" fmla="*/ 2162528 h 2844339"/>
                    <a:gd name="connsiteX50" fmla="*/ 1423228 w 2251903"/>
                    <a:gd name="connsiteY50" fmla="*/ 2081566 h 2844339"/>
                    <a:gd name="connsiteX51" fmla="*/ 1489903 w 2251903"/>
                    <a:gd name="connsiteY51" fmla="*/ 1948216 h 2844339"/>
                    <a:gd name="connsiteX52" fmla="*/ 1556578 w 2251903"/>
                    <a:gd name="connsiteY52" fmla="*/ 1833916 h 2844339"/>
                    <a:gd name="connsiteX53" fmla="*/ 1556578 w 2251903"/>
                    <a:gd name="connsiteY53" fmla="*/ 1752953 h 2844339"/>
                    <a:gd name="connsiteX54" fmla="*/ 1561340 w 2251903"/>
                    <a:gd name="connsiteY54" fmla="*/ 1624366 h 2844339"/>
                    <a:gd name="connsiteX55" fmla="*/ 1575628 w 2251903"/>
                    <a:gd name="connsiteY55" fmla="*/ 1529116 h 2844339"/>
                    <a:gd name="connsiteX56" fmla="*/ 1594678 w 2251903"/>
                    <a:gd name="connsiteY56" fmla="*/ 1448153 h 2844339"/>
                    <a:gd name="connsiteX57" fmla="*/ 1547053 w 2251903"/>
                    <a:gd name="connsiteY57" fmla="*/ 1314803 h 2844339"/>
                    <a:gd name="connsiteX58" fmla="*/ 1442278 w 2251903"/>
                    <a:gd name="connsiteY58" fmla="*/ 1100491 h 2844339"/>
                    <a:gd name="connsiteX59" fmla="*/ 1447040 w 2251903"/>
                    <a:gd name="connsiteY59" fmla="*/ 1052866 h 2844339"/>
                    <a:gd name="connsiteX60" fmla="*/ 1451803 w 2251903"/>
                    <a:gd name="connsiteY60" fmla="*/ 1010003 h 2844339"/>
                    <a:gd name="connsiteX61" fmla="*/ 1489903 w 2251903"/>
                    <a:gd name="connsiteY61" fmla="*/ 952853 h 2844339"/>
                    <a:gd name="connsiteX62" fmla="*/ 1508953 w 2251903"/>
                    <a:gd name="connsiteY62" fmla="*/ 914753 h 2844339"/>
                    <a:gd name="connsiteX63" fmla="*/ 1556578 w 2251903"/>
                    <a:gd name="connsiteY63" fmla="*/ 819503 h 2844339"/>
                    <a:gd name="connsiteX64" fmla="*/ 1594678 w 2251903"/>
                    <a:gd name="connsiteY64" fmla="*/ 743303 h 2844339"/>
                    <a:gd name="connsiteX65" fmla="*/ 1680403 w 2251903"/>
                    <a:gd name="connsiteY65" fmla="*/ 657578 h 2844339"/>
                    <a:gd name="connsiteX66" fmla="*/ 1728028 w 2251903"/>
                    <a:gd name="connsiteY66" fmla="*/ 600428 h 2844339"/>
                    <a:gd name="connsiteX67" fmla="*/ 1780415 w 2251903"/>
                    <a:gd name="connsiteY67" fmla="*/ 509941 h 2844339"/>
                    <a:gd name="connsiteX68" fmla="*/ 1828040 w 2251903"/>
                    <a:gd name="connsiteY68" fmla="*/ 486128 h 2844339"/>
                    <a:gd name="connsiteX69" fmla="*/ 1851853 w 2251903"/>
                    <a:gd name="connsiteY69" fmla="*/ 428978 h 2844339"/>
                    <a:gd name="connsiteX70" fmla="*/ 1875665 w 2251903"/>
                    <a:gd name="connsiteY70" fmla="*/ 357541 h 2844339"/>
                    <a:gd name="connsiteX71" fmla="*/ 1913765 w 2251903"/>
                    <a:gd name="connsiteY71" fmla="*/ 295628 h 2844339"/>
                    <a:gd name="connsiteX72" fmla="*/ 1961390 w 2251903"/>
                    <a:gd name="connsiteY72" fmla="*/ 238478 h 2844339"/>
                    <a:gd name="connsiteX73" fmla="*/ 2018540 w 2251903"/>
                    <a:gd name="connsiteY73" fmla="*/ 214666 h 2844339"/>
                    <a:gd name="connsiteX74" fmla="*/ 2066165 w 2251903"/>
                    <a:gd name="connsiteY74" fmla="*/ 200378 h 2844339"/>
                    <a:gd name="connsiteX75" fmla="*/ 2089978 w 2251903"/>
                    <a:gd name="connsiteY75" fmla="*/ 152753 h 2844339"/>
                    <a:gd name="connsiteX76" fmla="*/ 2085215 w 2251903"/>
                    <a:gd name="connsiteY76" fmla="*/ 76553 h 2844339"/>
                    <a:gd name="connsiteX77" fmla="*/ 2137603 w 2251903"/>
                    <a:gd name="connsiteY77" fmla="*/ 9878 h 2844339"/>
                    <a:gd name="connsiteX78" fmla="*/ 2199515 w 2251903"/>
                    <a:gd name="connsiteY78" fmla="*/ 353 h 2844339"/>
                    <a:gd name="connsiteX79" fmla="*/ 2251903 w 2251903"/>
                    <a:gd name="connsiteY79" fmla="*/ 9878 h 2844339"/>
                    <a:gd name="connsiteX0" fmla="*/ 1004128 w 2251903"/>
                    <a:gd name="connsiteY0" fmla="*/ 0 h 2967810"/>
                    <a:gd name="connsiteX1" fmla="*/ 494540 w 2251903"/>
                    <a:gd name="connsiteY1" fmla="*/ 304799 h 2967810"/>
                    <a:gd name="connsiteX2" fmla="*/ 485015 w 2251903"/>
                    <a:gd name="connsiteY2" fmla="*/ 380999 h 2967810"/>
                    <a:gd name="connsiteX3" fmla="*/ 451678 w 2251903"/>
                    <a:gd name="connsiteY3" fmla="*/ 485774 h 2967810"/>
                    <a:gd name="connsiteX4" fmla="*/ 427865 w 2251903"/>
                    <a:gd name="connsiteY4" fmla="*/ 514349 h 2967810"/>
                    <a:gd name="connsiteX5" fmla="*/ 404053 w 2251903"/>
                    <a:gd name="connsiteY5" fmla="*/ 533399 h 2967810"/>
                    <a:gd name="connsiteX6" fmla="*/ 408815 w 2251903"/>
                    <a:gd name="connsiteY6" fmla="*/ 590549 h 2967810"/>
                    <a:gd name="connsiteX7" fmla="*/ 375478 w 2251903"/>
                    <a:gd name="connsiteY7" fmla="*/ 652462 h 2967810"/>
                    <a:gd name="connsiteX8" fmla="*/ 356428 w 2251903"/>
                    <a:gd name="connsiteY8" fmla="*/ 747712 h 2967810"/>
                    <a:gd name="connsiteX9" fmla="*/ 380240 w 2251903"/>
                    <a:gd name="connsiteY9" fmla="*/ 823912 h 2967810"/>
                    <a:gd name="connsiteX10" fmla="*/ 337378 w 2251903"/>
                    <a:gd name="connsiteY10" fmla="*/ 871537 h 2967810"/>
                    <a:gd name="connsiteX11" fmla="*/ 289753 w 2251903"/>
                    <a:gd name="connsiteY11" fmla="*/ 957262 h 2967810"/>
                    <a:gd name="connsiteX12" fmla="*/ 194503 w 2251903"/>
                    <a:gd name="connsiteY12" fmla="*/ 1019174 h 2967810"/>
                    <a:gd name="connsiteX13" fmla="*/ 151640 w 2251903"/>
                    <a:gd name="connsiteY13" fmla="*/ 1052512 h 2967810"/>
                    <a:gd name="connsiteX14" fmla="*/ 132590 w 2251903"/>
                    <a:gd name="connsiteY14" fmla="*/ 1104899 h 2967810"/>
                    <a:gd name="connsiteX15" fmla="*/ 127828 w 2251903"/>
                    <a:gd name="connsiteY15" fmla="*/ 1195387 h 2967810"/>
                    <a:gd name="connsiteX16" fmla="*/ 80203 w 2251903"/>
                    <a:gd name="connsiteY16" fmla="*/ 1257299 h 2967810"/>
                    <a:gd name="connsiteX17" fmla="*/ 51628 w 2251903"/>
                    <a:gd name="connsiteY17" fmla="*/ 1385887 h 2967810"/>
                    <a:gd name="connsiteX18" fmla="*/ 13528 w 2251903"/>
                    <a:gd name="connsiteY18" fmla="*/ 1457324 h 2967810"/>
                    <a:gd name="connsiteX19" fmla="*/ 23053 w 2251903"/>
                    <a:gd name="connsiteY19" fmla="*/ 1514474 h 2967810"/>
                    <a:gd name="connsiteX20" fmla="*/ 4003 w 2251903"/>
                    <a:gd name="connsiteY20" fmla="*/ 1557337 h 2967810"/>
                    <a:gd name="connsiteX21" fmla="*/ 4003 w 2251903"/>
                    <a:gd name="connsiteY21" fmla="*/ 1624012 h 2967810"/>
                    <a:gd name="connsiteX22" fmla="*/ 46865 w 2251903"/>
                    <a:gd name="connsiteY22" fmla="*/ 1709737 h 2967810"/>
                    <a:gd name="connsiteX23" fmla="*/ 123065 w 2251903"/>
                    <a:gd name="connsiteY23" fmla="*/ 1776412 h 2967810"/>
                    <a:gd name="connsiteX24" fmla="*/ 189740 w 2251903"/>
                    <a:gd name="connsiteY24" fmla="*/ 1847849 h 2967810"/>
                    <a:gd name="connsiteX25" fmla="*/ 242128 w 2251903"/>
                    <a:gd name="connsiteY25" fmla="*/ 1962149 h 2967810"/>
                    <a:gd name="connsiteX26" fmla="*/ 318328 w 2251903"/>
                    <a:gd name="connsiteY26" fmla="*/ 2081212 h 2967810"/>
                    <a:gd name="connsiteX27" fmla="*/ 413578 w 2251903"/>
                    <a:gd name="connsiteY27" fmla="*/ 2143124 h 2967810"/>
                    <a:gd name="connsiteX28" fmla="*/ 432628 w 2251903"/>
                    <a:gd name="connsiteY28" fmla="*/ 2166937 h 2967810"/>
                    <a:gd name="connsiteX29" fmla="*/ 442153 w 2251903"/>
                    <a:gd name="connsiteY29" fmla="*/ 2262187 h 2967810"/>
                    <a:gd name="connsiteX30" fmla="*/ 461203 w 2251903"/>
                    <a:gd name="connsiteY30" fmla="*/ 2333625 h 2967810"/>
                    <a:gd name="connsiteX31" fmla="*/ 532640 w 2251903"/>
                    <a:gd name="connsiteY31" fmla="*/ 2466974 h 2967810"/>
                    <a:gd name="connsiteX32" fmla="*/ 546928 w 2251903"/>
                    <a:gd name="connsiteY32" fmla="*/ 2557462 h 2967810"/>
                    <a:gd name="connsiteX33" fmla="*/ 570740 w 2251903"/>
                    <a:gd name="connsiteY33" fmla="*/ 2638424 h 2967810"/>
                    <a:gd name="connsiteX34" fmla="*/ 561215 w 2251903"/>
                    <a:gd name="connsiteY34" fmla="*/ 2705099 h 2967810"/>
                    <a:gd name="connsiteX35" fmla="*/ 646940 w 2251903"/>
                    <a:gd name="connsiteY35" fmla="*/ 2819399 h 2967810"/>
                    <a:gd name="connsiteX36" fmla="*/ 642178 w 2251903"/>
                    <a:gd name="connsiteY36" fmla="*/ 2914649 h 2967810"/>
                    <a:gd name="connsiteX37" fmla="*/ 656465 w 2251903"/>
                    <a:gd name="connsiteY37" fmla="*/ 2967037 h 2967810"/>
                    <a:gd name="connsiteX38" fmla="*/ 889828 w 2251903"/>
                    <a:gd name="connsiteY38" fmla="*/ 2876549 h 2967810"/>
                    <a:gd name="connsiteX39" fmla="*/ 951740 w 2251903"/>
                    <a:gd name="connsiteY39" fmla="*/ 2847974 h 2967810"/>
                    <a:gd name="connsiteX40" fmla="*/ 1027940 w 2251903"/>
                    <a:gd name="connsiteY40" fmla="*/ 2871787 h 2967810"/>
                    <a:gd name="connsiteX41" fmla="*/ 1089853 w 2251903"/>
                    <a:gd name="connsiteY41" fmla="*/ 2876549 h 2967810"/>
                    <a:gd name="connsiteX42" fmla="*/ 1127953 w 2251903"/>
                    <a:gd name="connsiteY42" fmla="*/ 2795587 h 2967810"/>
                    <a:gd name="connsiteX43" fmla="*/ 1089853 w 2251903"/>
                    <a:gd name="connsiteY43" fmla="*/ 2719387 h 2967810"/>
                    <a:gd name="connsiteX44" fmla="*/ 1151765 w 2251903"/>
                    <a:gd name="connsiteY44" fmla="*/ 2657474 h 2967810"/>
                    <a:gd name="connsiteX45" fmla="*/ 1218440 w 2251903"/>
                    <a:gd name="connsiteY45" fmla="*/ 2595562 h 2967810"/>
                    <a:gd name="connsiteX46" fmla="*/ 1270828 w 2251903"/>
                    <a:gd name="connsiteY46" fmla="*/ 2481262 h 2967810"/>
                    <a:gd name="connsiteX47" fmla="*/ 1294640 w 2251903"/>
                    <a:gd name="connsiteY47" fmla="*/ 2428874 h 2967810"/>
                    <a:gd name="connsiteX48" fmla="*/ 1356553 w 2251903"/>
                    <a:gd name="connsiteY48" fmla="*/ 2366962 h 2967810"/>
                    <a:gd name="connsiteX49" fmla="*/ 1408940 w 2251903"/>
                    <a:gd name="connsiteY49" fmla="*/ 2285999 h 2967810"/>
                    <a:gd name="connsiteX50" fmla="*/ 1423228 w 2251903"/>
                    <a:gd name="connsiteY50" fmla="*/ 2205037 h 2967810"/>
                    <a:gd name="connsiteX51" fmla="*/ 1489903 w 2251903"/>
                    <a:gd name="connsiteY51" fmla="*/ 2071687 h 2967810"/>
                    <a:gd name="connsiteX52" fmla="*/ 1556578 w 2251903"/>
                    <a:gd name="connsiteY52" fmla="*/ 1957387 h 2967810"/>
                    <a:gd name="connsiteX53" fmla="*/ 1556578 w 2251903"/>
                    <a:gd name="connsiteY53" fmla="*/ 1876424 h 2967810"/>
                    <a:gd name="connsiteX54" fmla="*/ 1561340 w 2251903"/>
                    <a:gd name="connsiteY54" fmla="*/ 1747837 h 2967810"/>
                    <a:gd name="connsiteX55" fmla="*/ 1575628 w 2251903"/>
                    <a:gd name="connsiteY55" fmla="*/ 1652587 h 2967810"/>
                    <a:gd name="connsiteX56" fmla="*/ 1594678 w 2251903"/>
                    <a:gd name="connsiteY56" fmla="*/ 1571624 h 2967810"/>
                    <a:gd name="connsiteX57" fmla="*/ 1547053 w 2251903"/>
                    <a:gd name="connsiteY57" fmla="*/ 1438274 h 2967810"/>
                    <a:gd name="connsiteX58" fmla="*/ 1442278 w 2251903"/>
                    <a:gd name="connsiteY58" fmla="*/ 1223962 h 2967810"/>
                    <a:gd name="connsiteX59" fmla="*/ 1447040 w 2251903"/>
                    <a:gd name="connsiteY59" fmla="*/ 1176337 h 2967810"/>
                    <a:gd name="connsiteX60" fmla="*/ 1451803 w 2251903"/>
                    <a:gd name="connsiteY60" fmla="*/ 1133474 h 2967810"/>
                    <a:gd name="connsiteX61" fmla="*/ 1489903 w 2251903"/>
                    <a:gd name="connsiteY61" fmla="*/ 1076324 h 2967810"/>
                    <a:gd name="connsiteX62" fmla="*/ 1508953 w 2251903"/>
                    <a:gd name="connsiteY62" fmla="*/ 1038224 h 2967810"/>
                    <a:gd name="connsiteX63" fmla="*/ 1556578 w 2251903"/>
                    <a:gd name="connsiteY63" fmla="*/ 942974 h 2967810"/>
                    <a:gd name="connsiteX64" fmla="*/ 1594678 w 2251903"/>
                    <a:gd name="connsiteY64" fmla="*/ 866774 h 2967810"/>
                    <a:gd name="connsiteX65" fmla="*/ 1680403 w 2251903"/>
                    <a:gd name="connsiteY65" fmla="*/ 781049 h 2967810"/>
                    <a:gd name="connsiteX66" fmla="*/ 1728028 w 2251903"/>
                    <a:gd name="connsiteY66" fmla="*/ 723899 h 2967810"/>
                    <a:gd name="connsiteX67" fmla="*/ 1780415 w 2251903"/>
                    <a:gd name="connsiteY67" fmla="*/ 633412 h 2967810"/>
                    <a:gd name="connsiteX68" fmla="*/ 1828040 w 2251903"/>
                    <a:gd name="connsiteY68" fmla="*/ 609599 h 2967810"/>
                    <a:gd name="connsiteX69" fmla="*/ 1851853 w 2251903"/>
                    <a:gd name="connsiteY69" fmla="*/ 552449 h 2967810"/>
                    <a:gd name="connsiteX70" fmla="*/ 1875665 w 2251903"/>
                    <a:gd name="connsiteY70" fmla="*/ 481012 h 2967810"/>
                    <a:gd name="connsiteX71" fmla="*/ 1913765 w 2251903"/>
                    <a:gd name="connsiteY71" fmla="*/ 419099 h 2967810"/>
                    <a:gd name="connsiteX72" fmla="*/ 1961390 w 2251903"/>
                    <a:gd name="connsiteY72" fmla="*/ 361949 h 2967810"/>
                    <a:gd name="connsiteX73" fmla="*/ 2018540 w 2251903"/>
                    <a:gd name="connsiteY73" fmla="*/ 338137 h 2967810"/>
                    <a:gd name="connsiteX74" fmla="*/ 2066165 w 2251903"/>
                    <a:gd name="connsiteY74" fmla="*/ 323849 h 2967810"/>
                    <a:gd name="connsiteX75" fmla="*/ 2089978 w 2251903"/>
                    <a:gd name="connsiteY75" fmla="*/ 276224 h 2967810"/>
                    <a:gd name="connsiteX76" fmla="*/ 2085215 w 2251903"/>
                    <a:gd name="connsiteY76" fmla="*/ 200024 h 2967810"/>
                    <a:gd name="connsiteX77" fmla="*/ 2137603 w 2251903"/>
                    <a:gd name="connsiteY77" fmla="*/ 133349 h 2967810"/>
                    <a:gd name="connsiteX78" fmla="*/ 2199515 w 2251903"/>
                    <a:gd name="connsiteY78" fmla="*/ 123824 h 2967810"/>
                    <a:gd name="connsiteX79" fmla="*/ 2251903 w 2251903"/>
                    <a:gd name="connsiteY79" fmla="*/ 133349 h 2967810"/>
                    <a:gd name="connsiteX0" fmla="*/ 1004128 w 2251903"/>
                    <a:gd name="connsiteY0" fmla="*/ 0 h 2967810"/>
                    <a:gd name="connsiteX1" fmla="*/ 823154 w 2251903"/>
                    <a:gd name="connsiteY1" fmla="*/ 180974 h 2967810"/>
                    <a:gd name="connsiteX2" fmla="*/ 494540 w 2251903"/>
                    <a:gd name="connsiteY2" fmla="*/ 304799 h 2967810"/>
                    <a:gd name="connsiteX3" fmla="*/ 485015 w 2251903"/>
                    <a:gd name="connsiteY3" fmla="*/ 380999 h 2967810"/>
                    <a:gd name="connsiteX4" fmla="*/ 451678 w 2251903"/>
                    <a:gd name="connsiteY4" fmla="*/ 485774 h 2967810"/>
                    <a:gd name="connsiteX5" fmla="*/ 427865 w 2251903"/>
                    <a:gd name="connsiteY5" fmla="*/ 514349 h 2967810"/>
                    <a:gd name="connsiteX6" fmla="*/ 404053 w 2251903"/>
                    <a:gd name="connsiteY6" fmla="*/ 533399 h 2967810"/>
                    <a:gd name="connsiteX7" fmla="*/ 408815 w 2251903"/>
                    <a:gd name="connsiteY7" fmla="*/ 590549 h 2967810"/>
                    <a:gd name="connsiteX8" fmla="*/ 375478 w 2251903"/>
                    <a:gd name="connsiteY8" fmla="*/ 652462 h 2967810"/>
                    <a:gd name="connsiteX9" fmla="*/ 356428 w 2251903"/>
                    <a:gd name="connsiteY9" fmla="*/ 747712 h 2967810"/>
                    <a:gd name="connsiteX10" fmla="*/ 380240 w 2251903"/>
                    <a:gd name="connsiteY10" fmla="*/ 823912 h 2967810"/>
                    <a:gd name="connsiteX11" fmla="*/ 337378 w 2251903"/>
                    <a:gd name="connsiteY11" fmla="*/ 871537 h 2967810"/>
                    <a:gd name="connsiteX12" fmla="*/ 289753 w 2251903"/>
                    <a:gd name="connsiteY12" fmla="*/ 957262 h 2967810"/>
                    <a:gd name="connsiteX13" fmla="*/ 194503 w 2251903"/>
                    <a:gd name="connsiteY13" fmla="*/ 1019174 h 2967810"/>
                    <a:gd name="connsiteX14" fmla="*/ 151640 w 2251903"/>
                    <a:gd name="connsiteY14" fmla="*/ 1052512 h 2967810"/>
                    <a:gd name="connsiteX15" fmla="*/ 132590 w 2251903"/>
                    <a:gd name="connsiteY15" fmla="*/ 1104899 h 2967810"/>
                    <a:gd name="connsiteX16" fmla="*/ 127828 w 2251903"/>
                    <a:gd name="connsiteY16" fmla="*/ 1195387 h 2967810"/>
                    <a:gd name="connsiteX17" fmla="*/ 80203 w 2251903"/>
                    <a:gd name="connsiteY17" fmla="*/ 1257299 h 2967810"/>
                    <a:gd name="connsiteX18" fmla="*/ 51628 w 2251903"/>
                    <a:gd name="connsiteY18" fmla="*/ 1385887 h 2967810"/>
                    <a:gd name="connsiteX19" fmla="*/ 13528 w 2251903"/>
                    <a:gd name="connsiteY19" fmla="*/ 1457324 h 2967810"/>
                    <a:gd name="connsiteX20" fmla="*/ 23053 w 2251903"/>
                    <a:gd name="connsiteY20" fmla="*/ 1514474 h 2967810"/>
                    <a:gd name="connsiteX21" fmla="*/ 4003 w 2251903"/>
                    <a:gd name="connsiteY21" fmla="*/ 1557337 h 2967810"/>
                    <a:gd name="connsiteX22" fmla="*/ 4003 w 2251903"/>
                    <a:gd name="connsiteY22" fmla="*/ 1624012 h 2967810"/>
                    <a:gd name="connsiteX23" fmla="*/ 46865 w 2251903"/>
                    <a:gd name="connsiteY23" fmla="*/ 1709737 h 2967810"/>
                    <a:gd name="connsiteX24" fmla="*/ 123065 w 2251903"/>
                    <a:gd name="connsiteY24" fmla="*/ 1776412 h 2967810"/>
                    <a:gd name="connsiteX25" fmla="*/ 189740 w 2251903"/>
                    <a:gd name="connsiteY25" fmla="*/ 1847849 h 2967810"/>
                    <a:gd name="connsiteX26" fmla="*/ 242128 w 2251903"/>
                    <a:gd name="connsiteY26" fmla="*/ 1962149 h 2967810"/>
                    <a:gd name="connsiteX27" fmla="*/ 318328 w 2251903"/>
                    <a:gd name="connsiteY27" fmla="*/ 2081212 h 2967810"/>
                    <a:gd name="connsiteX28" fmla="*/ 413578 w 2251903"/>
                    <a:gd name="connsiteY28" fmla="*/ 2143124 h 2967810"/>
                    <a:gd name="connsiteX29" fmla="*/ 432628 w 2251903"/>
                    <a:gd name="connsiteY29" fmla="*/ 2166937 h 2967810"/>
                    <a:gd name="connsiteX30" fmla="*/ 442153 w 2251903"/>
                    <a:gd name="connsiteY30" fmla="*/ 2262187 h 2967810"/>
                    <a:gd name="connsiteX31" fmla="*/ 461203 w 2251903"/>
                    <a:gd name="connsiteY31" fmla="*/ 2333625 h 2967810"/>
                    <a:gd name="connsiteX32" fmla="*/ 532640 w 2251903"/>
                    <a:gd name="connsiteY32" fmla="*/ 2466974 h 2967810"/>
                    <a:gd name="connsiteX33" fmla="*/ 546928 w 2251903"/>
                    <a:gd name="connsiteY33" fmla="*/ 2557462 h 2967810"/>
                    <a:gd name="connsiteX34" fmla="*/ 570740 w 2251903"/>
                    <a:gd name="connsiteY34" fmla="*/ 2638424 h 2967810"/>
                    <a:gd name="connsiteX35" fmla="*/ 561215 w 2251903"/>
                    <a:gd name="connsiteY35" fmla="*/ 2705099 h 2967810"/>
                    <a:gd name="connsiteX36" fmla="*/ 646940 w 2251903"/>
                    <a:gd name="connsiteY36" fmla="*/ 2819399 h 2967810"/>
                    <a:gd name="connsiteX37" fmla="*/ 642178 w 2251903"/>
                    <a:gd name="connsiteY37" fmla="*/ 2914649 h 2967810"/>
                    <a:gd name="connsiteX38" fmla="*/ 656465 w 2251903"/>
                    <a:gd name="connsiteY38" fmla="*/ 2967037 h 2967810"/>
                    <a:gd name="connsiteX39" fmla="*/ 889828 w 2251903"/>
                    <a:gd name="connsiteY39" fmla="*/ 2876549 h 2967810"/>
                    <a:gd name="connsiteX40" fmla="*/ 951740 w 2251903"/>
                    <a:gd name="connsiteY40" fmla="*/ 2847974 h 2967810"/>
                    <a:gd name="connsiteX41" fmla="*/ 1027940 w 2251903"/>
                    <a:gd name="connsiteY41" fmla="*/ 2871787 h 2967810"/>
                    <a:gd name="connsiteX42" fmla="*/ 1089853 w 2251903"/>
                    <a:gd name="connsiteY42" fmla="*/ 2876549 h 2967810"/>
                    <a:gd name="connsiteX43" fmla="*/ 1127953 w 2251903"/>
                    <a:gd name="connsiteY43" fmla="*/ 2795587 h 2967810"/>
                    <a:gd name="connsiteX44" fmla="*/ 1089853 w 2251903"/>
                    <a:gd name="connsiteY44" fmla="*/ 2719387 h 2967810"/>
                    <a:gd name="connsiteX45" fmla="*/ 1151765 w 2251903"/>
                    <a:gd name="connsiteY45" fmla="*/ 2657474 h 2967810"/>
                    <a:gd name="connsiteX46" fmla="*/ 1218440 w 2251903"/>
                    <a:gd name="connsiteY46" fmla="*/ 2595562 h 2967810"/>
                    <a:gd name="connsiteX47" fmla="*/ 1270828 w 2251903"/>
                    <a:gd name="connsiteY47" fmla="*/ 2481262 h 2967810"/>
                    <a:gd name="connsiteX48" fmla="*/ 1294640 w 2251903"/>
                    <a:gd name="connsiteY48" fmla="*/ 2428874 h 2967810"/>
                    <a:gd name="connsiteX49" fmla="*/ 1356553 w 2251903"/>
                    <a:gd name="connsiteY49" fmla="*/ 2366962 h 2967810"/>
                    <a:gd name="connsiteX50" fmla="*/ 1408940 w 2251903"/>
                    <a:gd name="connsiteY50" fmla="*/ 2285999 h 2967810"/>
                    <a:gd name="connsiteX51" fmla="*/ 1423228 w 2251903"/>
                    <a:gd name="connsiteY51" fmla="*/ 2205037 h 2967810"/>
                    <a:gd name="connsiteX52" fmla="*/ 1489903 w 2251903"/>
                    <a:gd name="connsiteY52" fmla="*/ 2071687 h 2967810"/>
                    <a:gd name="connsiteX53" fmla="*/ 1556578 w 2251903"/>
                    <a:gd name="connsiteY53" fmla="*/ 1957387 h 2967810"/>
                    <a:gd name="connsiteX54" fmla="*/ 1556578 w 2251903"/>
                    <a:gd name="connsiteY54" fmla="*/ 1876424 h 2967810"/>
                    <a:gd name="connsiteX55" fmla="*/ 1561340 w 2251903"/>
                    <a:gd name="connsiteY55" fmla="*/ 1747837 h 2967810"/>
                    <a:gd name="connsiteX56" fmla="*/ 1575628 w 2251903"/>
                    <a:gd name="connsiteY56" fmla="*/ 1652587 h 2967810"/>
                    <a:gd name="connsiteX57" fmla="*/ 1594678 w 2251903"/>
                    <a:gd name="connsiteY57" fmla="*/ 1571624 h 2967810"/>
                    <a:gd name="connsiteX58" fmla="*/ 1547053 w 2251903"/>
                    <a:gd name="connsiteY58" fmla="*/ 1438274 h 2967810"/>
                    <a:gd name="connsiteX59" fmla="*/ 1442278 w 2251903"/>
                    <a:gd name="connsiteY59" fmla="*/ 1223962 h 2967810"/>
                    <a:gd name="connsiteX60" fmla="*/ 1447040 w 2251903"/>
                    <a:gd name="connsiteY60" fmla="*/ 1176337 h 2967810"/>
                    <a:gd name="connsiteX61" fmla="*/ 1451803 w 2251903"/>
                    <a:gd name="connsiteY61" fmla="*/ 1133474 h 2967810"/>
                    <a:gd name="connsiteX62" fmla="*/ 1489903 w 2251903"/>
                    <a:gd name="connsiteY62" fmla="*/ 1076324 h 2967810"/>
                    <a:gd name="connsiteX63" fmla="*/ 1508953 w 2251903"/>
                    <a:gd name="connsiteY63" fmla="*/ 1038224 h 2967810"/>
                    <a:gd name="connsiteX64" fmla="*/ 1556578 w 2251903"/>
                    <a:gd name="connsiteY64" fmla="*/ 942974 h 2967810"/>
                    <a:gd name="connsiteX65" fmla="*/ 1594678 w 2251903"/>
                    <a:gd name="connsiteY65" fmla="*/ 866774 h 2967810"/>
                    <a:gd name="connsiteX66" fmla="*/ 1680403 w 2251903"/>
                    <a:gd name="connsiteY66" fmla="*/ 781049 h 2967810"/>
                    <a:gd name="connsiteX67" fmla="*/ 1728028 w 2251903"/>
                    <a:gd name="connsiteY67" fmla="*/ 723899 h 2967810"/>
                    <a:gd name="connsiteX68" fmla="*/ 1780415 w 2251903"/>
                    <a:gd name="connsiteY68" fmla="*/ 633412 h 2967810"/>
                    <a:gd name="connsiteX69" fmla="*/ 1828040 w 2251903"/>
                    <a:gd name="connsiteY69" fmla="*/ 609599 h 2967810"/>
                    <a:gd name="connsiteX70" fmla="*/ 1851853 w 2251903"/>
                    <a:gd name="connsiteY70" fmla="*/ 552449 h 2967810"/>
                    <a:gd name="connsiteX71" fmla="*/ 1875665 w 2251903"/>
                    <a:gd name="connsiteY71" fmla="*/ 481012 h 2967810"/>
                    <a:gd name="connsiteX72" fmla="*/ 1913765 w 2251903"/>
                    <a:gd name="connsiteY72" fmla="*/ 419099 h 2967810"/>
                    <a:gd name="connsiteX73" fmla="*/ 1961390 w 2251903"/>
                    <a:gd name="connsiteY73" fmla="*/ 361949 h 2967810"/>
                    <a:gd name="connsiteX74" fmla="*/ 2018540 w 2251903"/>
                    <a:gd name="connsiteY74" fmla="*/ 338137 h 2967810"/>
                    <a:gd name="connsiteX75" fmla="*/ 2066165 w 2251903"/>
                    <a:gd name="connsiteY75" fmla="*/ 323849 h 2967810"/>
                    <a:gd name="connsiteX76" fmla="*/ 2089978 w 2251903"/>
                    <a:gd name="connsiteY76" fmla="*/ 276224 h 2967810"/>
                    <a:gd name="connsiteX77" fmla="*/ 2085215 w 2251903"/>
                    <a:gd name="connsiteY77" fmla="*/ 200024 h 2967810"/>
                    <a:gd name="connsiteX78" fmla="*/ 2137603 w 2251903"/>
                    <a:gd name="connsiteY78" fmla="*/ 133349 h 2967810"/>
                    <a:gd name="connsiteX79" fmla="*/ 2199515 w 2251903"/>
                    <a:gd name="connsiteY79" fmla="*/ 123824 h 2967810"/>
                    <a:gd name="connsiteX80" fmla="*/ 2251903 w 2251903"/>
                    <a:gd name="connsiteY80" fmla="*/ 133349 h 2967810"/>
                    <a:gd name="connsiteX0" fmla="*/ 1004128 w 2251903"/>
                    <a:gd name="connsiteY0" fmla="*/ 0 h 2967810"/>
                    <a:gd name="connsiteX1" fmla="*/ 823154 w 2251903"/>
                    <a:gd name="connsiteY1" fmla="*/ 180974 h 2967810"/>
                    <a:gd name="connsiteX2" fmla="*/ 585029 w 2251903"/>
                    <a:gd name="connsiteY2" fmla="*/ 200024 h 2967810"/>
                    <a:gd name="connsiteX3" fmla="*/ 494540 w 2251903"/>
                    <a:gd name="connsiteY3" fmla="*/ 304799 h 2967810"/>
                    <a:gd name="connsiteX4" fmla="*/ 485015 w 2251903"/>
                    <a:gd name="connsiteY4" fmla="*/ 380999 h 2967810"/>
                    <a:gd name="connsiteX5" fmla="*/ 451678 w 2251903"/>
                    <a:gd name="connsiteY5" fmla="*/ 485774 h 2967810"/>
                    <a:gd name="connsiteX6" fmla="*/ 427865 w 2251903"/>
                    <a:gd name="connsiteY6" fmla="*/ 514349 h 2967810"/>
                    <a:gd name="connsiteX7" fmla="*/ 404053 w 2251903"/>
                    <a:gd name="connsiteY7" fmla="*/ 533399 h 2967810"/>
                    <a:gd name="connsiteX8" fmla="*/ 408815 w 2251903"/>
                    <a:gd name="connsiteY8" fmla="*/ 590549 h 2967810"/>
                    <a:gd name="connsiteX9" fmla="*/ 375478 w 2251903"/>
                    <a:gd name="connsiteY9" fmla="*/ 652462 h 2967810"/>
                    <a:gd name="connsiteX10" fmla="*/ 356428 w 2251903"/>
                    <a:gd name="connsiteY10" fmla="*/ 747712 h 2967810"/>
                    <a:gd name="connsiteX11" fmla="*/ 380240 w 2251903"/>
                    <a:gd name="connsiteY11" fmla="*/ 823912 h 2967810"/>
                    <a:gd name="connsiteX12" fmla="*/ 337378 w 2251903"/>
                    <a:gd name="connsiteY12" fmla="*/ 871537 h 2967810"/>
                    <a:gd name="connsiteX13" fmla="*/ 289753 w 2251903"/>
                    <a:gd name="connsiteY13" fmla="*/ 957262 h 2967810"/>
                    <a:gd name="connsiteX14" fmla="*/ 194503 w 2251903"/>
                    <a:gd name="connsiteY14" fmla="*/ 1019174 h 2967810"/>
                    <a:gd name="connsiteX15" fmla="*/ 151640 w 2251903"/>
                    <a:gd name="connsiteY15" fmla="*/ 1052512 h 2967810"/>
                    <a:gd name="connsiteX16" fmla="*/ 132590 w 2251903"/>
                    <a:gd name="connsiteY16" fmla="*/ 1104899 h 2967810"/>
                    <a:gd name="connsiteX17" fmla="*/ 127828 w 2251903"/>
                    <a:gd name="connsiteY17" fmla="*/ 1195387 h 2967810"/>
                    <a:gd name="connsiteX18" fmla="*/ 80203 w 2251903"/>
                    <a:gd name="connsiteY18" fmla="*/ 1257299 h 2967810"/>
                    <a:gd name="connsiteX19" fmla="*/ 51628 w 2251903"/>
                    <a:gd name="connsiteY19" fmla="*/ 1385887 h 2967810"/>
                    <a:gd name="connsiteX20" fmla="*/ 13528 w 2251903"/>
                    <a:gd name="connsiteY20" fmla="*/ 1457324 h 2967810"/>
                    <a:gd name="connsiteX21" fmla="*/ 23053 w 2251903"/>
                    <a:gd name="connsiteY21" fmla="*/ 1514474 h 2967810"/>
                    <a:gd name="connsiteX22" fmla="*/ 4003 w 2251903"/>
                    <a:gd name="connsiteY22" fmla="*/ 1557337 h 2967810"/>
                    <a:gd name="connsiteX23" fmla="*/ 4003 w 2251903"/>
                    <a:gd name="connsiteY23" fmla="*/ 1624012 h 2967810"/>
                    <a:gd name="connsiteX24" fmla="*/ 46865 w 2251903"/>
                    <a:gd name="connsiteY24" fmla="*/ 1709737 h 2967810"/>
                    <a:gd name="connsiteX25" fmla="*/ 123065 w 2251903"/>
                    <a:gd name="connsiteY25" fmla="*/ 1776412 h 2967810"/>
                    <a:gd name="connsiteX26" fmla="*/ 189740 w 2251903"/>
                    <a:gd name="connsiteY26" fmla="*/ 1847849 h 2967810"/>
                    <a:gd name="connsiteX27" fmla="*/ 242128 w 2251903"/>
                    <a:gd name="connsiteY27" fmla="*/ 1962149 h 2967810"/>
                    <a:gd name="connsiteX28" fmla="*/ 318328 w 2251903"/>
                    <a:gd name="connsiteY28" fmla="*/ 2081212 h 2967810"/>
                    <a:gd name="connsiteX29" fmla="*/ 413578 w 2251903"/>
                    <a:gd name="connsiteY29" fmla="*/ 2143124 h 2967810"/>
                    <a:gd name="connsiteX30" fmla="*/ 432628 w 2251903"/>
                    <a:gd name="connsiteY30" fmla="*/ 2166937 h 2967810"/>
                    <a:gd name="connsiteX31" fmla="*/ 442153 w 2251903"/>
                    <a:gd name="connsiteY31" fmla="*/ 2262187 h 2967810"/>
                    <a:gd name="connsiteX32" fmla="*/ 461203 w 2251903"/>
                    <a:gd name="connsiteY32" fmla="*/ 2333625 h 2967810"/>
                    <a:gd name="connsiteX33" fmla="*/ 532640 w 2251903"/>
                    <a:gd name="connsiteY33" fmla="*/ 2466974 h 2967810"/>
                    <a:gd name="connsiteX34" fmla="*/ 546928 w 2251903"/>
                    <a:gd name="connsiteY34" fmla="*/ 2557462 h 2967810"/>
                    <a:gd name="connsiteX35" fmla="*/ 570740 w 2251903"/>
                    <a:gd name="connsiteY35" fmla="*/ 2638424 h 2967810"/>
                    <a:gd name="connsiteX36" fmla="*/ 561215 w 2251903"/>
                    <a:gd name="connsiteY36" fmla="*/ 2705099 h 2967810"/>
                    <a:gd name="connsiteX37" fmla="*/ 646940 w 2251903"/>
                    <a:gd name="connsiteY37" fmla="*/ 2819399 h 2967810"/>
                    <a:gd name="connsiteX38" fmla="*/ 642178 w 2251903"/>
                    <a:gd name="connsiteY38" fmla="*/ 2914649 h 2967810"/>
                    <a:gd name="connsiteX39" fmla="*/ 656465 w 2251903"/>
                    <a:gd name="connsiteY39" fmla="*/ 2967037 h 2967810"/>
                    <a:gd name="connsiteX40" fmla="*/ 889828 w 2251903"/>
                    <a:gd name="connsiteY40" fmla="*/ 2876549 h 2967810"/>
                    <a:gd name="connsiteX41" fmla="*/ 951740 w 2251903"/>
                    <a:gd name="connsiteY41" fmla="*/ 2847974 h 2967810"/>
                    <a:gd name="connsiteX42" fmla="*/ 1027940 w 2251903"/>
                    <a:gd name="connsiteY42" fmla="*/ 2871787 h 2967810"/>
                    <a:gd name="connsiteX43" fmla="*/ 1089853 w 2251903"/>
                    <a:gd name="connsiteY43" fmla="*/ 2876549 h 2967810"/>
                    <a:gd name="connsiteX44" fmla="*/ 1127953 w 2251903"/>
                    <a:gd name="connsiteY44" fmla="*/ 2795587 h 2967810"/>
                    <a:gd name="connsiteX45" fmla="*/ 1089853 w 2251903"/>
                    <a:gd name="connsiteY45" fmla="*/ 2719387 h 2967810"/>
                    <a:gd name="connsiteX46" fmla="*/ 1151765 w 2251903"/>
                    <a:gd name="connsiteY46" fmla="*/ 2657474 h 2967810"/>
                    <a:gd name="connsiteX47" fmla="*/ 1218440 w 2251903"/>
                    <a:gd name="connsiteY47" fmla="*/ 2595562 h 2967810"/>
                    <a:gd name="connsiteX48" fmla="*/ 1270828 w 2251903"/>
                    <a:gd name="connsiteY48" fmla="*/ 2481262 h 2967810"/>
                    <a:gd name="connsiteX49" fmla="*/ 1294640 w 2251903"/>
                    <a:gd name="connsiteY49" fmla="*/ 2428874 h 2967810"/>
                    <a:gd name="connsiteX50" fmla="*/ 1356553 w 2251903"/>
                    <a:gd name="connsiteY50" fmla="*/ 2366962 h 2967810"/>
                    <a:gd name="connsiteX51" fmla="*/ 1408940 w 2251903"/>
                    <a:gd name="connsiteY51" fmla="*/ 2285999 h 2967810"/>
                    <a:gd name="connsiteX52" fmla="*/ 1423228 w 2251903"/>
                    <a:gd name="connsiteY52" fmla="*/ 2205037 h 2967810"/>
                    <a:gd name="connsiteX53" fmla="*/ 1489903 w 2251903"/>
                    <a:gd name="connsiteY53" fmla="*/ 2071687 h 2967810"/>
                    <a:gd name="connsiteX54" fmla="*/ 1556578 w 2251903"/>
                    <a:gd name="connsiteY54" fmla="*/ 1957387 h 2967810"/>
                    <a:gd name="connsiteX55" fmla="*/ 1556578 w 2251903"/>
                    <a:gd name="connsiteY55" fmla="*/ 1876424 h 2967810"/>
                    <a:gd name="connsiteX56" fmla="*/ 1561340 w 2251903"/>
                    <a:gd name="connsiteY56" fmla="*/ 1747837 h 2967810"/>
                    <a:gd name="connsiteX57" fmla="*/ 1575628 w 2251903"/>
                    <a:gd name="connsiteY57" fmla="*/ 1652587 h 2967810"/>
                    <a:gd name="connsiteX58" fmla="*/ 1594678 w 2251903"/>
                    <a:gd name="connsiteY58" fmla="*/ 1571624 h 2967810"/>
                    <a:gd name="connsiteX59" fmla="*/ 1547053 w 2251903"/>
                    <a:gd name="connsiteY59" fmla="*/ 1438274 h 2967810"/>
                    <a:gd name="connsiteX60" fmla="*/ 1442278 w 2251903"/>
                    <a:gd name="connsiteY60" fmla="*/ 1223962 h 2967810"/>
                    <a:gd name="connsiteX61" fmla="*/ 1447040 w 2251903"/>
                    <a:gd name="connsiteY61" fmla="*/ 1176337 h 2967810"/>
                    <a:gd name="connsiteX62" fmla="*/ 1451803 w 2251903"/>
                    <a:gd name="connsiteY62" fmla="*/ 1133474 h 2967810"/>
                    <a:gd name="connsiteX63" fmla="*/ 1489903 w 2251903"/>
                    <a:gd name="connsiteY63" fmla="*/ 1076324 h 2967810"/>
                    <a:gd name="connsiteX64" fmla="*/ 1508953 w 2251903"/>
                    <a:gd name="connsiteY64" fmla="*/ 1038224 h 2967810"/>
                    <a:gd name="connsiteX65" fmla="*/ 1556578 w 2251903"/>
                    <a:gd name="connsiteY65" fmla="*/ 942974 h 2967810"/>
                    <a:gd name="connsiteX66" fmla="*/ 1594678 w 2251903"/>
                    <a:gd name="connsiteY66" fmla="*/ 866774 h 2967810"/>
                    <a:gd name="connsiteX67" fmla="*/ 1680403 w 2251903"/>
                    <a:gd name="connsiteY67" fmla="*/ 781049 h 2967810"/>
                    <a:gd name="connsiteX68" fmla="*/ 1728028 w 2251903"/>
                    <a:gd name="connsiteY68" fmla="*/ 723899 h 2967810"/>
                    <a:gd name="connsiteX69" fmla="*/ 1780415 w 2251903"/>
                    <a:gd name="connsiteY69" fmla="*/ 633412 h 2967810"/>
                    <a:gd name="connsiteX70" fmla="*/ 1828040 w 2251903"/>
                    <a:gd name="connsiteY70" fmla="*/ 609599 h 2967810"/>
                    <a:gd name="connsiteX71" fmla="*/ 1851853 w 2251903"/>
                    <a:gd name="connsiteY71" fmla="*/ 552449 h 2967810"/>
                    <a:gd name="connsiteX72" fmla="*/ 1875665 w 2251903"/>
                    <a:gd name="connsiteY72" fmla="*/ 481012 h 2967810"/>
                    <a:gd name="connsiteX73" fmla="*/ 1913765 w 2251903"/>
                    <a:gd name="connsiteY73" fmla="*/ 419099 h 2967810"/>
                    <a:gd name="connsiteX74" fmla="*/ 1961390 w 2251903"/>
                    <a:gd name="connsiteY74" fmla="*/ 361949 h 2967810"/>
                    <a:gd name="connsiteX75" fmla="*/ 2018540 w 2251903"/>
                    <a:gd name="connsiteY75" fmla="*/ 338137 h 2967810"/>
                    <a:gd name="connsiteX76" fmla="*/ 2066165 w 2251903"/>
                    <a:gd name="connsiteY76" fmla="*/ 323849 h 2967810"/>
                    <a:gd name="connsiteX77" fmla="*/ 2089978 w 2251903"/>
                    <a:gd name="connsiteY77" fmla="*/ 276224 h 2967810"/>
                    <a:gd name="connsiteX78" fmla="*/ 2085215 w 2251903"/>
                    <a:gd name="connsiteY78" fmla="*/ 200024 h 2967810"/>
                    <a:gd name="connsiteX79" fmla="*/ 2137603 w 2251903"/>
                    <a:gd name="connsiteY79" fmla="*/ 133349 h 2967810"/>
                    <a:gd name="connsiteX80" fmla="*/ 2199515 w 2251903"/>
                    <a:gd name="connsiteY80" fmla="*/ 123824 h 2967810"/>
                    <a:gd name="connsiteX81" fmla="*/ 2251903 w 2251903"/>
                    <a:gd name="connsiteY81" fmla="*/ 133349 h 2967810"/>
                    <a:gd name="connsiteX0" fmla="*/ 1004128 w 2251903"/>
                    <a:gd name="connsiteY0" fmla="*/ 0 h 2967810"/>
                    <a:gd name="connsiteX1" fmla="*/ 889829 w 2251903"/>
                    <a:gd name="connsiteY1" fmla="*/ 90487 h 2967810"/>
                    <a:gd name="connsiteX2" fmla="*/ 823154 w 2251903"/>
                    <a:gd name="connsiteY2" fmla="*/ 180974 h 2967810"/>
                    <a:gd name="connsiteX3" fmla="*/ 585029 w 2251903"/>
                    <a:gd name="connsiteY3" fmla="*/ 200024 h 2967810"/>
                    <a:gd name="connsiteX4" fmla="*/ 494540 w 2251903"/>
                    <a:gd name="connsiteY4" fmla="*/ 304799 h 2967810"/>
                    <a:gd name="connsiteX5" fmla="*/ 485015 w 2251903"/>
                    <a:gd name="connsiteY5" fmla="*/ 380999 h 2967810"/>
                    <a:gd name="connsiteX6" fmla="*/ 451678 w 2251903"/>
                    <a:gd name="connsiteY6" fmla="*/ 485774 h 2967810"/>
                    <a:gd name="connsiteX7" fmla="*/ 427865 w 2251903"/>
                    <a:gd name="connsiteY7" fmla="*/ 514349 h 2967810"/>
                    <a:gd name="connsiteX8" fmla="*/ 404053 w 2251903"/>
                    <a:gd name="connsiteY8" fmla="*/ 533399 h 2967810"/>
                    <a:gd name="connsiteX9" fmla="*/ 408815 w 2251903"/>
                    <a:gd name="connsiteY9" fmla="*/ 590549 h 2967810"/>
                    <a:gd name="connsiteX10" fmla="*/ 375478 w 2251903"/>
                    <a:gd name="connsiteY10" fmla="*/ 652462 h 2967810"/>
                    <a:gd name="connsiteX11" fmla="*/ 356428 w 2251903"/>
                    <a:gd name="connsiteY11" fmla="*/ 747712 h 2967810"/>
                    <a:gd name="connsiteX12" fmla="*/ 380240 w 2251903"/>
                    <a:gd name="connsiteY12" fmla="*/ 823912 h 2967810"/>
                    <a:gd name="connsiteX13" fmla="*/ 337378 w 2251903"/>
                    <a:gd name="connsiteY13" fmla="*/ 871537 h 2967810"/>
                    <a:gd name="connsiteX14" fmla="*/ 289753 w 2251903"/>
                    <a:gd name="connsiteY14" fmla="*/ 957262 h 2967810"/>
                    <a:gd name="connsiteX15" fmla="*/ 194503 w 2251903"/>
                    <a:gd name="connsiteY15" fmla="*/ 1019174 h 2967810"/>
                    <a:gd name="connsiteX16" fmla="*/ 151640 w 2251903"/>
                    <a:gd name="connsiteY16" fmla="*/ 1052512 h 2967810"/>
                    <a:gd name="connsiteX17" fmla="*/ 132590 w 2251903"/>
                    <a:gd name="connsiteY17" fmla="*/ 1104899 h 2967810"/>
                    <a:gd name="connsiteX18" fmla="*/ 127828 w 2251903"/>
                    <a:gd name="connsiteY18" fmla="*/ 1195387 h 2967810"/>
                    <a:gd name="connsiteX19" fmla="*/ 80203 w 2251903"/>
                    <a:gd name="connsiteY19" fmla="*/ 1257299 h 2967810"/>
                    <a:gd name="connsiteX20" fmla="*/ 51628 w 2251903"/>
                    <a:gd name="connsiteY20" fmla="*/ 1385887 h 2967810"/>
                    <a:gd name="connsiteX21" fmla="*/ 13528 w 2251903"/>
                    <a:gd name="connsiteY21" fmla="*/ 1457324 h 2967810"/>
                    <a:gd name="connsiteX22" fmla="*/ 23053 w 2251903"/>
                    <a:gd name="connsiteY22" fmla="*/ 1514474 h 2967810"/>
                    <a:gd name="connsiteX23" fmla="*/ 4003 w 2251903"/>
                    <a:gd name="connsiteY23" fmla="*/ 1557337 h 2967810"/>
                    <a:gd name="connsiteX24" fmla="*/ 4003 w 2251903"/>
                    <a:gd name="connsiteY24" fmla="*/ 1624012 h 2967810"/>
                    <a:gd name="connsiteX25" fmla="*/ 46865 w 2251903"/>
                    <a:gd name="connsiteY25" fmla="*/ 1709737 h 2967810"/>
                    <a:gd name="connsiteX26" fmla="*/ 123065 w 2251903"/>
                    <a:gd name="connsiteY26" fmla="*/ 1776412 h 2967810"/>
                    <a:gd name="connsiteX27" fmla="*/ 189740 w 2251903"/>
                    <a:gd name="connsiteY27" fmla="*/ 1847849 h 2967810"/>
                    <a:gd name="connsiteX28" fmla="*/ 242128 w 2251903"/>
                    <a:gd name="connsiteY28" fmla="*/ 1962149 h 2967810"/>
                    <a:gd name="connsiteX29" fmla="*/ 318328 w 2251903"/>
                    <a:gd name="connsiteY29" fmla="*/ 2081212 h 2967810"/>
                    <a:gd name="connsiteX30" fmla="*/ 413578 w 2251903"/>
                    <a:gd name="connsiteY30" fmla="*/ 2143124 h 2967810"/>
                    <a:gd name="connsiteX31" fmla="*/ 432628 w 2251903"/>
                    <a:gd name="connsiteY31" fmla="*/ 2166937 h 2967810"/>
                    <a:gd name="connsiteX32" fmla="*/ 442153 w 2251903"/>
                    <a:gd name="connsiteY32" fmla="*/ 2262187 h 2967810"/>
                    <a:gd name="connsiteX33" fmla="*/ 461203 w 2251903"/>
                    <a:gd name="connsiteY33" fmla="*/ 2333625 h 2967810"/>
                    <a:gd name="connsiteX34" fmla="*/ 532640 w 2251903"/>
                    <a:gd name="connsiteY34" fmla="*/ 2466974 h 2967810"/>
                    <a:gd name="connsiteX35" fmla="*/ 546928 w 2251903"/>
                    <a:gd name="connsiteY35" fmla="*/ 2557462 h 2967810"/>
                    <a:gd name="connsiteX36" fmla="*/ 570740 w 2251903"/>
                    <a:gd name="connsiteY36" fmla="*/ 2638424 h 2967810"/>
                    <a:gd name="connsiteX37" fmla="*/ 561215 w 2251903"/>
                    <a:gd name="connsiteY37" fmla="*/ 2705099 h 2967810"/>
                    <a:gd name="connsiteX38" fmla="*/ 646940 w 2251903"/>
                    <a:gd name="connsiteY38" fmla="*/ 2819399 h 2967810"/>
                    <a:gd name="connsiteX39" fmla="*/ 642178 w 2251903"/>
                    <a:gd name="connsiteY39" fmla="*/ 2914649 h 2967810"/>
                    <a:gd name="connsiteX40" fmla="*/ 656465 w 2251903"/>
                    <a:gd name="connsiteY40" fmla="*/ 2967037 h 2967810"/>
                    <a:gd name="connsiteX41" fmla="*/ 889828 w 2251903"/>
                    <a:gd name="connsiteY41" fmla="*/ 2876549 h 2967810"/>
                    <a:gd name="connsiteX42" fmla="*/ 951740 w 2251903"/>
                    <a:gd name="connsiteY42" fmla="*/ 2847974 h 2967810"/>
                    <a:gd name="connsiteX43" fmla="*/ 1027940 w 2251903"/>
                    <a:gd name="connsiteY43" fmla="*/ 2871787 h 2967810"/>
                    <a:gd name="connsiteX44" fmla="*/ 1089853 w 2251903"/>
                    <a:gd name="connsiteY44" fmla="*/ 2876549 h 2967810"/>
                    <a:gd name="connsiteX45" fmla="*/ 1127953 w 2251903"/>
                    <a:gd name="connsiteY45" fmla="*/ 2795587 h 2967810"/>
                    <a:gd name="connsiteX46" fmla="*/ 1089853 w 2251903"/>
                    <a:gd name="connsiteY46" fmla="*/ 2719387 h 2967810"/>
                    <a:gd name="connsiteX47" fmla="*/ 1151765 w 2251903"/>
                    <a:gd name="connsiteY47" fmla="*/ 2657474 h 2967810"/>
                    <a:gd name="connsiteX48" fmla="*/ 1218440 w 2251903"/>
                    <a:gd name="connsiteY48" fmla="*/ 2595562 h 2967810"/>
                    <a:gd name="connsiteX49" fmla="*/ 1270828 w 2251903"/>
                    <a:gd name="connsiteY49" fmla="*/ 2481262 h 2967810"/>
                    <a:gd name="connsiteX50" fmla="*/ 1294640 w 2251903"/>
                    <a:gd name="connsiteY50" fmla="*/ 2428874 h 2967810"/>
                    <a:gd name="connsiteX51" fmla="*/ 1356553 w 2251903"/>
                    <a:gd name="connsiteY51" fmla="*/ 2366962 h 2967810"/>
                    <a:gd name="connsiteX52" fmla="*/ 1408940 w 2251903"/>
                    <a:gd name="connsiteY52" fmla="*/ 2285999 h 2967810"/>
                    <a:gd name="connsiteX53" fmla="*/ 1423228 w 2251903"/>
                    <a:gd name="connsiteY53" fmla="*/ 2205037 h 2967810"/>
                    <a:gd name="connsiteX54" fmla="*/ 1489903 w 2251903"/>
                    <a:gd name="connsiteY54" fmla="*/ 2071687 h 2967810"/>
                    <a:gd name="connsiteX55" fmla="*/ 1556578 w 2251903"/>
                    <a:gd name="connsiteY55" fmla="*/ 1957387 h 2967810"/>
                    <a:gd name="connsiteX56" fmla="*/ 1556578 w 2251903"/>
                    <a:gd name="connsiteY56" fmla="*/ 1876424 h 2967810"/>
                    <a:gd name="connsiteX57" fmla="*/ 1561340 w 2251903"/>
                    <a:gd name="connsiteY57" fmla="*/ 1747837 h 2967810"/>
                    <a:gd name="connsiteX58" fmla="*/ 1575628 w 2251903"/>
                    <a:gd name="connsiteY58" fmla="*/ 1652587 h 2967810"/>
                    <a:gd name="connsiteX59" fmla="*/ 1594678 w 2251903"/>
                    <a:gd name="connsiteY59" fmla="*/ 1571624 h 2967810"/>
                    <a:gd name="connsiteX60" fmla="*/ 1547053 w 2251903"/>
                    <a:gd name="connsiteY60" fmla="*/ 1438274 h 2967810"/>
                    <a:gd name="connsiteX61" fmla="*/ 1442278 w 2251903"/>
                    <a:gd name="connsiteY61" fmla="*/ 1223962 h 2967810"/>
                    <a:gd name="connsiteX62" fmla="*/ 1447040 w 2251903"/>
                    <a:gd name="connsiteY62" fmla="*/ 1176337 h 2967810"/>
                    <a:gd name="connsiteX63" fmla="*/ 1451803 w 2251903"/>
                    <a:gd name="connsiteY63" fmla="*/ 1133474 h 2967810"/>
                    <a:gd name="connsiteX64" fmla="*/ 1489903 w 2251903"/>
                    <a:gd name="connsiteY64" fmla="*/ 1076324 h 2967810"/>
                    <a:gd name="connsiteX65" fmla="*/ 1508953 w 2251903"/>
                    <a:gd name="connsiteY65" fmla="*/ 1038224 h 2967810"/>
                    <a:gd name="connsiteX66" fmla="*/ 1556578 w 2251903"/>
                    <a:gd name="connsiteY66" fmla="*/ 942974 h 2967810"/>
                    <a:gd name="connsiteX67" fmla="*/ 1594678 w 2251903"/>
                    <a:gd name="connsiteY67" fmla="*/ 866774 h 2967810"/>
                    <a:gd name="connsiteX68" fmla="*/ 1680403 w 2251903"/>
                    <a:gd name="connsiteY68" fmla="*/ 781049 h 2967810"/>
                    <a:gd name="connsiteX69" fmla="*/ 1728028 w 2251903"/>
                    <a:gd name="connsiteY69" fmla="*/ 723899 h 2967810"/>
                    <a:gd name="connsiteX70" fmla="*/ 1780415 w 2251903"/>
                    <a:gd name="connsiteY70" fmla="*/ 633412 h 2967810"/>
                    <a:gd name="connsiteX71" fmla="*/ 1828040 w 2251903"/>
                    <a:gd name="connsiteY71" fmla="*/ 609599 h 2967810"/>
                    <a:gd name="connsiteX72" fmla="*/ 1851853 w 2251903"/>
                    <a:gd name="connsiteY72" fmla="*/ 552449 h 2967810"/>
                    <a:gd name="connsiteX73" fmla="*/ 1875665 w 2251903"/>
                    <a:gd name="connsiteY73" fmla="*/ 481012 h 2967810"/>
                    <a:gd name="connsiteX74" fmla="*/ 1913765 w 2251903"/>
                    <a:gd name="connsiteY74" fmla="*/ 419099 h 2967810"/>
                    <a:gd name="connsiteX75" fmla="*/ 1961390 w 2251903"/>
                    <a:gd name="connsiteY75" fmla="*/ 361949 h 2967810"/>
                    <a:gd name="connsiteX76" fmla="*/ 2018540 w 2251903"/>
                    <a:gd name="connsiteY76" fmla="*/ 338137 h 2967810"/>
                    <a:gd name="connsiteX77" fmla="*/ 2066165 w 2251903"/>
                    <a:gd name="connsiteY77" fmla="*/ 323849 h 2967810"/>
                    <a:gd name="connsiteX78" fmla="*/ 2089978 w 2251903"/>
                    <a:gd name="connsiteY78" fmla="*/ 276224 h 2967810"/>
                    <a:gd name="connsiteX79" fmla="*/ 2085215 w 2251903"/>
                    <a:gd name="connsiteY79" fmla="*/ 200024 h 2967810"/>
                    <a:gd name="connsiteX80" fmla="*/ 2137603 w 2251903"/>
                    <a:gd name="connsiteY80" fmla="*/ 133349 h 2967810"/>
                    <a:gd name="connsiteX81" fmla="*/ 2199515 w 2251903"/>
                    <a:gd name="connsiteY81" fmla="*/ 123824 h 2967810"/>
                    <a:gd name="connsiteX82" fmla="*/ 2251903 w 2251903"/>
                    <a:gd name="connsiteY82" fmla="*/ 133349 h 2967810"/>
                    <a:gd name="connsiteX0" fmla="*/ 1013653 w 2251903"/>
                    <a:gd name="connsiteY0" fmla="*/ 0 h 2953522"/>
                    <a:gd name="connsiteX1" fmla="*/ 889829 w 2251903"/>
                    <a:gd name="connsiteY1" fmla="*/ 76199 h 2953522"/>
                    <a:gd name="connsiteX2" fmla="*/ 823154 w 2251903"/>
                    <a:gd name="connsiteY2" fmla="*/ 166686 h 2953522"/>
                    <a:gd name="connsiteX3" fmla="*/ 585029 w 2251903"/>
                    <a:gd name="connsiteY3" fmla="*/ 185736 h 2953522"/>
                    <a:gd name="connsiteX4" fmla="*/ 494540 w 2251903"/>
                    <a:gd name="connsiteY4" fmla="*/ 290511 h 2953522"/>
                    <a:gd name="connsiteX5" fmla="*/ 485015 w 2251903"/>
                    <a:gd name="connsiteY5" fmla="*/ 366711 h 2953522"/>
                    <a:gd name="connsiteX6" fmla="*/ 451678 w 2251903"/>
                    <a:gd name="connsiteY6" fmla="*/ 471486 h 2953522"/>
                    <a:gd name="connsiteX7" fmla="*/ 427865 w 2251903"/>
                    <a:gd name="connsiteY7" fmla="*/ 500061 h 2953522"/>
                    <a:gd name="connsiteX8" fmla="*/ 404053 w 2251903"/>
                    <a:gd name="connsiteY8" fmla="*/ 519111 h 2953522"/>
                    <a:gd name="connsiteX9" fmla="*/ 408815 w 2251903"/>
                    <a:gd name="connsiteY9" fmla="*/ 576261 h 2953522"/>
                    <a:gd name="connsiteX10" fmla="*/ 375478 w 2251903"/>
                    <a:gd name="connsiteY10" fmla="*/ 638174 h 2953522"/>
                    <a:gd name="connsiteX11" fmla="*/ 356428 w 2251903"/>
                    <a:gd name="connsiteY11" fmla="*/ 733424 h 2953522"/>
                    <a:gd name="connsiteX12" fmla="*/ 380240 w 2251903"/>
                    <a:gd name="connsiteY12" fmla="*/ 809624 h 2953522"/>
                    <a:gd name="connsiteX13" fmla="*/ 337378 w 2251903"/>
                    <a:gd name="connsiteY13" fmla="*/ 857249 h 2953522"/>
                    <a:gd name="connsiteX14" fmla="*/ 289753 w 2251903"/>
                    <a:gd name="connsiteY14" fmla="*/ 942974 h 2953522"/>
                    <a:gd name="connsiteX15" fmla="*/ 194503 w 2251903"/>
                    <a:gd name="connsiteY15" fmla="*/ 1004886 h 2953522"/>
                    <a:gd name="connsiteX16" fmla="*/ 151640 w 2251903"/>
                    <a:gd name="connsiteY16" fmla="*/ 1038224 h 2953522"/>
                    <a:gd name="connsiteX17" fmla="*/ 132590 w 2251903"/>
                    <a:gd name="connsiteY17" fmla="*/ 1090611 h 2953522"/>
                    <a:gd name="connsiteX18" fmla="*/ 127828 w 2251903"/>
                    <a:gd name="connsiteY18" fmla="*/ 1181099 h 2953522"/>
                    <a:gd name="connsiteX19" fmla="*/ 80203 w 2251903"/>
                    <a:gd name="connsiteY19" fmla="*/ 1243011 h 2953522"/>
                    <a:gd name="connsiteX20" fmla="*/ 51628 w 2251903"/>
                    <a:gd name="connsiteY20" fmla="*/ 1371599 h 2953522"/>
                    <a:gd name="connsiteX21" fmla="*/ 13528 w 2251903"/>
                    <a:gd name="connsiteY21" fmla="*/ 1443036 h 2953522"/>
                    <a:gd name="connsiteX22" fmla="*/ 23053 w 2251903"/>
                    <a:gd name="connsiteY22" fmla="*/ 1500186 h 2953522"/>
                    <a:gd name="connsiteX23" fmla="*/ 4003 w 2251903"/>
                    <a:gd name="connsiteY23" fmla="*/ 1543049 h 2953522"/>
                    <a:gd name="connsiteX24" fmla="*/ 4003 w 2251903"/>
                    <a:gd name="connsiteY24" fmla="*/ 1609724 h 2953522"/>
                    <a:gd name="connsiteX25" fmla="*/ 46865 w 2251903"/>
                    <a:gd name="connsiteY25" fmla="*/ 1695449 h 2953522"/>
                    <a:gd name="connsiteX26" fmla="*/ 123065 w 2251903"/>
                    <a:gd name="connsiteY26" fmla="*/ 1762124 h 2953522"/>
                    <a:gd name="connsiteX27" fmla="*/ 189740 w 2251903"/>
                    <a:gd name="connsiteY27" fmla="*/ 1833561 h 2953522"/>
                    <a:gd name="connsiteX28" fmla="*/ 242128 w 2251903"/>
                    <a:gd name="connsiteY28" fmla="*/ 1947861 h 2953522"/>
                    <a:gd name="connsiteX29" fmla="*/ 318328 w 2251903"/>
                    <a:gd name="connsiteY29" fmla="*/ 2066924 h 2953522"/>
                    <a:gd name="connsiteX30" fmla="*/ 413578 w 2251903"/>
                    <a:gd name="connsiteY30" fmla="*/ 2128836 h 2953522"/>
                    <a:gd name="connsiteX31" fmla="*/ 432628 w 2251903"/>
                    <a:gd name="connsiteY31" fmla="*/ 2152649 h 2953522"/>
                    <a:gd name="connsiteX32" fmla="*/ 442153 w 2251903"/>
                    <a:gd name="connsiteY32" fmla="*/ 2247899 h 2953522"/>
                    <a:gd name="connsiteX33" fmla="*/ 461203 w 2251903"/>
                    <a:gd name="connsiteY33" fmla="*/ 2319337 h 2953522"/>
                    <a:gd name="connsiteX34" fmla="*/ 532640 w 2251903"/>
                    <a:gd name="connsiteY34" fmla="*/ 2452686 h 2953522"/>
                    <a:gd name="connsiteX35" fmla="*/ 546928 w 2251903"/>
                    <a:gd name="connsiteY35" fmla="*/ 2543174 h 2953522"/>
                    <a:gd name="connsiteX36" fmla="*/ 570740 w 2251903"/>
                    <a:gd name="connsiteY36" fmla="*/ 2624136 h 2953522"/>
                    <a:gd name="connsiteX37" fmla="*/ 561215 w 2251903"/>
                    <a:gd name="connsiteY37" fmla="*/ 2690811 h 2953522"/>
                    <a:gd name="connsiteX38" fmla="*/ 646940 w 2251903"/>
                    <a:gd name="connsiteY38" fmla="*/ 2805111 h 2953522"/>
                    <a:gd name="connsiteX39" fmla="*/ 642178 w 2251903"/>
                    <a:gd name="connsiteY39" fmla="*/ 2900361 h 2953522"/>
                    <a:gd name="connsiteX40" fmla="*/ 656465 w 2251903"/>
                    <a:gd name="connsiteY40" fmla="*/ 2952749 h 2953522"/>
                    <a:gd name="connsiteX41" fmla="*/ 889828 w 2251903"/>
                    <a:gd name="connsiteY41" fmla="*/ 2862261 h 2953522"/>
                    <a:gd name="connsiteX42" fmla="*/ 951740 w 2251903"/>
                    <a:gd name="connsiteY42" fmla="*/ 2833686 h 2953522"/>
                    <a:gd name="connsiteX43" fmla="*/ 1027940 w 2251903"/>
                    <a:gd name="connsiteY43" fmla="*/ 2857499 h 2953522"/>
                    <a:gd name="connsiteX44" fmla="*/ 1089853 w 2251903"/>
                    <a:gd name="connsiteY44" fmla="*/ 2862261 h 2953522"/>
                    <a:gd name="connsiteX45" fmla="*/ 1127953 w 2251903"/>
                    <a:gd name="connsiteY45" fmla="*/ 2781299 h 2953522"/>
                    <a:gd name="connsiteX46" fmla="*/ 1089853 w 2251903"/>
                    <a:gd name="connsiteY46" fmla="*/ 2705099 h 2953522"/>
                    <a:gd name="connsiteX47" fmla="*/ 1151765 w 2251903"/>
                    <a:gd name="connsiteY47" fmla="*/ 2643186 h 2953522"/>
                    <a:gd name="connsiteX48" fmla="*/ 1218440 w 2251903"/>
                    <a:gd name="connsiteY48" fmla="*/ 2581274 h 2953522"/>
                    <a:gd name="connsiteX49" fmla="*/ 1270828 w 2251903"/>
                    <a:gd name="connsiteY49" fmla="*/ 2466974 h 2953522"/>
                    <a:gd name="connsiteX50" fmla="*/ 1294640 w 2251903"/>
                    <a:gd name="connsiteY50" fmla="*/ 2414586 h 2953522"/>
                    <a:gd name="connsiteX51" fmla="*/ 1356553 w 2251903"/>
                    <a:gd name="connsiteY51" fmla="*/ 2352674 h 2953522"/>
                    <a:gd name="connsiteX52" fmla="*/ 1408940 w 2251903"/>
                    <a:gd name="connsiteY52" fmla="*/ 2271711 h 2953522"/>
                    <a:gd name="connsiteX53" fmla="*/ 1423228 w 2251903"/>
                    <a:gd name="connsiteY53" fmla="*/ 2190749 h 2953522"/>
                    <a:gd name="connsiteX54" fmla="*/ 1489903 w 2251903"/>
                    <a:gd name="connsiteY54" fmla="*/ 2057399 h 2953522"/>
                    <a:gd name="connsiteX55" fmla="*/ 1556578 w 2251903"/>
                    <a:gd name="connsiteY55" fmla="*/ 1943099 h 2953522"/>
                    <a:gd name="connsiteX56" fmla="*/ 1556578 w 2251903"/>
                    <a:gd name="connsiteY56" fmla="*/ 1862136 h 2953522"/>
                    <a:gd name="connsiteX57" fmla="*/ 1561340 w 2251903"/>
                    <a:gd name="connsiteY57" fmla="*/ 1733549 h 2953522"/>
                    <a:gd name="connsiteX58" fmla="*/ 1575628 w 2251903"/>
                    <a:gd name="connsiteY58" fmla="*/ 1638299 h 2953522"/>
                    <a:gd name="connsiteX59" fmla="*/ 1594678 w 2251903"/>
                    <a:gd name="connsiteY59" fmla="*/ 1557336 h 2953522"/>
                    <a:gd name="connsiteX60" fmla="*/ 1547053 w 2251903"/>
                    <a:gd name="connsiteY60" fmla="*/ 1423986 h 2953522"/>
                    <a:gd name="connsiteX61" fmla="*/ 1442278 w 2251903"/>
                    <a:gd name="connsiteY61" fmla="*/ 1209674 h 2953522"/>
                    <a:gd name="connsiteX62" fmla="*/ 1447040 w 2251903"/>
                    <a:gd name="connsiteY62" fmla="*/ 1162049 h 2953522"/>
                    <a:gd name="connsiteX63" fmla="*/ 1451803 w 2251903"/>
                    <a:gd name="connsiteY63" fmla="*/ 1119186 h 2953522"/>
                    <a:gd name="connsiteX64" fmla="*/ 1489903 w 2251903"/>
                    <a:gd name="connsiteY64" fmla="*/ 1062036 h 2953522"/>
                    <a:gd name="connsiteX65" fmla="*/ 1508953 w 2251903"/>
                    <a:gd name="connsiteY65" fmla="*/ 1023936 h 2953522"/>
                    <a:gd name="connsiteX66" fmla="*/ 1556578 w 2251903"/>
                    <a:gd name="connsiteY66" fmla="*/ 928686 h 2953522"/>
                    <a:gd name="connsiteX67" fmla="*/ 1594678 w 2251903"/>
                    <a:gd name="connsiteY67" fmla="*/ 852486 h 2953522"/>
                    <a:gd name="connsiteX68" fmla="*/ 1680403 w 2251903"/>
                    <a:gd name="connsiteY68" fmla="*/ 766761 h 2953522"/>
                    <a:gd name="connsiteX69" fmla="*/ 1728028 w 2251903"/>
                    <a:gd name="connsiteY69" fmla="*/ 709611 h 2953522"/>
                    <a:gd name="connsiteX70" fmla="*/ 1780415 w 2251903"/>
                    <a:gd name="connsiteY70" fmla="*/ 619124 h 2953522"/>
                    <a:gd name="connsiteX71" fmla="*/ 1828040 w 2251903"/>
                    <a:gd name="connsiteY71" fmla="*/ 595311 h 2953522"/>
                    <a:gd name="connsiteX72" fmla="*/ 1851853 w 2251903"/>
                    <a:gd name="connsiteY72" fmla="*/ 538161 h 2953522"/>
                    <a:gd name="connsiteX73" fmla="*/ 1875665 w 2251903"/>
                    <a:gd name="connsiteY73" fmla="*/ 466724 h 2953522"/>
                    <a:gd name="connsiteX74" fmla="*/ 1913765 w 2251903"/>
                    <a:gd name="connsiteY74" fmla="*/ 404811 h 2953522"/>
                    <a:gd name="connsiteX75" fmla="*/ 1961390 w 2251903"/>
                    <a:gd name="connsiteY75" fmla="*/ 347661 h 2953522"/>
                    <a:gd name="connsiteX76" fmla="*/ 2018540 w 2251903"/>
                    <a:gd name="connsiteY76" fmla="*/ 323849 h 2953522"/>
                    <a:gd name="connsiteX77" fmla="*/ 2066165 w 2251903"/>
                    <a:gd name="connsiteY77" fmla="*/ 309561 h 2953522"/>
                    <a:gd name="connsiteX78" fmla="*/ 2089978 w 2251903"/>
                    <a:gd name="connsiteY78" fmla="*/ 261936 h 2953522"/>
                    <a:gd name="connsiteX79" fmla="*/ 2085215 w 2251903"/>
                    <a:gd name="connsiteY79" fmla="*/ 185736 h 2953522"/>
                    <a:gd name="connsiteX80" fmla="*/ 2137603 w 2251903"/>
                    <a:gd name="connsiteY80" fmla="*/ 119061 h 2953522"/>
                    <a:gd name="connsiteX81" fmla="*/ 2199515 w 2251903"/>
                    <a:gd name="connsiteY81" fmla="*/ 109536 h 2953522"/>
                    <a:gd name="connsiteX82" fmla="*/ 2251903 w 2251903"/>
                    <a:gd name="connsiteY82" fmla="*/ 119061 h 2953522"/>
                    <a:gd name="connsiteX0" fmla="*/ 889829 w 2251903"/>
                    <a:gd name="connsiteY0" fmla="*/ 0 h 2877323"/>
                    <a:gd name="connsiteX1" fmla="*/ 823154 w 2251903"/>
                    <a:gd name="connsiteY1" fmla="*/ 90487 h 2877323"/>
                    <a:gd name="connsiteX2" fmla="*/ 585029 w 2251903"/>
                    <a:gd name="connsiteY2" fmla="*/ 109537 h 2877323"/>
                    <a:gd name="connsiteX3" fmla="*/ 494540 w 2251903"/>
                    <a:gd name="connsiteY3" fmla="*/ 214312 h 2877323"/>
                    <a:gd name="connsiteX4" fmla="*/ 485015 w 2251903"/>
                    <a:gd name="connsiteY4" fmla="*/ 290512 h 2877323"/>
                    <a:gd name="connsiteX5" fmla="*/ 451678 w 2251903"/>
                    <a:gd name="connsiteY5" fmla="*/ 395287 h 2877323"/>
                    <a:gd name="connsiteX6" fmla="*/ 427865 w 2251903"/>
                    <a:gd name="connsiteY6" fmla="*/ 423862 h 2877323"/>
                    <a:gd name="connsiteX7" fmla="*/ 404053 w 2251903"/>
                    <a:gd name="connsiteY7" fmla="*/ 442912 h 2877323"/>
                    <a:gd name="connsiteX8" fmla="*/ 408815 w 2251903"/>
                    <a:gd name="connsiteY8" fmla="*/ 500062 h 2877323"/>
                    <a:gd name="connsiteX9" fmla="*/ 375478 w 2251903"/>
                    <a:gd name="connsiteY9" fmla="*/ 561975 h 2877323"/>
                    <a:gd name="connsiteX10" fmla="*/ 356428 w 2251903"/>
                    <a:gd name="connsiteY10" fmla="*/ 657225 h 2877323"/>
                    <a:gd name="connsiteX11" fmla="*/ 380240 w 2251903"/>
                    <a:gd name="connsiteY11" fmla="*/ 733425 h 2877323"/>
                    <a:gd name="connsiteX12" fmla="*/ 337378 w 2251903"/>
                    <a:gd name="connsiteY12" fmla="*/ 781050 h 2877323"/>
                    <a:gd name="connsiteX13" fmla="*/ 289753 w 2251903"/>
                    <a:gd name="connsiteY13" fmla="*/ 866775 h 2877323"/>
                    <a:gd name="connsiteX14" fmla="*/ 194503 w 2251903"/>
                    <a:gd name="connsiteY14" fmla="*/ 928687 h 2877323"/>
                    <a:gd name="connsiteX15" fmla="*/ 151640 w 2251903"/>
                    <a:gd name="connsiteY15" fmla="*/ 962025 h 2877323"/>
                    <a:gd name="connsiteX16" fmla="*/ 132590 w 2251903"/>
                    <a:gd name="connsiteY16" fmla="*/ 1014412 h 2877323"/>
                    <a:gd name="connsiteX17" fmla="*/ 127828 w 2251903"/>
                    <a:gd name="connsiteY17" fmla="*/ 1104900 h 2877323"/>
                    <a:gd name="connsiteX18" fmla="*/ 80203 w 2251903"/>
                    <a:gd name="connsiteY18" fmla="*/ 1166812 h 2877323"/>
                    <a:gd name="connsiteX19" fmla="*/ 51628 w 2251903"/>
                    <a:gd name="connsiteY19" fmla="*/ 1295400 h 2877323"/>
                    <a:gd name="connsiteX20" fmla="*/ 13528 w 2251903"/>
                    <a:gd name="connsiteY20" fmla="*/ 1366837 h 2877323"/>
                    <a:gd name="connsiteX21" fmla="*/ 23053 w 2251903"/>
                    <a:gd name="connsiteY21" fmla="*/ 1423987 h 2877323"/>
                    <a:gd name="connsiteX22" fmla="*/ 4003 w 2251903"/>
                    <a:gd name="connsiteY22" fmla="*/ 1466850 h 2877323"/>
                    <a:gd name="connsiteX23" fmla="*/ 4003 w 2251903"/>
                    <a:gd name="connsiteY23" fmla="*/ 1533525 h 2877323"/>
                    <a:gd name="connsiteX24" fmla="*/ 46865 w 2251903"/>
                    <a:gd name="connsiteY24" fmla="*/ 1619250 h 2877323"/>
                    <a:gd name="connsiteX25" fmla="*/ 123065 w 2251903"/>
                    <a:gd name="connsiteY25" fmla="*/ 1685925 h 2877323"/>
                    <a:gd name="connsiteX26" fmla="*/ 189740 w 2251903"/>
                    <a:gd name="connsiteY26" fmla="*/ 1757362 h 2877323"/>
                    <a:gd name="connsiteX27" fmla="*/ 242128 w 2251903"/>
                    <a:gd name="connsiteY27" fmla="*/ 1871662 h 2877323"/>
                    <a:gd name="connsiteX28" fmla="*/ 318328 w 2251903"/>
                    <a:gd name="connsiteY28" fmla="*/ 1990725 h 2877323"/>
                    <a:gd name="connsiteX29" fmla="*/ 413578 w 2251903"/>
                    <a:gd name="connsiteY29" fmla="*/ 2052637 h 2877323"/>
                    <a:gd name="connsiteX30" fmla="*/ 432628 w 2251903"/>
                    <a:gd name="connsiteY30" fmla="*/ 2076450 h 2877323"/>
                    <a:gd name="connsiteX31" fmla="*/ 442153 w 2251903"/>
                    <a:gd name="connsiteY31" fmla="*/ 2171700 h 2877323"/>
                    <a:gd name="connsiteX32" fmla="*/ 461203 w 2251903"/>
                    <a:gd name="connsiteY32" fmla="*/ 2243138 h 2877323"/>
                    <a:gd name="connsiteX33" fmla="*/ 532640 w 2251903"/>
                    <a:gd name="connsiteY33" fmla="*/ 2376487 h 2877323"/>
                    <a:gd name="connsiteX34" fmla="*/ 546928 w 2251903"/>
                    <a:gd name="connsiteY34" fmla="*/ 2466975 h 2877323"/>
                    <a:gd name="connsiteX35" fmla="*/ 570740 w 2251903"/>
                    <a:gd name="connsiteY35" fmla="*/ 2547937 h 2877323"/>
                    <a:gd name="connsiteX36" fmla="*/ 561215 w 2251903"/>
                    <a:gd name="connsiteY36" fmla="*/ 2614612 h 2877323"/>
                    <a:gd name="connsiteX37" fmla="*/ 646940 w 2251903"/>
                    <a:gd name="connsiteY37" fmla="*/ 2728912 h 2877323"/>
                    <a:gd name="connsiteX38" fmla="*/ 642178 w 2251903"/>
                    <a:gd name="connsiteY38" fmla="*/ 2824162 h 2877323"/>
                    <a:gd name="connsiteX39" fmla="*/ 656465 w 2251903"/>
                    <a:gd name="connsiteY39" fmla="*/ 2876550 h 2877323"/>
                    <a:gd name="connsiteX40" fmla="*/ 889828 w 2251903"/>
                    <a:gd name="connsiteY40" fmla="*/ 2786062 h 2877323"/>
                    <a:gd name="connsiteX41" fmla="*/ 951740 w 2251903"/>
                    <a:gd name="connsiteY41" fmla="*/ 2757487 h 2877323"/>
                    <a:gd name="connsiteX42" fmla="*/ 1027940 w 2251903"/>
                    <a:gd name="connsiteY42" fmla="*/ 2781300 h 2877323"/>
                    <a:gd name="connsiteX43" fmla="*/ 1089853 w 2251903"/>
                    <a:gd name="connsiteY43" fmla="*/ 2786062 h 2877323"/>
                    <a:gd name="connsiteX44" fmla="*/ 1127953 w 2251903"/>
                    <a:gd name="connsiteY44" fmla="*/ 2705100 h 2877323"/>
                    <a:gd name="connsiteX45" fmla="*/ 1089853 w 2251903"/>
                    <a:gd name="connsiteY45" fmla="*/ 2628900 h 2877323"/>
                    <a:gd name="connsiteX46" fmla="*/ 1151765 w 2251903"/>
                    <a:gd name="connsiteY46" fmla="*/ 2566987 h 2877323"/>
                    <a:gd name="connsiteX47" fmla="*/ 1218440 w 2251903"/>
                    <a:gd name="connsiteY47" fmla="*/ 2505075 h 2877323"/>
                    <a:gd name="connsiteX48" fmla="*/ 1270828 w 2251903"/>
                    <a:gd name="connsiteY48" fmla="*/ 2390775 h 2877323"/>
                    <a:gd name="connsiteX49" fmla="*/ 1294640 w 2251903"/>
                    <a:gd name="connsiteY49" fmla="*/ 2338387 h 2877323"/>
                    <a:gd name="connsiteX50" fmla="*/ 1356553 w 2251903"/>
                    <a:gd name="connsiteY50" fmla="*/ 2276475 h 2877323"/>
                    <a:gd name="connsiteX51" fmla="*/ 1408940 w 2251903"/>
                    <a:gd name="connsiteY51" fmla="*/ 2195512 h 2877323"/>
                    <a:gd name="connsiteX52" fmla="*/ 1423228 w 2251903"/>
                    <a:gd name="connsiteY52" fmla="*/ 2114550 h 2877323"/>
                    <a:gd name="connsiteX53" fmla="*/ 1489903 w 2251903"/>
                    <a:gd name="connsiteY53" fmla="*/ 1981200 h 2877323"/>
                    <a:gd name="connsiteX54" fmla="*/ 1556578 w 2251903"/>
                    <a:gd name="connsiteY54" fmla="*/ 1866900 h 2877323"/>
                    <a:gd name="connsiteX55" fmla="*/ 1556578 w 2251903"/>
                    <a:gd name="connsiteY55" fmla="*/ 1785937 h 2877323"/>
                    <a:gd name="connsiteX56" fmla="*/ 1561340 w 2251903"/>
                    <a:gd name="connsiteY56" fmla="*/ 1657350 h 2877323"/>
                    <a:gd name="connsiteX57" fmla="*/ 1575628 w 2251903"/>
                    <a:gd name="connsiteY57" fmla="*/ 1562100 h 2877323"/>
                    <a:gd name="connsiteX58" fmla="*/ 1594678 w 2251903"/>
                    <a:gd name="connsiteY58" fmla="*/ 1481137 h 2877323"/>
                    <a:gd name="connsiteX59" fmla="*/ 1547053 w 2251903"/>
                    <a:gd name="connsiteY59" fmla="*/ 1347787 h 2877323"/>
                    <a:gd name="connsiteX60" fmla="*/ 1442278 w 2251903"/>
                    <a:gd name="connsiteY60" fmla="*/ 1133475 h 2877323"/>
                    <a:gd name="connsiteX61" fmla="*/ 1447040 w 2251903"/>
                    <a:gd name="connsiteY61" fmla="*/ 1085850 h 2877323"/>
                    <a:gd name="connsiteX62" fmla="*/ 1451803 w 2251903"/>
                    <a:gd name="connsiteY62" fmla="*/ 1042987 h 2877323"/>
                    <a:gd name="connsiteX63" fmla="*/ 1489903 w 2251903"/>
                    <a:gd name="connsiteY63" fmla="*/ 985837 h 2877323"/>
                    <a:gd name="connsiteX64" fmla="*/ 1508953 w 2251903"/>
                    <a:gd name="connsiteY64" fmla="*/ 947737 h 2877323"/>
                    <a:gd name="connsiteX65" fmla="*/ 1556578 w 2251903"/>
                    <a:gd name="connsiteY65" fmla="*/ 852487 h 2877323"/>
                    <a:gd name="connsiteX66" fmla="*/ 1594678 w 2251903"/>
                    <a:gd name="connsiteY66" fmla="*/ 776287 h 2877323"/>
                    <a:gd name="connsiteX67" fmla="*/ 1680403 w 2251903"/>
                    <a:gd name="connsiteY67" fmla="*/ 690562 h 2877323"/>
                    <a:gd name="connsiteX68" fmla="*/ 1728028 w 2251903"/>
                    <a:gd name="connsiteY68" fmla="*/ 633412 h 2877323"/>
                    <a:gd name="connsiteX69" fmla="*/ 1780415 w 2251903"/>
                    <a:gd name="connsiteY69" fmla="*/ 542925 h 2877323"/>
                    <a:gd name="connsiteX70" fmla="*/ 1828040 w 2251903"/>
                    <a:gd name="connsiteY70" fmla="*/ 519112 h 2877323"/>
                    <a:gd name="connsiteX71" fmla="*/ 1851853 w 2251903"/>
                    <a:gd name="connsiteY71" fmla="*/ 461962 h 2877323"/>
                    <a:gd name="connsiteX72" fmla="*/ 1875665 w 2251903"/>
                    <a:gd name="connsiteY72" fmla="*/ 390525 h 2877323"/>
                    <a:gd name="connsiteX73" fmla="*/ 1913765 w 2251903"/>
                    <a:gd name="connsiteY73" fmla="*/ 328612 h 2877323"/>
                    <a:gd name="connsiteX74" fmla="*/ 1961390 w 2251903"/>
                    <a:gd name="connsiteY74" fmla="*/ 271462 h 2877323"/>
                    <a:gd name="connsiteX75" fmla="*/ 2018540 w 2251903"/>
                    <a:gd name="connsiteY75" fmla="*/ 247650 h 2877323"/>
                    <a:gd name="connsiteX76" fmla="*/ 2066165 w 2251903"/>
                    <a:gd name="connsiteY76" fmla="*/ 233362 h 2877323"/>
                    <a:gd name="connsiteX77" fmla="*/ 2089978 w 2251903"/>
                    <a:gd name="connsiteY77" fmla="*/ 185737 h 2877323"/>
                    <a:gd name="connsiteX78" fmla="*/ 2085215 w 2251903"/>
                    <a:gd name="connsiteY78" fmla="*/ 109537 h 2877323"/>
                    <a:gd name="connsiteX79" fmla="*/ 2137603 w 2251903"/>
                    <a:gd name="connsiteY79" fmla="*/ 42862 h 2877323"/>
                    <a:gd name="connsiteX80" fmla="*/ 2199515 w 2251903"/>
                    <a:gd name="connsiteY80" fmla="*/ 33337 h 2877323"/>
                    <a:gd name="connsiteX81" fmla="*/ 2251903 w 2251903"/>
                    <a:gd name="connsiteY81" fmla="*/ 42862 h 2877323"/>
                    <a:gd name="connsiteX0" fmla="*/ 823154 w 2251903"/>
                    <a:gd name="connsiteY0" fmla="*/ 57503 h 2844339"/>
                    <a:gd name="connsiteX1" fmla="*/ 585029 w 2251903"/>
                    <a:gd name="connsiteY1" fmla="*/ 76553 h 2844339"/>
                    <a:gd name="connsiteX2" fmla="*/ 494540 w 2251903"/>
                    <a:gd name="connsiteY2" fmla="*/ 181328 h 2844339"/>
                    <a:gd name="connsiteX3" fmla="*/ 485015 w 2251903"/>
                    <a:gd name="connsiteY3" fmla="*/ 257528 h 2844339"/>
                    <a:gd name="connsiteX4" fmla="*/ 451678 w 2251903"/>
                    <a:gd name="connsiteY4" fmla="*/ 362303 h 2844339"/>
                    <a:gd name="connsiteX5" fmla="*/ 427865 w 2251903"/>
                    <a:gd name="connsiteY5" fmla="*/ 390878 h 2844339"/>
                    <a:gd name="connsiteX6" fmla="*/ 404053 w 2251903"/>
                    <a:gd name="connsiteY6" fmla="*/ 409928 h 2844339"/>
                    <a:gd name="connsiteX7" fmla="*/ 408815 w 2251903"/>
                    <a:gd name="connsiteY7" fmla="*/ 467078 h 2844339"/>
                    <a:gd name="connsiteX8" fmla="*/ 375478 w 2251903"/>
                    <a:gd name="connsiteY8" fmla="*/ 528991 h 2844339"/>
                    <a:gd name="connsiteX9" fmla="*/ 356428 w 2251903"/>
                    <a:gd name="connsiteY9" fmla="*/ 624241 h 2844339"/>
                    <a:gd name="connsiteX10" fmla="*/ 380240 w 2251903"/>
                    <a:gd name="connsiteY10" fmla="*/ 700441 h 2844339"/>
                    <a:gd name="connsiteX11" fmla="*/ 337378 w 2251903"/>
                    <a:gd name="connsiteY11" fmla="*/ 748066 h 2844339"/>
                    <a:gd name="connsiteX12" fmla="*/ 289753 w 2251903"/>
                    <a:gd name="connsiteY12" fmla="*/ 833791 h 2844339"/>
                    <a:gd name="connsiteX13" fmla="*/ 194503 w 2251903"/>
                    <a:gd name="connsiteY13" fmla="*/ 895703 h 2844339"/>
                    <a:gd name="connsiteX14" fmla="*/ 151640 w 2251903"/>
                    <a:gd name="connsiteY14" fmla="*/ 929041 h 2844339"/>
                    <a:gd name="connsiteX15" fmla="*/ 132590 w 2251903"/>
                    <a:gd name="connsiteY15" fmla="*/ 981428 h 2844339"/>
                    <a:gd name="connsiteX16" fmla="*/ 127828 w 2251903"/>
                    <a:gd name="connsiteY16" fmla="*/ 1071916 h 2844339"/>
                    <a:gd name="connsiteX17" fmla="*/ 80203 w 2251903"/>
                    <a:gd name="connsiteY17" fmla="*/ 1133828 h 2844339"/>
                    <a:gd name="connsiteX18" fmla="*/ 51628 w 2251903"/>
                    <a:gd name="connsiteY18" fmla="*/ 1262416 h 2844339"/>
                    <a:gd name="connsiteX19" fmla="*/ 13528 w 2251903"/>
                    <a:gd name="connsiteY19" fmla="*/ 1333853 h 2844339"/>
                    <a:gd name="connsiteX20" fmla="*/ 23053 w 2251903"/>
                    <a:gd name="connsiteY20" fmla="*/ 1391003 h 2844339"/>
                    <a:gd name="connsiteX21" fmla="*/ 4003 w 2251903"/>
                    <a:gd name="connsiteY21" fmla="*/ 1433866 h 2844339"/>
                    <a:gd name="connsiteX22" fmla="*/ 4003 w 2251903"/>
                    <a:gd name="connsiteY22" fmla="*/ 1500541 h 2844339"/>
                    <a:gd name="connsiteX23" fmla="*/ 46865 w 2251903"/>
                    <a:gd name="connsiteY23" fmla="*/ 1586266 h 2844339"/>
                    <a:gd name="connsiteX24" fmla="*/ 123065 w 2251903"/>
                    <a:gd name="connsiteY24" fmla="*/ 1652941 h 2844339"/>
                    <a:gd name="connsiteX25" fmla="*/ 189740 w 2251903"/>
                    <a:gd name="connsiteY25" fmla="*/ 1724378 h 2844339"/>
                    <a:gd name="connsiteX26" fmla="*/ 242128 w 2251903"/>
                    <a:gd name="connsiteY26" fmla="*/ 1838678 h 2844339"/>
                    <a:gd name="connsiteX27" fmla="*/ 318328 w 2251903"/>
                    <a:gd name="connsiteY27" fmla="*/ 1957741 h 2844339"/>
                    <a:gd name="connsiteX28" fmla="*/ 413578 w 2251903"/>
                    <a:gd name="connsiteY28" fmla="*/ 2019653 h 2844339"/>
                    <a:gd name="connsiteX29" fmla="*/ 432628 w 2251903"/>
                    <a:gd name="connsiteY29" fmla="*/ 2043466 h 2844339"/>
                    <a:gd name="connsiteX30" fmla="*/ 442153 w 2251903"/>
                    <a:gd name="connsiteY30" fmla="*/ 2138716 h 2844339"/>
                    <a:gd name="connsiteX31" fmla="*/ 461203 w 2251903"/>
                    <a:gd name="connsiteY31" fmla="*/ 2210154 h 2844339"/>
                    <a:gd name="connsiteX32" fmla="*/ 532640 w 2251903"/>
                    <a:gd name="connsiteY32" fmla="*/ 2343503 h 2844339"/>
                    <a:gd name="connsiteX33" fmla="*/ 546928 w 2251903"/>
                    <a:gd name="connsiteY33" fmla="*/ 2433991 h 2844339"/>
                    <a:gd name="connsiteX34" fmla="*/ 570740 w 2251903"/>
                    <a:gd name="connsiteY34" fmla="*/ 2514953 h 2844339"/>
                    <a:gd name="connsiteX35" fmla="*/ 561215 w 2251903"/>
                    <a:gd name="connsiteY35" fmla="*/ 2581628 h 2844339"/>
                    <a:gd name="connsiteX36" fmla="*/ 646940 w 2251903"/>
                    <a:gd name="connsiteY36" fmla="*/ 2695928 h 2844339"/>
                    <a:gd name="connsiteX37" fmla="*/ 642178 w 2251903"/>
                    <a:gd name="connsiteY37" fmla="*/ 2791178 h 2844339"/>
                    <a:gd name="connsiteX38" fmla="*/ 656465 w 2251903"/>
                    <a:gd name="connsiteY38" fmla="*/ 2843566 h 2844339"/>
                    <a:gd name="connsiteX39" fmla="*/ 889828 w 2251903"/>
                    <a:gd name="connsiteY39" fmla="*/ 2753078 h 2844339"/>
                    <a:gd name="connsiteX40" fmla="*/ 951740 w 2251903"/>
                    <a:gd name="connsiteY40" fmla="*/ 2724503 h 2844339"/>
                    <a:gd name="connsiteX41" fmla="*/ 1027940 w 2251903"/>
                    <a:gd name="connsiteY41" fmla="*/ 2748316 h 2844339"/>
                    <a:gd name="connsiteX42" fmla="*/ 1089853 w 2251903"/>
                    <a:gd name="connsiteY42" fmla="*/ 2753078 h 2844339"/>
                    <a:gd name="connsiteX43" fmla="*/ 1127953 w 2251903"/>
                    <a:gd name="connsiteY43" fmla="*/ 2672116 h 2844339"/>
                    <a:gd name="connsiteX44" fmla="*/ 1089853 w 2251903"/>
                    <a:gd name="connsiteY44" fmla="*/ 2595916 h 2844339"/>
                    <a:gd name="connsiteX45" fmla="*/ 1151765 w 2251903"/>
                    <a:gd name="connsiteY45" fmla="*/ 2534003 h 2844339"/>
                    <a:gd name="connsiteX46" fmla="*/ 1218440 w 2251903"/>
                    <a:gd name="connsiteY46" fmla="*/ 2472091 h 2844339"/>
                    <a:gd name="connsiteX47" fmla="*/ 1270828 w 2251903"/>
                    <a:gd name="connsiteY47" fmla="*/ 2357791 h 2844339"/>
                    <a:gd name="connsiteX48" fmla="*/ 1294640 w 2251903"/>
                    <a:gd name="connsiteY48" fmla="*/ 2305403 h 2844339"/>
                    <a:gd name="connsiteX49" fmla="*/ 1356553 w 2251903"/>
                    <a:gd name="connsiteY49" fmla="*/ 2243491 h 2844339"/>
                    <a:gd name="connsiteX50" fmla="*/ 1408940 w 2251903"/>
                    <a:gd name="connsiteY50" fmla="*/ 2162528 h 2844339"/>
                    <a:gd name="connsiteX51" fmla="*/ 1423228 w 2251903"/>
                    <a:gd name="connsiteY51" fmla="*/ 2081566 h 2844339"/>
                    <a:gd name="connsiteX52" fmla="*/ 1489903 w 2251903"/>
                    <a:gd name="connsiteY52" fmla="*/ 1948216 h 2844339"/>
                    <a:gd name="connsiteX53" fmla="*/ 1556578 w 2251903"/>
                    <a:gd name="connsiteY53" fmla="*/ 1833916 h 2844339"/>
                    <a:gd name="connsiteX54" fmla="*/ 1556578 w 2251903"/>
                    <a:gd name="connsiteY54" fmla="*/ 1752953 h 2844339"/>
                    <a:gd name="connsiteX55" fmla="*/ 1561340 w 2251903"/>
                    <a:gd name="connsiteY55" fmla="*/ 1624366 h 2844339"/>
                    <a:gd name="connsiteX56" fmla="*/ 1575628 w 2251903"/>
                    <a:gd name="connsiteY56" fmla="*/ 1529116 h 2844339"/>
                    <a:gd name="connsiteX57" fmla="*/ 1594678 w 2251903"/>
                    <a:gd name="connsiteY57" fmla="*/ 1448153 h 2844339"/>
                    <a:gd name="connsiteX58" fmla="*/ 1547053 w 2251903"/>
                    <a:gd name="connsiteY58" fmla="*/ 1314803 h 2844339"/>
                    <a:gd name="connsiteX59" fmla="*/ 1442278 w 2251903"/>
                    <a:gd name="connsiteY59" fmla="*/ 1100491 h 2844339"/>
                    <a:gd name="connsiteX60" fmla="*/ 1447040 w 2251903"/>
                    <a:gd name="connsiteY60" fmla="*/ 1052866 h 2844339"/>
                    <a:gd name="connsiteX61" fmla="*/ 1451803 w 2251903"/>
                    <a:gd name="connsiteY61" fmla="*/ 1010003 h 2844339"/>
                    <a:gd name="connsiteX62" fmla="*/ 1489903 w 2251903"/>
                    <a:gd name="connsiteY62" fmla="*/ 952853 h 2844339"/>
                    <a:gd name="connsiteX63" fmla="*/ 1508953 w 2251903"/>
                    <a:gd name="connsiteY63" fmla="*/ 914753 h 2844339"/>
                    <a:gd name="connsiteX64" fmla="*/ 1556578 w 2251903"/>
                    <a:gd name="connsiteY64" fmla="*/ 819503 h 2844339"/>
                    <a:gd name="connsiteX65" fmla="*/ 1594678 w 2251903"/>
                    <a:gd name="connsiteY65" fmla="*/ 743303 h 2844339"/>
                    <a:gd name="connsiteX66" fmla="*/ 1680403 w 2251903"/>
                    <a:gd name="connsiteY66" fmla="*/ 657578 h 2844339"/>
                    <a:gd name="connsiteX67" fmla="*/ 1728028 w 2251903"/>
                    <a:gd name="connsiteY67" fmla="*/ 600428 h 2844339"/>
                    <a:gd name="connsiteX68" fmla="*/ 1780415 w 2251903"/>
                    <a:gd name="connsiteY68" fmla="*/ 509941 h 2844339"/>
                    <a:gd name="connsiteX69" fmla="*/ 1828040 w 2251903"/>
                    <a:gd name="connsiteY69" fmla="*/ 486128 h 2844339"/>
                    <a:gd name="connsiteX70" fmla="*/ 1851853 w 2251903"/>
                    <a:gd name="connsiteY70" fmla="*/ 428978 h 2844339"/>
                    <a:gd name="connsiteX71" fmla="*/ 1875665 w 2251903"/>
                    <a:gd name="connsiteY71" fmla="*/ 357541 h 2844339"/>
                    <a:gd name="connsiteX72" fmla="*/ 1913765 w 2251903"/>
                    <a:gd name="connsiteY72" fmla="*/ 295628 h 2844339"/>
                    <a:gd name="connsiteX73" fmla="*/ 1961390 w 2251903"/>
                    <a:gd name="connsiteY73" fmla="*/ 238478 h 2844339"/>
                    <a:gd name="connsiteX74" fmla="*/ 2018540 w 2251903"/>
                    <a:gd name="connsiteY74" fmla="*/ 214666 h 2844339"/>
                    <a:gd name="connsiteX75" fmla="*/ 2066165 w 2251903"/>
                    <a:gd name="connsiteY75" fmla="*/ 200378 h 2844339"/>
                    <a:gd name="connsiteX76" fmla="*/ 2089978 w 2251903"/>
                    <a:gd name="connsiteY76" fmla="*/ 152753 h 2844339"/>
                    <a:gd name="connsiteX77" fmla="*/ 2085215 w 2251903"/>
                    <a:gd name="connsiteY77" fmla="*/ 76553 h 2844339"/>
                    <a:gd name="connsiteX78" fmla="*/ 2137603 w 2251903"/>
                    <a:gd name="connsiteY78" fmla="*/ 9878 h 2844339"/>
                    <a:gd name="connsiteX79" fmla="*/ 2199515 w 2251903"/>
                    <a:gd name="connsiteY79" fmla="*/ 353 h 2844339"/>
                    <a:gd name="connsiteX80" fmla="*/ 2251903 w 2251903"/>
                    <a:gd name="connsiteY80" fmla="*/ 9878 h 2844339"/>
                    <a:gd name="connsiteX0" fmla="*/ 585029 w 2251903"/>
                    <a:gd name="connsiteY0" fmla="*/ 76553 h 2844339"/>
                    <a:gd name="connsiteX1" fmla="*/ 494540 w 2251903"/>
                    <a:gd name="connsiteY1" fmla="*/ 181328 h 2844339"/>
                    <a:gd name="connsiteX2" fmla="*/ 485015 w 2251903"/>
                    <a:gd name="connsiteY2" fmla="*/ 257528 h 2844339"/>
                    <a:gd name="connsiteX3" fmla="*/ 451678 w 2251903"/>
                    <a:gd name="connsiteY3" fmla="*/ 362303 h 2844339"/>
                    <a:gd name="connsiteX4" fmla="*/ 427865 w 2251903"/>
                    <a:gd name="connsiteY4" fmla="*/ 390878 h 2844339"/>
                    <a:gd name="connsiteX5" fmla="*/ 404053 w 2251903"/>
                    <a:gd name="connsiteY5" fmla="*/ 409928 h 2844339"/>
                    <a:gd name="connsiteX6" fmla="*/ 408815 w 2251903"/>
                    <a:gd name="connsiteY6" fmla="*/ 467078 h 2844339"/>
                    <a:gd name="connsiteX7" fmla="*/ 375478 w 2251903"/>
                    <a:gd name="connsiteY7" fmla="*/ 528991 h 2844339"/>
                    <a:gd name="connsiteX8" fmla="*/ 356428 w 2251903"/>
                    <a:gd name="connsiteY8" fmla="*/ 624241 h 2844339"/>
                    <a:gd name="connsiteX9" fmla="*/ 380240 w 2251903"/>
                    <a:gd name="connsiteY9" fmla="*/ 700441 h 2844339"/>
                    <a:gd name="connsiteX10" fmla="*/ 337378 w 2251903"/>
                    <a:gd name="connsiteY10" fmla="*/ 748066 h 2844339"/>
                    <a:gd name="connsiteX11" fmla="*/ 289753 w 2251903"/>
                    <a:gd name="connsiteY11" fmla="*/ 833791 h 2844339"/>
                    <a:gd name="connsiteX12" fmla="*/ 194503 w 2251903"/>
                    <a:gd name="connsiteY12" fmla="*/ 895703 h 2844339"/>
                    <a:gd name="connsiteX13" fmla="*/ 151640 w 2251903"/>
                    <a:gd name="connsiteY13" fmla="*/ 929041 h 2844339"/>
                    <a:gd name="connsiteX14" fmla="*/ 132590 w 2251903"/>
                    <a:gd name="connsiteY14" fmla="*/ 981428 h 2844339"/>
                    <a:gd name="connsiteX15" fmla="*/ 127828 w 2251903"/>
                    <a:gd name="connsiteY15" fmla="*/ 1071916 h 2844339"/>
                    <a:gd name="connsiteX16" fmla="*/ 80203 w 2251903"/>
                    <a:gd name="connsiteY16" fmla="*/ 1133828 h 2844339"/>
                    <a:gd name="connsiteX17" fmla="*/ 51628 w 2251903"/>
                    <a:gd name="connsiteY17" fmla="*/ 1262416 h 2844339"/>
                    <a:gd name="connsiteX18" fmla="*/ 13528 w 2251903"/>
                    <a:gd name="connsiteY18" fmla="*/ 1333853 h 2844339"/>
                    <a:gd name="connsiteX19" fmla="*/ 23053 w 2251903"/>
                    <a:gd name="connsiteY19" fmla="*/ 1391003 h 2844339"/>
                    <a:gd name="connsiteX20" fmla="*/ 4003 w 2251903"/>
                    <a:gd name="connsiteY20" fmla="*/ 1433866 h 2844339"/>
                    <a:gd name="connsiteX21" fmla="*/ 4003 w 2251903"/>
                    <a:gd name="connsiteY21" fmla="*/ 1500541 h 2844339"/>
                    <a:gd name="connsiteX22" fmla="*/ 46865 w 2251903"/>
                    <a:gd name="connsiteY22" fmla="*/ 1586266 h 2844339"/>
                    <a:gd name="connsiteX23" fmla="*/ 123065 w 2251903"/>
                    <a:gd name="connsiteY23" fmla="*/ 1652941 h 2844339"/>
                    <a:gd name="connsiteX24" fmla="*/ 189740 w 2251903"/>
                    <a:gd name="connsiteY24" fmla="*/ 1724378 h 2844339"/>
                    <a:gd name="connsiteX25" fmla="*/ 242128 w 2251903"/>
                    <a:gd name="connsiteY25" fmla="*/ 1838678 h 2844339"/>
                    <a:gd name="connsiteX26" fmla="*/ 318328 w 2251903"/>
                    <a:gd name="connsiteY26" fmla="*/ 1957741 h 2844339"/>
                    <a:gd name="connsiteX27" fmla="*/ 413578 w 2251903"/>
                    <a:gd name="connsiteY27" fmla="*/ 2019653 h 2844339"/>
                    <a:gd name="connsiteX28" fmla="*/ 432628 w 2251903"/>
                    <a:gd name="connsiteY28" fmla="*/ 2043466 h 2844339"/>
                    <a:gd name="connsiteX29" fmla="*/ 442153 w 2251903"/>
                    <a:gd name="connsiteY29" fmla="*/ 2138716 h 2844339"/>
                    <a:gd name="connsiteX30" fmla="*/ 461203 w 2251903"/>
                    <a:gd name="connsiteY30" fmla="*/ 2210154 h 2844339"/>
                    <a:gd name="connsiteX31" fmla="*/ 532640 w 2251903"/>
                    <a:gd name="connsiteY31" fmla="*/ 2343503 h 2844339"/>
                    <a:gd name="connsiteX32" fmla="*/ 546928 w 2251903"/>
                    <a:gd name="connsiteY32" fmla="*/ 2433991 h 2844339"/>
                    <a:gd name="connsiteX33" fmla="*/ 570740 w 2251903"/>
                    <a:gd name="connsiteY33" fmla="*/ 2514953 h 2844339"/>
                    <a:gd name="connsiteX34" fmla="*/ 561215 w 2251903"/>
                    <a:gd name="connsiteY34" fmla="*/ 2581628 h 2844339"/>
                    <a:gd name="connsiteX35" fmla="*/ 646940 w 2251903"/>
                    <a:gd name="connsiteY35" fmla="*/ 2695928 h 2844339"/>
                    <a:gd name="connsiteX36" fmla="*/ 642178 w 2251903"/>
                    <a:gd name="connsiteY36" fmla="*/ 2791178 h 2844339"/>
                    <a:gd name="connsiteX37" fmla="*/ 656465 w 2251903"/>
                    <a:gd name="connsiteY37" fmla="*/ 2843566 h 2844339"/>
                    <a:gd name="connsiteX38" fmla="*/ 889828 w 2251903"/>
                    <a:gd name="connsiteY38" fmla="*/ 2753078 h 2844339"/>
                    <a:gd name="connsiteX39" fmla="*/ 951740 w 2251903"/>
                    <a:gd name="connsiteY39" fmla="*/ 2724503 h 2844339"/>
                    <a:gd name="connsiteX40" fmla="*/ 1027940 w 2251903"/>
                    <a:gd name="connsiteY40" fmla="*/ 2748316 h 2844339"/>
                    <a:gd name="connsiteX41" fmla="*/ 1089853 w 2251903"/>
                    <a:gd name="connsiteY41" fmla="*/ 2753078 h 2844339"/>
                    <a:gd name="connsiteX42" fmla="*/ 1127953 w 2251903"/>
                    <a:gd name="connsiteY42" fmla="*/ 2672116 h 2844339"/>
                    <a:gd name="connsiteX43" fmla="*/ 1089853 w 2251903"/>
                    <a:gd name="connsiteY43" fmla="*/ 2595916 h 2844339"/>
                    <a:gd name="connsiteX44" fmla="*/ 1151765 w 2251903"/>
                    <a:gd name="connsiteY44" fmla="*/ 2534003 h 2844339"/>
                    <a:gd name="connsiteX45" fmla="*/ 1218440 w 2251903"/>
                    <a:gd name="connsiteY45" fmla="*/ 2472091 h 2844339"/>
                    <a:gd name="connsiteX46" fmla="*/ 1270828 w 2251903"/>
                    <a:gd name="connsiteY46" fmla="*/ 2357791 h 2844339"/>
                    <a:gd name="connsiteX47" fmla="*/ 1294640 w 2251903"/>
                    <a:gd name="connsiteY47" fmla="*/ 2305403 h 2844339"/>
                    <a:gd name="connsiteX48" fmla="*/ 1356553 w 2251903"/>
                    <a:gd name="connsiteY48" fmla="*/ 2243491 h 2844339"/>
                    <a:gd name="connsiteX49" fmla="*/ 1408940 w 2251903"/>
                    <a:gd name="connsiteY49" fmla="*/ 2162528 h 2844339"/>
                    <a:gd name="connsiteX50" fmla="*/ 1423228 w 2251903"/>
                    <a:gd name="connsiteY50" fmla="*/ 2081566 h 2844339"/>
                    <a:gd name="connsiteX51" fmla="*/ 1489903 w 2251903"/>
                    <a:gd name="connsiteY51" fmla="*/ 1948216 h 2844339"/>
                    <a:gd name="connsiteX52" fmla="*/ 1556578 w 2251903"/>
                    <a:gd name="connsiteY52" fmla="*/ 1833916 h 2844339"/>
                    <a:gd name="connsiteX53" fmla="*/ 1556578 w 2251903"/>
                    <a:gd name="connsiteY53" fmla="*/ 1752953 h 2844339"/>
                    <a:gd name="connsiteX54" fmla="*/ 1561340 w 2251903"/>
                    <a:gd name="connsiteY54" fmla="*/ 1624366 h 2844339"/>
                    <a:gd name="connsiteX55" fmla="*/ 1575628 w 2251903"/>
                    <a:gd name="connsiteY55" fmla="*/ 1529116 h 2844339"/>
                    <a:gd name="connsiteX56" fmla="*/ 1594678 w 2251903"/>
                    <a:gd name="connsiteY56" fmla="*/ 1448153 h 2844339"/>
                    <a:gd name="connsiteX57" fmla="*/ 1547053 w 2251903"/>
                    <a:gd name="connsiteY57" fmla="*/ 1314803 h 2844339"/>
                    <a:gd name="connsiteX58" fmla="*/ 1442278 w 2251903"/>
                    <a:gd name="connsiteY58" fmla="*/ 1100491 h 2844339"/>
                    <a:gd name="connsiteX59" fmla="*/ 1447040 w 2251903"/>
                    <a:gd name="connsiteY59" fmla="*/ 1052866 h 2844339"/>
                    <a:gd name="connsiteX60" fmla="*/ 1451803 w 2251903"/>
                    <a:gd name="connsiteY60" fmla="*/ 1010003 h 2844339"/>
                    <a:gd name="connsiteX61" fmla="*/ 1489903 w 2251903"/>
                    <a:gd name="connsiteY61" fmla="*/ 952853 h 2844339"/>
                    <a:gd name="connsiteX62" fmla="*/ 1508953 w 2251903"/>
                    <a:gd name="connsiteY62" fmla="*/ 914753 h 2844339"/>
                    <a:gd name="connsiteX63" fmla="*/ 1556578 w 2251903"/>
                    <a:gd name="connsiteY63" fmla="*/ 819503 h 2844339"/>
                    <a:gd name="connsiteX64" fmla="*/ 1594678 w 2251903"/>
                    <a:gd name="connsiteY64" fmla="*/ 743303 h 2844339"/>
                    <a:gd name="connsiteX65" fmla="*/ 1680403 w 2251903"/>
                    <a:gd name="connsiteY65" fmla="*/ 657578 h 2844339"/>
                    <a:gd name="connsiteX66" fmla="*/ 1728028 w 2251903"/>
                    <a:gd name="connsiteY66" fmla="*/ 600428 h 2844339"/>
                    <a:gd name="connsiteX67" fmla="*/ 1780415 w 2251903"/>
                    <a:gd name="connsiteY67" fmla="*/ 509941 h 2844339"/>
                    <a:gd name="connsiteX68" fmla="*/ 1828040 w 2251903"/>
                    <a:gd name="connsiteY68" fmla="*/ 486128 h 2844339"/>
                    <a:gd name="connsiteX69" fmla="*/ 1851853 w 2251903"/>
                    <a:gd name="connsiteY69" fmla="*/ 428978 h 2844339"/>
                    <a:gd name="connsiteX70" fmla="*/ 1875665 w 2251903"/>
                    <a:gd name="connsiteY70" fmla="*/ 357541 h 2844339"/>
                    <a:gd name="connsiteX71" fmla="*/ 1913765 w 2251903"/>
                    <a:gd name="connsiteY71" fmla="*/ 295628 h 2844339"/>
                    <a:gd name="connsiteX72" fmla="*/ 1961390 w 2251903"/>
                    <a:gd name="connsiteY72" fmla="*/ 238478 h 2844339"/>
                    <a:gd name="connsiteX73" fmla="*/ 2018540 w 2251903"/>
                    <a:gd name="connsiteY73" fmla="*/ 214666 h 2844339"/>
                    <a:gd name="connsiteX74" fmla="*/ 2066165 w 2251903"/>
                    <a:gd name="connsiteY74" fmla="*/ 200378 h 2844339"/>
                    <a:gd name="connsiteX75" fmla="*/ 2089978 w 2251903"/>
                    <a:gd name="connsiteY75" fmla="*/ 152753 h 2844339"/>
                    <a:gd name="connsiteX76" fmla="*/ 2085215 w 2251903"/>
                    <a:gd name="connsiteY76" fmla="*/ 76553 h 2844339"/>
                    <a:gd name="connsiteX77" fmla="*/ 2137603 w 2251903"/>
                    <a:gd name="connsiteY77" fmla="*/ 9878 h 2844339"/>
                    <a:gd name="connsiteX78" fmla="*/ 2199515 w 2251903"/>
                    <a:gd name="connsiteY78" fmla="*/ 353 h 2844339"/>
                    <a:gd name="connsiteX79" fmla="*/ 2251903 w 2251903"/>
                    <a:gd name="connsiteY79" fmla="*/ 9878 h 2844339"/>
                    <a:gd name="connsiteX0" fmla="*/ 494540 w 2251903"/>
                    <a:gd name="connsiteY0" fmla="*/ 181328 h 2844339"/>
                    <a:gd name="connsiteX1" fmla="*/ 485015 w 2251903"/>
                    <a:gd name="connsiteY1" fmla="*/ 257528 h 2844339"/>
                    <a:gd name="connsiteX2" fmla="*/ 451678 w 2251903"/>
                    <a:gd name="connsiteY2" fmla="*/ 362303 h 2844339"/>
                    <a:gd name="connsiteX3" fmla="*/ 427865 w 2251903"/>
                    <a:gd name="connsiteY3" fmla="*/ 390878 h 2844339"/>
                    <a:gd name="connsiteX4" fmla="*/ 404053 w 2251903"/>
                    <a:gd name="connsiteY4" fmla="*/ 409928 h 2844339"/>
                    <a:gd name="connsiteX5" fmla="*/ 408815 w 2251903"/>
                    <a:gd name="connsiteY5" fmla="*/ 467078 h 2844339"/>
                    <a:gd name="connsiteX6" fmla="*/ 375478 w 2251903"/>
                    <a:gd name="connsiteY6" fmla="*/ 528991 h 2844339"/>
                    <a:gd name="connsiteX7" fmla="*/ 356428 w 2251903"/>
                    <a:gd name="connsiteY7" fmla="*/ 624241 h 2844339"/>
                    <a:gd name="connsiteX8" fmla="*/ 380240 w 2251903"/>
                    <a:gd name="connsiteY8" fmla="*/ 700441 h 2844339"/>
                    <a:gd name="connsiteX9" fmla="*/ 337378 w 2251903"/>
                    <a:gd name="connsiteY9" fmla="*/ 748066 h 2844339"/>
                    <a:gd name="connsiteX10" fmla="*/ 289753 w 2251903"/>
                    <a:gd name="connsiteY10" fmla="*/ 833791 h 2844339"/>
                    <a:gd name="connsiteX11" fmla="*/ 194503 w 2251903"/>
                    <a:gd name="connsiteY11" fmla="*/ 895703 h 2844339"/>
                    <a:gd name="connsiteX12" fmla="*/ 151640 w 2251903"/>
                    <a:gd name="connsiteY12" fmla="*/ 929041 h 2844339"/>
                    <a:gd name="connsiteX13" fmla="*/ 132590 w 2251903"/>
                    <a:gd name="connsiteY13" fmla="*/ 981428 h 2844339"/>
                    <a:gd name="connsiteX14" fmla="*/ 127828 w 2251903"/>
                    <a:gd name="connsiteY14" fmla="*/ 1071916 h 2844339"/>
                    <a:gd name="connsiteX15" fmla="*/ 80203 w 2251903"/>
                    <a:gd name="connsiteY15" fmla="*/ 1133828 h 2844339"/>
                    <a:gd name="connsiteX16" fmla="*/ 51628 w 2251903"/>
                    <a:gd name="connsiteY16" fmla="*/ 1262416 h 2844339"/>
                    <a:gd name="connsiteX17" fmla="*/ 13528 w 2251903"/>
                    <a:gd name="connsiteY17" fmla="*/ 1333853 h 2844339"/>
                    <a:gd name="connsiteX18" fmla="*/ 23053 w 2251903"/>
                    <a:gd name="connsiteY18" fmla="*/ 1391003 h 2844339"/>
                    <a:gd name="connsiteX19" fmla="*/ 4003 w 2251903"/>
                    <a:gd name="connsiteY19" fmla="*/ 1433866 h 2844339"/>
                    <a:gd name="connsiteX20" fmla="*/ 4003 w 2251903"/>
                    <a:gd name="connsiteY20" fmla="*/ 1500541 h 2844339"/>
                    <a:gd name="connsiteX21" fmla="*/ 46865 w 2251903"/>
                    <a:gd name="connsiteY21" fmla="*/ 1586266 h 2844339"/>
                    <a:gd name="connsiteX22" fmla="*/ 123065 w 2251903"/>
                    <a:gd name="connsiteY22" fmla="*/ 1652941 h 2844339"/>
                    <a:gd name="connsiteX23" fmla="*/ 189740 w 2251903"/>
                    <a:gd name="connsiteY23" fmla="*/ 1724378 h 2844339"/>
                    <a:gd name="connsiteX24" fmla="*/ 242128 w 2251903"/>
                    <a:gd name="connsiteY24" fmla="*/ 1838678 h 2844339"/>
                    <a:gd name="connsiteX25" fmla="*/ 318328 w 2251903"/>
                    <a:gd name="connsiteY25" fmla="*/ 1957741 h 2844339"/>
                    <a:gd name="connsiteX26" fmla="*/ 413578 w 2251903"/>
                    <a:gd name="connsiteY26" fmla="*/ 2019653 h 2844339"/>
                    <a:gd name="connsiteX27" fmla="*/ 432628 w 2251903"/>
                    <a:gd name="connsiteY27" fmla="*/ 2043466 h 2844339"/>
                    <a:gd name="connsiteX28" fmla="*/ 442153 w 2251903"/>
                    <a:gd name="connsiteY28" fmla="*/ 2138716 h 2844339"/>
                    <a:gd name="connsiteX29" fmla="*/ 461203 w 2251903"/>
                    <a:gd name="connsiteY29" fmla="*/ 2210154 h 2844339"/>
                    <a:gd name="connsiteX30" fmla="*/ 532640 w 2251903"/>
                    <a:gd name="connsiteY30" fmla="*/ 2343503 h 2844339"/>
                    <a:gd name="connsiteX31" fmla="*/ 546928 w 2251903"/>
                    <a:gd name="connsiteY31" fmla="*/ 2433991 h 2844339"/>
                    <a:gd name="connsiteX32" fmla="*/ 570740 w 2251903"/>
                    <a:gd name="connsiteY32" fmla="*/ 2514953 h 2844339"/>
                    <a:gd name="connsiteX33" fmla="*/ 561215 w 2251903"/>
                    <a:gd name="connsiteY33" fmla="*/ 2581628 h 2844339"/>
                    <a:gd name="connsiteX34" fmla="*/ 646940 w 2251903"/>
                    <a:gd name="connsiteY34" fmla="*/ 2695928 h 2844339"/>
                    <a:gd name="connsiteX35" fmla="*/ 642178 w 2251903"/>
                    <a:gd name="connsiteY35" fmla="*/ 2791178 h 2844339"/>
                    <a:gd name="connsiteX36" fmla="*/ 656465 w 2251903"/>
                    <a:gd name="connsiteY36" fmla="*/ 2843566 h 2844339"/>
                    <a:gd name="connsiteX37" fmla="*/ 889828 w 2251903"/>
                    <a:gd name="connsiteY37" fmla="*/ 2753078 h 2844339"/>
                    <a:gd name="connsiteX38" fmla="*/ 951740 w 2251903"/>
                    <a:gd name="connsiteY38" fmla="*/ 2724503 h 2844339"/>
                    <a:gd name="connsiteX39" fmla="*/ 1027940 w 2251903"/>
                    <a:gd name="connsiteY39" fmla="*/ 2748316 h 2844339"/>
                    <a:gd name="connsiteX40" fmla="*/ 1089853 w 2251903"/>
                    <a:gd name="connsiteY40" fmla="*/ 2753078 h 2844339"/>
                    <a:gd name="connsiteX41" fmla="*/ 1127953 w 2251903"/>
                    <a:gd name="connsiteY41" fmla="*/ 2672116 h 2844339"/>
                    <a:gd name="connsiteX42" fmla="*/ 1089853 w 2251903"/>
                    <a:gd name="connsiteY42" fmla="*/ 2595916 h 2844339"/>
                    <a:gd name="connsiteX43" fmla="*/ 1151765 w 2251903"/>
                    <a:gd name="connsiteY43" fmla="*/ 2534003 h 2844339"/>
                    <a:gd name="connsiteX44" fmla="*/ 1218440 w 2251903"/>
                    <a:gd name="connsiteY44" fmla="*/ 2472091 h 2844339"/>
                    <a:gd name="connsiteX45" fmla="*/ 1270828 w 2251903"/>
                    <a:gd name="connsiteY45" fmla="*/ 2357791 h 2844339"/>
                    <a:gd name="connsiteX46" fmla="*/ 1294640 w 2251903"/>
                    <a:gd name="connsiteY46" fmla="*/ 2305403 h 2844339"/>
                    <a:gd name="connsiteX47" fmla="*/ 1356553 w 2251903"/>
                    <a:gd name="connsiteY47" fmla="*/ 2243491 h 2844339"/>
                    <a:gd name="connsiteX48" fmla="*/ 1408940 w 2251903"/>
                    <a:gd name="connsiteY48" fmla="*/ 2162528 h 2844339"/>
                    <a:gd name="connsiteX49" fmla="*/ 1423228 w 2251903"/>
                    <a:gd name="connsiteY49" fmla="*/ 2081566 h 2844339"/>
                    <a:gd name="connsiteX50" fmla="*/ 1489903 w 2251903"/>
                    <a:gd name="connsiteY50" fmla="*/ 1948216 h 2844339"/>
                    <a:gd name="connsiteX51" fmla="*/ 1556578 w 2251903"/>
                    <a:gd name="connsiteY51" fmla="*/ 1833916 h 2844339"/>
                    <a:gd name="connsiteX52" fmla="*/ 1556578 w 2251903"/>
                    <a:gd name="connsiteY52" fmla="*/ 1752953 h 2844339"/>
                    <a:gd name="connsiteX53" fmla="*/ 1561340 w 2251903"/>
                    <a:gd name="connsiteY53" fmla="*/ 1624366 h 2844339"/>
                    <a:gd name="connsiteX54" fmla="*/ 1575628 w 2251903"/>
                    <a:gd name="connsiteY54" fmla="*/ 1529116 h 2844339"/>
                    <a:gd name="connsiteX55" fmla="*/ 1594678 w 2251903"/>
                    <a:gd name="connsiteY55" fmla="*/ 1448153 h 2844339"/>
                    <a:gd name="connsiteX56" fmla="*/ 1547053 w 2251903"/>
                    <a:gd name="connsiteY56" fmla="*/ 1314803 h 2844339"/>
                    <a:gd name="connsiteX57" fmla="*/ 1442278 w 2251903"/>
                    <a:gd name="connsiteY57" fmla="*/ 1100491 h 2844339"/>
                    <a:gd name="connsiteX58" fmla="*/ 1447040 w 2251903"/>
                    <a:gd name="connsiteY58" fmla="*/ 1052866 h 2844339"/>
                    <a:gd name="connsiteX59" fmla="*/ 1451803 w 2251903"/>
                    <a:gd name="connsiteY59" fmla="*/ 1010003 h 2844339"/>
                    <a:gd name="connsiteX60" fmla="*/ 1489903 w 2251903"/>
                    <a:gd name="connsiteY60" fmla="*/ 952853 h 2844339"/>
                    <a:gd name="connsiteX61" fmla="*/ 1508953 w 2251903"/>
                    <a:gd name="connsiteY61" fmla="*/ 914753 h 2844339"/>
                    <a:gd name="connsiteX62" fmla="*/ 1556578 w 2251903"/>
                    <a:gd name="connsiteY62" fmla="*/ 819503 h 2844339"/>
                    <a:gd name="connsiteX63" fmla="*/ 1594678 w 2251903"/>
                    <a:gd name="connsiteY63" fmla="*/ 743303 h 2844339"/>
                    <a:gd name="connsiteX64" fmla="*/ 1680403 w 2251903"/>
                    <a:gd name="connsiteY64" fmla="*/ 657578 h 2844339"/>
                    <a:gd name="connsiteX65" fmla="*/ 1728028 w 2251903"/>
                    <a:gd name="connsiteY65" fmla="*/ 600428 h 2844339"/>
                    <a:gd name="connsiteX66" fmla="*/ 1780415 w 2251903"/>
                    <a:gd name="connsiteY66" fmla="*/ 509941 h 2844339"/>
                    <a:gd name="connsiteX67" fmla="*/ 1828040 w 2251903"/>
                    <a:gd name="connsiteY67" fmla="*/ 486128 h 2844339"/>
                    <a:gd name="connsiteX68" fmla="*/ 1851853 w 2251903"/>
                    <a:gd name="connsiteY68" fmla="*/ 428978 h 2844339"/>
                    <a:gd name="connsiteX69" fmla="*/ 1875665 w 2251903"/>
                    <a:gd name="connsiteY69" fmla="*/ 357541 h 2844339"/>
                    <a:gd name="connsiteX70" fmla="*/ 1913765 w 2251903"/>
                    <a:gd name="connsiteY70" fmla="*/ 295628 h 2844339"/>
                    <a:gd name="connsiteX71" fmla="*/ 1961390 w 2251903"/>
                    <a:gd name="connsiteY71" fmla="*/ 238478 h 2844339"/>
                    <a:gd name="connsiteX72" fmla="*/ 2018540 w 2251903"/>
                    <a:gd name="connsiteY72" fmla="*/ 214666 h 2844339"/>
                    <a:gd name="connsiteX73" fmla="*/ 2066165 w 2251903"/>
                    <a:gd name="connsiteY73" fmla="*/ 200378 h 2844339"/>
                    <a:gd name="connsiteX74" fmla="*/ 2089978 w 2251903"/>
                    <a:gd name="connsiteY74" fmla="*/ 152753 h 2844339"/>
                    <a:gd name="connsiteX75" fmla="*/ 2085215 w 2251903"/>
                    <a:gd name="connsiteY75" fmla="*/ 76553 h 2844339"/>
                    <a:gd name="connsiteX76" fmla="*/ 2137603 w 2251903"/>
                    <a:gd name="connsiteY76" fmla="*/ 9878 h 2844339"/>
                    <a:gd name="connsiteX77" fmla="*/ 2199515 w 2251903"/>
                    <a:gd name="connsiteY77" fmla="*/ 353 h 2844339"/>
                    <a:gd name="connsiteX78" fmla="*/ 2251903 w 2251903"/>
                    <a:gd name="connsiteY78" fmla="*/ 9878 h 2844339"/>
                    <a:gd name="connsiteX0" fmla="*/ 485015 w 2251903"/>
                    <a:gd name="connsiteY0" fmla="*/ 257528 h 2844339"/>
                    <a:gd name="connsiteX1" fmla="*/ 451678 w 2251903"/>
                    <a:gd name="connsiteY1" fmla="*/ 362303 h 2844339"/>
                    <a:gd name="connsiteX2" fmla="*/ 427865 w 2251903"/>
                    <a:gd name="connsiteY2" fmla="*/ 390878 h 2844339"/>
                    <a:gd name="connsiteX3" fmla="*/ 404053 w 2251903"/>
                    <a:gd name="connsiteY3" fmla="*/ 409928 h 2844339"/>
                    <a:gd name="connsiteX4" fmla="*/ 408815 w 2251903"/>
                    <a:gd name="connsiteY4" fmla="*/ 467078 h 2844339"/>
                    <a:gd name="connsiteX5" fmla="*/ 375478 w 2251903"/>
                    <a:gd name="connsiteY5" fmla="*/ 528991 h 2844339"/>
                    <a:gd name="connsiteX6" fmla="*/ 356428 w 2251903"/>
                    <a:gd name="connsiteY6" fmla="*/ 624241 h 2844339"/>
                    <a:gd name="connsiteX7" fmla="*/ 380240 w 2251903"/>
                    <a:gd name="connsiteY7" fmla="*/ 700441 h 2844339"/>
                    <a:gd name="connsiteX8" fmla="*/ 337378 w 2251903"/>
                    <a:gd name="connsiteY8" fmla="*/ 748066 h 2844339"/>
                    <a:gd name="connsiteX9" fmla="*/ 289753 w 2251903"/>
                    <a:gd name="connsiteY9" fmla="*/ 833791 h 2844339"/>
                    <a:gd name="connsiteX10" fmla="*/ 194503 w 2251903"/>
                    <a:gd name="connsiteY10" fmla="*/ 895703 h 2844339"/>
                    <a:gd name="connsiteX11" fmla="*/ 151640 w 2251903"/>
                    <a:gd name="connsiteY11" fmla="*/ 929041 h 2844339"/>
                    <a:gd name="connsiteX12" fmla="*/ 132590 w 2251903"/>
                    <a:gd name="connsiteY12" fmla="*/ 981428 h 2844339"/>
                    <a:gd name="connsiteX13" fmla="*/ 127828 w 2251903"/>
                    <a:gd name="connsiteY13" fmla="*/ 1071916 h 2844339"/>
                    <a:gd name="connsiteX14" fmla="*/ 80203 w 2251903"/>
                    <a:gd name="connsiteY14" fmla="*/ 1133828 h 2844339"/>
                    <a:gd name="connsiteX15" fmla="*/ 51628 w 2251903"/>
                    <a:gd name="connsiteY15" fmla="*/ 1262416 h 2844339"/>
                    <a:gd name="connsiteX16" fmla="*/ 13528 w 2251903"/>
                    <a:gd name="connsiteY16" fmla="*/ 1333853 h 2844339"/>
                    <a:gd name="connsiteX17" fmla="*/ 23053 w 2251903"/>
                    <a:gd name="connsiteY17" fmla="*/ 1391003 h 2844339"/>
                    <a:gd name="connsiteX18" fmla="*/ 4003 w 2251903"/>
                    <a:gd name="connsiteY18" fmla="*/ 1433866 h 2844339"/>
                    <a:gd name="connsiteX19" fmla="*/ 4003 w 2251903"/>
                    <a:gd name="connsiteY19" fmla="*/ 1500541 h 2844339"/>
                    <a:gd name="connsiteX20" fmla="*/ 46865 w 2251903"/>
                    <a:gd name="connsiteY20" fmla="*/ 1586266 h 2844339"/>
                    <a:gd name="connsiteX21" fmla="*/ 123065 w 2251903"/>
                    <a:gd name="connsiteY21" fmla="*/ 1652941 h 2844339"/>
                    <a:gd name="connsiteX22" fmla="*/ 189740 w 2251903"/>
                    <a:gd name="connsiteY22" fmla="*/ 1724378 h 2844339"/>
                    <a:gd name="connsiteX23" fmla="*/ 242128 w 2251903"/>
                    <a:gd name="connsiteY23" fmla="*/ 1838678 h 2844339"/>
                    <a:gd name="connsiteX24" fmla="*/ 318328 w 2251903"/>
                    <a:gd name="connsiteY24" fmla="*/ 1957741 h 2844339"/>
                    <a:gd name="connsiteX25" fmla="*/ 413578 w 2251903"/>
                    <a:gd name="connsiteY25" fmla="*/ 2019653 h 2844339"/>
                    <a:gd name="connsiteX26" fmla="*/ 432628 w 2251903"/>
                    <a:gd name="connsiteY26" fmla="*/ 2043466 h 2844339"/>
                    <a:gd name="connsiteX27" fmla="*/ 442153 w 2251903"/>
                    <a:gd name="connsiteY27" fmla="*/ 2138716 h 2844339"/>
                    <a:gd name="connsiteX28" fmla="*/ 461203 w 2251903"/>
                    <a:gd name="connsiteY28" fmla="*/ 2210154 h 2844339"/>
                    <a:gd name="connsiteX29" fmla="*/ 532640 w 2251903"/>
                    <a:gd name="connsiteY29" fmla="*/ 2343503 h 2844339"/>
                    <a:gd name="connsiteX30" fmla="*/ 546928 w 2251903"/>
                    <a:gd name="connsiteY30" fmla="*/ 2433991 h 2844339"/>
                    <a:gd name="connsiteX31" fmla="*/ 570740 w 2251903"/>
                    <a:gd name="connsiteY31" fmla="*/ 2514953 h 2844339"/>
                    <a:gd name="connsiteX32" fmla="*/ 561215 w 2251903"/>
                    <a:gd name="connsiteY32" fmla="*/ 2581628 h 2844339"/>
                    <a:gd name="connsiteX33" fmla="*/ 646940 w 2251903"/>
                    <a:gd name="connsiteY33" fmla="*/ 2695928 h 2844339"/>
                    <a:gd name="connsiteX34" fmla="*/ 642178 w 2251903"/>
                    <a:gd name="connsiteY34" fmla="*/ 2791178 h 2844339"/>
                    <a:gd name="connsiteX35" fmla="*/ 656465 w 2251903"/>
                    <a:gd name="connsiteY35" fmla="*/ 2843566 h 2844339"/>
                    <a:gd name="connsiteX36" fmla="*/ 889828 w 2251903"/>
                    <a:gd name="connsiteY36" fmla="*/ 2753078 h 2844339"/>
                    <a:gd name="connsiteX37" fmla="*/ 951740 w 2251903"/>
                    <a:gd name="connsiteY37" fmla="*/ 2724503 h 2844339"/>
                    <a:gd name="connsiteX38" fmla="*/ 1027940 w 2251903"/>
                    <a:gd name="connsiteY38" fmla="*/ 2748316 h 2844339"/>
                    <a:gd name="connsiteX39" fmla="*/ 1089853 w 2251903"/>
                    <a:gd name="connsiteY39" fmla="*/ 2753078 h 2844339"/>
                    <a:gd name="connsiteX40" fmla="*/ 1127953 w 2251903"/>
                    <a:gd name="connsiteY40" fmla="*/ 2672116 h 2844339"/>
                    <a:gd name="connsiteX41" fmla="*/ 1089853 w 2251903"/>
                    <a:gd name="connsiteY41" fmla="*/ 2595916 h 2844339"/>
                    <a:gd name="connsiteX42" fmla="*/ 1151765 w 2251903"/>
                    <a:gd name="connsiteY42" fmla="*/ 2534003 h 2844339"/>
                    <a:gd name="connsiteX43" fmla="*/ 1218440 w 2251903"/>
                    <a:gd name="connsiteY43" fmla="*/ 2472091 h 2844339"/>
                    <a:gd name="connsiteX44" fmla="*/ 1270828 w 2251903"/>
                    <a:gd name="connsiteY44" fmla="*/ 2357791 h 2844339"/>
                    <a:gd name="connsiteX45" fmla="*/ 1294640 w 2251903"/>
                    <a:gd name="connsiteY45" fmla="*/ 2305403 h 2844339"/>
                    <a:gd name="connsiteX46" fmla="*/ 1356553 w 2251903"/>
                    <a:gd name="connsiteY46" fmla="*/ 2243491 h 2844339"/>
                    <a:gd name="connsiteX47" fmla="*/ 1408940 w 2251903"/>
                    <a:gd name="connsiteY47" fmla="*/ 2162528 h 2844339"/>
                    <a:gd name="connsiteX48" fmla="*/ 1423228 w 2251903"/>
                    <a:gd name="connsiteY48" fmla="*/ 2081566 h 2844339"/>
                    <a:gd name="connsiteX49" fmla="*/ 1489903 w 2251903"/>
                    <a:gd name="connsiteY49" fmla="*/ 1948216 h 2844339"/>
                    <a:gd name="connsiteX50" fmla="*/ 1556578 w 2251903"/>
                    <a:gd name="connsiteY50" fmla="*/ 1833916 h 2844339"/>
                    <a:gd name="connsiteX51" fmla="*/ 1556578 w 2251903"/>
                    <a:gd name="connsiteY51" fmla="*/ 1752953 h 2844339"/>
                    <a:gd name="connsiteX52" fmla="*/ 1561340 w 2251903"/>
                    <a:gd name="connsiteY52" fmla="*/ 1624366 h 2844339"/>
                    <a:gd name="connsiteX53" fmla="*/ 1575628 w 2251903"/>
                    <a:gd name="connsiteY53" fmla="*/ 1529116 h 2844339"/>
                    <a:gd name="connsiteX54" fmla="*/ 1594678 w 2251903"/>
                    <a:gd name="connsiteY54" fmla="*/ 1448153 h 2844339"/>
                    <a:gd name="connsiteX55" fmla="*/ 1547053 w 2251903"/>
                    <a:gd name="connsiteY55" fmla="*/ 1314803 h 2844339"/>
                    <a:gd name="connsiteX56" fmla="*/ 1442278 w 2251903"/>
                    <a:gd name="connsiteY56" fmla="*/ 1100491 h 2844339"/>
                    <a:gd name="connsiteX57" fmla="*/ 1447040 w 2251903"/>
                    <a:gd name="connsiteY57" fmla="*/ 1052866 h 2844339"/>
                    <a:gd name="connsiteX58" fmla="*/ 1451803 w 2251903"/>
                    <a:gd name="connsiteY58" fmla="*/ 1010003 h 2844339"/>
                    <a:gd name="connsiteX59" fmla="*/ 1489903 w 2251903"/>
                    <a:gd name="connsiteY59" fmla="*/ 952853 h 2844339"/>
                    <a:gd name="connsiteX60" fmla="*/ 1508953 w 2251903"/>
                    <a:gd name="connsiteY60" fmla="*/ 914753 h 2844339"/>
                    <a:gd name="connsiteX61" fmla="*/ 1556578 w 2251903"/>
                    <a:gd name="connsiteY61" fmla="*/ 819503 h 2844339"/>
                    <a:gd name="connsiteX62" fmla="*/ 1594678 w 2251903"/>
                    <a:gd name="connsiteY62" fmla="*/ 743303 h 2844339"/>
                    <a:gd name="connsiteX63" fmla="*/ 1680403 w 2251903"/>
                    <a:gd name="connsiteY63" fmla="*/ 657578 h 2844339"/>
                    <a:gd name="connsiteX64" fmla="*/ 1728028 w 2251903"/>
                    <a:gd name="connsiteY64" fmla="*/ 600428 h 2844339"/>
                    <a:gd name="connsiteX65" fmla="*/ 1780415 w 2251903"/>
                    <a:gd name="connsiteY65" fmla="*/ 509941 h 2844339"/>
                    <a:gd name="connsiteX66" fmla="*/ 1828040 w 2251903"/>
                    <a:gd name="connsiteY66" fmla="*/ 486128 h 2844339"/>
                    <a:gd name="connsiteX67" fmla="*/ 1851853 w 2251903"/>
                    <a:gd name="connsiteY67" fmla="*/ 428978 h 2844339"/>
                    <a:gd name="connsiteX68" fmla="*/ 1875665 w 2251903"/>
                    <a:gd name="connsiteY68" fmla="*/ 357541 h 2844339"/>
                    <a:gd name="connsiteX69" fmla="*/ 1913765 w 2251903"/>
                    <a:gd name="connsiteY69" fmla="*/ 295628 h 2844339"/>
                    <a:gd name="connsiteX70" fmla="*/ 1961390 w 2251903"/>
                    <a:gd name="connsiteY70" fmla="*/ 238478 h 2844339"/>
                    <a:gd name="connsiteX71" fmla="*/ 2018540 w 2251903"/>
                    <a:gd name="connsiteY71" fmla="*/ 214666 h 2844339"/>
                    <a:gd name="connsiteX72" fmla="*/ 2066165 w 2251903"/>
                    <a:gd name="connsiteY72" fmla="*/ 200378 h 2844339"/>
                    <a:gd name="connsiteX73" fmla="*/ 2089978 w 2251903"/>
                    <a:gd name="connsiteY73" fmla="*/ 152753 h 2844339"/>
                    <a:gd name="connsiteX74" fmla="*/ 2085215 w 2251903"/>
                    <a:gd name="connsiteY74" fmla="*/ 76553 h 2844339"/>
                    <a:gd name="connsiteX75" fmla="*/ 2137603 w 2251903"/>
                    <a:gd name="connsiteY75" fmla="*/ 9878 h 2844339"/>
                    <a:gd name="connsiteX76" fmla="*/ 2199515 w 2251903"/>
                    <a:gd name="connsiteY76" fmla="*/ 353 h 2844339"/>
                    <a:gd name="connsiteX77" fmla="*/ 2251903 w 2251903"/>
                    <a:gd name="connsiteY77" fmla="*/ 9878 h 2844339"/>
                    <a:gd name="connsiteX0" fmla="*/ 451678 w 2251903"/>
                    <a:gd name="connsiteY0" fmla="*/ 362303 h 2844339"/>
                    <a:gd name="connsiteX1" fmla="*/ 427865 w 2251903"/>
                    <a:gd name="connsiteY1" fmla="*/ 390878 h 2844339"/>
                    <a:gd name="connsiteX2" fmla="*/ 404053 w 2251903"/>
                    <a:gd name="connsiteY2" fmla="*/ 409928 h 2844339"/>
                    <a:gd name="connsiteX3" fmla="*/ 408815 w 2251903"/>
                    <a:gd name="connsiteY3" fmla="*/ 467078 h 2844339"/>
                    <a:gd name="connsiteX4" fmla="*/ 375478 w 2251903"/>
                    <a:gd name="connsiteY4" fmla="*/ 528991 h 2844339"/>
                    <a:gd name="connsiteX5" fmla="*/ 356428 w 2251903"/>
                    <a:gd name="connsiteY5" fmla="*/ 624241 h 2844339"/>
                    <a:gd name="connsiteX6" fmla="*/ 380240 w 2251903"/>
                    <a:gd name="connsiteY6" fmla="*/ 700441 h 2844339"/>
                    <a:gd name="connsiteX7" fmla="*/ 337378 w 2251903"/>
                    <a:gd name="connsiteY7" fmla="*/ 748066 h 2844339"/>
                    <a:gd name="connsiteX8" fmla="*/ 289753 w 2251903"/>
                    <a:gd name="connsiteY8" fmla="*/ 833791 h 2844339"/>
                    <a:gd name="connsiteX9" fmla="*/ 194503 w 2251903"/>
                    <a:gd name="connsiteY9" fmla="*/ 895703 h 2844339"/>
                    <a:gd name="connsiteX10" fmla="*/ 151640 w 2251903"/>
                    <a:gd name="connsiteY10" fmla="*/ 929041 h 2844339"/>
                    <a:gd name="connsiteX11" fmla="*/ 132590 w 2251903"/>
                    <a:gd name="connsiteY11" fmla="*/ 981428 h 2844339"/>
                    <a:gd name="connsiteX12" fmla="*/ 127828 w 2251903"/>
                    <a:gd name="connsiteY12" fmla="*/ 1071916 h 2844339"/>
                    <a:gd name="connsiteX13" fmla="*/ 80203 w 2251903"/>
                    <a:gd name="connsiteY13" fmla="*/ 1133828 h 2844339"/>
                    <a:gd name="connsiteX14" fmla="*/ 51628 w 2251903"/>
                    <a:gd name="connsiteY14" fmla="*/ 1262416 h 2844339"/>
                    <a:gd name="connsiteX15" fmla="*/ 13528 w 2251903"/>
                    <a:gd name="connsiteY15" fmla="*/ 1333853 h 2844339"/>
                    <a:gd name="connsiteX16" fmla="*/ 23053 w 2251903"/>
                    <a:gd name="connsiteY16" fmla="*/ 1391003 h 2844339"/>
                    <a:gd name="connsiteX17" fmla="*/ 4003 w 2251903"/>
                    <a:gd name="connsiteY17" fmla="*/ 1433866 h 2844339"/>
                    <a:gd name="connsiteX18" fmla="*/ 4003 w 2251903"/>
                    <a:gd name="connsiteY18" fmla="*/ 1500541 h 2844339"/>
                    <a:gd name="connsiteX19" fmla="*/ 46865 w 2251903"/>
                    <a:gd name="connsiteY19" fmla="*/ 1586266 h 2844339"/>
                    <a:gd name="connsiteX20" fmla="*/ 123065 w 2251903"/>
                    <a:gd name="connsiteY20" fmla="*/ 1652941 h 2844339"/>
                    <a:gd name="connsiteX21" fmla="*/ 189740 w 2251903"/>
                    <a:gd name="connsiteY21" fmla="*/ 1724378 h 2844339"/>
                    <a:gd name="connsiteX22" fmla="*/ 242128 w 2251903"/>
                    <a:gd name="connsiteY22" fmla="*/ 1838678 h 2844339"/>
                    <a:gd name="connsiteX23" fmla="*/ 318328 w 2251903"/>
                    <a:gd name="connsiteY23" fmla="*/ 1957741 h 2844339"/>
                    <a:gd name="connsiteX24" fmla="*/ 413578 w 2251903"/>
                    <a:gd name="connsiteY24" fmla="*/ 2019653 h 2844339"/>
                    <a:gd name="connsiteX25" fmla="*/ 432628 w 2251903"/>
                    <a:gd name="connsiteY25" fmla="*/ 2043466 h 2844339"/>
                    <a:gd name="connsiteX26" fmla="*/ 442153 w 2251903"/>
                    <a:gd name="connsiteY26" fmla="*/ 2138716 h 2844339"/>
                    <a:gd name="connsiteX27" fmla="*/ 461203 w 2251903"/>
                    <a:gd name="connsiteY27" fmla="*/ 2210154 h 2844339"/>
                    <a:gd name="connsiteX28" fmla="*/ 532640 w 2251903"/>
                    <a:gd name="connsiteY28" fmla="*/ 2343503 h 2844339"/>
                    <a:gd name="connsiteX29" fmla="*/ 546928 w 2251903"/>
                    <a:gd name="connsiteY29" fmla="*/ 2433991 h 2844339"/>
                    <a:gd name="connsiteX30" fmla="*/ 570740 w 2251903"/>
                    <a:gd name="connsiteY30" fmla="*/ 2514953 h 2844339"/>
                    <a:gd name="connsiteX31" fmla="*/ 561215 w 2251903"/>
                    <a:gd name="connsiteY31" fmla="*/ 2581628 h 2844339"/>
                    <a:gd name="connsiteX32" fmla="*/ 646940 w 2251903"/>
                    <a:gd name="connsiteY32" fmla="*/ 2695928 h 2844339"/>
                    <a:gd name="connsiteX33" fmla="*/ 642178 w 2251903"/>
                    <a:gd name="connsiteY33" fmla="*/ 2791178 h 2844339"/>
                    <a:gd name="connsiteX34" fmla="*/ 656465 w 2251903"/>
                    <a:gd name="connsiteY34" fmla="*/ 2843566 h 2844339"/>
                    <a:gd name="connsiteX35" fmla="*/ 889828 w 2251903"/>
                    <a:gd name="connsiteY35" fmla="*/ 2753078 h 2844339"/>
                    <a:gd name="connsiteX36" fmla="*/ 951740 w 2251903"/>
                    <a:gd name="connsiteY36" fmla="*/ 2724503 h 2844339"/>
                    <a:gd name="connsiteX37" fmla="*/ 1027940 w 2251903"/>
                    <a:gd name="connsiteY37" fmla="*/ 2748316 h 2844339"/>
                    <a:gd name="connsiteX38" fmla="*/ 1089853 w 2251903"/>
                    <a:gd name="connsiteY38" fmla="*/ 2753078 h 2844339"/>
                    <a:gd name="connsiteX39" fmla="*/ 1127953 w 2251903"/>
                    <a:gd name="connsiteY39" fmla="*/ 2672116 h 2844339"/>
                    <a:gd name="connsiteX40" fmla="*/ 1089853 w 2251903"/>
                    <a:gd name="connsiteY40" fmla="*/ 2595916 h 2844339"/>
                    <a:gd name="connsiteX41" fmla="*/ 1151765 w 2251903"/>
                    <a:gd name="connsiteY41" fmla="*/ 2534003 h 2844339"/>
                    <a:gd name="connsiteX42" fmla="*/ 1218440 w 2251903"/>
                    <a:gd name="connsiteY42" fmla="*/ 2472091 h 2844339"/>
                    <a:gd name="connsiteX43" fmla="*/ 1270828 w 2251903"/>
                    <a:gd name="connsiteY43" fmla="*/ 2357791 h 2844339"/>
                    <a:gd name="connsiteX44" fmla="*/ 1294640 w 2251903"/>
                    <a:gd name="connsiteY44" fmla="*/ 2305403 h 2844339"/>
                    <a:gd name="connsiteX45" fmla="*/ 1356553 w 2251903"/>
                    <a:gd name="connsiteY45" fmla="*/ 2243491 h 2844339"/>
                    <a:gd name="connsiteX46" fmla="*/ 1408940 w 2251903"/>
                    <a:gd name="connsiteY46" fmla="*/ 2162528 h 2844339"/>
                    <a:gd name="connsiteX47" fmla="*/ 1423228 w 2251903"/>
                    <a:gd name="connsiteY47" fmla="*/ 2081566 h 2844339"/>
                    <a:gd name="connsiteX48" fmla="*/ 1489903 w 2251903"/>
                    <a:gd name="connsiteY48" fmla="*/ 1948216 h 2844339"/>
                    <a:gd name="connsiteX49" fmla="*/ 1556578 w 2251903"/>
                    <a:gd name="connsiteY49" fmla="*/ 1833916 h 2844339"/>
                    <a:gd name="connsiteX50" fmla="*/ 1556578 w 2251903"/>
                    <a:gd name="connsiteY50" fmla="*/ 1752953 h 2844339"/>
                    <a:gd name="connsiteX51" fmla="*/ 1561340 w 2251903"/>
                    <a:gd name="connsiteY51" fmla="*/ 1624366 h 2844339"/>
                    <a:gd name="connsiteX52" fmla="*/ 1575628 w 2251903"/>
                    <a:gd name="connsiteY52" fmla="*/ 1529116 h 2844339"/>
                    <a:gd name="connsiteX53" fmla="*/ 1594678 w 2251903"/>
                    <a:gd name="connsiteY53" fmla="*/ 1448153 h 2844339"/>
                    <a:gd name="connsiteX54" fmla="*/ 1547053 w 2251903"/>
                    <a:gd name="connsiteY54" fmla="*/ 1314803 h 2844339"/>
                    <a:gd name="connsiteX55" fmla="*/ 1442278 w 2251903"/>
                    <a:gd name="connsiteY55" fmla="*/ 1100491 h 2844339"/>
                    <a:gd name="connsiteX56" fmla="*/ 1447040 w 2251903"/>
                    <a:gd name="connsiteY56" fmla="*/ 1052866 h 2844339"/>
                    <a:gd name="connsiteX57" fmla="*/ 1451803 w 2251903"/>
                    <a:gd name="connsiteY57" fmla="*/ 1010003 h 2844339"/>
                    <a:gd name="connsiteX58" fmla="*/ 1489903 w 2251903"/>
                    <a:gd name="connsiteY58" fmla="*/ 952853 h 2844339"/>
                    <a:gd name="connsiteX59" fmla="*/ 1508953 w 2251903"/>
                    <a:gd name="connsiteY59" fmla="*/ 914753 h 2844339"/>
                    <a:gd name="connsiteX60" fmla="*/ 1556578 w 2251903"/>
                    <a:gd name="connsiteY60" fmla="*/ 819503 h 2844339"/>
                    <a:gd name="connsiteX61" fmla="*/ 1594678 w 2251903"/>
                    <a:gd name="connsiteY61" fmla="*/ 743303 h 2844339"/>
                    <a:gd name="connsiteX62" fmla="*/ 1680403 w 2251903"/>
                    <a:gd name="connsiteY62" fmla="*/ 657578 h 2844339"/>
                    <a:gd name="connsiteX63" fmla="*/ 1728028 w 2251903"/>
                    <a:gd name="connsiteY63" fmla="*/ 600428 h 2844339"/>
                    <a:gd name="connsiteX64" fmla="*/ 1780415 w 2251903"/>
                    <a:gd name="connsiteY64" fmla="*/ 509941 h 2844339"/>
                    <a:gd name="connsiteX65" fmla="*/ 1828040 w 2251903"/>
                    <a:gd name="connsiteY65" fmla="*/ 486128 h 2844339"/>
                    <a:gd name="connsiteX66" fmla="*/ 1851853 w 2251903"/>
                    <a:gd name="connsiteY66" fmla="*/ 428978 h 2844339"/>
                    <a:gd name="connsiteX67" fmla="*/ 1875665 w 2251903"/>
                    <a:gd name="connsiteY67" fmla="*/ 357541 h 2844339"/>
                    <a:gd name="connsiteX68" fmla="*/ 1913765 w 2251903"/>
                    <a:gd name="connsiteY68" fmla="*/ 295628 h 2844339"/>
                    <a:gd name="connsiteX69" fmla="*/ 1961390 w 2251903"/>
                    <a:gd name="connsiteY69" fmla="*/ 238478 h 2844339"/>
                    <a:gd name="connsiteX70" fmla="*/ 2018540 w 2251903"/>
                    <a:gd name="connsiteY70" fmla="*/ 214666 h 2844339"/>
                    <a:gd name="connsiteX71" fmla="*/ 2066165 w 2251903"/>
                    <a:gd name="connsiteY71" fmla="*/ 200378 h 2844339"/>
                    <a:gd name="connsiteX72" fmla="*/ 2089978 w 2251903"/>
                    <a:gd name="connsiteY72" fmla="*/ 152753 h 2844339"/>
                    <a:gd name="connsiteX73" fmla="*/ 2085215 w 2251903"/>
                    <a:gd name="connsiteY73" fmla="*/ 76553 h 2844339"/>
                    <a:gd name="connsiteX74" fmla="*/ 2137603 w 2251903"/>
                    <a:gd name="connsiteY74" fmla="*/ 9878 h 2844339"/>
                    <a:gd name="connsiteX75" fmla="*/ 2199515 w 2251903"/>
                    <a:gd name="connsiteY75" fmla="*/ 353 h 2844339"/>
                    <a:gd name="connsiteX76" fmla="*/ 2251903 w 2251903"/>
                    <a:gd name="connsiteY76" fmla="*/ 9878 h 2844339"/>
                    <a:gd name="connsiteX0" fmla="*/ 427865 w 2251903"/>
                    <a:gd name="connsiteY0" fmla="*/ 390878 h 2844339"/>
                    <a:gd name="connsiteX1" fmla="*/ 404053 w 2251903"/>
                    <a:gd name="connsiteY1" fmla="*/ 409928 h 2844339"/>
                    <a:gd name="connsiteX2" fmla="*/ 408815 w 2251903"/>
                    <a:gd name="connsiteY2" fmla="*/ 467078 h 2844339"/>
                    <a:gd name="connsiteX3" fmla="*/ 375478 w 2251903"/>
                    <a:gd name="connsiteY3" fmla="*/ 528991 h 2844339"/>
                    <a:gd name="connsiteX4" fmla="*/ 356428 w 2251903"/>
                    <a:gd name="connsiteY4" fmla="*/ 624241 h 2844339"/>
                    <a:gd name="connsiteX5" fmla="*/ 380240 w 2251903"/>
                    <a:gd name="connsiteY5" fmla="*/ 700441 h 2844339"/>
                    <a:gd name="connsiteX6" fmla="*/ 337378 w 2251903"/>
                    <a:gd name="connsiteY6" fmla="*/ 748066 h 2844339"/>
                    <a:gd name="connsiteX7" fmla="*/ 289753 w 2251903"/>
                    <a:gd name="connsiteY7" fmla="*/ 833791 h 2844339"/>
                    <a:gd name="connsiteX8" fmla="*/ 194503 w 2251903"/>
                    <a:gd name="connsiteY8" fmla="*/ 895703 h 2844339"/>
                    <a:gd name="connsiteX9" fmla="*/ 151640 w 2251903"/>
                    <a:gd name="connsiteY9" fmla="*/ 929041 h 2844339"/>
                    <a:gd name="connsiteX10" fmla="*/ 132590 w 2251903"/>
                    <a:gd name="connsiteY10" fmla="*/ 981428 h 2844339"/>
                    <a:gd name="connsiteX11" fmla="*/ 127828 w 2251903"/>
                    <a:gd name="connsiteY11" fmla="*/ 1071916 h 2844339"/>
                    <a:gd name="connsiteX12" fmla="*/ 80203 w 2251903"/>
                    <a:gd name="connsiteY12" fmla="*/ 1133828 h 2844339"/>
                    <a:gd name="connsiteX13" fmla="*/ 51628 w 2251903"/>
                    <a:gd name="connsiteY13" fmla="*/ 1262416 h 2844339"/>
                    <a:gd name="connsiteX14" fmla="*/ 13528 w 2251903"/>
                    <a:gd name="connsiteY14" fmla="*/ 1333853 h 2844339"/>
                    <a:gd name="connsiteX15" fmla="*/ 23053 w 2251903"/>
                    <a:gd name="connsiteY15" fmla="*/ 1391003 h 2844339"/>
                    <a:gd name="connsiteX16" fmla="*/ 4003 w 2251903"/>
                    <a:gd name="connsiteY16" fmla="*/ 1433866 h 2844339"/>
                    <a:gd name="connsiteX17" fmla="*/ 4003 w 2251903"/>
                    <a:gd name="connsiteY17" fmla="*/ 1500541 h 2844339"/>
                    <a:gd name="connsiteX18" fmla="*/ 46865 w 2251903"/>
                    <a:gd name="connsiteY18" fmla="*/ 1586266 h 2844339"/>
                    <a:gd name="connsiteX19" fmla="*/ 123065 w 2251903"/>
                    <a:gd name="connsiteY19" fmla="*/ 1652941 h 2844339"/>
                    <a:gd name="connsiteX20" fmla="*/ 189740 w 2251903"/>
                    <a:gd name="connsiteY20" fmla="*/ 1724378 h 2844339"/>
                    <a:gd name="connsiteX21" fmla="*/ 242128 w 2251903"/>
                    <a:gd name="connsiteY21" fmla="*/ 1838678 h 2844339"/>
                    <a:gd name="connsiteX22" fmla="*/ 318328 w 2251903"/>
                    <a:gd name="connsiteY22" fmla="*/ 1957741 h 2844339"/>
                    <a:gd name="connsiteX23" fmla="*/ 413578 w 2251903"/>
                    <a:gd name="connsiteY23" fmla="*/ 2019653 h 2844339"/>
                    <a:gd name="connsiteX24" fmla="*/ 432628 w 2251903"/>
                    <a:gd name="connsiteY24" fmla="*/ 2043466 h 2844339"/>
                    <a:gd name="connsiteX25" fmla="*/ 442153 w 2251903"/>
                    <a:gd name="connsiteY25" fmla="*/ 2138716 h 2844339"/>
                    <a:gd name="connsiteX26" fmla="*/ 461203 w 2251903"/>
                    <a:gd name="connsiteY26" fmla="*/ 2210154 h 2844339"/>
                    <a:gd name="connsiteX27" fmla="*/ 532640 w 2251903"/>
                    <a:gd name="connsiteY27" fmla="*/ 2343503 h 2844339"/>
                    <a:gd name="connsiteX28" fmla="*/ 546928 w 2251903"/>
                    <a:gd name="connsiteY28" fmla="*/ 2433991 h 2844339"/>
                    <a:gd name="connsiteX29" fmla="*/ 570740 w 2251903"/>
                    <a:gd name="connsiteY29" fmla="*/ 2514953 h 2844339"/>
                    <a:gd name="connsiteX30" fmla="*/ 561215 w 2251903"/>
                    <a:gd name="connsiteY30" fmla="*/ 2581628 h 2844339"/>
                    <a:gd name="connsiteX31" fmla="*/ 646940 w 2251903"/>
                    <a:gd name="connsiteY31" fmla="*/ 2695928 h 2844339"/>
                    <a:gd name="connsiteX32" fmla="*/ 642178 w 2251903"/>
                    <a:gd name="connsiteY32" fmla="*/ 2791178 h 2844339"/>
                    <a:gd name="connsiteX33" fmla="*/ 656465 w 2251903"/>
                    <a:gd name="connsiteY33" fmla="*/ 2843566 h 2844339"/>
                    <a:gd name="connsiteX34" fmla="*/ 889828 w 2251903"/>
                    <a:gd name="connsiteY34" fmla="*/ 2753078 h 2844339"/>
                    <a:gd name="connsiteX35" fmla="*/ 951740 w 2251903"/>
                    <a:gd name="connsiteY35" fmla="*/ 2724503 h 2844339"/>
                    <a:gd name="connsiteX36" fmla="*/ 1027940 w 2251903"/>
                    <a:gd name="connsiteY36" fmla="*/ 2748316 h 2844339"/>
                    <a:gd name="connsiteX37" fmla="*/ 1089853 w 2251903"/>
                    <a:gd name="connsiteY37" fmla="*/ 2753078 h 2844339"/>
                    <a:gd name="connsiteX38" fmla="*/ 1127953 w 2251903"/>
                    <a:gd name="connsiteY38" fmla="*/ 2672116 h 2844339"/>
                    <a:gd name="connsiteX39" fmla="*/ 1089853 w 2251903"/>
                    <a:gd name="connsiteY39" fmla="*/ 2595916 h 2844339"/>
                    <a:gd name="connsiteX40" fmla="*/ 1151765 w 2251903"/>
                    <a:gd name="connsiteY40" fmla="*/ 2534003 h 2844339"/>
                    <a:gd name="connsiteX41" fmla="*/ 1218440 w 2251903"/>
                    <a:gd name="connsiteY41" fmla="*/ 2472091 h 2844339"/>
                    <a:gd name="connsiteX42" fmla="*/ 1270828 w 2251903"/>
                    <a:gd name="connsiteY42" fmla="*/ 2357791 h 2844339"/>
                    <a:gd name="connsiteX43" fmla="*/ 1294640 w 2251903"/>
                    <a:gd name="connsiteY43" fmla="*/ 2305403 h 2844339"/>
                    <a:gd name="connsiteX44" fmla="*/ 1356553 w 2251903"/>
                    <a:gd name="connsiteY44" fmla="*/ 2243491 h 2844339"/>
                    <a:gd name="connsiteX45" fmla="*/ 1408940 w 2251903"/>
                    <a:gd name="connsiteY45" fmla="*/ 2162528 h 2844339"/>
                    <a:gd name="connsiteX46" fmla="*/ 1423228 w 2251903"/>
                    <a:gd name="connsiteY46" fmla="*/ 2081566 h 2844339"/>
                    <a:gd name="connsiteX47" fmla="*/ 1489903 w 2251903"/>
                    <a:gd name="connsiteY47" fmla="*/ 1948216 h 2844339"/>
                    <a:gd name="connsiteX48" fmla="*/ 1556578 w 2251903"/>
                    <a:gd name="connsiteY48" fmla="*/ 1833916 h 2844339"/>
                    <a:gd name="connsiteX49" fmla="*/ 1556578 w 2251903"/>
                    <a:gd name="connsiteY49" fmla="*/ 1752953 h 2844339"/>
                    <a:gd name="connsiteX50" fmla="*/ 1561340 w 2251903"/>
                    <a:gd name="connsiteY50" fmla="*/ 1624366 h 2844339"/>
                    <a:gd name="connsiteX51" fmla="*/ 1575628 w 2251903"/>
                    <a:gd name="connsiteY51" fmla="*/ 1529116 h 2844339"/>
                    <a:gd name="connsiteX52" fmla="*/ 1594678 w 2251903"/>
                    <a:gd name="connsiteY52" fmla="*/ 1448153 h 2844339"/>
                    <a:gd name="connsiteX53" fmla="*/ 1547053 w 2251903"/>
                    <a:gd name="connsiteY53" fmla="*/ 1314803 h 2844339"/>
                    <a:gd name="connsiteX54" fmla="*/ 1442278 w 2251903"/>
                    <a:gd name="connsiteY54" fmla="*/ 1100491 h 2844339"/>
                    <a:gd name="connsiteX55" fmla="*/ 1447040 w 2251903"/>
                    <a:gd name="connsiteY55" fmla="*/ 1052866 h 2844339"/>
                    <a:gd name="connsiteX56" fmla="*/ 1451803 w 2251903"/>
                    <a:gd name="connsiteY56" fmla="*/ 1010003 h 2844339"/>
                    <a:gd name="connsiteX57" fmla="*/ 1489903 w 2251903"/>
                    <a:gd name="connsiteY57" fmla="*/ 952853 h 2844339"/>
                    <a:gd name="connsiteX58" fmla="*/ 1508953 w 2251903"/>
                    <a:gd name="connsiteY58" fmla="*/ 914753 h 2844339"/>
                    <a:gd name="connsiteX59" fmla="*/ 1556578 w 2251903"/>
                    <a:gd name="connsiteY59" fmla="*/ 819503 h 2844339"/>
                    <a:gd name="connsiteX60" fmla="*/ 1594678 w 2251903"/>
                    <a:gd name="connsiteY60" fmla="*/ 743303 h 2844339"/>
                    <a:gd name="connsiteX61" fmla="*/ 1680403 w 2251903"/>
                    <a:gd name="connsiteY61" fmla="*/ 657578 h 2844339"/>
                    <a:gd name="connsiteX62" fmla="*/ 1728028 w 2251903"/>
                    <a:gd name="connsiteY62" fmla="*/ 600428 h 2844339"/>
                    <a:gd name="connsiteX63" fmla="*/ 1780415 w 2251903"/>
                    <a:gd name="connsiteY63" fmla="*/ 509941 h 2844339"/>
                    <a:gd name="connsiteX64" fmla="*/ 1828040 w 2251903"/>
                    <a:gd name="connsiteY64" fmla="*/ 486128 h 2844339"/>
                    <a:gd name="connsiteX65" fmla="*/ 1851853 w 2251903"/>
                    <a:gd name="connsiteY65" fmla="*/ 428978 h 2844339"/>
                    <a:gd name="connsiteX66" fmla="*/ 1875665 w 2251903"/>
                    <a:gd name="connsiteY66" fmla="*/ 357541 h 2844339"/>
                    <a:gd name="connsiteX67" fmla="*/ 1913765 w 2251903"/>
                    <a:gd name="connsiteY67" fmla="*/ 295628 h 2844339"/>
                    <a:gd name="connsiteX68" fmla="*/ 1961390 w 2251903"/>
                    <a:gd name="connsiteY68" fmla="*/ 238478 h 2844339"/>
                    <a:gd name="connsiteX69" fmla="*/ 2018540 w 2251903"/>
                    <a:gd name="connsiteY69" fmla="*/ 214666 h 2844339"/>
                    <a:gd name="connsiteX70" fmla="*/ 2066165 w 2251903"/>
                    <a:gd name="connsiteY70" fmla="*/ 200378 h 2844339"/>
                    <a:gd name="connsiteX71" fmla="*/ 2089978 w 2251903"/>
                    <a:gd name="connsiteY71" fmla="*/ 152753 h 2844339"/>
                    <a:gd name="connsiteX72" fmla="*/ 2085215 w 2251903"/>
                    <a:gd name="connsiteY72" fmla="*/ 76553 h 2844339"/>
                    <a:gd name="connsiteX73" fmla="*/ 2137603 w 2251903"/>
                    <a:gd name="connsiteY73" fmla="*/ 9878 h 2844339"/>
                    <a:gd name="connsiteX74" fmla="*/ 2199515 w 2251903"/>
                    <a:gd name="connsiteY74" fmla="*/ 353 h 2844339"/>
                    <a:gd name="connsiteX75" fmla="*/ 2251903 w 2251903"/>
                    <a:gd name="connsiteY75" fmla="*/ 9878 h 2844339"/>
                    <a:gd name="connsiteX0" fmla="*/ 404053 w 2251903"/>
                    <a:gd name="connsiteY0" fmla="*/ 409928 h 2844339"/>
                    <a:gd name="connsiteX1" fmla="*/ 408815 w 2251903"/>
                    <a:gd name="connsiteY1" fmla="*/ 467078 h 2844339"/>
                    <a:gd name="connsiteX2" fmla="*/ 375478 w 2251903"/>
                    <a:gd name="connsiteY2" fmla="*/ 528991 h 2844339"/>
                    <a:gd name="connsiteX3" fmla="*/ 356428 w 2251903"/>
                    <a:gd name="connsiteY3" fmla="*/ 624241 h 2844339"/>
                    <a:gd name="connsiteX4" fmla="*/ 380240 w 2251903"/>
                    <a:gd name="connsiteY4" fmla="*/ 700441 h 2844339"/>
                    <a:gd name="connsiteX5" fmla="*/ 337378 w 2251903"/>
                    <a:gd name="connsiteY5" fmla="*/ 748066 h 2844339"/>
                    <a:gd name="connsiteX6" fmla="*/ 289753 w 2251903"/>
                    <a:gd name="connsiteY6" fmla="*/ 833791 h 2844339"/>
                    <a:gd name="connsiteX7" fmla="*/ 194503 w 2251903"/>
                    <a:gd name="connsiteY7" fmla="*/ 895703 h 2844339"/>
                    <a:gd name="connsiteX8" fmla="*/ 151640 w 2251903"/>
                    <a:gd name="connsiteY8" fmla="*/ 929041 h 2844339"/>
                    <a:gd name="connsiteX9" fmla="*/ 132590 w 2251903"/>
                    <a:gd name="connsiteY9" fmla="*/ 981428 h 2844339"/>
                    <a:gd name="connsiteX10" fmla="*/ 127828 w 2251903"/>
                    <a:gd name="connsiteY10" fmla="*/ 1071916 h 2844339"/>
                    <a:gd name="connsiteX11" fmla="*/ 80203 w 2251903"/>
                    <a:gd name="connsiteY11" fmla="*/ 1133828 h 2844339"/>
                    <a:gd name="connsiteX12" fmla="*/ 51628 w 2251903"/>
                    <a:gd name="connsiteY12" fmla="*/ 1262416 h 2844339"/>
                    <a:gd name="connsiteX13" fmla="*/ 13528 w 2251903"/>
                    <a:gd name="connsiteY13" fmla="*/ 1333853 h 2844339"/>
                    <a:gd name="connsiteX14" fmla="*/ 23053 w 2251903"/>
                    <a:gd name="connsiteY14" fmla="*/ 1391003 h 2844339"/>
                    <a:gd name="connsiteX15" fmla="*/ 4003 w 2251903"/>
                    <a:gd name="connsiteY15" fmla="*/ 1433866 h 2844339"/>
                    <a:gd name="connsiteX16" fmla="*/ 4003 w 2251903"/>
                    <a:gd name="connsiteY16" fmla="*/ 1500541 h 2844339"/>
                    <a:gd name="connsiteX17" fmla="*/ 46865 w 2251903"/>
                    <a:gd name="connsiteY17" fmla="*/ 1586266 h 2844339"/>
                    <a:gd name="connsiteX18" fmla="*/ 123065 w 2251903"/>
                    <a:gd name="connsiteY18" fmla="*/ 1652941 h 2844339"/>
                    <a:gd name="connsiteX19" fmla="*/ 189740 w 2251903"/>
                    <a:gd name="connsiteY19" fmla="*/ 1724378 h 2844339"/>
                    <a:gd name="connsiteX20" fmla="*/ 242128 w 2251903"/>
                    <a:gd name="connsiteY20" fmla="*/ 1838678 h 2844339"/>
                    <a:gd name="connsiteX21" fmla="*/ 318328 w 2251903"/>
                    <a:gd name="connsiteY21" fmla="*/ 1957741 h 2844339"/>
                    <a:gd name="connsiteX22" fmla="*/ 413578 w 2251903"/>
                    <a:gd name="connsiteY22" fmla="*/ 2019653 h 2844339"/>
                    <a:gd name="connsiteX23" fmla="*/ 432628 w 2251903"/>
                    <a:gd name="connsiteY23" fmla="*/ 2043466 h 2844339"/>
                    <a:gd name="connsiteX24" fmla="*/ 442153 w 2251903"/>
                    <a:gd name="connsiteY24" fmla="*/ 2138716 h 2844339"/>
                    <a:gd name="connsiteX25" fmla="*/ 461203 w 2251903"/>
                    <a:gd name="connsiteY25" fmla="*/ 2210154 h 2844339"/>
                    <a:gd name="connsiteX26" fmla="*/ 532640 w 2251903"/>
                    <a:gd name="connsiteY26" fmla="*/ 2343503 h 2844339"/>
                    <a:gd name="connsiteX27" fmla="*/ 546928 w 2251903"/>
                    <a:gd name="connsiteY27" fmla="*/ 2433991 h 2844339"/>
                    <a:gd name="connsiteX28" fmla="*/ 570740 w 2251903"/>
                    <a:gd name="connsiteY28" fmla="*/ 2514953 h 2844339"/>
                    <a:gd name="connsiteX29" fmla="*/ 561215 w 2251903"/>
                    <a:gd name="connsiteY29" fmla="*/ 2581628 h 2844339"/>
                    <a:gd name="connsiteX30" fmla="*/ 646940 w 2251903"/>
                    <a:gd name="connsiteY30" fmla="*/ 2695928 h 2844339"/>
                    <a:gd name="connsiteX31" fmla="*/ 642178 w 2251903"/>
                    <a:gd name="connsiteY31" fmla="*/ 2791178 h 2844339"/>
                    <a:gd name="connsiteX32" fmla="*/ 656465 w 2251903"/>
                    <a:gd name="connsiteY32" fmla="*/ 2843566 h 2844339"/>
                    <a:gd name="connsiteX33" fmla="*/ 889828 w 2251903"/>
                    <a:gd name="connsiteY33" fmla="*/ 2753078 h 2844339"/>
                    <a:gd name="connsiteX34" fmla="*/ 951740 w 2251903"/>
                    <a:gd name="connsiteY34" fmla="*/ 2724503 h 2844339"/>
                    <a:gd name="connsiteX35" fmla="*/ 1027940 w 2251903"/>
                    <a:gd name="connsiteY35" fmla="*/ 2748316 h 2844339"/>
                    <a:gd name="connsiteX36" fmla="*/ 1089853 w 2251903"/>
                    <a:gd name="connsiteY36" fmla="*/ 2753078 h 2844339"/>
                    <a:gd name="connsiteX37" fmla="*/ 1127953 w 2251903"/>
                    <a:gd name="connsiteY37" fmla="*/ 2672116 h 2844339"/>
                    <a:gd name="connsiteX38" fmla="*/ 1089853 w 2251903"/>
                    <a:gd name="connsiteY38" fmla="*/ 2595916 h 2844339"/>
                    <a:gd name="connsiteX39" fmla="*/ 1151765 w 2251903"/>
                    <a:gd name="connsiteY39" fmla="*/ 2534003 h 2844339"/>
                    <a:gd name="connsiteX40" fmla="*/ 1218440 w 2251903"/>
                    <a:gd name="connsiteY40" fmla="*/ 2472091 h 2844339"/>
                    <a:gd name="connsiteX41" fmla="*/ 1270828 w 2251903"/>
                    <a:gd name="connsiteY41" fmla="*/ 2357791 h 2844339"/>
                    <a:gd name="connsiteX42" fmla="*/ 1294640 w 2251903"/>
                    <a:gd name="connsiteY42" fmla="*/ 2305403 h 2844339"/>
                    <a:gd name="connsiteX43" fmla="*/ 1356553 w 2251903"/>
                    <a:gd name="connsiteY43" fmla="*/ 2243491 h 2844339"/>
                    <a:gd name="connsiteX44" fmla="*/ 1408940 w 2251903"/>
                    <a:gd name="connsiteY44" fmla="*/ 2162528 h 2844339"/>
                    <a:gd name="connsiteX45" fmla="*/ 1423228 w 2251903"/>
                    <a:gd name="connsiteY45" fmla="*/ 2081566 h 2844339"/>
                    <a:gd name="connsiteX46" fmla="*/ 1489903 w 2251903"/>
                    <a:gd name="connsiteY46" fmla="*/ 1948216 h 2844339"/>
                    <a:gd name="connsiteX47" fmla="*/ 1556578 w 2251903"/>
                    <a:gd name="connsiteY47" fmla="*/ 1833916 h 2844339"/>
                    <a:gd name="connsiteX48" fmla="*/ 1556578 w 2251903"/>
                    <a:gd name="connsiteY48" fmla="*/ 1752953 h 2844339"/>
                    <a:gd name="connsiteX49" fmla="*/ 1561340 w 2251903"/>
                    <a:gd name="connsiteY49" fmla="*/ 1624366 h 2844339"/>
                    <a:gd name="connsiteX50" fmla="*/ 1575628 w 2251903"/>
                    <a:gd name="connsiteY50" fmla="*/ 1529116 h 2844339"/>
                    <a:gd name="connsiteX51" fmla="*/ 1594678 w 2251903"/>
                    <a:gd name="connsiteY51" fmla="*/ 1448153 h 2844339"/>
                    <a:gd name="connsiteX52" fmla="*/ 1547053 w 2251903"/>
                    <a:gd name="connsiteY52" fmla="*/ 1314803 h 2844339"/>
                    <a:gd name="connsiteX53" fmla="*/ 1442278 w 2251903"/>
                    <a:gd name="connsiteY53" fmla="*/ 1100491 h 2844339"/>
                    <a:gd name="connsiteX54" fmla="*/ 1447040 w 2251903"/>
                    <a:gd name="connsiteY54" fmla="*/ 1052866 h 2844339"/>
                    <a:gd name="connsiteX55" fmla="*/ 1451803 w 2251903"/>
                    <a:gd name="connsiteY55" fmla="*/ 1010003 h 2844339"/>
                    <a:gd name="connsiteX56" fmla="*/ 1489903 w 2251903"/>
                    <a:gd name="connsiteY56" fmla="*/ 952853 h 2844339"/>
                    <a:gd name="connsiteX57" fmla="*/ 1508953 w 2251903"/>
                    <a:gd name="connsiteY57" fmla="*/ 914753 h 2844339"/>
                    <a:gd name="connsiteX58" fmla="*/ 1556578 w 2251903"/>
                    <a:gd name="connsiteY58" fmla="*/ 819503 h 2844339"/>
                    <a:gd name="connsiteX59" fmla="*/ 1594678 w 2251903"/>
                    <a:gd name="connsiteY59" fmla="*/ 743303 h 2844339"/>
                    <a:gd name="connsiteX60" fmla="*/ 1680403 w 2251903"/>
                    <a:gd name="connsiteY60" fmla="*/ 657578 h 2844339"/>
                    <a:gd name="connsiteX61" fmla="*/ 1728028 w 2251903"/>
                    <a:gd name="connsiteY61" fmla="*/ 600428 h 2844339"/>
                    <a:gd name="connsiteX62" fmla="*/ 1780415 w 2251903"/>
                    <a:gd name="connsiteY62" fmla="*/ 509941 h 2844339"/>
                    <a:gd name="connsiteX63" fmla="*/ 1828040 w 2251903"/>
                    <a:gd name="connsiteY63" fmla="*/ 486128 h 2844339"/>
                    <a:gd name="connsiteX64" fmla="*/ 1851853 w 2251903"/>
                    <a:gd name="connsiteY64" fmla="*/ 428978 h 2844339"/>
                    <a:gd name="connsiteX65" fmla="*/ 1875665 w 2251903"/>
                    <a:gd name="connsiteY65" fmla="*/ 357541 h 2844339"/>
                    <a:gd name="connsiteX66" fmla="*/ 1913765 w 2251903"/>
                    <a:gd name="connsiteY66" fmla="*/ 295628 h 2844339"/>
                    <a:gd name="connsiteX67" fmla="*/ 1961390 w 2251903"/>
                    <a:gd name="connsiteY67" fmla="*/ 238478 h 2844339"/>
                    <a:gd name="connsiteX68" fmla="*/ 2018540 w 2251903"/>
                    <a:gd name="connsiteY68" fmla="*/ 214666 h 2844339"/>
                    <a:gd name="connsiteX69" fmla="*/ 2066165 w 2251903"/>
                    <a:gd name="connsiteY69" fmla="*/ 200378 h 2844339"/>
                    <a:gd name="connsiteX70" fmla="*/ 2089978 w 2251903"/>
                    <a:gd name="connsiteY70" fmla="*/ 152753 h 2844339"/>
                    <a:gd name="connsiteX71" fmla="*/ 2085215 w 2251903"/>
                    <a:gd name="connsiteY71" fmla="*/ 76553 h 2844339"/>
                    <a:gd name="connsiteX72" fmla="*/ 2137603 w 2251903"/>
                    <a:gd name="connsiteY72" fmla="*/ 9878 h 2844339"/>
                    <a:gd name="connsiteX73" fmla="*/ 2199515 w 2251903"/>
                    <a:gd name="connsiteY73" fmla="*/ 353 h 2844339"/>
                    <a:gd name="connsiteX74" fmla="*/ 2251903 w 2251903"/>
                    <a:gd name="connsiteY74" fmla="*/ 9878 h 2844339"/>
                    <a:gd name="connsiteX0" fmla="*/ 408815 w 2251903"/>
                    <a:gd name="connsiteY0" fmla="*/ 467078 h 2844339"/>
                    <a:gd name="connsiteX1" fmla="*/ 375478 w 2251903"/>
                    <a:gd name="connsiteY1" fmla="*/ 528991 h 2844339"/>
                    <a:gd name="connsiteX2" fmla="*/ 356428 w 2251903"/>
                    <a:gd name="connsiteY2" fmla="*/ 624241 h 2844339"/>
                    <a:gd name="connsiteX3" fmla="*/ 380240 w 2251903"/>
                    <a:gd name="connsiteY3" fmla="*/ 700441 h 2844339"/>
                    <a:gd name="connsiteX4" fmla="*/ 337378 w 2251903"/>
                    <a:gd name="connsiteY4" fmla="*/ 748066 h 2844339"/>
                    <a:gd name="connsiteX5" fmla="*/ 289753 w 2251903"/>
                    <a:gd name="connsiteY5" fmla="*/ 833791 h 2844339"/>
                    <a:gd name="connsiteX6" fmla="*/ 194503 w 2251903"/>
                    <a:gd name="connsiteY6" fmla="*/ 895703 h 2844339"/>
                    <a:gd name="connsiteX7" fmla="*/ 151640 w 2251903"/>
                    <a:gd name="connsiteY7" fmla="*/ 929041 h 2844339"/>
                    <a:gd name="connsiteX8" fmla="*/ 132590 w 2251903"/>
                    <a:gd name="connsiteY8" fmla="*/ 981428 h 2844339"/>
                    <a:gd name="connsiteX9" fmla="*/ 127828 w 2251903"/>
                    <a:gd name="connsiteY9" fmla="*/ 1071916 h 2844339"/>
                    <a:gd name="connsiteX10" fmla="*/ 80203 w 2251903"/>
                    <a:gd name="connsiteY10" fmla="*/ 1133828 h 2844339"/>
                    <a:gd name="connsiteX11" fmla="*/ 51628 w 2251903"/>
                    <a:gd name="connsiteY11" fmla="*/ 1262416 h 2844339"/>
                    <a:gd name="connsiteX12" fmla="*/ 13528 w 2251903"/>
                    <a:gd name="connsiteY12" fmla="*/ 1333853 h 2844339"/>
                    <a:gd name="connsiteX13" fmla="*/ 23053 w 2251903"/>
                    <a:gd name="connsiteY13" fmla="*/ 1391003 h 2844339"/>
                    <a:gd name="connsiteX14" fmla="*/ 4003 w 2251903"/>
                    <a:gd name="connsiteY14" fmla="*/ 1433866 h 2844339"/>
                    <a:gd name="connsiteX15" fmla="*/ 4003 w 2251903"/>
                    <a:gd name="connsiteY15" fmla="*/ 1500541 h 2844339"/>
                    <a:gd name="connsiteX16" fmla="*/ 46865 w 2251903"/>
                    <a:gd name="connsiteY16" fmla="*/ 1586266 h 2844339"/>
                    <a:gd name="connsiteX17" fmla="*/ 123065 w 2251903"/>
                    <a:gd name="connsiteY17" fmla="*/ 1652941 h 2844339"/>
                    <a:gd name="connsiteX18" fmla="*/ 189740 w 2251903"/>
                    <a:gd name="connsiteY18" fmla="*/ 1724378 h 2844339"/>
                    <a:gd name="connsiteX19" fmla="*/ 242128 w 2251903"/>
                    <a:gd name="connsiteY19" fmla="*/ 1838678 h 2844339"/>
                    <a:gd name="connsiteX20" fmla="*/ 318328 w 2251903"/>
                    <a:gd name="connsiteY20" fmla="*/ 1957741 h 2844339"/>
                    <a:gd name="connsiteX21" fmla="*/ 413578 w 2251903"/>
                    <a:gd name="connsiteY21" fmla="*/ 2019653 h 2844339"/>
                    <a:gd name="connsiteX22" fmla="*/ 432628 w 2251903"/>
                    <a:gd name="connsiteY22" fmla="*/ 2043466 h 2844339"/>
                    <a:gd name="connsiteX23" fmla="*/ 442153 w 2251903"/>
                    <a:gd name="connsiteY23" fmla="*/ 2138716 h 2844339"/>
                    <a:gd name="connsiteX24" fmla="*/ 461203 w 2251903"/>
                    <a:gd name="connsiteY24" fmla="*/ 2210154 h 2844339"/>
                    <a:gd name="connsiteX25" fmla="*/ 532640 w 2251903"/>
                    <a:gd name="connsiteY25" fmla="*/ 2343503 h 2844339"/>
                    <a:gd name="connsiteX26" fmla="*/ 546928 w 2251903"/>
                    <a:gd name="connsiteY26" fmla="*/ 2433991 h 2844339"/>
                    <a:gd name="connsiteX27" fmla="*/ 570740 w 2251903"/>
                    <a:gd name="connsiteY27" fmla="*/ 2514953 h 2844339"/>
                    <a:gd name="connsiteX28" fmla="*/ 561215 w 2251903"/>
                    <a:gd name="connsiteY28" fmla="*/ 2581628 h 2844339"/>
                    <a:gd name="connsiteX29" fmla="*/ 646940 w 2251903"/>
                    <a:gd name="connsiteY29" fmla="*/ 2695928 h 2844339"/>
                    <a:gd name="connsiteX30" fmla="*/ 642178 w 2251903"/>
                    <a:gd name="connsiteY30" fmla="*/ 2791178 h 2844339"/>
                    <a:gd name="connsiteX31" fmla="*/ 656465 w 2251903"/>
                    <a:gd name="connsiteY31" fmla="*/ 2843566 h 2844339"/>
                    <a:gd name="connsiteX32" fmla="*/ 889828 w 2251903"/>
                    <a:gd name="connsiteY32" fmla="*/ 2753078 h 2844339"/>
                    <a:gd name="connsiteX33" fmla="*/ 951740 w 2251903"/>
                    <a:gd name="connsiteY33" fmla="*/ 2724503 h 2844339"/>
                    <a:gd name="connsiteX34" fmla="*/ 1027940 w 2251903"/>
                    <a:gd name="connsiteY34" fmla="*/ 2748316 h 2844339"/>
                    <a:gd name="connsiteX35" fmla="*/ 1089853 w 2251903"/>
                    <a:gd name="connsiteY35" fmla="*/ 2753078 h 2844339"/>
                    <a:gd name="connsiteX36" fmla="*/ 1127953 w 2251903"/>
                    <a:gd name="connsiteY36" fmla="*/ 2672116 h 2844339"/>
                    <a:gd name="connsiteX37" fmla="*/ 1089853 w 2251903"/>
                    <a:gd name="connsiteY37" fmla="*/ 2595916 h 2844339"/>
                    <a:gd name="connsiteX38" fmla="*/ 1151765 w 2251903"/>
                    <a:gd name="connsiteY38" fmla="*/ 2534003 h 2844339"/>
                    <a:gd name="connsiteX39" fmla="*/ 1218440 w 2251903"/>
                    <a:gd name="connsiteY39" fmla="*/ 2472091 h 2844339"/>
                    <a:gd name="connsiteX40" fmla="*/ 1270828 w 2251903"/>
                    <a:gd name="connsiteY40" fmla="*/ 2357791 h 2844339"/>
                    <a:gd name="connsiteX41" fmla="*/ 1294640 w 2251903"/>
                    <a:gd name="connsiteY41" fmla="*/ 2305403 h 2844339"/>
                    <a:gd name="connsiteX42" fmla="*/ 1356553 w 2251903"/>
                    <a:gd name="connsiteY42" fmla="*/ 2243491 h 2844339"/>
                    <a:gd name="connsiteX43" fmla="*/ 1408940 w 2251903"/>
                    <a:gd name="connsiteY43" fmla="*/ 2162528 h 2844339"/>
                    <a:gd name="connsiteX44" fmla="*/ 1423228 w 2251903"/>
                    <a:gd name="connsiteY44" fmla="*/ 2081566 h 2844339"/>
                    <a:gd name="connsiteX45" fmla="*/ 1489903 w 2251903"/>
                    <a:gd name="connsiteY45" fmla="*/ 1948216 h 2844339"/>
                    <a:gd name="connsiteX46" fmla="*/ 1556578 w 2251903"/>
                    <a:gd name="connsiteY46" fmla="*/ 1833916 h 2844339"/>
                    <a:gd name="connsiteX47" fmla="*/ 1556578 w 2251903"/>
                    <a:gd name="connsiteY47" fmla="*/ 1752953 h 2844339"/>
                    <a:gd name="connsiteX48" fmla="*/ 1561340 w 2251903"/>
                    <a:gd name="connsiteY48" fmla="*/ 1624366 h 2844339"/>
                    <a:gd name="connsiteX49" fmla="*/ 1575628 w 2251903"/>
                    <a:gd name="connsiteY49" fmla="*/ 1529116 h 2844339"/>
                    <a:gd name="connsiteX50" fmla="*/ 1594678 w 2251903"/>
                    <a:gd name="connsiteY50" fmla="*/ 1448153 h 2844339"/>
                    <a:gd name="connsiteX51" fmla="*/ 1547053 w 2251903"/>
                    <a:gd name="connsiteY51" fmla="*/ 1314803 h 2844339"/>
                    <a:gd name="connsiteX52" fmla="*/ 1442278 w 2251903"/>
                    <a:gd name="connsiteY52" fmla="*/ 1100491 h 2844339"/>
                    <a:gd name="connsiteX53" fmla="*/ 1447040 w 2251903"/>
                    <a:gd name="connsiteY53" fmla="*/ 1052866 h 2844339"/>
                    <a:gd name="connsiteX54" fmla="*/ 1451803 w 2251903"/>
                    <a:gd name="connsiteY54" fmla="*/ 1010003 h 2844339"/>
                    <a:gd name="connsiteX55" fmla="*/ 1489903 w 2251903"/>
                    <a:gd name="connsiteY55" fmla="*/ 952853 h 2844339"/>
                    <a:gd name="connsiteX56" fmla="*/ 1508953 w 2251903"/>
                    <a:gd name="connsiteY56" fmla="*/ 914753 h 2844339"/>
                    <a:gd name="connsiteX57" fmla="*/ 1556578 w 2251903"/>
                    <a:gd name="connsiteY57" fmla="*/ 819503 h 2844339"/>
                    <a:gd name="connsiteX58" fmla="*/ 1594678 w 2251903"/>
                    <a:gd name="connsiteY58" fmla="*/ 743303 h 2844339"/>
                    <a:gd name="connsiteX59" fmla="*/ 1680403 w 2251903"/>
                    <a:gd name="connsiteY59" fmla="*/ 657578 h 2844339"/>
                    <a:gd name="connsiteX60" fmla="*/ 1728028 w 2251903"/>
                    <a:gd name="connsiteY60" fmla="*/ 600428 h 2844339"/>
                    <a:gd name="connsiteX61" fmla="*/ 1780415 w 2251903"/>
                    <a:gd name="connsiteY61" fmla="*/ 509941 h 2844339"/>
                    <a:gd name="connsiteX62" fmla="*/ 1828040 w 2251903"/>
                    <a:gd name="connsiteY62" fmla="*/ 486128 h 2844339"/>
                    <a:gd name="connsiteX63" fmla="*/ 1851853 w 2251903"/>
                    <a:gd name="connsiteY63" fmla="*/ 428978 h 2844339"/>
                    <a:gd name="connsiteX64" fmla="*/ 1875665 w 2251903"/>
                    <a:gd name="connsiteY64" fmla="*/ 357541 h 2844339"/>
                    <a:gd name="connsiteX65" fmla="*/ 1913765 w 2251903"/>
                    <a:gd name="connsiteY65" fmla="*/ 295628 h 2844339"/>
                    <a:gd name="connsiteX66" fmla="*/ 1961390 w 2251903"/>
                    <a:gd name="connsiteY66" fmla="*/ 238478 h 2844339"/>
                    <a:gd name="connsiteX67" fmla="*/ 2018540 w 2251903"/>
                    <a:gd name="connsiteY67" fmla="*/ 214666 h 2844339"/>
                    <a:gd name="connsiteX68" fmla="*/ 2066165 w 2251903"/>
                    <a:gd name="connsiteY68" fmla="*/ 200378 h 2844339"/>
                    <a:gd name="connsiteX69" fmla="*/ 2089978 w 2251903"/>
                    <a:gd name="connsiteY69" fmla="*/ 152753 h 2844339"/>
                    <a:gd name="connsiteX70" fmla="*/ 2085215 w 2251903"/>
                    <a:gd name="connsiteY70" fmla="*/ 76553 h 2844339"/>
                    <a:gd name="connsiteX71" fmla="*/ 2137603 w 2251903"/>
                    <a:gd name="connsiteY71" fmla="*/ 9878 h 2844339"/>
                    <a:gd name="connsiteX72" fmla="*/ 2199515 w 2251903"/>
                    <a:gd name="connsiteY72" fmla="*/ 353 h 2844339"/>
                    <a:gd name="connsiteX73" fmla="*/ 2251903 w 2251903"/>
                    <a:gd name="connsiteY73" fmla="*/ 9878 h 2844339"/>
                    <a:gd name="connsiteX0" fmla="*/ 375478 w 2251903"/>
                    <a:gd name="connsiteY0" fmla="*/ 528991 h 2844339"/>
                    <a:gd name="connsiteX1" fmla="*/ 356428 w 2251903"/>
                    <a:gd name="connsiteY1" fmla="*/ 624241 h 2844339"/>
                    <a:gd name="connsiteX2" fmla="*/ 380240 w 2251903"/>
                    <a:gd name="connsiteY2" fmla="*/ 700441 h 2844339"/>
                    <a:gd name="connsiteX3" fmla="*/ 337378 w 2251903"/>
                    <a:gd name="connsiteY3" fmla="*/ 748066 h 2844339"/>
                    <a:gd name="connsiteX4" fmla="*/ 289753 w 2251903"/>
                    <a:gd name="connsiteY4" fmla="*/ 833791 h 2844339"/>
                    <a:gd name="connsiteX5" fmla="*/ 194503 w 2251903"/>
                    <a:gd name="connsiteY5" fmla="*/ 895703 h 2844339"/>
                    <a:gd name="connsiteX6" fmla="*/ 151640 w 2251903"/>
                    <a:gd name="connsiteY6" fmla="*/ 929041 h 2844339"/>
                    <a:gd name="connsiteX7" fmla="*/ 132590 w 2251903"/>
                    <a:gd name="connsiteY7" fmla="*/ 981428 h 2844339"/>
                    <a:gd name="connsiteX8" fmla="*/ 127828 w 2251903"/>
                    <a:gd name="connsiteY8" fmla="*/ 1071916 h 2844339"/>
                    <a:gd name="connsiteX9" fmla="*/ 80203 w 2251903"/>
                    <a:gd name="connsiteY9" fmla="*/ 1133828 h 2844339"/>
                    <a:gd name="connsiteX10" fmla="*/ 51628 w 2251903"/>
                    <a:gd name="connsiteY10" fmla="*/ 1262416 h 2844339"/>
                    <a:gd name="connsiteX11" fmla="*/ 13528 w 2251903"/>
                    <a:gd name="connsiteY11" fmla="*/ 1333853 h 2844339"/>
                    <a:gd name="connsiteX12" fmla="*/ 23053 w 2251903"/>
                    <a:gd name="connsiteY12" fmla="*/ 1391003 h 2844339"/>
                    <a:gd name="connsiteX13" fmla="*/ 4003 w 2251903"/>
                    <a:gd name="connsiteY13" fmla="*/ 1433866 h 2844339"/>
                    <a:gd name="connsiteX14" fmla="*/ 4003 w 2251903"/>
                    <a:gd name="connsiteY14" fmla="*/ 1500541 h 2844339"/>
                    <a:gd name="connsiteX15" fmla="*/ 46865 w 2251903"/>
                    <a:gd name="connsiteY15" fmla="*/ 1586266 h 2844339"/>
                    <a:gd name="connsiteX16" fmla="*/ 123065 w 2251903"/>
                    <a:gd name="connsiteY16" fmla="*/ 1652941 h 2844339"/>
                    <a:gd name="connsiteX17" fmla="*/ 189740 w 2251903"/>
                    <a:gd name="connsiteY17" fmla="*/ 1724378 h 2844339"/>
                    <a:gd name="connsiteX18" fmla="*/ 242128 w 2251903"/>
                    <a:gd name="connsiteY18" fmla="*/ 1838678 h 2844339"/>
                    <a:gd name="connsiteX19" fmla="*/ 318328 w 2251903"/>
                    <a:gd name="connsiteY19" fmla="*/ 1957741 h 2844339"/>
                    <a:gd name="connsiteX20" fmla="*/ 413578 w 2251903"/>
                    <a:gd name="connsiteY20" fmla="*/ 2019653 h 2844339"/>
                    <a:gd name="connsiteX21" fmla="*/ 432628 w 2251903"/>
                    <a:gd name="connsiteY21" fmla="*/ 2043466 h 2844339"/>
                    <a:gd name="connsiteX22" fmla="*/ 442153 w 2251903"/>
                    <a:gd name="connsiteY22" fmla="*/ 2138716 h 2844339"/>
                    <a:gd name="connsiteX23" fmla="*/ 461203 w 2251903"/>
                    <a:gd name="connsiteY23" fmla="*/ 2210154 h 2844339"/>
                    <a:gd name="connsiteX24" fmla="*/ 532640 w 2251903"/>
                    <a:gd name="connsiteY24" fmla="*/ 2343503 h 2844339"/>
                    <a:gd name="connsiteX25" fmla="*/ 546928 w 2251903"/>
                    <a:gd name="connsiteY25" fmla="*/ 2433991 h 2844339"/>
                    <a:gd name="connsiteX26" fmla="*/ 570740 w 2251903"/>
                    <a:gd name="connsiteY26" fmla="*/ 2514953 h 2844339"/>
                    <a:gd name="connsiteX27" fmla="*/ 561215 w 2251903"/>
                    <a:gd name="connsiteY27" fmla="*/ 2581628 h 2844339"/>
                    <a:gd name="connsiteX28" fmla="*/ 646940 w 2251903"/>
                    <a:gd name="connsiteY28" fmla="*/ 2695928 h 2844339"/>
                    <a:gd name="connsiteX29" fmla="*/ 642178 w 2251903"/>
                    <a:gd name="connsiteY29" fmla="*/ 2791178 h 2844339"/>
                    <a:gd name="connsiteX30" fmla="*/ 656465 w 2251903"/>
                    <a:gd name="connsiteY30" fmla="*/ 2843566 h 2844339"/>
                    <a:gd name="connsiteX31" fmla="*/ 889828 w 2251903"/>
                    <a:gd name="connsiteY31" fmla="*/ 2753078 h 2844339"/>
                    <a:gd name="connsiteX32" fmla="*/ 951740 w 2251903"/>
                    <a:gd name="connsiteY32" fmla="*/ 2724503 h 2844339"/>
                    <a:gd name="connsiteX33" fmla="*/ 1027940 w 2251903"/>
                    <a:gd name="connsiteY33" fmla="*/ 2748316 h 2844339"/>
                    <a:gd name="connsiteX34" fmla="*/ 1089853 w 2251903"/>
                    <a:gd name="connsiteY34" fmla="*/ 2753078 h 2844339"/>
                    <a:gd name="connsiteX35" fmla="*/ 1127953 w 2251903"/>
                    <a:gd name="connsiteY35" fmla="*/ 2672116 h 2844339"/>
                    <a:gd name="connsiteX36" fmla="*/ 1089853 w 2251903"/>
                    <a:gd name="connsiteY36" fmla="*/ 2595916 h 2844339"/>
                    <a:gd name="connsiteX37" fmla="*/ 1151765 w 2251903"/>
                    <a:gd name="connsiteY37" fmla="*/ 2534003 h 2844339"/>
                    <a:gd name="connsiteX38" fmla="*/ 1218440 w 2251903"/>
                    <a:gd name="connsiteY38" fmla="*/ 2472091 h 2844339"/>
                    <a:gd name="connsiteX39" fmla="*/ 1270828 w 2251903"/>
                    <a:gd name="connsiteY39" fmla="*/ 2357791 h 2844339"/>
                    <a:gd name="connsiteX40" fmla="*/ 1294640 w 2251903"/>
                    <a:gd name="connsiteY40" fmla="*/ 2305403 h 2844339"/>
                    <a:gd name="connsiteX41" fmla="*/ 1356553 w 2251903"/>
                    <a:gd name="connsiteY41" fmla="*/ 2243491 h 2844339"/>
                    <a:gd name="connsiteX42" fmla="*/ 1408940 w 2251903"/>
                    <a:gd name="connsiteY42" fmla="*/ 2162528 h 2844339"/>
                    <a:gd name="connsiteX43" fmla="*/ 1423228 w 2251903"/>
                    <a:gd name="connsiteY43" fmla="*/ 2081566 h 2844339"/>
                    <a:gd name="connsiteX44" fmla="*/ 1489903 w 2251903"/>
                    <a:gd name="connsiteY44" fmla="*/ 1948216 h 2844339"/>
                    <a:gd name="connsiteX45" fmla="*/ 1556578 w 2251903"/>
                    <a:gd name="connsiteY45" fmla="*/ 1833916 h 2844339"/>
                    <a:gd name="connsiteX46" fmla="*/ 1556578 w 2251903"/>
                    <a:gd name="connsiteY46" fmla="*/ 1752953 h 2844339"/>
                    <a:gd name="connsiteX47" fmla="*/ 1561340 w 2251903"/>
                    <a:gd name="connsiteY47" fmla="*/ 1624366 h 2844339"/>
                    <a:gd name="connsiteX48" fmla="*/ 1575628 w 2251903"/>
                    <a:gd name="connsiteY48" fmla="*/ 1529116 h 2844339"/>
                    <a:gd name="connsiteX49" fmla="*/ 1594678 w 2251903"/>
                    <a:gd name="connsiteY49" fmla="*/ 1448153 h 2844339"/>
                    <a:gd name="connsiteX50" fmla="*/ 1547053 w 2251903"/>
                    <a:gd name="connsiteY50" fmla="*/ 1314803 h 2844339"/>
                    <a:gd name="connsiteX51" fmla="*/ 1442278 w 2251903"/>
                    <a:gd name="connsiteY51" fmla="*/ 1100491 h 2844339"/>
                    <a:gd name="connsiteX52" fmla="*/ 1447040 w 2251903"/>
                    <a:gd name="connsiteY52" fmla="*/ 1052866 h 2844339"/>
                    <a:gd name="connsiteX53" fmla="*/ 1451803 w 2251903"/>
                    <a:gd name="connsiteY53" fmla="*/ 1010003 h 2844339"/>
                    <a:gd name="connsiteX54" fmla="*/ 1489903 w 2251903"/>
                    <a:gd name="connsiteY54" fmla="*/ 952853 h 2844339"/>
                    <a:gd name="connsiteX55" fmla="*/ 1508953 w 2251903"/>
                    <a:gd name="connsiteY55" fmla="*/ 914753 h 2844339"/>
                    <a:gd name="connsiteX56" fmla="*/ 1556578 w 2251903"/>
                    <a:gd name="connsiteY56" fmla="*/ 819503 h 2844339"/>
                    <a:gd name="connsiteX57" fmla="*/ 1594678 w 2251903"/>
                    <a:gd name="connsiteY57" fmla="*/ 743303 h 2844339"/>
                    <a:gd name="connsiteX58" fmla="*/ 1680403 w 2251903"/>
                    <a:gd name="connsiteY58" fmla="*/ 657578 h 2844339"/>
                    <a:gd name="connsiteX59" fmla="*/ 1728028 w 2251903"/>
                    <a:gd name="connsiteY59" fmla="*/ 600428 h 2844339"/>
                    <a:gd name="connsiteX60" fmla="*/ 1780415 w 2251903"/>
                    <a:gd name="connsiteY60" fmla="*/ 509941 h 2844339"/>
                    <a:gd name="connsiteX61" fmla="*/ 1828040 w 2251903"/>
                    <a:gd name="connsiteY61" fmla="*/ 486128 h 2844339"/>
                    <a:gd name="connsiteX62" fmla="*/ 1851853 w 2251903"/>
                    <a:gd name="connsiteY62" fmla="*/ 428978 h 2844339"/>
                    <a:gd name="connsiteX63" fmla="*/ 1875665 w 2251903"/>
                    <a:gd name="connsiteY63" fmla="*/ 357541 h 2844339"/>
                    <a:gd name="connsiteX64" fmla="*/ 1913765 w 2251903"/>
                    <a:gd name="connsiteY64" fmla="*/ 295628 h 2844339"/>
                    <a:gd name="connsiteX65" fmla="*/ 1961390 w 2251903"/>
                    <a:gd name="connsiteY65" fmla="*/ 238478 h 2844339"/>
                    <a:gd name="connsiteX66" fmla="*/ 2018540 w 2251903"/>
                    <a:gd name="connsiteY66" fmla="*/ 214666 h 2844339"/>
                    <a:gd name="connsiteX67" fmla="*/ 2066165 w 2251903"/>
                    <a:gd name="connsiteY67" fmla="*/ 200378 h 2844339"/>
                    <a:gd name="connsiteX68" fmla="*/ 2089978 w 2251903"/>
                    <a:gd name="connsiteY68" fmla="*/ 152753 h 2844339"/>
                    <a:gd name="connsiteX69" fmla="*/ 2085215 w 2251903"/>
                    <a:gd name="connsiteY69" fmla="*/ 76553 h 2844339"/>
                    <a:gd name="connsiteX70" fmla="*/ 2137603 w 2251903"/>
                    <a:gd name="connsiteY70" fmla="*/ 9878 h 2844339"/>
                    <a:gd name="connsiteX71" fmla="*/ 2199515 w 2251903"/>
                    <a:gd name="connsiteY71" fmla="*/ 353 h 2844339"/>
                    <a:gd name="connsiteX72" fmla="*/ 2251903 w 2251903"/>
                    <a:gd name="connsiteY72" fmla="*/ 9878 h 2844339"/>
                    <a:gd name="connsiteX0" fmla="*/ 356428 w 2251903"/>
                    <a:gd name="connsiteY0" fmla="*/ 624241 h 2844339"/>
                    <a:gd name="connsiteX1" fmla="*/ 380240 w 2251903"/>
                    <a:gd name="connsiteY1" fmla="*/ 700441 h 2844339"/>
                    <a:gd name="connsiteX2" fmla="*/ 337378 w 2251903"/>
                    <a:gd name="connsiteY2" fmla="*/ 748066 h 2844339"/>
                    <a:gd name="connsiteX3" fmla="*/ 289753 w 2251903"/>
                    <a:gd name="connsiteY3" fmla="*/ 833791 h 2844339"/>
                    <a:gd name="connsiteX4" fmla="*/ 194503 w 2251903"/>
                    <a:gd name="connsiteY4" fmla="*/ 895703 h 2844339"/>
                    <a:gd name="connsiteX5" fmla="*/ 151640 w 2251903"/>
                    <a:gd name="connsiteY5" fmla="*/ 929041 h 2844339"/>
                    <a:gd name="connsiteX6" fmla="*/ 132590 w 2251903"/>
                    <a:gd name="connsiteY6" fmla="*/ 981428 h 2844339"/>
                    <a:gd name="connsiteX7" fmla="*/ 127828 w 2251903"/>
                    <a:gd name="connsiteY7" fmla="*/ 1071916 h 2844339"/>
                    <a:gd name="connsiteX8" fmla="*/ 80203 w 2251903"/>
                    <a:gd name="connsiteY8" fmla="*/ 1133828 h 2844339"/>
                    <a:gd name="connsiteX9" fmla="*/ 51628 w 2251903"/>
                    <a:gd name="connsiteY9" fmla="*/ 1262416 h 2844339"/>
                    <a:gd name="connsiteX10" fmla="*/ 13528 w 2251903"/>
                    <a:gd name="connsiteY10" fmla="*/ 1333853 h 2844339"/>
                    <a:gd name="connsiteX11" fmla="*/ 23053 w 2251903"/>
                    <a:gd name="connsiteY11" fmla="*/ 1391003 h 2844339"/>
                    <a:gd name="connsiteX12" fmla="*/ 4003 w 2251903"/>
                    <a:gd name="connsiteY12" fmla="*/ 1433866 h 2844339"/>
                    <a:gd name="connsiteX13" fmla="*/ 4003 w 2251903"/>
                    <a:gd name="connsiteY13" fmla="*/ 1500541 h 2844339"/>
                    <a:gd name="connsiteX14" fmla="*/ 46865 w 2251903"/>
                    <a:gd name="connsiteY14" fmla="*/ 1586266 h 2844339"/>
                    <a:gd name="connsiteX15" fmla="*/ 123065 w 2251903"/>
                    <a:gd name="connsiteY15" fmla="*/ 1652941 h 2844339"/>
                    <a:gd name="connsiteX16" fmla="*/ 189740 w 2251903"/>
                    <a:gd name="connsiteY16" fmla="*/ 1724378 h 2844339"/>
                    <a:gd name="connsiteX17" fmla="*/ 242128 w 2251903"/>
                    <a:gd name="connsiteY17" fmla="*/ 1838678 h 2844339"/>
                    <a:gd name="connsiteX18" fmla="*/ 318328 w 2251903"/>
                    <a:gd name="connsiteY18" fmla="*/ 1957741 h 2844339"/>
                    <a:gd name="connsiteX19" fmla="*/ 413578 w 2251903"/>
                    <a:gd name="connsiteY19" fmla="*/ 2019653 h 2844339"/>
                    <a:gd name="connsiteX20" fmla="*/ 432628 w 2251903"/>
                    <a:gd name="connsiteY20" fmla="*/ 2043466 h 2844339"/>
                    <a:gd name="connsiteX21" fmla="*/ 442153 w 2251903"/>
                    <a:gd name="connsiteY21" fmla="*/ 2138716 h 2844339"/>
                    <a:gd name="connsiteX22" fmla="*/ 461203 w 2251903"/>
                    <a:gd name="connsiteY22" fmla="*/ 2210154 h 2844339"/>
                    <a:gd name="connsiteX23" fmla="*/ 532640 w 2251903"/>
                    <a:gd name="connsiteY23" fmla="*/ 2343503 h 2844339"/>
                    <a:gd name="connsiteX24" fmla="*/ 546928 w 2251903"/>
                    <a:gd name="connsiteY24" fmla="*/ 2433991 h 2844339"/>
                    <a:gd name="connsiteX25" fmla="*/ 570740 w 2251903"/>
                    <a:gd name="connsiteY25" fmla="*/ 2514953 h 2844339"/>
                    <a:gd name="connsiteX26" fmla="*/ 561215 w 2251903"/>
                    <a:gd name="connsiteY26" fmla="*/ 2581628 h 2844339"/>
                    <a:gd name="connsiteX27" fmla="*/ 646940 w 2251903"/>
                    <a:gd name="connsiteY27" fmla="*/ 2695928 h 2844339"/>
                    <a:gd name="connsiteX28" fmla="*/ 642178 w 2251903"/>
                    <a:gd name="connsiteY28" fmla="*/ 2791178 h 2844339"/>
                    <a:gd name="connsiteX29" fmla="*/ 656465 w 2251903"/>
                    <a:gd name="connsiteY29" fmla="*/ 2843566 h 2844339"/>
                    <a:gd name="connsiteX30" fmla="*/ 889828 w 2251903"/>
                    <a:gd name="connsiteY30" fmla="*/ 2753078 h 2844339"/>
                    <a:gd name="connsiteX31" fmla="*/ 951740 w 2251903"/>
                    <a:gd name="connsiteY31" fmla="*/ 2724503 h 2844339"/>
                    <a:gd name="connsiteX32" fmla="*/ 1027940 w 2251903"/>
                    <a:gd name="connsiteY32" fmla="*/ 2748316 h 2844339"/>
                    <a:gd name="connsiteX33" fmla="*/ 1089853 w 2251903"/>
                    <a:gd name="connsiteY33" fmla="*/ 2753078 h 2844339"/>
                    <a:gd name="connsiteX34" fmla="*/ 1127953 w 2251903"/>
                    <a:gd name="connsiteY34" fmla="*/ 2672116 h 2844339"/>
                    <a:gd name="connsiteX35" fmla="*/ 1089853 w 2251903"/>
                    <a:gd name="connsiteY35" fmla="*/ 2595916 h 2844339"/>
                    <a:gd name="connsiteX36" fmla="*/ 1151765 w 2251903"/>
                    <a:gd name="connsiteY36" fmla="*/ 2534003 h 2844339"/>
                    <a:gd name="connsiteX37" fmla="*/ 1218440 w 2251903"/>
                    <a:gd name="connsiteY37" fmla="*/ 2472091 h 2844339"/>
                    <a:gd name="connsiteX38" fmla="*/ 1270828 w 2251903"/>
                    <a:gd name="connsiteY38" fmla="*/ 2357791 h 2844339"/>
                    <a:gd name="connsiteX39" fmla="*/ 1294640 w 2251903"/>
                    <a:gd name="connsiteY39" fmla="*/ 2305403 h 2844339"/>
                    <a:gd name="connsiteX40" fmla="*/ 1356553 w 2251903"/>
                    <a:gd name="connsiteY40" fmla="*/ 2243491 h 2844339"/>
                    <a:gd name="connsiteX41" fmla="*/ 1408940 w 2251903"/>
                    <a:gd name="connsiteY41" fmla="*/ 2162528 h 2844339"/>
                    <a:gd name="connsiteX42" fmla="*/ 1423228 w 2251903"/>
                    <a:gd name="connsiteY42" fmla="*/ 2081566 h 2844339"/>
                    <a:gd name="connsiteX43" fmla="*/ 1489903 w 2251903"/>
                    <a:gd name="connsiteY43" fmla="*/ 1948216 h 2844339"/>
                    <a:gd name="connsiteX44" fmla="*/ 1556578 w 2251903"/>
                    <a:gd name="connsiteY44" fmla="*/ 1833916 h 2844339"/>
                    <a:gd name="connsiteX45" fmla="*/ 1556578 w 2251903"/>
                    <a:gd name="connsiteY45" fmla="*/ 1752953 h 2844339"/>
                    <a:gd name="connsiteX46" fmla="*/ 1561340 w 2251903"/>
                    <a:gd name="connsiteY46" fmla="*/ 1624366 h 2844339"/>
                    <a:gd name="connsiteX47" fmla="*/ 1575628 w 2251903"/>
                    <a:gd name="connsiteY47" fmla="*/ 1529116 h 2844339"/>
                    <a:gd name="connsiteX48" fmla="*/ 1594678 w 2251903"/>
                    <a:gd name="connsiteY48" fmla="*/ 1448153 h 2844339"/>
                    <a:gd name="connsiteX49" fmla="*/ 1547053 w 2251903"/>
                    <a:gd name="connsiteY49" fmla="*/ 1314803 h 2844339"/>
                    <a:gd name="connsiteX50" fmla="*/ 1442278 w 2251903"/>
                    <a:gd name="connsiteY50" fmla="*/ 1100491 h 2844339"/>
                    <a:gd name="connsiteX51" fmla="*/ 1447040 w 2251903"/>
                    <a:gd name="connsiteY51" fmla="*/ 1052866 h 2844339"/>
                    <a:gd name="connsiteX52" fmla="*/ 1451803 w 2251903"/>
                    <a:gd name="connsiteY52" fmla="*/ 1010003 h 2844339"/>
                    <a:gd name="connsiteX53" fmla="*/ 1489903 w 2251903"/>
                    <a:gd name="connsiteY53" fmla="*/ 952853 h 2844339"/>
                    <a:gd name="connsiteX54" fmla="*/ 1508953 w 2251903"/>
                    <a:gd name="connsiteY54" fmla="*/ 914753 h 2844339"/>
                    <a:gd name="connsiteX55" fmla="*/ 1556578 w 2251903"/>
                    <a:gd name="connsiteY55" fmla="*/ 819503 h 2844339"/>
                    <a:gd name="connsiteX56" fmla="*/ 1594678 w 2251903"/>
                    <a:gd name="connsiteY56" fmla="*/ 743303 h 2844339"/>
                    <a:gd name="connsiteX57" fmla="*/ 1680403 w 2251903"/>
                    <a:gd name="connsiteY57" fmla="*/ 657578 h 2844339"/>
                    <a:gd name="connsiteX58" fmla="*/ 1728028 w 2251903"/>
                    <a:gd name="connsiteY58" fmla="*/ 600428 h 2844339"/>
                    <a:gd name="connsiteX59" fmla="*/ 1780415 w 2251903"/>
                    <a:gd name="connsiteY59" fmla="*/ 509941 h 2844339"/>
                    <a:gd name="connsiteX60" fmla="*/ 1828040 w 2251903"/>
                    <a:gd name="connsiteY60" fmla="*/ 486128 h 2844339"/>
                    <a:gd name="connsiteX61" fmla="*/ 1851853 w 2251903"/>
                    <a:gd name="connsiteY61" fmla="*/ 428978 h 2844339"/>
                    <a:gd name="connsiteX62" fmla="*/ 1875665 w 2251903"/>
                    <a:gd name="connsiteY62" fmla="*/ 357541 h 2844339"/>
                    <a:gd name="connsiteX63" fmla="*/ 1913765 w 2251903"/>
                    <a:gd name="connsiteY63" fmla="*/ 295628 h 2844339"/>
                    <a:gd name="connsiteX64" fmla="*/ 1961390 w 2251903"/>
                    <a:gd name="connsiteY64" fmla="*/ 238478 h 2844339"/>
                    <a:gd name="connsiteX65" fmla="*/ 2018540 w 2251903"/>
                    <a:gd name="connsiteY65" fmla="*/ 214666 h 2844339"/>
                    <a:gd name="connsiteX66" fmla="*/ 2066165 w 2251903"/>
                    <a:gd name="connsiteY66" fmla="*/ 200378 h 2844339"/>
                    <a:gd name="connsiteX67" fmla="*/ 2089978 w 2251903"/>
                    <a:gd name="connsiteY67" fmla="*/ 152753 h 2844339"/>
                    <a:gd name="connsiteX68" fmla="*/ 2085215 w 2251903"/>
                    <a:gd name="connsiteY68" fmla="*/ 76553 h 2844339"/>
                    <a:gd name="connsiteX69" fmla="*/ 2137603 w 2251903"/>
                    <a:gd name="connsiteY69" fmla="*/ 9878 h 2844339"/>
                    <a:gd name="connsiteX70" fmla="*/ 2199515 w 2251903"/>
                    <a:gd name="connsiteY70" fmla="*/ 353 h 2844339"/>
                    <a:gd name="connsiteX71" fmla="*/ 2251903 w 2251903"/>
                    <a:gd name="connsiteY71" fmla="*/ 9878 h 2844339"/>
                    <a:gd name="connsiteX0" fmla="*/ 380240 w 2251903"/>
                    <a:gd name="connsiteY0" fmla="*/ 700441 h 2844339"/>
                    <a:gd name="connsiteX1" fmla="*/ 337378 w 2251903"/>
                    <a:gd name="connsiteY1" fmla="*/ 748066 h 2844339"/>
                    <a:gd name="connsiteX2" fmla="*/ 289753 w 2251903"/>
                    <a:gd name="connsiteY2" fmla="*/ 833791 h 2844339"/>
                    <a:gd name="connsiteX3" fmla="*/ 194503 w 2251903"/>
                    <a:gd name="connsiteY3" fmla="*/ 895703 h 2844339"/>
                    <a:gd name="connsiteX4" fmla="*/ 151640 w 2251903"/>
                    <a:gd name="connsiteY4" fmla="*/ 929041 h 2844339"/>
                    <a:gd name="connsiteX5" fmla="*/ 132590 w 2251903"/>
                    <a:gd name="connsiteY5" fmla="*/ 981428 h 2844339"/>
                    <a:gd name="connsiteX6" fmla="*/ 127828 w 2251903"/>
                    <a:gd name="connsiteY6" fmla="*/ 1071916 h 2844339"/>
                    <a:gd name="connsiteX7" fmla="*/ 80203 w 2251903"/>
                    <a:gd name="connsiteY7" fmla="*/ 1133828 h 2844339"/>
                    <a:gd name="connsiteX8" fmla="*/ 51628 w 2251903"/>
                    <a:gd name="connsiteY8" fmla="*/ 1262416 h 2844339"/>
                    <a:gd name="connsiteX9" fmla="*/ 13528 w 2251903"/>
                    <a:gd name="connsiteY9" fmla="*/ 1333853 h 2844339"/>
                    <a:gd name="connsiteX10" fmla="*/ 23053 w 2251903"/>
                    <a:gd name="connsiteY10" fmla="*/ 1391003 h 2844339"/>
                    <a:gd name="connsiteX11" fmla="*/ 4003 w 2251903"/>
                    <a:gd name="connsiteY11" fmla="*/ 1433866 h 2844339"/>
                    <a:gd name="connsiteX12" fmla="*/ 4003 w 2251903"/>
                    <a:gd name="connsiteY12" fmla="*/ 1500541 h 2844339"/>
                    <a:gd name="connsiteX13" fmla="*/ 46865 w 2251903"/>
                    <a:gd name="connsiteY13" fmla="*/ 1586266 h 2844339"/>
                    <a:gd name="connsiteX14" fmla="*/ 123065 w 2251903"/>
                    <a:gd name="connsiteY14" fmla="*/ 1652941 h 2844339"/>
                    <a:gd name="connsiteX15" fmla="*/ 189740 w 2251903"/>
                    <a:gd name="connsiteY15" fmla="*/ 1724378 h 2844339"/>
                    <a:gd name="connsiteX16" fmla="*/ 242128 w 2251903"/>
                    <a:gd name="connsiteY16" fmla="*/ 1838678 h 2844339"/>
                    <a:gd name="connsiteX17" fmla="*/ 318328 w 2251903"/>
                    <a:gd name="connsiteY17" fmla="*/ 1957741 h 2844339"/>
                    <a:gd name="connsiteX18" fmla="*/ 413578 w 2251903"/>
                    <a:gd name="connsiteY18" fmla="*/ 2019653 h 2844339"/>
                    <a:gd name="connsiteX19" fmla="*/ 432628 w 2251903"/>
                    <a:gd name="connsiteY19" fmla="*/ 2043466 h 2844339"/>
                    <a:gd name="connsiteX20" fmla="*/ 442153 w 2251903"/>
                    <a:gd name="connsiteY20" fmla="*/ 2138716 h 2844339"/>
                    <a:gd name="connsiteX21" fmla="*/ 461203 w 2251903"/>
                    <a:gd name="connsiteY21" fmla="*/ 2210154 h 2844339"/>
                    <a:gd name="connsiteX22" fmla="*/ 532640 w 2251903"/>
                    <a:gd name="connsiteY22" fmla="*/ 2343503 h 2844339"/>
                    <a:gd name="connsiteX23" fmla="*/ 546928 w 2251903"/>
                    <a:gd name="connsiteY23" fmla="*/ 2433991 h 2844339"/>
                    <a:gd name="connsiteX24" fmla="*/ 570740 w 2251903"/>
                    <a:gd name="connsiteY24" fmla="*/ 2514953 h 2844339"/>
                    <a:gd name="connsiteX25" fmla="*/ 561215 w 2251903"/>
                    <a:gd name="connsiteY25" fmla="*/ 2581628 h 2844339"/>
                    <a:gd name="connsiteX26" fmla="*/ 646940 w 2251903"/>
                    <a:gd name="connsiteY26" fmla="*/ 2695928 h 2844339"/>
                    <a:gd name="connsiteX27" fmla="*/ 642178 w 2251903"/>
                    <a:gd name="connsiteY27" fmla="*/ 2791178 h 2844339"/>
                    <a:gd name="connsiteX28" fmla="*/ 656465 w 2251903"/>
                    <a:gd name="connsiteY28" fmla="*/ 2843566 h 2844339"/>
                    <a:gd name="connsiteX29" fmla="*/ 889828 w 2251903"/>
                    <a:gd name="connsiteY29" fmla="*/ 2753078 h 2844339"/>
                    <a:gd name="connsiteX30" fmla="*/ 951740 w 2251903"/>
                    <a:gd name="connsiteY30" fmla="*/ 2724503 h 2844339"/>
                    <a:gd name="connsiteX31" fmla="*/ 1027940 w 2251903"/>
                    <a:gd name="connsiteY31" fmla="*/ 2748316 h 2844339"/>
                    <a:gd name="connsiteX32" fmla="*/ 1089853 w 2251903"/>
                    <a:gd name="connsiteY32" fmla="*/ 2753078 h 2844339"/>
                    <a:gd name="connsiteX33" fmla="*/ 1127953 w 2251903"/>
                    <a:gd name="connsiteY33" fmla="*/ 2672116 h 2844339"/>
                    <a:gd name="connsiteX34" fmla="*/ 1089853 w 2251903"/>
                    <a:gd name="connsiteY34" fmla="*/ 2595916 h 2844339"/>
                    <a:gd name="connsiteX35" fmla="*/ 1151765 w 2251903"/>
                    <a:gd name="connsiteY35" fmla="*/ 2534003 h 2844339"/>
                    <a:gd name="connsiteX36" fmla="*/ 1218440 w 2251903"/>
                    <a:gd name="connsiteY36" fmla="*/ 2472091 h 2844339"/>
                    <a:gd name="connsiteX37" fmla="*/ 1270828 w 2251903"/>
                    <a:gd name="connsiteY37" fmla="*/ 2357791 h 2844339"/>
                    <a:gd name="connsiteX38" fmla="*/ 1294640 w 2251903"/>
                    <a:gd name="connsiteY38" fmla="*/ 2305403 h 2844339"/>
                    <a:gd name="connsiteX39" fmla="*/ 1356553 w 2251903"/>
                    <a:gd name="connsiteY39" fmla="*/ 2243491 h 2844339"/>
                    <a:gd name="connsiteX40" fmla="*/ 1408940 w 2251903"/>
                    <a:gd name="connsiteY40" fmla="*/ 2162528 h 2844339"/>
                    <a:gd name="connsiteX41" fmla="*/ 1423228 w 2251903"/>
                    <a:gd name="connsiteY41" fmla="*/ 2081566 h 2844339"/>
                    <a:gd name="connsiteX42" fmla="*/ 1489903 w 2251903"/>
                    <a:gd name="connsiteY42" fmla="*/ 1948216 h 2844339"/>
                    <a:gd name="connsiteX43" fmla="*/ 1556578 w 2251903"/>
                    <a:gd name="connsiteY43" fmla="*/ 1833916 h 2844339"/>
                    <a:gd name="connsiteX44" fmla="*/ 1556578 w 2251903"/>
                    <a:gd name="connsiteY44" fmla="*/ 1752953 h 2844339"/>
                    <a:gd name="connsiteX45" fmla="*/ 1561340 w 2251903"/>
                    <a:gd name="connsiteY45" fmla="*/ 1624366 h 2844339"/>
                    <a:gd name="connsiteX46" fmla="*/ 1575628 w 2251903"/>
                    <a:gd name="connsiteY46" fmla="*/ 1529116 h 2844339"/>
                    <a:gd name="connsiteX47" fmla="*/ 1594678 w 2251903"/>
                    <a:gd name="connsiteY47" fmla="*/ 1448153 h 2844339"/>
                    <a:gd name="connsiteX48" fmla="*/ 1547053 w 2251903"/>
                    <a:gd name="connsiteY48" fmla="*/ 1314803 h 2844339"/>
                    <a:gd name="connsiteX49" fmla="*/ 1442278 w 2251903"/>
                    <a:gd name="connsiteY49" fmla="*/ 1100491 h 2844339"/>
                    <a:gd name="connsiteX50" fmla="*/ 1447040 w 2251903"/>
                    <a:gd name="connsiteY50" fmla="*/ 1052866 h 2844339"/>
                    <a:gd name="connsiteX51" fmla="*/ 1451803 w 2251903"/>
                    <a:gd name="connsiteY51" fmla="*/ 1010003 h 2844339"/>
                    <a:gd name="connsiteX52" fmla="*/ 1489903 w 2251903"/>
                    <a:gd name="connsiteY52" fmla="*/ 952853 h 2844339"/>
                    <a:gd name="connsiteX53" fmla="*/ 1508953 w 2251903"/>
                    <a:gd name="connsiteY53" fmla="*/ 914753 h 2844339"/>
                    <a:gd name="connsiteX54" fmla="*/ 1556578 w 2251903"/>
                    <a:gd name="connsiteY54" fmla="*/ 819503 h 2844339"/>
                    <a:gd name="connsiteX55" fmla="*/ 1594678 w 2251903"/>
                    <a:gd name="connsiteY55" fmla="*/ 743303 h 2844339"/>
                    <a:gd name="connsiteX56" fmla="*/ 1680403 w 2251903"/>
                    <a:gd name="connsiteY56" fmla="*/ 657578 h 2844339"/>
                    <a:gd name="connsiteX57" fmla="*/ 1728028 w 2251903"/>
                    <a:gd name="connsiteY57" fmla="*/ 600428 h 2844339"/>
                    <a:gd name="connsiteX58" fmla="*/ 1780415 w 2251903"/>
                    <a:gd name="connsiteY58" fmla="*/ 509941 h 2844339"/>
                    <a:gd name="connsiteX59" fmla="*/ 1828040 w 2251903"/>
                    <a:gd name="connsiteY59" fmla="*/ 486128 h 2844339"/>
                    <a:gd name="connsiteX60" fmla="*/ 1851853 w 2251903"/>
                    <a:gd name="connsiteY60" fmla="*/ 428978 h 2844339"/>
                    <a:gd name="connsiteX61" fmla="*/ 1875665 w 2251903"/>
                    <a:gd name="connsiteY61" fmla="*/ 357541 h 2844339"/>
                    <a:gd name="connsiteX62" fmla="*/ 1913765 w 2251903"/>
                    <a:gd name="connsiteY62" fmla="*/ 295628 h 2844339"/>
                    <a:gd name="connsiteX63" fmla="*/ 1961390 w 2251903"/>
                    <a:gd name="connsiteY63" fmla="*/ 238478 h 2844339"/>
                    <a:gd name="connsiteX64" fmla="*/ 2018540 w 2251903"/>
                    <a:gd name="connsiteY64" fmla="*/ 214666 h 2844339"/>
                    <a:gd name="connsiteX65" fmla="*/ 2066165 w 2251903"/>
                    <a:gd name="connsiteY65" fmla="*/ 200378 h 2844339"/>
                    <a:gd name="connsiteX66" fmla="*/ 2089978 w 2251903"/>
                    <a:gd name="connsiteY66" fmla="*/ 152753 h 2844339"/>
                    <a:gd name="connsiteX67" fmla="*/ 2085215 w 2251903"/>
                    <a:gd name="connsiteY67" fmla="*/ 76553 h 2844339"/>
                    <a:gd name="connsiteX68" fmla="*/ 2137603 w 2251903"/>
                    <a:gd name="connsiteY68" fmla="*/ 9878 h 2844339"/>
                    <a:gd name="connsiteX69" fmla="*/ 2199515 w 2251903"/>
                    <a:gd name="connsiteY69" fmla="*/ 353 h 2844339"/>
                    <a:gd name="connsiteX70" fmla="*/ 2251903 w 2251903"/>
                    <a:gd name="connsiteY70" fmla="*/ 9878 h 2844339"/>
                    <a:gd name="connsiteX0" fmla="*/ 337378 w 2251903"/>
                    <a:gd name="connsiteY0" fmla="*/ 748066 h 2844339"/>
                    <a:gd name="connsiteX1" fmla="*/ 289753 w 2251903"/>
                    <a:gd name="connsiteY1" fmla="*/ 833791 h 2844339"/>
                    <a:gd name="connsiteX2" fmla="*/ 194503 w 2251903"/>
                    <a:gd name="connsiteY2" fmla="*/ 895703 h 2844339"/>
                    <a:gd name="connsiteX3" fmla="*/ 151640 w 2251903"/>
                    <a:gd name="connsiteY3" fmla="*/ 929041 h 2844339"/>
                    <a:gd name="connsiteX4" fmla="*/ 132590 w 2251903"/>
                    <a:gd name="connsiteY4" fmla="*/ 981428 h 2844339"/>
                    <a:gd name="connsiteX5" fmla="*/ 127828 w 2251903"/>
                    <a:gd name="connsiteY5" fmla="*/ 1071916 h 2844339"/>
                    <a:gd name="connsiteX6" fmla="*/ 80203 w 2251903"/>
                    <a:gd name="connsiteY6" fmla="*/ 1133828 h 2844339"/>
                    <a:gd name="connsiteX7" fmla="*/ 51628 w 2251903"/>
                    <a:gd name="connsiteY7" fmla="*/ 1262416 h 2844339"/>
                    <a:gd name="connsiteX8" fmla="*/ 13528 w 2251903"/>
                    <a:gd name="connsiteY8" fmla="*/ 1333853 h 2844339"/>
                    <a:gd name="connsiteX9" fmla="*/ 23053 w 2251903"/>
                    <a:gd name="connsiteY9" fmla="*/ 1391003 h 2844339"/>
                    <a:gd name="connsiteX10" fmla="*/ 4003 w 2251903"/>
                    <a:gd name="connsiteY10" fmla="*/ 1433866 h 2844339"/>
                    <a:gd name="connsiteX11" fmla="*/ 4003 w 2251903"/>
                    <a:gd name="connsiteY11" fmla="*/ 1500541 h 2844339"/>
                    <a:gd name="connsiteX12" fmla="*/ 46865 w 2251903"/>
                    <a:gd name="connsiteY12" fmla="*/ 1586266 h 2844339"/>
                    <a:gd name="connsiteX13" fmla="*/ 123065 w 2251903"/>
                    <a:gd name="connsiteY13" fmla="*/ 1652941 h 2844339"/>
                    <a:gd name="connsiteX14" fmla="*/ 189740 w 2251903"/>
                    <a:gd name="connsiteY14" fmla="*/ 1724378 h 2844339"/>
                    <a:gd name="connsiteX15" fmla="*/ 242128 w 2251903"/>
                    <a:gd name="connsiteY15" fmla="*/ 1838678 h 2844339"/>
                    <a:gd name="connsiteX16" fmla="*/ 318328 w 2251903"/>
                    <a:gd name="connsiteY16" fmla="*/ 1957741 h 2844339"/>
                    <a:gd name="connsiteX17" fmla="*/ 413578 w 2251903"/>
                    <a:gd name="connsiteY17" fmla="*/ 2019653 h 2844339"/>
                    <a:gd name="connsiteX18" fmla="*/ 432628 w 2251903"/>
                    <a:gd name="connsiteY18" fmla="*/ 2043466 h 2844339"/>
                    <a:gd name="connsiteX19" fmla="*/ 442153 w 2251903"/>
                    <a:gd name="connsiteY19" fmla="*/ 2138716 h 2844339"/>
                    <a:gd name="connsiteX20" fmla="*/ 461203 w 2251903"/>
                    <a:gd name="connsiteY20" fmla="*/ 2210154 h 2844339"/>
                    <a:gd name="connsiteX21" fmla="*/ 532640 w 2251903"/>
                    <a:gd name="connsiteY21" fmla="*/ 2343503 h 2844339"/>
                    <a:gd name="connsiteX22" fmla="*/ 546928 w 2251903"/>
                    <a:gd name="connsiteY22" fmla="*/ 2433991 h 2844339"/>
                    <a:gd name="connsiteX23" fmla="*/ 570740 w 2251903"/>
                    <a:gd name="connsiteY23" fmla="*/ 2514953 h 2844339"/>
                    <a:gd name="connsiteX24" fmla="*/ 561215 w 2251903"/>
                    <a:gd name="connsiteY24" fmla="*/ 2581628 h 2844339"/>
                    <a:gd name="connsiteX25" fmla="*/ 646940 w 2251903"/>
                    <a:gd name="connsiteY25" fmla="*/ 2695928 h 2844339"/>
                    <a:gd name="connsiteX26" fmla="*/ 642178 w 2251903"/>
                    <a:gd name="connsiteY26" fmla="*/ 2791178 h 2844339"/>
                    <a:gd name="connsiteX27" fmla="*/ 656465 w 2251903"/>
                    <a:gd name="connsiteY27" fmla="*/ 2843566 h 2844339"/>
                    <a:gd name="connsiteX28" fmla="*/ 889828 w 2251903"/>
                    <a:gd name="connsiteY28" fmla="*/ 2753078 h 2844339"/>
                    <a:gd name="connsiteX29" fmla="*/ 951740 w 2251903"/>
                    <a:gd name="connsiteY29" fmla="*/ 2724503 h 2844339"/>
                    <a:gd name="connsiteX30" fmla="*/ 1027940 w 2251903"/>
                    <a:gd name="connsiteY30" fmla="*/ 2748316 h 2844339"/>
                    <a:gd name="connsiteX31" fmla="*/ 1089853 w 2251903"/>
                    <a:gd name="connsiteY31" fmla="*/ 2753078 h 2844339"/>
                    <a:gd name="connsiteX32" fmla="*/ 1127953 w 2251903"/>
                    <a:gd name="connsiteY32" fmla="*/ 2672116 h 2844339"/>
                    <a:gd name="connsiteX33" fmla="*/ 1089853 w 2251903"/>
                    <a:gd name="connsiteY33" fmla="*/ 2595916 h 2844339"/>
                    <a:gd name="connsiteX34" fmla="*/ 1151765 w 2251903"/>
                    <a:gd name="connsiteY34" fmla="*/ 2534003 h 2844339"/>
                    <a:gd name="connsiteX35" fmla="*/ 1218440 w 2251903"/>
                    <a:gd name="connsiteY35" fmla="*/ 2472091 h 2844339"/>
                    <a:gd name="connsiteX36" fmla="*/ 1270828 w 2251903"/>
                    <a:gd name="connsiteY36" fmla="*/ 2357791 h 2844339"/>
                    <a:gd name="connsiteX37" fmla="*/ 1294640 w 2251903"/>
                    <a:gd name="connsiteY37" fmla="*/ 2305403 h 2844339"/>
                    <a:gd name="connsiteX38" fmla="*/ 1356553 w 2251903"/>
                    <a:gd name="connsiteY38" fmla="*/ 2243491 h 2844339"/>
                    <a:gd name="connsiteX39" fmla="*/ 1408940 w 2251903"/>
                    <a:gd name="connsiteY39" fmla="*/ 2162528 h 2844339"/>
                    <a:gd name="connsiteX40" fmla="*/ 1423228 w 2251903"/>
                    <a:gd name="connsiteY40" fmla="*/ 2081566 h 2844339"/>
                    <a:gd name="connsiteX41" fmla="*/ 1489903 w 2251903"/>
                    <a:gd name="connsiteY41" fmla="*/ 1948216 h 2844339"/>
                    <a:gd name="connsiteX42" fmla="*/ 1556578 w 2251903"/>
                    <a:gd name="connsiteY42" fmla="*/ 1833916 h 2844339"/>
                    <a:gd name="connsiteX43" fmla="*/ 1556578 w 2251903"/>
                    <a:gd name="connsiteY43" fmla="*/ 1752953 h 2844339"/>
                    <a:gd name="connsiteX44" fmla="*/ 1561340 w 2251903"/>
                    <a:gd name="connsiteY44" fmla="*/ 1624366 h 2844339"/>
                    <a:gd name="connsiteX45" fmla="*/ 1575628 w 2251903"/>
                    <a:gd name="connsiteY45" fmla="*/ 1529116 h 2844339"/>
                    <a:gd name="connsiteX46" fmla="*/ 1594678 w 2251903"/>
                    <a:gd name="connsiteY46" fmla="*/ 1448153 h 2844339"/>
                    <a:gd name="connsiteX47" fmla="*/ 1547053 w 2251903"/>
                    <a:gd name="connsiteY47" fmla="*/ 1314803 h 2844339"/>
                    <a:gd name="connsiteX48" fmla="*/ 1442278 w 2251903"/>
                    <a:gd name="connsiteY48" fmla="*/ 1100491 h 2844339"/>
                    <a:gd name="connsiteX49" fmla="*/ 1447040 w 2251903"/>
                    <a:gd name="connsiteY49" fmla="*/ 1052866 h 2844339"/>
                    <a:gd name="connsiteX50" fmla="*/ 1451803 w 2251903"/>
                    <a:gd name="connsiteY50" fmla="*/ 1010003 h 2844339"/>
                    <a:gd name="connsiteX51" fmla="*/ 1489903 w 2251903"/>
                    <a:gd name="connsiteY51" fmla="*/ 952853 h 2844339"/>
                    <a:gd name="connsiteX52" fmla="*/ 1508953 w 2251903"/>
                    <a:gd name="connsiteY52" fmla="*/ 914753 h 2844339"/>
                    <a:gd name="connsiteX53" fmla="*/ 1556578 w 2251903"/>
                    <a:gd name="connsiteY53" fmla="*/ 819503 h 2844339"/>
                    <a:gd name="connsiteX54" fmla="*/ 1594678 w 2251903"/>
                    <a:gd name="connsiteY54" fmla="*/ 743303 h 2844339"/>
                    <a:gd name="connsiteX55" fmla="*/ 1680403 w 2251903"/>
                    <a:gd name="connsiteY55" fmla="*/ 657578 h 2844339"/>
                    <a:gd name="connsiteX56" fmla="*/ 1728028 w 2251903"/>
                    <a:gd name="connsiteY56" fmla="*/ 600428 h 2844339"/>
                    <a:gd name="connsiteX57" fmla="*/ 1780415 w 2251903"/>
                    <a:gd name="connsiteY57" fmla="*/ 509941 h 2844339"/>
                    <a:gd name="connsiteX58" fmla="*/ 1828040 w 2251903"/>
                    <a:gd name="connsiteY58" fmla="*/ 486128 h 2844339"/>
                    <a:gd name="connsiteX59" fmla="*/ 1851853 w 2251903"/>
                    <a:gd name="connsiteY59" fmla="*/ 428978 h 2844339"/>
                    <a:gd name="connsiteX60" fmla="*/ 1875665 w 2251903"/>
                    <a:gd name="connsiteY60" fmla="*/ 357541 h 2844339"/>
                    <a:gd name="connsiteX61" fmla="*/ 1913765 w 2251903"/>
                    <a:gd name="connsiteY61" fmla="*/ 295628 h 2844339"/>
                    <a:gd name="connsiteX62" fmla="*/ 1961390 w 2251903"/>
                    <a:gd name="connsiteY62" fmla="*/ 238478 h 2844339"/>
                    <a:gd name="connsiteX63" fmla="*/ 2018540 w 2251903"/>
                    <a:gd name="connsiteY63" fmla="*/ 214666 h 2844339"/>
                    <a:gd name="connsiteX64" fmla="*/ 2066165 w 2251903"/>
                    <a:gd name="connsiteY64" fmla="*/ 200378 h 2844339"/>
                    <a:gd name="connsiteX65" fmla="*/ 2089978 w 2251903"/>
                    <a:gd name="connsiteY65" fmla="*/ 152753 h 2844339"/>
                    <a:gd name="connsiteX66" fmla="*/ 2085215 w 2251903"/>
                    <a:gd name="connsiteY66" fmla="*/ 76553 h 2844339"/>
                    <a:gd name="connsiteX67" fmla="*/ 2137603 w 2251903"/>
                    <a:gd name="connsiteY67" fmla="*/ 9878 h 2844339"/>
                    <a:gd name="connsiteX68" fmla="*/ 2199515 w 2251903"/>
                    <a:gd name="connsiteY68" fmla="*/ 353 h 2844339"/>
                    <a:gd name="connsiteX69" fmla="*/ 2251903 w 2251903"/>
                    <a:gd name="connsiteY69" fmla="*/ 9878 h 2844339"/>
                    <a:gd name="connsiteX0" fmla="*/ 289753 w 2251903"/>
                    <a:gd name="connsiteY0" fmla="*/ 833791 h 2844339"/>
                    <a:gd name="connsiteX1" fmla="*/ 194503 w 2251903"/>
                    <a:gd name="connsiteY1" fmla="*/ 895703 h 2844339"/>
                    <a:gd name="connsiteX2" fmla="*/ 151640 w 2251903"/>
                    <a:gd name="connsiteY2" fmla="*/ 929041 h 2844339"/>
                    <a:gd name="connsiteX3" fmla="*/ 132590 w 2251903"/>
                    <a:gd name="connsiteY3" fmla="*/ 981428 h 2844339"/>
                    <a:gd name="connsiteX4" fmla="*/ 127828 w 2251903"/>
                    <a:gd name="connsiteY4" fmla="*/ 1071916 h 2844339"/>
                    <a:gd name="connsiteX5" fmla="*/ 80203 w 2251903"/>
                    <a:gd name="connsiteY5" fmla="*/ 1133828 h 2844339"/>
                    <a:gd name="connsiteX6" fmla="*/ 51628 w 2251903"/>
                    <a:gd name="connsiteY6" fmla="*/ 1262416 h 2844339"/>
                    <a:gd name="connsiteX7" fmla="*/ 13528 w 2251903"/>
                    <a:gd name="connsiteY7" fmla="*/ 1333853 h 2844339"/>
                    <a:gd name="connsiteX8" fmla="*/ 23053 w 2251903"/>
                    <a:gd name="connsiteY8" fmla="*/ 1391003 h 2844339"/>
                    <a:gd name="connsiteX9" fmla="*/ 4003 w 2251903"/>
                    <a:gd name="connsiteY9" fmla="*/ 1433866 h 2844339"/>
                    <a:gd name="connsiteX10" fmla="*/ 4003 w 2251903"/>
                    <a:gd name="connsiteY10" fmla="*/ 1500541 h 2844339"/>
                    <a:gd name="connsiteX11" fmla="*/ 46865 w 2251903"/>
                    <a:gd name="connsiteY11" fmla="*/ 1586266 h 2844339"/>
                    <a:gd name="connsiteX12" fmla="*/ 123065 w 2251903"/>
                    <a:gd name="connsiteY12" fmla="*/ 1652941 h 2844339"/>
                    <a:gd name="connsiteX13" fmla="*/ 189740 w 2251903"/>
                    <a:gd name="connsiteY13" fmla="*/ 1724378 h 2844339"/>
                    <a:gd name="connsiteX14" fmla="*/ 242128 w 2251903"/>
                    <a:gd name="connsiteY14" fmla="*/ 1838678 h 2844339"/>
                    <a:gd name="connsiteX15" fmla="*/ 318328 w 2251903"/>
                    <a:gd name="connsiteY15" fmla="*/ 1957741 h 2844339"/>
                    <a:gd name="connsiteX16" fmla="*/ 413578 w 2251903"/>
                    <a:gd name="connsiteY16" fmla="*/ 2019653 h 2844339"/>
                    <a:gd name="connsiteX17" fmla="*/ 432628 w 2251903"/>
                    <a:gd name="connsiteY17" fmla="*/ 2043466 h 2844339"/>
                    <a:gd name="connsiteX18" fmla="*/ 442153 w 2251903"/>
                    <a:gd name="connsiteY18" fmla="*/ 2138716 h 2844339"/>
                    <a:gd name="connsiteX19" fmla="*/ 461203 w 2251903"/>
                    <a:gd name="connsiteY19" fmla="*/ 2210154 h 2844339"/>
                    <a:gd name="connsiteX20" fmla="*/ 532640 w 2251903"/>
                    <a:gd name="connsiteY20" fmla="*/ 2343503 h 2844339"/>
                    <a:gd name="connsiteX21" fmla="*/ 546928 w 2251903"/>
                    <a:gd name="connsiteY21" fmla="*/ 2433991 h 2844339"/>
                    <a:gd name="connsiteX22" fmla="*/ 570740 w 2251903"/>
                    <a:gd name="connsiteY22" fmla="*/ 2514953 h 2844339"/>
                    <a:gd name="connsiteX23" fmla="*/ 561215 w 2251903"/>
                    <a:gd name="connsiteY23" fmla="*/ 2581628 h 2844339"/>
                    <a:gd name="connsiteX24" fmla="*/ 646940 w 2251903"/>
                    <a:gd name="connsiteY24" fmla="*/ 2695928 h 2844339"/>
                    <a:gd name="connsiteX25" fmla="*/ 642178 w 2251903"/>
                    <a:gd name="connsiteY25" fmla="*/ 2791178 h 2844339"/>
                    <a:gd name="connsiteX26" fmla="*/ 656465 w 2251903"/>
                    <a:gd name="connsiteY26" fmla="*/ 2843566 h 2844339"/>
                    <a:gd name="connsiteX27" fmla="*/ 889828 w 2251903"/>
                    <a:gd name="connsiteY27" fmla="*/ 2753078 h 2844339"/>
                    <a:gd name="connsiteX28" fmla="*/ 951740 w 2251903"/>
                    <a:gd name="connsiteY28" fmla="*/ 2724503 h 2844339"/>
                    <a:gd name="connsiteX29" fmla="*/ 1027940 w 2251903"/>
                    <a:gd name="connsiteY29" fmla="*/ 2748316 h 2844339"/>
                    <a:gd name="connsiteX30" fmla="*/ 1089853 w 2251903"/>
                    <a:gd name="connsiteY30" fmla="*/ 2753078 h 2844339"/>
                    <a:gd name="connsiteX31" fmla="*/ 1127953 w 2251903"/>
                    <a:gd name="connsiteY31" fmla="*/ 2672116 h 2844339"/>
                    <a:gd name="connsiteX32" fmla="*/ 1089853 w 2251903"/>
                    <a:gd name="connsiteY32" fmla="*/ 2595916 h 2844339"/>
                    <a:gd name="connsiteX33" fmla="*/ 1151765 w 2251903"/>
                    <a:gd name="connsiteY33" fmla="*/ 2534003 h 2844339"/>
                    <a:gd name="connsiteX34" fmla="*/ 1218440 w 2251903"/>
                    <a:gd name="connsiteY34" fmla="*/ 2472091 h 2844339"/>
                    <a:gd name="connsiteX35" fmla="*/ 1270828 w 2251903"/>
                    <a:gd name="connsiteY35" fmla="*/ 2357791 h 2844339"/>
                    <a:gd name="connsiteX36" fmla="*/ 1294640 w 2251903"/>
                    <a:gd name="connsiteY36" fmla="*/ 2305403 h 2844339"/>
                    <a:gd name="connsiteX37" fmla="*/ 1356553 w 2251903"/>
                    <a:gd name="connsiteY37" fmla="*/ 2243491 h 2844339"/>
                    <a:gd name="connsiteX38" fmla="*/ 1408940 w 2251903"/>
                    <a:gd name="connsiteY38" fmla="*/ 2162528 h 2844339"/>
                    <a:gd name="connsiteX39" fmla="*/ 1423228 w 2251903"/>
                    <a:gd name="connsiteY39" fmla="*/ 2081566 h 2844339"/>
                    <a:gd name="connsiteX40" fmla="*/ 1489903 w 2251903"/>
                    <a:gd name="connsiteY40" fmla="*/ 1948216 h 2844339"/>
                    <a:gd name="connsiteX41" fmla="*/ 1556578 w 2251903"/>
                    <a:gd name="connsiteY41" fmla="*/ 1833916 h 2844339"/>
                    <a:gd name="connsiteX42" fmla="*/ 1556578 w 2251903"/>
                    <a:gd name="connsiteY42" fmla="*/ 1752953 h 2844339"/>
                    <a:gd name="connsiteX43" fmla="*/ 1561340 w 2251903"/>
                    <a:gd name="connsiteY43" fmla="*/ 1624366 h 2844339"/>
                    <a:gd name="connsiteX44" fmla="*/ 1575628 w 2251903"/>
                    <a:gd name="connsiteY44" fmla="*/ 1529116 h 2844339"/>
                    <a:gd name="connsiteX45" fmla="*/ 1594678 w 2251903"/>
                    <a:gd name="connsiteY45" fmla="*/ 1448153 h 2844339"/>
                    <a:gd name="connsiteX46" fmla="*/ 1547053 w 2251903"/>
                    <a:gd name="connsiteY46" fmla="*/ 1314803 h 2844339"/>
                    <a:gd name="connsiteX47" fmla="*/ 1442278 w 2251903"/>
                    <a:gd name="connsiteY47" fmla="*/ 1100491 h 2844339"/>
                    <a:gd name="connsiteX48" fmla="*/ 1447040 w 2251903"/>
                    <a:gd name="connsiteY48" fmla="*/ 1052866 h 2844339"/>
                    <a:gd name="connsiteX49" fmla="*/ 1451803 w 2251903"/>
                    <a:gd name="connsiteY49" fmla="*/ 1010003 h 2844339"/>
                    <a:gd name="connsiteX50" fmla="*/ 1489903 w 2251903"/>
                    <a:gd name="connsiteY50" fmla="*/ 952853 h 2844339"/>
                    <a:gd name="connsiteX51" fmla="*/ 1508953 w 2251903"/>
                    <a:gd name="connsiteY51" fmla="*/ 914753 h 2844339"/>
                    <a:gd name="connsiteX52" fmla="*/ 1556578 w 2251903"/>
                    <a:gd name="connsiteY52" fmla="*/ 819503 h 2844339"/>
                    <a:gd name="connsiteX53" fmla="*/ 1594678 w 2251903"/>
                    <a:gd name="connsiteY53" fmla="*/ 743303 h 2844339"/>
                    <a:gd name="connsiteX54" fmla="*/ 1680403 w 2251903"/>
                    <a:gd name="connsiteY54" fmla="*/ 657578 h 2844339"/>
                    <a:gd name="connsiteX55" fmla="*/ 1728028 w 2251903"/>
                    <a:gd name="connsiteY55" fmla="*/ 600428 h 2844339"/>
                    <a:gd name="connsiteX56" fmla="*/ 1780415 w 2251903"/>
                    <a:gd name="connsiteY56" fmla="*/ 509941 h 2844339"/>
                    <a:gd name="connsiteX57" fmla="*/ 1828040 w 2251903"/>
                    <a:gd name="connsiteY57" fmla="*/ 486128 h 2844339"/>
                    <a:gd name="connsiteX58" fmla="*/ 1851853 w 2251903"/>
                    <a:gd name="connsiteY58" fmla="*/ 428978 h 2844339"/>
                    <a:gd name="connsiteX59" fmla="*/ 1875665 w 2251903"/>
                    <a:gd name="connsiteY59" fmla="*/ 357541 h 2844339"/>
                    <a:gd name="connsiteX60" fmla="*/ 1913765 w 2251903"/>
                    <a:gd name="connsiteY60" fmla="*/ 295628 h 2844339"/>
                    <a:gd name="connsiteX61" fmla="*/ 1961390 w 2251903"/>
                    <a:gd name="connsiteY61" fmla="*/ 238478 h 2844339"/>
                    <a:gd name="connsiteX62" fmla="*/ 2018540 w 2251903"/>
                    <a:gd name="connsiteY62" fmla="*/ 214666 h 2844339"/>
                    <a:gd name="connsiteX63" fmla="*/ 2066165 w 2251903"/>
                    <a:gd name="connsiteY63" fmla="*/ 200378 h 2844339"/>
                    <a:gd name="connsiteX64" fmla="*/ 2089978 w 2251903"/>
                    <a:gd name="connsiteY64" fmla="*/ 152753 h 2844339"/>
                    <a:gd name="connsiteX65" fmla="*/ 2085215 w 2251903"/>
                    <a:gd name="connsiteY65" fmla="*/ 76553 h 2844339"/>
                    <a:gd name="connsiteX66" fmla="*/ 2137603 w 2251903"/>
                    <a:gd name="connsiteY66" fmla="*/ 9878 h 2844339"/>
                    <a:gd name="connsiteX67" fmla="*/ 2199515 w 2251903"/>
                    <a:gd name="connsiteY67" fmla="*/ 353 h 2844339"/>
                    <a:gd name="connsiteX68" fmla="*/ 2251903 w 2251903"/>
                    <a:gd name="connsiteY68" fmla="*/ 9878 h 2844339"/>
                    <a:gd name="connsiteX0" fmla="*/ 194503 w 2251903"/>
                    <a:gd name="connsiteY0" fmla="*/ 895703 h 2844339"/>
                    <a:gd name="connsiteX1" fmla="*/ 151640 w 2251903"/>
                    <a:gd name="connsiteY1" fmla="*/ 929041 h 2844339"/>
                    <a:gd name="connsiteX2" fmla="*/ 132590 w 2251903"/>
                    <a:gd name="connsiteY2" fmla="*/ 981428 h 2844339"/>
                    <a:gd name="connsiteX3" fmla="*/ 127828 w 2251903"/>
                    <a:gd name="connsiteY3" fmla="*/ 1071916 h 2844339"/>
                    <a:gd name="connsiteX4" fmla="*/ 80203 w 2251903"/>
                    <a:gd name="connsiteY4" fmla="*/ 1133828 h 2844339"/>
                    <a:gd name="connsiteX5" fmla="*/ 51628 w 2251903"/>
                    <a:gd name="connsiteY5" fmla="*/ 1262416 h 2844339"/>
                    <a:gd name="connsiteX6" fmla="*/ 13528 w 2251903"/>
                    <a:gd name="connsiteY6" fmla="*/ 1333853 h 2844339"/>
                    <a:gd name="connsiteX7" fmla="*/ 23053 w 2251903"/>
                    <a:gd name="connsiteY7" fmla="*/ 1391003 h 2844339"/>
                    <a:gd name="connsiteX8" fmla="*/ 4003 w 2251903"/>
                    <a:gd name="connsiteY8" fmla="*/ 1433866 h 2844339"/>
                    <a:gd name="connsiteX9" fmla="*/ 4003 w 2251903"/>
                    <a:gd name="connsiteY9" fmla="*/ 1500541 h 2844339"/>
                    <a:gd name="connsiteX10" fmla="*/ 46865 w 2251903"/>
                    <a:gd name="connsiteY10" fmla="*/ 1586266 h 2844339"/>
                    <a:gd name="connsiteX11" fmla="*/ 123065 w 2251903"/>
                    <a:gd name="connsiteY11" fmla="*/ 1652941 h 2844339"/>
                    <a:gd name="connsiteX12" fmla="*/ 189740 w 2251903"/>
                    <a:gd name="connsiteY12" fmla="*/ 1724378 h 2844339"/>
                    <a:gd name="connsiteX13" fmla="*/ 242128 w 2251903"/>
                    <a:gd name="connsiteY13" fmla="*/ 1838678 h 2844339"/>
                    <a:gd name="connsiteX14" fmla="*/ 318328 w 2251903"/>
                    <a:gd name="connsiteY14" fmla="*/ 1957741 h 2844339"/>
                    <a:gd name="connsiteX15" fmla="*/ 413578 w 2251903"/>
                    <a:gd name="connsiteY15" fmla="*/ 2019653 h 2844339"/>
                    <a:gd name="connsiteX16" fmla="*/ 432628 w 2251903"/>
                    <a:gd name="connsiteY16" fmla="*/ 2043466 h 2844339"/>
                    <a:gd name="connsiteX17" fmla="*/ 442153 w 2251903"/>
                    <a:gd name="connsiteY17" fmla="*/ 2138716 h 2844339"/>
                    <a:gd name="connsiteX18" fmla="*/ 461203 w 2251903"/>
                    <a:gd name="connsiteY18" fmla="*/ 2210154 h 2844339"/>
                    <a:gd name="connsiteX19" fmla="*/ 532640 w 2251903"/>
                    <a:gd name="connsiteY19" fmla="*/ 2343503 h 2844339"/>
                    <a:gd name="connsiteX20" fmla="*/ 546928 w 2251903"/>
                    <a:gd name="connsiteY20" fmla="*/ 2433991 h 2844339"/>
                    <a:gd name="connsiteX21" fmla="*/ 570740 w 2251903"/>
                    <a:gd name="connsiteY21" fmla="*/ 2514953 h 2844339"/>
                    <a:gd name="connsiteX22" fmla="*/ 561215 w 2251903"/>
                    <a:gd name="connsiteY22" fmla="*/ 2581628 h 2844339"/>
                    <a:gd name="connsiteX23" fmla="*/ 646940 w 2251903"/>
                    <a:gd name="connsiteY23" fmla="*/ 2695928 h 2844339"/>
                    <a:gd name="connsiteX24" fmla="*/ 642178 w 2251903"/>
                    <a:gd name="connsiteY24" fmla="*/ 2791178 h 2844339"/>
                    <a:gd name="connsiteX25" fmla="*/ 656465 w 2251903"/>
                    <a:gd name="connsiteY25" fmla="*/ 2843566 h 2844339"/>
                    <a:gd name="connsiteX26" fmla="*/ 889828 w 2251903"/>
                    <a:gd name="connsiteY26" fmla="*/ 2753078 h 2844339"/>
                    <a:gd name="connsiteX27" fmla="*/ 951740 w 2251903"/>
                    <a:gd name="connsiteY27" fmla="*/ 2724503 h 2844339"/>
                    <a:gd name="connsiteX28" fmla="*/ 1027940 w 2251903"/>
                    <a:gd name="connsiteY28" fmla="*/ 2748316 h 2844339"/>
                    <a:gd name="connsiteX29" fmla="*/ 1089853 w 2251903"/>
                    <a:gd name="connsiteY29" fmla="*/ 2753078 h 2844339"/>
                    <a:gd name="connsiteX30" fmla="*/ 1127953 w 2251903"/>
                    <a:gd name="connsiteY30" fmla="*/ 2672116 h 2844339"/>
                    <a:gd name="connsiteX31" fmla="*/ 1089853 w 2251903"/>
                    <a:gd name="connsiteY31" fmla="*/ 2595916 h 2844339"/>
                    <a:gd name="connsiteX32" fmla="*/ 1151765 w 2251903"/>
                    <a:gd name="connsiteY32" fmla="*/ 2534003 h 2844339"/>
                    <a:gd name="connsiteX33" fmla="*/ 1218440 w 2251903"/>
                    <a:gd name="connsiteY33" fmla="*/ 2472091 h 2844339"/>
                    <a:gd name="connsiteX34" fmla="*/ 1270828 w 2251903"/>
                    <a:gd name="connsiteY34" fmla="*/ 2357791 h 2844339"/>
                    <a:gd name="connsiteX35" fmla="*/ 1294640 w 2251903"/>
                    <a:gd name="connsiteY35" fmla="*/ 2305403 h 2844339"/>
                    <a:gd name="connsiteX36" fmla="*/ 1356553 w 2251903"/>
                    <a:gd name="connsiteY36" fmla="*/ 2243491 h 2844339"/>
                    <a:gd name="connsiteX37" fmla="*/ 1408940 w 2251903"/>
                    <a:gd name="connsiteY37" fmla="*/ 2162528 h 2844339"/>
                    <a:gd name="connsiteX38" fmla="*/ 1423228 w 2251903"/>
                    <a:gd name="connsiteY38" fmla="*/ 2081566 h 2844339"/>
                    <a:gd name="connsiteX39" fmla="*/ 1489903 w 2251903"/>
                    <a:gd name="connsiteY39" fmla="*/ 1948216 h 2844339"/>
                    <a:gd name="connsiteX40" fmla="*/ 1556578 w 2251903"/>
                    <a:gd name="connsiteY40" fmla="*/ 1833916 h 2844339"/>
                    <a:gd name="connsiteX41" fmla="*/ 1556578 w 2251903"/>
                    <a:gd name="connsiteY41" fmla="*/ 1752953 h 2844339"/>
                    <a:gd name="connsiteX42" fmla="*/ 1561340 w 2251903"/>
                    <a:gd name="connsiteY42" fmla="*/ 1624366 h 2844339"/>
                    <a:gd name="connsiteX43" fmla="*/ 1575628 w 2251903"/>
                    <a:gd name="connsiteY43" fmla="*/ 1529116 h 2844339"/>
                    <a:gd name="connsiteX44" fmla="*/ 1594678 w 2251903"/>
                    <a:gd name="connsiteY44" fmla="*/ 1448153 h 2844339"/>
                    <a:gd name="connsiteX45" fmla="*/ 1547053 w 2251903"/>
                    <a:gd name="connsiteY45" fmla="*/ 1314803 h 2844339"/>
                    <a:gd name="connsiteX46" fmla="*/ 1442278 w 2251903"/>
                    <a:gd name="connsiteY46" fmla="*/ 1100491 h 2844339"/>
                    <a:gd name="connsiteX47" fmla="*/ 1447040 w 2251903"/>
                    <a:gd name="connsiteY47" fmla="*/ 1052866 h 2844339"/>
                    <a:gd name="connsiteX48" fmla="*/ 1451803 w 2251903"/>
                    <a:gd name="connsiteY48" fmla="*/ 1010003 h 2844339"/>
                    <a:gd name="connsiteX49" fmla="*/ 1489903 w 2251903"/>
                    <a:gd name="connsiteY49" fmla="*/ 952853 h 2844339"/>
                    <a:gd name="connsiteX50" fmla="*/ 1508953 w 2251903"/>
                    <a:gd name="connsiteY50" fmla="*/ 914753 h 2844339"/>
                    <a:gd name="connsiteX51" fmla="*/ 1556578 w 2251903"/>
                    <a:gd name="connsiteY51" fmla="*/ 819503 h 2844339"/>
                    <a:gd name="connsiteX52" fmla="*/ 1594678 w 2251903"/>
                    <a:gd name="connsiteY52" fmla="*/ 743303 h 2844339"/>
                    <a:gd name="connsiteX53" fmla="*/ 1680403 w 2251903"/>
                    <a:gd name="connsiteY53" fmla="*/ 657578 h 2844339"/>
                    <a:gd name="connsiteX54" fmla="*/ 1728028 w 2251903"/>
                    <a:gd name="connsiteY54" fmla="*/ 600428 h 2844339"/>
                    <a:gd name="connsiteX55" fmla="*/ 1780415 w 2251903"/>
                    <a:gd name="connsiteY55" fmla="*/ 509941 h 2844339"/>
                    <a:gd name="connsiteX56" fmla="*/ 1828040 w 2251903"/>
                    <a:gd name="connsiteY56" fmla="*/ 486128 h 2844339"/>
                    <a:gd name="connsiteX57" fmla="*/ 1851853 w 2251903"/>
                    <a:gd name="connsiteY57" fmla="*/ 428978 h 2844339"/>
                    <a:gd name="connsiteX58" fmla="*/ 1875665 w 2251903"/>
                    <a:gd name="connsiteY58" fmla="*/ 357541 h 2844339"/>
                    <a:gd name="connsiteX59" fmla="*/ 1913765 w 2251903"/>
                    <a:gd name="connsiteY59" fmla="*/ 295628 h 2844339"/>
                    <a:gd name="connsiteX60" fmla="*/ 1961390 w 2251903"/>
                    <a:gd name="connsiteY60" fmla="*/ 238478 h 2844339"/>
                    <a:gd name="connsiteX61" fmla="*/ 2018540 w 2251903"/>
                    <a:gd name="connsiteY61" fmla="*/ 214666 h 2844339"/>
                    <a:gd name="connsiteX62" fmla="*/ 2066165 w 2251903"/>
                    <a:gd name="connsiteY62" fmla="*/ 200378 h 2844339"/>
                    <a:gd name="connsiteX63" fmla="*/ 2089978 w 2251903"/>
                    <a:gd name="connsiteY63" fmla="*/ 152753 h 2844339"/>
                    <a:gd name="connsiteX64" fmla="*/ 2085215 w 2251903"/>
                    <a:gd name="connsiteY64" fmla="*/ 76553 h 2844339"/>
                    <a:gd name="connsiteX65" fmla="*/ 2137603 w 2251903"/>
                    <a:gd name="connsiteY65" fmla="*/ 9878 h 2844339"/>
                    <a:gd name="connsiteX66" fmla="*/ 2199515 w 2251903"/>
                    <a:gd name="connsiteY66" fmla="*/ 353 h 2844339"/>
                    <a:gd name="connsiteX67" fmla="*/ 2251903 w 2251903"/>
                    <a:gd name="connsiteY67" fmla="*/ 9878 h 2844339"/>
                    <a:gd name="connsiteX0" fmla="*/ 151640 w 2251903"/>
                    <a:gd name="connsiteY0" fmla="*/ 929041 h 2844339"/>
                    <a:gd name="connsiteX1" fmla="*/ 132590 w 2251903"/>
                    <a:gd name="connsiteY1" fmla="*/ 981428 h 2844339"/>
                    <a:gd name="connsiteX2" fmla="*/ 127828 w 2251903"/>
                    <a:gd name="connsiteY2" fmla="*/ 1071916 h 2844339"/>
                    <a:gd name="connsiteX3" fmla="*/ 80203 w 2251903"/>
                    <a:gd name="connsiteY3" fmla="*/ 1133828 h 2844339"/>
                    <a:gd name="connsiteX4" fmla="*/ 51628 w 2251903"/>
                    <a:gd name="connsiteY4" fmla="*/ 1262416 h 2844339"/>
                    <a:gd name="connsiteX5" fmla="*/ 13528 w 2251903"/>
                    <a:gd name="connsiteY5" fmla="*/ 1333853 h 2844339"/>
                    <a:gd name="connsiteX6" fmla="*/ 23053 w 2251903"/>
                    <a:gd name="connsiteY6" fmla="*/ 1391003 h 2844339"/>
                    <a:gd name="connsiteX7" fmla="*/ 4003 w 2251903"/>
                    <a:gd name="connsiteY7" fmla="*/ 1433866 h 2844339"/>
                    <a:gd name="connsiteX8" fmla="*/ 4003 w 2251903"/>
                    <a:gd name="connsiteY8" fmla="*/ 1500541 h 2844339"/>
                    <a:gd name="connsiteX9" fmla="*/ 46865 w 2251903"/>
                    <a:gd name="connsiteY9" fmla="*/ 1586266 h 2844339"/>
                    <a:gd name="connsiteX10" fmla="*/ 123065 w 2251903"/>
                    <a:gd name="connsiteY10" fmla="*/ 1652941 h 2844339"/>
                    <a:gd name="connsiteX11" fmla="*/ 189740 w 2251903"/>
                    <a:gd name="connsiteY11" fmla="*/ 1724378 h 2844339"/>
                    <a:gd name="connsiteX12" fmla="*/ 242128 w 2251903"/>
                    <a:gd name="connsiteY12" fmla="*/ 1838678 h 2844339"/>
                    <a:gd name="connsiteX13" fmla="*/ 318328 w 2251903"/>
                    <a:gd name="connsiteY13" fmla="*/ 1957741 h 2844339"/>
                    <a:gd name="connsiteX14" fmla="*/ 413578 w 2251903"/>
                    <a:gd name="connsiteY14" fmla="*/ 2019653 h 2844339"/>
                    <a:gd name="connsiteX15" fmla="*/ 432628 w 2251903"/>
                    <a:gd name="connsiteY15" fmla="*/ 2043466 h 2844339"/>
                    <a:gd name="connsiteX16" fmla="*/ 442153 w 2251903"/>
                    <a:gd name="connsiteY16" fmla="*/ 2138716 h 2844339"/>
                    <a:gd name="connsiteX17" fmla="*/ 461203 w 2251903"/>
                    <a:gd name="connsiteY17" fmla="*/ 2210154 h 2844339"/>
                    <a:gd name="connsiteX18" fmla="*/ 532640 w 2251903"/>
                    <a:gd name="connsiteY18" fmla="*/ 2343503 h 2844339"/>
                    <a:gd name="connsiteX19" fmla="*/ 546928 w 2251903"/>
                    <a:gd name="connsiteY19" fmla="*/ 2433991 h 2844339"/>
                    <a:gd name="connsiteX20" fmla="*/ 570740 w 2251903"/>
                    <a:gd name="connsiteY20" fmla="*/ 2514953 h 2844339"/>
                    <a:gd name="connsiteX21" fmla="*/ 561215 w 2251903"/>
                    <a:gd name="connsiteY21" fmla="*/ 2581628 h 2844339"/>
                    <a:gd name="connsiteX22" fmla="*/ 646940 w 2251903"/>
                    <a:gd name="connsiteY22" fmla="*/ 2695928 h 2844339"/>
                    <a:gd name="connsiteX23" fmla="*/ 642178 w 2251903"/>
                    <a:gd name="connsiteY23" fmla="*/ 2791178 h 2844339"/>
                    <a:gd name="connsiteX24" fmla="*/ 656465 w 2251903"/>
                    <a:gd name="connsiteY24" fmla="*/ 2843566 h 2844339"/>
                    <a:gd name="connsiteX25" fmla="*/ 889828 w 2251903"/>
                    <a:gd name="connsiteY25" fmla="*/ 2753078 h 2844339"/>
                    <a:gd name="connsiteX26" fmla="*/ 951740 w 2251903"/>
                    <a:gd name="connsiteY26" fmla="*/ 2724503 h 2844339"/>
                    <a:gd name="connsiteX27" fmla="*/ 1027940 w 2251903"/>
                    <a:gd name="connsiteY27" fmla="*/ 2748316 h 2844339"/>
                    <a:gd name="connsiteX28" fmla="*/ 1089853 w 2251903"/>
                    <a:gd name="connsiteY28" fmla="*/ 2753078 h 2844339"/>
                    <a:gd name="connsiteX29" fmla="*/ 1127953 w 2251903"/>
                    <a:gd name="connsiteY29" fmla="*/ 2672116 h 2844339"/>
                    <a:gd name="connsiteX30" fmla="*/ 1089853 w 2251903"/>
                    <a:gd name="connsiteY30" fmla="*/ 2595916 h 2844339"/>
                    <a:gd name="connsiteX31" fmla="*/ 1151765 w 2251903"/>
                    <a:gd name="connsiteY31" fmla="*/ 2534003 h 2844339"/>
                    <a:gd name="connsiteX32" fmla="*/ 1218440 w 2251903"/>
                    <a:gd name="connsiteY32" fmla="*/ 2472091 h 2844339"/>
                    <a:gd name="connsiteX33" fmla="*/ 1270828 w 2251903"/>
                    <a:gd name="connsiteY33" fmla="*/ 2357791 h 2844339"/>
                    <a:gd name="connsiteX34" fmla="*/ 1294640 w 2251903"/>
                    <a:gd name="connsiteY34" fmla="*/ 2305403 h 2844339"/>
                    <a:gd name="connsiteX35" fmla="*/ 1356553 w 2251903"/>
                    <a:gd name="connsiteY35" fmla="*/ 2243491 h 2844339"/>
                    <a:gd name="connsiteX36" fmla="*/ 1408940 w 2251903"/>
                    <a:gd name="connsiteY36" fmla="*/ 2162528 h 2844339"/>
                    <a:gd name="connsiteX37" fmla="*/ 1423228 w 2251903"/>
                    <a:gd name="connsiteY37" fmla="*/ 2081566 h 2844339"/>
                    <a:gd name="connsiteX38" fmla="*/ 1489903 w 2251903"/>
                    <a:gd name="connsiteY38" fmla="*/ 1948216 h 2844339"/>
                    <a:gd name="connsiteX39" fmla="*/ 1556578 w 2251903"/>
                    <a:gd name="connsiteY39" fmla="*/ 1833916 h 2844339"/>
                    <a:gd name="connsiteX40" fmla="*/ 1556578 w 2251903"/>
                    <a:gd name="connsiteY40" fmla="*/ 1752953 h 2844339"/>
                    <a:gd name="connsiteX41" fmla="*/ 1561340 w 2251903"/>
                    <a:gd name="connsiteY41" fmla="*/ 1624366 h 2844339"/>
                    <a:gd name="connsiteX42" fmla="*/ 1575628 w 2251903"/>
                    <a:gd name="connsiteY42" fmla="*/ 1529116 h 2844339"/>
                    <a:gd name="connsiteX43" fmla="*/ 1594678 w 2251903"/>
                    <a:gd name="connsiteY43" fmla="*/ 1448153 h 2844339"/>
                    <a:gd name="connsiteX44" fmla="*/ 1547053 w 2251903"/>
                    <a:gd name="connsiteY44" fmla="*/ 1314803 h 2844339"/>
                    <a:gd name="connsiteX45" fmla="*/ 1442278 w 2251903"/>
                    <a:gd name="connsiteY45" fmla="*/ 1100491 h 2844339"/>
                    <a:gd name="connsiteX46" fmla="*/ 1447040 w 2251903"/>
                    <a:gd name="connsiteY46" fmla="*/ 1052866 h 2844339"/>
                    <a:gd name="connsiteX47" fmla="*/ 1451803 w 2251903"/>
                    <a:gd name="connsiteY47" fmla="*/ 1010003 h 2844339"/>
                    <a:gd name="connsiteX48" fmla="*/ 1489903 w 2251903"/>
                    <a:gd name="connsiteY48" fmla="*/ 952853 h 2844339"/>
                    <a:gd name="connsiteX49" fmla="*/ 1508953 w 2251903"/>
                    <a:gd name="connsiteY49" fmla="*/ 914753 h 2844339"/>
                    <a:gd name="connsiteX50" fmla="*/ 1556578 w 2251903"/>
                    <a:gd name="connsiteY50" fmla="*/ 819503 h 2844339"/>
                    <a:gd name="connsiteX51" fmla="*/ 1594678 w 2251903"/>
                    <a:gd name="connsiteY51" fmla="*/ 743303 h 2844339"/>
                    <a:gd name="connsiteX52" fmla="*/ 1680403 w 2251903"/>
                    <a:gd name="connsiteY52" fmla="*/ 657578 h 2844339"/>
                    <a:gd name="connsiteX53" fmla="*/ 1728028 w 2251903"/>
                    <a:gd name="connsiteY53" fmla="*/ 600428 h 2844339"/>
                    <a:gd name="connsiteX54" fmla="*/ 1780415 w 2251903"/>
                    <a:gd name="connsiteY54" fmla="*/ 509941 h 2844339"/>
                    <a:gd name="connsiteX55" fmla="*/ 1828040 w 2251903"/>
                    <a:gd name="connsiteY55" fmla="*/ 486128 h 2844339"/>
                    <a:gd name="connsiteX56" fmla="*/ 1851853 w 2251903"/>
                    <a:gd name="connsiteY56" fmla="*/ 428978 h 2844339"/>
                    <a:gd name="connsiteX57" fmla="*/ 1875665 w 2251903"/>
                    <a:gd name="connsiteY57" fmla="*/ 357541 h 2844339"/>
                    <a:gd name="connsiteX58" fmla="*/ 1913765 w 2251903"/>
                    <a:gd name="connsiteY58" fmla="*/ 295628 h 2844339"/>
                    <a:gd name="connsiteX59" fmla="*/ 1961390 w 2251903"/>
                    <a:gd name="connsiteY59" fmla="*/ 238478 h 2844339"/>
                    <a:gd name="connsiteX60" fmla="*/ 2018540 w 2251903"/>
                    <a:gd name="connsiteY60" fmla="*/ 214666 h 2844339"/>
                    <a:gd name="connsiteX61" fmla="*/ 2066165 w 2251903"/>
                    <a:gd name="connsiteY61" fmla="*/ 200378 h 2844339"/>
                    <a:gd name="connsiteX62" fmla="*/ 2089978 w 2251903"/>
                    <a:gd name="connsiteY62" fmla="*/ 152753 h 2844339"/>
                    <a:gd name="connsiteX63" fmla="*/ 2085215 w 2251903"/>
                    <a:gd name="connsiteY63" fmla="*/ 76553 h 2844339"/>
                    <a:gd name="connsiteX64" fmla="*/ 2137603 w 2251903"/>
                    <a:gd name="connsiteY64" fmla="*/ 9878 h 2844339"/>
                    <a:gd name="connsiteX65" fmla="*/ 2199515 w 2251903"/>
                    <a:gd name="connsiteY65" fmla="*/ 353 h 2844339"/>
                    <a:gd name="connsiteX66" fmla="*/ 2251903 w 2251903"/>
                    <a:gd name="connsiteY66" fmla="*/ 9878 h 2844339"/>
                    <a:gd name="connsiteX0" fmla="*/ 132590 w 2251903"/>
                    <a:gd name="connsiteY0" fmla="*/ 981428 h 2844339"/>
                    <a:gd name="connsiteX1" fmla="*/ 127828 w 2251903"/>
                    <a:gd name="connsiteY1" fmla="*/ 1071916 h 2844339"/>
                    <a:gd name="connsiteX2" fmla="*/ 80203 w 2251903"/>
                    <a:gd name="connsiteY2" fmla="*/ 1133828 h 2844339"/>
                    <a:gd name="connsiteX3" fmla="*/ 51628 w 2251903"/>
                    <a:gd name="connsiteY3" fmla="*/ 1262416 h 2844339"/>
                    <a:gd name="connsiteX4" fmla="*/ 13528 w 2251903"/>
                    <a:gd name="connsiteY4" fmla="*/ 1333853 h 2844339"/>
                    <a:gd name="connsiteX5" fmla="*/ 23053 w 2251903"/>
                    <a:gd name="connsiteY5" fmla="*/ 1391003 h 2844339"/>
                    <a:gd name="connsiteX6" fmla="*/ 4003 w 2251903"/>
                    <a:gd name="connsiteY6" fmla="*/ 1433866 h 2844339"/>
                    <a:gd name="connsiteX7" fmla="*/ 4003 w 2251903"/>
                    <a:gd name="connsiteY7" fmla="*/ 1500541 h 2844339"/>
                    <a:gd name="connsiteX8" fmla="*/ 46865 w 2251903"/>
                    <a:gd name="connsiteY8" fmla="*/ 1586266 h 2844339"/>
                    <a:gd name="connsiteX9" fmla="*/ 123065 w 2251903"/>
                    <a:gd name="connsiteY9" fmla="*/ 1652941 h 2844339"/>
                    <a:gd name="connsiteX10" fmla="*/ 189740 w 2251903"/>
                    <a:gd name="connsiteY10" fmla="*/ 1724378 h 2844339"/>
                    <a:gd name="connsiteX11" fmla="*/ 242128 w 2251903"/>
                    <a:gd name="connsiteY11" fmla="*/ 1838678 h 2844339"/>
                    <a:gd name="connsiteX12" fmla="*/ 318328 w 2251903"/>
                    <a:gd name="connsiteY12" fmla="*/ 1957741 h 2844339"/>
                    <a:gd name="connsiteX13" fmla="*/ 413578 w 2251903"/>
                    <a:gd name="connsiteY13" fmla="*/ 2019653 h 2844339"/>
                    <a:gd name="connsiteX14" fmla="*/ 432628 w 2251903"/>
                    <a:gd name="connsiteY14" fmla="*/ 2043466 h 2844339"/>
                    <a:gd name="connsiteX15" fmla="*/ 442153 w 2251903"/>
                    <a:gd name="connsiteY15" fmla="*/ 2138716 h 2844339"/>
                    <a:gd name="connsiteX16" fmla="*/ 461203 w 2251903"/>
                    <a:gd name="connsiteY16" fmla="*/ 2210154 h 2844339"/>
                    <a:gd name="connsiteX17" fmla="*/ 532640 w 2251903"/>
                    <a:gd name="connsiteY17" fmla="*/ 2343503 h 2844339"/>
                    <a:gd name="connsiteX18" fmla="*/ 546928 w 2251903"/>
                    <a:gd name="connsiteY18" fmla="*/ 2433991 h 2844339"/>
                    <a:gd name="connsiteX19" fmla="*/ 570740 w 2251903"/>
                    <a:gd name="connsiteY19" fmla="*/ 2514953 h 2844339"/>
                    <a:gd name="connsiteX20" fmla="*/ 561215 w 2251903"/>
                    <a:gd name="connsiteY20" fmla="*/ 2581628 h 2844339"/>
                    <a:gd name="connsiteX21" fmla="*/ 646940 w 2251903"/>
                    <a:gd name="connsiteY21" fmla="*/ 2695928 h 2844339"/>
                    <a:gd name="connsiteX22" fmla="*/ 642178 w 2251903"/>
                    <a:gd name="connsiteY22" fmla="*/ 2791178 h 2844339"/>
                    <a:gd name="connsiteX23" fmla="*/ 656465 w 2251903"/>
                    <a:gd name="connsiteY23" fmla="*/ 2843566 h 2844339"/>
                    <a:gd name="connsiteX24" fmla="*/ 889828 w 2251903"/>
                    <a:gd name="connsiteY24" fmla="*/ 2753078 h 2844339"/>
                    <a:gd name="connsiteX25" fmla="*/ 951740 w 2251903"/>
                    <a:gd name="connsiteY25" fmla="*/ 2724503 h 2844339"/>
                    <a:gd name="connsiteX26" fmla="*/ 1027940 w 2251903"/>
                    <a:gd name="connsiteY26" fmla="*/ 2748316 h 2844339"/>
                    <a:gd name="connsiteX27" fmla="*/ 1089853 w 2251903"/>
                    <a:gd name="connsiteY27" fmla="*/ 2753078 h 2844339"/>
                    <a:gd name="connsiteX28" fmla="*/ 1127953 w 2251903"/>
                    <a:gd name="connsiteY28" fmla="*/ 2672116 h 2844339"/>
                    <a:gd name="connsiteX29" fmla="*/ 1089853 w 2251903"/>
                    <a:gd name="connsiteY29" fmla="*/ 2595916 h 2844339"/>
                    <a:gd name="connsiteX30" fmla="*/ 1151765 w 2251903"/>
                    <a:gd name="connsiteY30" fmla="*/ 2534003 h 2844339"/>
                    <a:gd name="connsiteX31" fmla="*/ 1218440 w 2251903"/>
                    <a:gd name="connsiteY31" fmla="*/ 2472091 h 2844339"/>
                    <a:gd name="connsiteX32" fmla="*/ 1270828 w 2251903"/>
                    <a:gd name="connsiteY32" fmla="*/ 2357791 h 2844339"/>
                    <a:gd name="connsiteX33" fmla="*/ 1294640 w 2251903"/>
                    <a:gd name="connsiteY33" fmla="*/ 2305403 h 2844339"/>
                    <a:gd name="connsiteX34" fmla="*/ 1356553 w 2251903"/>
                    <a:gd name="connsiteY34" fmla="*/ 2243491 h 2844339"/>
                    <a:gd name="connsiteX35" fmla="*/ 1408940 w 2251903"/>
                    <a:gd name="connsiteY35" fmla="*/ 2162528 h 2844339"/>
                    <a:gd name="connsiteX36" fmla="*/ 1423228 w 2251903"/>
                    <a:gd name="connsiteY36" fmla="*/ 2081566 h 2844339"/>
                    <a:gd name="connsiteX37" fmla="*/ 1489903 w 2251903"/>
                    <a:gd name="connsiteY37" fmla="*/ 1948216 h 2844339"/>
                    <a:gd name="connsiteX38" fmla="*/ 1556578 w 2251903"/>
                    <a:gd name="connsiteY38" fmla="*/ 1833916 h 2844339"/>
                    <a:gd name="connsiteX39" fmla="*/ 1556578 w 2251903"/>
                    <a:gd name="connsiteY39" fmla="*/ 1752953 h 2844339"/>
                    <a:gd name="connsiteX40" fmla="*/ 1561340 w 2251903"/>
                    <a:gd name="connsiteY40" fmla="*/ 1624366 h 2844339"/>
                    <a:gd name="connsiteX41" fmla="*/ 1575628 w 2251903"/>
                    <a:gd name="connsiteY41" fmla="*/ 1529116 h 2844339"/>
                    <a:gd name="connsiteX42" fmla="*/ 1594678 w 2251903"/>
                    <a:gd name="connsiteY42" fmla="*/ 1448153 h 2844339"/>
                    <a:gd name="connsiteX43" fmla="*/ 1547053 w 2251903"/>
                    <a:gd name="connsiteY43" fmla="*/ 1314803 h 2844339"/>
                    <a:gd name="connsiteX44" fmla="*/ 1442278 w 2251903"/>
                    <a:gd name="connsiteY44" fmla="*/ 1100491 h 2844339"/>
                    <a:gd name="connsiteX45" fmla="*/ 1447040 w 2251903"/>
                    <a:gd name="connsiteY45" fmla="*/ 1052866 h 2844339"/>
                    <a:gd name="connsiteX46" fmla="*/ 1451803 w 2251903"/>
                    <a:gd name="connsiteY46" fmla="*/ 1010003 h 2844339"/>
                    <a:gd name="connsiteX47" fmla="*/ 1489903 w 2251903"/>
                    <a:gd name="connsiteY47" fmla="*/ 952853 h 2844339"/>
                    <a:gd name="connsiteX48" fmla="*/ 1508953 w 2251903"/>
                    <a:gd name="connsiteY48" fmla="*/ 914753 h 2844339"/>
                    <a:gd name="connsiteX49" fmla="*/ 1556578 w 2251903"/>
                    <a:gd name="connsiteY49" fmla="*/ 819503 h 2844339"/>
                    <a:gd name="connsiteX50" fmla="*/ 1594678 w 2251903"/>
                    <a:gd name="connsiteY50" fmla="*/ 743303 h 2844339"/>
                    <a:gd name="connsiteX51" fmla="*/ 1680403 w 2251903"/>
                    <a:gd name="connsiteY51" fmla="*/ 657578 h 2844339"/>
                    <a:gd name="connsiteX52" fmla="*/ 1728028 w 2251903"/>
                    <a:gd name="connsiteY52" fmla="*/ 600428 h 2844339"/>
                    <a:gd name="connsiteX53" fmla="*/ 1780415 w 2251903"/>
                    <a:gd name="connsiteY53" fmla="*/ 509941 h 2844339"/>
                    <a:gd name="connsiteX54" fmla="*/ 1828040 w 2251903"/>
                    <a:gd name="connsiteY54" fmla="*/ 486128 h 2844339"/>
                    <a:gd name="connsiteX55" fmla="*/ 1851853 w 2251903"/>
                    <a:gd name="connsiteY55" fmla="*/ 428978 h 2844339"/>
                    <a:gd name="connsiteX56" fmla="*/ 1875665 w 2251903"/>
                    <a:gd name="connsiteY56" fmla="*/ 357541 h 2844339"/>
                    <a:gd name="connsiteX57" fmla="*/ 1913765 w 2251903"/>
                    <a:gd name="connsiteY57" fmla="*/ 295628 h 2844339"/>
                    <a:gd name="connsiteX58" fmla="*/ 1961390 w 2251903"/>
                    <a:gd name="connsiteY58" fmla="*/ 238478 h 2844339"/>
                    <a:gd name="connsiteX59" fmla="*/ 2018540 w 2251903"/>
                    <a:gd name="connsiteY59" fmla="*/ 214666 h 2844339"/>
                    <a:gd name="connsiteX60" fmla="*/ 2066165 w 2251903"/>
                    <a:gd name="connsiteY60" fmla="*/ 200378 h 2844339"/>
                    <a:gd name="connsiteX61" fmla="*/ 2089978 w 2251903"/>
                    <a:gd name="connsiteY61" fmla="*/ 152753 h 2844339"/>
                    <a:gd name="connsiteX62" fmla="*/ 2085215 w 2251903"/>
                    <a:gd name="connsiteY62" fmla="*/ 76553 h 2844339"/>
                    <a:gd name="connsiteX63" fmla="*/ 2137603 w 2251903"/>
                    <a:gd name="connsiteY63" fmla="*/ 9878 h 2844339"/>
                    <a:gd name="connsiteX64" fmla="*/ 2199515 w 2251903"/>
                    <a:gd name="connsiteY64" fmla="*/ 353 h 2844339"/>
                    <a:gd name="connsiteX65" fmla="*/ 2251903 w 2251903"/>
                    <a:gd name="connsiteY65" fmla="*/ 9878 h 2844339"/>
                    <a:gd name="connsiteX0" fmla="*/ 127828 w 2251903"/>
                    <a:gd name="connsiteY0" fmla="*/ 1071916 h 2844339"/>
                    <a:gd name="connsiteX1" fmla="*/ 80203 w 2251903"/>
                    <a:gd name="connsiteY1" fmla="*/ 1133828 h 2844339"/>
                    <a:gd name="connsiteX2" fmla="*/ 51628 w 2251903"/>
                    <a:gd name="connsiteY2" fmla="*/ 1262416 h 2844339"/>
                    <a:gd name="connsiteX3" fmla="*/ 13528 w 2251903"/>
                    <a:gd name="connsiteY3" fmla="*/ 1333853 h 2844339"/>
                    <a:gd name="connsiteX4" fmla="*/ 23053 w 2251903"/>
                    <a:gd name="connsiteY4" fmla="*/ 1391003 h 2844339"/>
                    <a:gd name="connsiteX5" fmla="*/ 4003 w 2251903"/>
                    <a:gd name="connsiteY5" fmla="*/ 1433866 h 2844339"/>
                    <a:gd name="connsiteX6" fmla="*/ 4003 w 2251903"/>
                    <a:gd name="connsiteY6" fmla="*/ 1500541 h 2844339"/>
                    <a:gd name="connsiteX7" fmla="*/ 46865 w 2251903"/>
                    <a:gd name="connsiteY7" fmla="*/ 1586266 h 2844339"/>
                    <a:gd name="connsiteX8" fmla="*/ 123065 w 2251903"/>
                    <a:gd name="connsiteY8" fmla="*/ 1652941 h 2844339"/>
                    <a:gd name="connsiteX9" fmla="*/ 189740 w 2251903"/>
                    <a:gd name="connsiteY9" fmla="*/ 1724378 h 2844339"/>
                    <a:gd name="connsiteX10" fmla="*/ 242128 w 2251903"/>
                    <a:gd name="connsiteY10" fmla="*/ 1838678 h 2844339"/>
                    <a:gd name="connsiteX11" fmla="*/ 318328 w 2251903"/>
                    <a:gd name="connsiteY11" fmla="*/ 1957741 h 2844339"/>
                    <a:gd name="connsiteX12" fmla="*/ 413578 w 2251903"/>
                    <a:gd name="connsiteY12" fmla="*/ 2019653 h 2844339"/>
                    <a:gd name="connsiteX13" fmla="*/ 432628 w 2251903"/>
                    <a:gd name="connsiteY13" fmla="*/ 2043466 h 2844339"/>
                    <a:gd name="connsiteX14" fmla="*/ 442153 w 2251903"/>
                    <a:gd name="connsiteY14" fmla="*/ 2138716 h 2844339"/>
                    <a:gd name="connsiteX15" fmla="*/ 461203 w 2251903"/>
                    <a:gd name="connsiteY15" fmla="*/ 2210154 h 2844339"/>
                    <a:gd name="connsiteX16" fmla="*/ 532640 w 2251903"/>
                    <a:gd name="connsiteY16" fmla="*/ 2343503 h 2844339"/>
                    <a:gd name="connsiteX17" fmla="*/ 546928 w 2251903"/>
                    <a:gd name="connsiteY17" fmla="*/ 2433991 h 2844339"/>
                    <a:gd name="connsiteX18" fmla="*/ 570740 w 2251903"/>
                    <a:gd name="connsiteY18" fmla="*/ 2514953 h 2844339"/>
                    <a:gd name="connsiteX19" fmla="*/ 561215 w 2251903"/>
                    <a:gd name="connsiteY19" fmla="*/ 2581628 h 2844339"/>
                    <a:gd name="connsiteX20" fmla="*/ 646940 w 2251903"/>
                    <a:gd name="connsiteY20" fmla="*/ 2695928 h 2844339"/>
                    <a:gd name="connsiteX21" fmla="*/ 642178 w 2251903"/>
                    <a:gd name="connsiteY21" fmla="*/ 2791178 h 2844339"/>
                    <a:gd name="connsiteX22" fmla="*/ 656465 w 2251903"/>
                    <a:gd name="connsiteY22" fmla="*/ 2843566 h 2844339"/>
                    <a:gd name="connsiteX23" fmla="*/ 889828 w 2251903"/>
                    <a:gd name="connsiteY23" fmla="*/ 2753078 h 2844339"/>
                    <a:gd name="connsiteX24" fmla="*/ 951740 w 2251903"/>
                    <a:gd name="connsiteY24" fmla="*/ 2724503 h 2844339"/>
                    <a:gd name="connsiteX25" fmla="*/ 1027940 w 2251903"/>
                    <a:gd name="connsiteY25" fmla="*/ 2748316 h 2844339"/>
                    <a:gd name="connsiteX26" fmla="*/ 1089853 w 2251903"/>
                    <a:gd name="connsiteY26" fmla="*/ 2753078 h 2844339"/>
                    <a:gd name="connsiteX27" fmla="*/ 1127953 w 2251903"/>
                    <a:gd name="connsiteY27" fmla="*/ 2672116 h 2844339"/>
                    <a:gd name="connsiteX28" fmla="*/ 1089853 w 2251903"/>
                    <a:gd name="connsiteY28" fmla="*/ 2595916 h 2844339"/>
                    <a:gd name="connsiteX29" fmla="*/ 1151765 w 2251903"/>
                    <a:gd name="connsiteY29" fmla="*/ 2534003 h 2844339"/>
                    <a:gd name="connsiteX30" fmla="*/ 1218440 w 2251903"/>
                    <a:gd name="connsiteY30" fmla="*/ 2472091 h 2844339"/>
                    <a:gd name="connsiteX31" fmla="*/ 1270828 w 2251903"/>
                    <a:gd name="connsiteY31" fmla="*/ 2357791 h 2844339"/>
                    <a:gd name="connsiteX32" fmla="*/ 1294640 w 2251903"/>
                    <a:gd name="connsiteY32" fmla="*/ 2305403 h 2844339"/>
                    <a:gd name="connsiteX33" fmla="*/ 1356553 w 2251903"/>
                    <a:gd name="connsiteY33" fmla="*/ 2243491 h 2844339"/>
                    <a:gd name="connsiteX34" fmla="*/ 1408940 w 2251903"/>
                    <a:gd name="connsiteY34" fmla="*/ 2162528 h 2844339"/>
                    <a:gd name="connsiteX35" fmla="*/ 1423228 w 2251903"/>
                    <a:gd name="connsiteY35" fmla="*/ 2081566 h 2844339"/>
                    <a:gd name="connsiteX36" fmla="*/ 1489903 w 2251903"/>
                    <a:gd name="connsiteY36" fmla="*/ 1948216 h 2844339"/>
                    <a:gd name="connsiteX37" fmla="*/ 1556578 w 2251903"/>
                    <a:gd name="connsiteY37" fmla="*/ 1833916 h 2844339"/>
                    <a:gd name="connsiteX38" fmla="*/ 1556578 w 2251903"/>
                    <a:gd name="connsiteY38" fmla="*/ 1752953 h 2844339"/>
                    <a:gd name="connsiteX39" fmla="*/ 1561340 w 2251903"/>
                    <a:gd name="connsiteY39" fmla="*/ 1624366 h 2844339"/>
                    <a:gd name="connsiteX40" fmla="*/ 1575628 w 2251903"/>
                    <a:gd name="connsiteY40" fmla="*/ 1529116 h 2844339"/>
                    <a:gd name="connsiteX41" fmla="*/ 1594678 w 2251903"/>
                    <a:gd name="connsiteY41" fmla="*/ 1448153 h 2844339"/>
                    <a:gd name="connsiteX42" fmla="*/ 1547053 w 2251903"/>
                    <a:gd name="connsiteY42" fmla="*/ 1314803 h 2844339"/>
                    <a:gd name="connsiteX43" fmla="*/ 1442278 w 2251903"/>
                    <a:gd name="connsiteY43" fmla="*/ 1100491 h 2844339"/>
                    <a:gd name="connsiteX44" fmla="*/ 1447040 w 2251903"/>
                    <a:gd name="connsiteY44" fmla="*/ 1052866 h 2844339"/>
                    <a:gd name="connsiteX45" fmla="*/ 1451803 w 2251903"/>
                    <a:gd name="connsiteY45" fmla="*/ 1010003 h 2844339"/>
                    <a:gd name="connsiteX46" fmla="*/ 1489903 w 2251903"/>
                    <a:gd name="connsiteY46" fmla="*/ 952853 h 2844339"/>
                    <a:gd name="connsiteX47" fmla="*/ 1508953 w 2251903"/>
                    <a:gd name="connsiteY47" fmla="*/ 914753 h 2844339"/>
                    <a:gd name="connsiteX48" fmla="*/ 1556578 w 2251903"/>
                    <a:gd name="connsiteY48" fmla="*/ 819503 h 2844339"/>
                    <a:gd name="connsiteX49" fmla="*/ 1594678 w 2251903"/>
                    <a:gd name="connsiteY49" fmla="*/ 743303 h 2844339"/>
                    <a:gd name="connsiteX50" fmla="*/ 1680403 w 2251903"/>
                    <a:gd name="connsiteY50" fmla="*/ 657578 h 2844339"/>
                    <a:gd name="connsiteX51" fmla="*/ 1728028 w 2251903"/>
                    <a:gd name="connsiteY51" fmla="*/ 600428 h 2844339"/>
                    <a:gd name="connsiteX52" fmla="*/ 1780415 w 2251903"/>
                    <a:gd name="connsiteY52" fmla="*/ 509941 h 2844339"/>
                    <a:gd name="connsiteX53" fmla="*/ 1828040 w 2251903"/>
                    <a:gd name="connsiteY53" fmla="*/ 486128 h 2844339"/>
                    <a:gd name="connsiteX54" fmla="*/ 1851853 w 2251903"/>
                    <a:gd name="connsiteY54" fmla="*/ 428978 h 2844339"/>
                    <a:gd name="connsiteX55" fmla="*/ 1875665 w 2251903"/>
                    <a:gd name="connsiteY55" fmla="*/ 357541 h 2844339"/>
                    <a:gd name="connsiteX56" fmla="*/ 1913765 w 2251903"/>
                    <a:gd name="connsiteY56" fmla="*/ 295628 h 2844339"/>
                    <a:gd name="connsiteX57" fmla="*/ 1961390 w 2251903"/>
                    <a:gd name="connsiteY57" fmla="*/ 238478 h 2844339"/>
                    <a:gd name="connsiteX58" fmla="*/ 2018540 w 2251903"/>
                    <a:gd name="connsiteY58" fmla="*/ 214666 h 2844339"/>
                    <a:gd name="connsiteX59" fmla="*/ 2066165 w 2251903"/>
                    <a:gd name="connsiteY59" fmla="*/ 200378 h 2844339"/>
                    <a:gd name="connsiteX60" fmla="*/ 2089978 w 2251903"/>
                    <a:gd name="connsiteY60" fmla="*/ 152753 h 2844339"/>
                    <a:gd name="connsiteX61" fmla="*/ 2085215 w 2251903"/>
                    <a:gd name="connsiteY61" fmla="*/ 76553 h 2844339"/>
                    <a:gd name="connsiteX62" fmla="*/ 2137603 w 2251903"/>
                    <a:gd name="connsiteY62" fmla="*/ 9878 h 2844339"/>
                    <a:gd name="connsiteX63" fmla="*/ 2199515 w 2251903"/>
                    <a:gd name="connsiteY63" fmla="*/ 353 h 2844339"/>
                    <a:gd name="connsiteX64" fmla="*/ 2251903 w 2251903"/>
                    <a:gd name="connsiteY64" fmla="*/ 9878 h 2844339"/>
                    <a:gd name="connsiteX0" fmla="*/ 80203 w 2251903"/>
                    <a:gd name="connsiteY0" fmla="*/ 1133828 h 2844339"/>
                    <a:gd name="connsiteX1" fmla="*/ 51628 w 2251903"/>
                    <a:gd name="connsiteY1" fmla="*/ 1262416 h 2844339"/>
                    <a:gd name="connsiteX2" fmla="*/ 13528 w 2251903"/>
                    <a:gd name="connsiteY2" fmla="*/ 1333853 h 2844339"/>
                    <a:gd name="connsiteX3" fmla="*/ 23053 w 2251903"/>
                    <a:gd name="connsiteY3" fmla="*/ 1391003 h 2844339"/>
                    <a:gd name="connsiteX4" fmla="*/ 4003 w 2251903"/>
                    <a:gd name="connsiteY4" fmla="*/ 1433866 h 2844339"/>
                    <a:gd name="connsiteX5" fmla="*/ 4003 w 2251903"/>
                    <a:gd name="connsiteY5" fmla="*/ 1500541 h 2844339"/>
                    <a:gd name="connsiteX6" fmla="*/ 46865 w 2251903"/>
                    <a:gd name="connsiteY6" fmla="*/ 1586266 h 2844339"/>
                    <a:gd name="connsiteX7" fmla="*/ 123065 w 2251903"/>
                    <a:gd name="connsiteY7" fmla="*/ 1652941 h 2844339"/>
                    <a:gd name="connsiteX8" fmla="*/ 189740 w 2251903"/>
                    <a:gd name="connsiteY8" fmla="*/ 1724378 h 2844339"/>
                    <a:gd name="connsiteX9" fmla="*/ 242128 w 2251903"/>
                    <a:gd name="connsiteY9" fmla="*/ 1838678 h 2844339"/>
                    <a:gd name="connsiteX10" fmla="*/ 318328 w 2251903"/>
                    <a:gd name="connsiteY10" fmla="*/ 1957741 h 2844339"/>
                    <a:gd name="connsiteX11" fmla="*/ 413578 w 2251903"/>
                    <a:gd name="connsiteY11" fmla="*/ 2019653 h 2844339"/>
                    <a:gd name="connsiteX12" fmla="*/ 432628 w 2251903"/>
                    <a:gd name="connsiteY12" fmla="*/ 2043466 h 2844339"/>
                    <a:gd name="connsiteX13" fmla="*/ 442153 w 2251903"/>
                    <a:gd name="connsiteY13" fmla="*/ 2138716 h 2844339"/>
                    <a:gd name="connsiteX14" fmla="*/ 461203 w 2251903"/>
                    <a:gd name="connsiteY14" fmla="*/ 2210154 h 2844339"/>
                    <a:gd name="connsiteX15" fmla="*/ 532640 w 2251903"/>
                    <a:gd name="connsiteY15" fmla="*/ 2343503 h 2844339"/>
                    <a:gd name="connsiteX16" fmla="*/ 546928 w 2251903"/>
                    <a:gd name="connsiteY16" fmla="*/ 2433991 h 2844339"/>
                    <a:gd name="connsiteX17" fmla="*/ 570740 w 2251903"/>
                    <a:gd name="connsiteY17" fmla="*/ 2514953 h 2844339"/>
                    <a:gd name="connsiteX18" fmla="*/ 561215 w 2251903"/>
                    <a:gd name="connsiteY18" fmla="*/ 2581628 h 2844339"/>
                    <a:gd name="connsiteX19" fmla="*/ 646940 w 2251903"/>
                    <a:gd name="connsiteY19" fmla="*/ 2695928 h 2844339"/>
                    <a:gd name="connsiteX20" fmla="*/ 642178 w 2251903"/>
                    <a:gd name="connsiteY20" fmla="*/ 2791178 h 2844339"/>
                    <a:gd name="connsiteX21" fmla="*/ 656465 w 2251903"/>
                    <a:gd name="connsiteY21" fmla="*/ 2843566 h 2844339"/>
                    <a:gd name="connsiteX22" fmla="*/ 889828 w 2251903"/>
                    <a:gd name="connsiteY22" fmla="*/ 2753078 h 2844339"/>
                    <a:gd name="connsiteX23" fmla="*/ 951740 w 2251903"/>
                    <a:gd name="connsiteY23" fmla="*/ 2724503 h 2844339"/>
                    <a:gd name="connsiteX24" fmla="*/ 1027940 w 2251903"/>
                    <a:gd name="connsiteY24" fmla="*/ 2748316 h 2844339"/>
                    <a:gd name="connsiteX25" fmla="*/ 1089853 w 2251903"/>
                    <a:gd name="connsiteY25" fmla="*/ 2753078 h 2844339"/>
                    <a:gd name="connsiteX26" fmla="*/ 1127953 w 2251903"/>
                    <a:gd name="connsiteY26" fmla="*/ 2672116 h 2844339"/>
                    <a:gd name="connsiteX27" fmla="*/ 1089853 w 2251903"/>
                    <a:gd name="connsiteY27" fmla="*/ 2595916 h 2844339"/>
                    <a:gd name="connsiteX28" fmla="*/ 1151765 w 2251903"/>
                    <a:gd name="connsiteY28" fmla="*/ 2534003 h 2844339"/>
                    <a:gd name="connsiteX29" fmla="*/ 1218440 w 2251903"/>
                    <a:gd name="connsiteY29" fmla="*/ 2472091 h 2844339"/>
                    <a:gd name="connsiteX30" fmla="*/ 1270828 w 2251903"/>
                    <a:gd name="connsiteY30" fmla="*/ 2357791 h 2844339"/>
                    <a:gd name="connsiteX31" fmla="*/ 1294640 w 2251903"/>
                    <a:gd name="connsiteY31" fmla="*/ 2305403 h 2844339"/>
                    <a:gd name="connsiteX32" fmla="*/ 1356553 w 2251903"/>
                    <a:gd name="connsiteY32" fmla="*/ 2243491 h 2844339"/>
                    <a:gd name="connsiteX33" fmla="*/ 1408940 w 2251903"/>
                    <a:gd name="connsiteY33" fmla="*/ 2162528 h 2844339"/>
                    <a:gd name="connsiteX34" fmla="*/ 1423228 w 2251903"/>
                    <a:gd name="connsiteY34" fmla="*/ 2081566 h 2844339"/>
                    <a:gd name="connsiteX35" fmla="*/ 1489903 w 2251903"/>
                    <a:gd name="connsiteY35" fmla="*/ 1948216 h 2844339"/>
                    <a:gd name="connsiteX36" fmla="*/ 1556578 w 2251903"/>
                    <a:gd name="connsiteY36" fmla="*/ 1833916 h 2844339"/>
                    <a:gd name="connsiteX37" fmla="*/ 1556578 w 2251903"/>
                    <a:gd name="connsiteY37" fmla="*/ 1752953 h 2844339"/>
                    <a:gd name="connsiteX38" fmla="*/ 1561340 w 2251903"/>
                    <a:gd name="connsiteY38" fmla="*/ 1624366 h 2844339"/>
                    <a:gd name="connsiteX39" fmla="*/ 1575628 w 2251903"/>
                    <a:gd name="connsiteY39" fmla="*/ 1529116 h 2844339"/>
                    <a:gd name="connsiteX40" fmla="*/ 1594678 w 2251903"/>
                    <a:gd name="connsiteY40" fmla="*/ 1448153 h 2844339"/>
                    <a:gd name="connsiteX41" fmla="*/ 1547053 w 2251903"/>
                    <a:gd name="connsiteY41" fmla="*/ 1314803 h 2844339"/>
                    <a:gd name="connsiteX42" fmla="*/ 1442278 w 2251903"/>
                    <a:gd name="connsiteY42" fmla="*/ 1100491 h 2844339"/>
                    <a:gd name="connsiteX43" fmla="*/ 1447040 w 2251903"/>
                    <a:gd name="connsiteY43" fmla="*/ 1052866 h 2844339"/>
                    <a:gd name="connsiteX44" fmla="*/ 1451803 w 2251903"/>
                    <a:gd name="connsiteY44" fmla="*/ 1010003 h 2844339"/>
                    <a:gd name="connsiteX45" fmla="*/ 1489903 w 2251903"/>
                    <a:gd name="connsiteY45" fmla="*/ 952853 h 2844339"/>
                    <a:gd name="connsiteX46" fmla="*/ 1508953 w 2251903"/>
                    <a:gd name="connsiteY46" fmla="*/ 914753 h 2844339"/>
                    <a:gd name="connsiteX47" fmla="*/ 1556578 w 2251903"/>
                    <a:gd name="connsiteY47" fmla="*/ 819503 h 2844339"/>
                    <a:gd name="connsiteX48" fmla="*/ 1594678 w 2251903"/>
                    <a:gd name="connsiteY48" fmla="*/ 743303 h 2844339"/>
                    <a:gd name="connsiteX49" fmla="*/ 1680403 w 2251903"/>
                    <a:gd name="connsiteY49" fmla="*/ 657578 h 2844339"/>
                    <a:gd name="connsiteX50" fmla="*/ 1728028 w 2251903"/>
                    <a:gd name="connsiteY50" fmla="*/ 600428 h 2844339"/>
                    <a:gd name="connsiteX51" fmla="*/ 1780415 w 2251903"/>
                    <a:gd name="connsiteY51" fmla="*/ 509941 h 2844339"/>
                    <a:gd name="connsiteX52" fmla="*/ 1828040 w 2251903"/>
                    <a:gd name="connsiteY52" fmla="*/ 486128 h 2844339"/>
                    <a:gd name="connsiteX53" fmla="*/ 1851853 w 2251903"/>
                    <a:gd name="connsiteY53" fmla="*/ 428978 h 2844339"/>
                    <a:gd name="connsiteX54" fmla="*/ 1875665 w 2251903"/>
                    <a:gd name="connsiteY54" fmla="*/ 357541 h 2844339"/>
                    <a:gd name="connsiteX55" fmla="*/ 1913765 w 2251903"/>
                    <a:gd name="connsiteY55" fmla="*/ 295628 h 2844339"/>
                    <a:gd name="connsiteX56" fmla="*/ 1961390 w 2251903"/>
                    <a:gd name="connsiteY56" fmla="*/ 238478 h 2844339"/>
                    <a:gd name="connsiteX57" fmla="*/ 2018540 w 2251903"/>
                    <a:gd name="connsiteY57" fmla="*/ 214666 h 2844339"/>
                    <a:gd name="connsiteX58" fmla="*/ 2066165 w 2251903"/>
                    <a:gd name="connsiteY58" fmla="*/ 200378 h 2844339"/>
                    <a:gd name="connsiteX59" fmla="*/ 2089978 w 2251903"/>
                    <a:gd name="connsiteY59" fmla="*/ 152753 h 2844339"/>
                    <a:gd name="connsiteX60" fmla="*/ 2085215 w 2251903"/>
                    <a:gd name="connsiteY60" fmla="*/ 76553 h 2844339"/>
                    <a:gd name="connsiteX61" fmla="*/ 2137603 w 2251903"/>
                    <a:gd name="connsiteY61" fmla="*/ 9878 h 2844339"/>
                    <a:gd name="connsiteX62" fmla="*/ 2199515 w 2251903"/>
                    <a:gd name="connsiteY62" fmla="*/ 353 h 2844339"/>
                    <a:gd name="connsiteX63" fmla="*/ 2251903 w 2251903"/>
                    <a:gd name="connsiteY63" fmla="*/ 9878 h 2844339"/>
                    <a:gd name="connsiteX0" fmla="*/ 51628 w 2251903"/>
                    <a:gd name="connsiteY0" fmla="*/ 1262416 h 2844339"/>
                    <a:gd name="connsiteX1" fmla="*/ 13528 w 2251903"/>
                    <a:gd name="connsiteY1" fmla="*/ 1333853 h 2844339"/>
                    <a:gd name="connsiteX2" fmla="*/ 23053 w 2251903"/>
                    <a:gd name="connsiteY2" fmla="*/ 1391003 h 2844339"/>
                    <a:gd name="connsiteX3" fmla="*/ 4003 w 2251903"/>
                    <a:gd name="connsiteY3" fmla="*/ 1433866 h 2844339"/>
                    <a:gd name="connsiteX4" fmla="*/ 4003 w 2251903"/>
                    <a:gd name="connsiteY4" fmla="*/ 1500541 h 2844339"/>
                    <a:gd name="connsiteX5" fmla="*/ 46865 w 2251903"/>
                    <a:gd name="connsiteY5" fmla="*/ 1586266 h 2844339"/>
                    <a:gd name="connsiteX6" fmla="*/ 123065 w 2251903"/>
                    <a:gd name="connsiteY6" fmla="*/ 1652941 h 2844339"/>
                    <a:gd name="connsiteX7" fmla="*/ 189740 w 2251903"/>
                    <a:gd name="connsiteY7" fmla="*/ 1724378 h 2844339"/>
                    <a:gd name="connsiteX8" fmla="*/ 242128 w 2251903"/>
                    <a:gd name="connsiteY8" fmla="*/ 1838678 h 2844339"/>
                    <a:gd name="connsiteX9" fmla="*/ 318328 w 2251903"/>
                    <a:gd name="connsiteY9" fmla="*/ 1957741 h 2844339"/>
                    <a:gd name="connsiteX10" fmla="*/ 413578 w 2251903"/>
                    <a:gd name="connsiteY10" fmla="*/ 2019653 h 2844339"/>
                    <a:gd name="connsiteX11" fmla="*/ 432628 w 2251903"/>
                    <a:gd name="connsiteY11" fmla="*/ 2043466 h 2844339"/>
                    <a:gd name="connsiteX12" fmla="*/ 442153 w 2251903"/>
                    <a:gd name="connsiteY12" fmla="*/ 2138716 h 2844339"/>
                    <a:gd name="connsiteX13" fmla="*/ 461203 w 2251903"/>
                    <a:gd name="connsiteY13" fmla="*/ 2210154 h 2844339"/>
                    <a:gd name="connsiteX14" fmla="*/ 532640 w 2251903"/>
                    <a:gd name="connsiteY14" fmla="*/ 2343503 h 2844339"/>
                    <a:gd name="connsiteX15" fmla="*/ 546928 w 2251903"/>
                    <a:gd name="connsiteY15" fmla="*/ 2433991 h 2844339"/>
                    <a:gd name="connsiteX16" fmla="*/ 570740 w 2251903"/>
                    <a:gd name="connsiteY16" fmla="*/ 2514953 h 2844339"/>
                    <a:gd name="connsiteX17" fmla="*/ 561215 w 2251903"/>
                    <a:gd name="connsiteY17" fmla="*/ 2581628 h 2844339"/>
                    <a:gd name="connsiteX18" fmla="*/ 646940 w 2251903"/>
                    <a:gd name="connsiteY18" fmla="*/ 2695928 h 2844339"/>
                    <a:gd name="connsiteX19" fmla="*/ 642178 w 2251903"/>
                    <a:gd name="connsiteY19" fmla="*/ 2791178 h 2844339"/>
                    <a:gd name="connsiteX20" fmla="*/ 656465 w 2251903"/>
                    <a:gd name="connsiteY20" fmla="*/ 2843566 h 2844339"/>
                    <a:gd name="connsiteX21" fmla="*/ 889828 w 2251903"/>
                    <a:gd name="connsiteY21" fmla="*/ 2753078 h 2844339"/>
                    <a:gd name="connsiteX22" fmla="*/ 951740 w 2251903"/>
                    <a:gd name="connsiteY22" fmla="*/ 2724503 h 2844339"/>
                    <a:gd name="connsiteX23" fmla="*/ 1027940 w 2251903"/>
                    <a:gd name="connsiteY23" fmla="*/ 2748316 h 2844339"/>
                    <a:gd name="connsiteX24" fmla="*/ 1089853 w 2251903"/>
                    <a:gd name="connsiteY24" fmla="*/ 2753078 h 2844339"/>
                    <a:gd name="connsiteX25" fmla="*/ 1127953 w 2251903"/>
                    <a:gd name="connsiteY25" fmla="*/ 2672116 h 2844339"/>
                    <a:gd name="connsiteX26" fmla="*/ 1089853 w 2251903"/>
                    <a:gd name="connsiteY26" fmla="*/ 2595916 h 2844339"/>
                    <a:gd name="connsiteX27" fmla="*/ 1151765 w 2251903"/>
                    <a:gd name="connsiteY27" fmla="*/ 2534003 h 2844339"/>
                    <a:gd name="connsiteX28" fmla="*/ 1218440 w 2251903"/>
                    <a:gd name="connsiteY28" fmla="*/ 2472091 h 2844339"/>
                    <a:gd name="connsiteX29" fmla="*/ 1270828 w 2251903"/>
                    <a:gd name="connsiteY29" fmla="*/ 2357791 h 2844339"/>
                    <a:gd name="connsiteX30" fmla="*/ 1294640 w 2251903"/>
                    <a:gd name="connsiteY30" fmla="*/ 2305403 h 2844339"/>
                    <a:gd name="connsiteX31" fmla="*/ 1356553 w 2251903"/>
                    <a:gd name="connsiteY31" fmla="*/ 2243491 h 2844339"/>
                    <a:gd name="connsiteX32" fmla="*/ 1408940 w 2251903"/>
                    <a:gd name="connsiteY32" fmla="*/ 2162528 h 2844339"/>
                    <a:gd name="connsiteX33" fmla="*/ 1423228 w 2251903"/>
                    <a:gd name="connsiteY33" fmla="*/ 2081566 h 2844339"/>
                    <a:gd name="connsiteX34" fmla="*/ 1489903 w 2251903"/>
                    <a:gd name="connsiteY34" fmla="*/ 1948216 h 2844339"/>
                    <a:gd name="connsiteX35" fmla="*/ 1556578 w 2251903"/>
                    <a:gd name="connsiteY35" fmla="*/ 1833916 h 2844339"/>
                    <a:gd name="connsiteX36" fmla="*/ 1556578 w 2251903"/>
                    <a:gd name="connsiteY36" fmla="*/ 1752953 h 2844339"/>
                    <a:gd name="connsiteX37" fmla="*/ 1561340 w 2251903"/>
                    <a:gd name="connsiteY37" fmla="*/ 1624366 h 2844339"/>
                    <a:gd name="connsiteX38" fmla="*/ 1575628 w 2251903"/>
                    <a:gd name="connsiteY38" fmla="*/ 1529116 h 2844339"/>
                    <a:gd name="connsiteX39" fmla="*/ 1594678 w 2251903"/>
                    <a:gd name="connsiteY39" fmla="*/ 1448153 h 2844339"/>
                    <a:gd name="connsiteX40" fmla="*/ 1547053 w 2251903"/>
                    <a:gd name="connsiteY40" fmla="*/ 1314803 h 2844339"/>
                    <a:gd name="connsiteX41" fmla="*/ 1442278 w 2251903"/>
                    <a:gd name="connsiteY41" fmla="*/ 1100491 h 2844339"/>
                    <a:gd name="connsiteX42" fmla="*/ 1447040 w 2251903"/>
                    <a:gd name="connsiteY42" fmla="*/ 1052866 h 2844339"/>
                    <a:gd name="connsiteX43" fmla="*/ 1451803 w 2251903"/>
                    <a:gd name="connsiteY43" fmla="*/ 1010003 h 2844339"/>
                    <a:gd name="connsiteX44" fmla="*/ 1489903 w 2251903"/>
                    <a:gd name="connsiteY44" fmla="*/ 952853 h 2844339"/>
                    <a:gd name="connsiteX45" fmla="*/ 1508953 w 2251903"/>
                    <a:gd name="connsiteY45" fmla="*/ 914753 h 2844339"/>
                    <a:gd name="connsiteX46" fmla="*/ 1556578 w 2251903"/>
                    <a:gd name="connsiteY46" fmla="*/ 819503 h 2844339"/>
                    <a:gd name="connsiteX47" fmla="*/ 1594678 w 2251903"/>
                    <a:gd name="connsiteY47" fmla="*/ 743303 h 2844339"/>
                    <a:gd name="connsiteX48" fmla="*/ 1680403 w 2251903"/>
                    <a:gd name="connsiteY48" fmla="*/ 657578 h 2844339"/>
                    <a:gd name="connsiteX49" fmla="*/ 1728028 w 2251903"/>
                    <a:gd name="connsiteY49" fmla="*/ 600428 h 2844339"/>
                    <a:gd name="connsiteX50" fmla="*/ 1780415 w 2251903"/>
                    <a:gd name="connsiteY50" fmla="*/ 509941 h 2844339"/>
                    <a:gd name="connsiteX51" fmla="*/ 1828040 w 2251903"/>
                    <a:gd name="connsiteY51" fmla="*/ 486128 h 2844339"/>
                    <a:gd name="connsiteX52" fmla="*/ 1851853 w 2251903"/>
                    <a:gd name="connsiteY52" fmla="*/ 428978 h 2844339"/>
                    <a:gd name="connsiteX53" fmla="*/ 1875665 w 2251903"/>
                    <a:gd name="connsiteY53" fmla="*/ 357541 h 2844339"/>
                    <a:gd name="connsiteX54" fmla="*/ 1913765 w 2251903"/>
                    <a:gd name="connsiteY54" fmla="*/ 295628 h 2844339"/>
                    <a:gd name="connsiteX55" fmla="*/ 1961390 w 2251903"/>
                    <a:gd name="connsiteY55" fmla="*/ 238478 h 2844339"/>
                    <a:gd name="connsiteX56" fmla="*/ 2018540 w 2251903"/>
                    <a:gd name="connsiteY56" fmla="*/ 214666 h 2844339"/>
                    <a:gd name="connsiteX57" fmla="*/ 2066165 w 2251903"/>
                    <a:gd name="connsiteY57" fmla="*/ 200378 h 2844339"/>
                    <a:gd name="connsiteX58" fmla="*/ 2089978 w 2251903"/>
                    <a:gd name="connsiteY58" fmla="*/ 152753 h 2844339"/>
                    <a:gd name="connsiteX59" fmla="*/ 2085215 w 2251903"/>
                    <a:gd name="connsiteY59" fmla="*/ 76553 h 2844339"/>
                    <a:gd name="connsiteX60" fmla="*/ 2137603 w 2251903"/>
                    <a:gd name="connsiteY60" fmla="*/ 9878 h 2844339"/>
                    <a:gd name="connsiteX61" fmla="*/ 2199515 w 2251903"/>
                    <a:gd name="connsiteY61" fmla="*/ 353 h 2844339"/>
                    <a:gd name="connsiteX62" fmla="*/ 2251903 w 2251903"/>
                    <a:gd name="connsiteY62" fmla="*/ 9878 h 2844339"/>
                    <a:gd name="connsiteX0" fmla="*/ 13528 w 2251903"/>
                    <a:gd name="connsiteY0" fmla="*/ 1333853 h 2844339"/>
                    <a:gd name="connsiteX1" fmla="*/ 23053 w 2251903"/>
                    <a:gd name="connsiteY1" fmla="*/ 1391003 h 2844339"/>
                    <a:gd name="connsiteX2" fmla="*/ 4003 w 2251903"/>
                    <a:gd name="connsiteY2" fmla="*/ 1433866 h 2844339"/>
                    <a:gd name="connsiteX3" fmla="*/ 4003 w 2251903"/>
                    <a:gd name="connsiteY3" fmla="*/ 1500541 h 2844339"/>
                    <a:gd name="connsiteX4" fmla="*/ 46865 w 2251903"/>
                    <a:gd name="connsiteY4" fmla="*/ 1586266 h 2844339"/>
                    <a:gd name="connsiteX5" fmla="*/ 123065 w 2251903"/>
                    <a:gd name="connsiteY5" fmla="*/ 1652941 h 2844339"/>
                    <a:gd name="connsiteX6" fmla="*/ 189740 w 2251903"/>
                    <a:gd name="connsiteY6" fmla="*/ 1724378 h 2844339"/>
                    <a:gd name="connsiteX7" fmla="*/ 242128 w 2251903"/>
                    <a:gd name="connsiteY7" fmla="*/ 1838678 h 2844339"/>
                    <a:gd name="connsiteX8" fmla="*/ 318328 w 2251903"/>
                    <a:gd name="connsiteY8" fmla="*/ 1957741 h 2844339"/>
                    <a:gd name="connsiteX9" fmla="*/ 413578 w 2251903"/>
                    <a:gd name="connsiteY9" fmla="*/ 2019653 h 2844339"/>
                    <a:gd name="connsiteX10" fmla="*/ 432628 w 2251903"/>
                    <a:gd name="connsiteY10" fmla="*/ 2043466 h 2844339"/>
                    <a:gd name="connsiteX11" fmla="*/ 442153 w 2251903"/>
                    <a:gd name="connsiteY11" fmla="*/ 2138716 h 2844339"/>
                    <a:gd name="connsiteX12" fmla="*/ 461203 w 2251903"/>
                    <a:gd name="connsiteY12" fmla="*/ 2210154 h 2844339"/>
                    <a:gd name="connsiteX13" fmla="*/ 532640 w 2251903"/>
                    <a:gd name="connsiteY13" fmla="*/ 2343503 h 2844339"/>
                    <a:gd name="connsiteX14" fmla="*/ 546928 w 2251903"/>
                    <a:gd name="connsiteY14" fmla="*/ 2433991 h 2844339"/>
                    <a:gd name="connsiteX15" fmla="*/ 570740 w 2251903"/>
                    <a:gd name="connsiteY15" fmla="*/ 2514953 h 2844339"/>
                    <a:gd name="connsiteX16" fmla="*/ 561215 w 2251903"/>
                    <a:gd name="connsiteY16" fmla="*/ 2581628 h 2844339"/>
                    <a:gd name="connsiteX17" fmla="*/ 646940 w 2251903"/>
                    <a:gd name="connsiteY17" fmla="*/ 2695928 h 2844339"/>
                    <a:gd name="connsiteX18" fmla="*/ 642178 w 2251903"/>
                    <a:gd name="connsiteY18" fmla="*/ 2791178 h 2844339"/>
                    <a:gd name="connsiteX19" fmla="*/ 656465 w 2251903"/>
                    <a:gd name="connsiteY19" fmla="*/ 2843566 h 2844339"/>
                    <a:gd name="connsiteX20" fmla="*/ 889828 w 2251903"/>
                    <a:gd name="connsiteY20" fmla="*/ 2753078 h 2844339"/>
                    <a:gd name="connsiteX21" fmla="*/ 951740 w 2251903"/>
                    <a:gd name="connsiteY21" fmla="*/ 2724503 h 2844339"/>
                    <a:gd name="connsiteX22" fmla="*/ 1027940 w 2251903"/>
                    <a:gd name="connsiteY22" fmla="*/ 2748316 h 2844339"/>
                    <a:gd name="connsiteX23" fmla="*/ 1089853 w 2251903"/>
                    <a:gd name="connsiteY23" fmla="*/ 2753078 h 2844339"/>
                    <a:gd name="connsiteX24" fmla="*/ 1127953 w 2251903"/>
                    <a:gd name="connsiteY24" fmla="*/ 2672116 h 2844339"/>
                    <a:gd name="connsiteX25" fmla="*/ 1089853 w 2251903"/>
                    <a:gd name="connsiteY25" fmla="*/ 2595916 h 2844339"/>
                    <a:gd name="connsiteX26" fmla="*/ 1151765 w 2251903"/>
                    <a:gd name="connsiteY26" fmla="*/ 2534003 h 2844339"/>
                    <a:gd name="connsiteX27" fmla="*/ 1218440 w 2251903"/>
                    <a:gd name="connsiteY27" fmla="*/ 2472091 h 2844339"/>
                    <a:gd name="connsiteX28" fmla="*/ 1270828 w 2251903"/>
                    <a:gd name="connsiteY28" fmla="*/ 2357791 h 2844339"/>
                    <a:gd name="connsiteX29" fmla="*/ 1294640 w 2251903"/>
                    <a:gd name="connsiteY29" fmla="*/ 2305403 h 2844339"/>
                    <a:gd name="connsiteX30" fmla="*/ 1356553 w 2251903"/>
                    <a:gd name="connsiteY30" fmla="*/ 2243491 h 2844339"/>
                    <a:gd name="connsiteX31" fmla="*/ 1408940 w 2251903"/>
                    <a:gd name="connsiteY31" fmla="*/ 2162528 h 2844339"/>
                    <a:gd name="connsiteX32" fmla="*/ 1423228 w 2251903"/>
                    <a:gd name="connsiteY32" fmla="*/ 2081566 h 2844339"/>
                    <a:gd name="connsiteX33" fmla="*/ 1489903 w 2251903"/>
                    <a:gd name="connsiteY33" fmla="*/ 1948216 h 2844339"/>
                    <a:gd name="connsiteX34" fmla="*/ 1556578 w 2251903"/>
                    <a:gd name="connsiteY34" fmla="*/ 1833916 h 2844339"/>
                    <a:gd name="connsiteX35" fmla="*/ 1556578 w 2251903"/>
                    <a:gd name="connsiteY35" fmla="*/ 1752953 h 2844339"/>
                    <a:gd name="connsiteX36" fmla="*/ 1561340 w 2251903"/>
                    <a:gd name="connsiteY36" fmla="*/ 1624366 h 2844339"/>
                    <a:gd name="connsiteX37" fmla="*/ 1575628 w 2251903"/>
                    <a:gd name="connsiteY37" fmla="*/ 1529116 h 2844339"/>
                    <a:gd name="connsiteX38" fmla="*/ 1594678 w 2251903"/>
                    <a:gd name="connsiteY38" fmla="*/ 1448153 h 2844339"/>
                    <a:gd name="connsiteX39" fmla="*/ 1547053 w 2251903"/>
                    <a:gd name="connsiteY39" fmla="*/ 1314803 h 2844339"/>
                    <a:gd name="connsiteX40" fmla="*/ 1442278 w 2251903"/>
                    <a:gd name="connsiteY40" fmla="*/ 1100491 h 2844339"/>
                    <a:gd name="connsiteX41" fmla="*/ 1447040 w 2251903"/>
                    <a:gd name="connsiteY41" fmla="*/ 1052866 h 2844339"/>
                    <a:gd name="connsiteX42" fmla="*/ 1451803 w 2251903"/>
                    <a:gd name="connsiteY42" fmla="*/ 1010003 h 2844339"/>
                    <a:gd name="connsiteX43" fmla="*/ 1489903 w 2251903"/>
                    <a:gd name="connsiteY43" fmla="*/ 952853 h 2844339"/>
                    <a:gd name="connsiteX44" fmla="*/ 1508953 w 2251903"/>
                    <a:gd name="connsiteY44" fmla="*/ 914753 h 2844339"/>
                    <a:gd name="connsiteX45" fmla="*/ 1556578 w 2251903"/>
                    <a:gd name="connsiteY45" fmla="*/ 819503 h 2844339"/>
                    <a:gd name="connsiteX46" fmla="*/ 1594678 w 2251903"/>
                    <a:gd name="connsiteY46" fmla="*/ 743303 h 2844339"/>
                    <a:gd name="connsiteX47" fmla="*/ 1680403 w 2251903"/>
                    <a:gd name="connsiteY47" fmla="*/ 657578 h 2844339"/>
                    <a:gd name="connsiteX48" fmla="*/ 1728028 w 2251903"/>
                    <a:gd name="connsiteY48" fmla="*/ 600428 h 2844339"/>
                    <a:gd name="connsiteX49" fmla="*/ 1780415 w 2251903"/>
                    <a:gd name="connsiteY49" fmla="*/ 509941 h 2844339"/>
                    <a:gd name="connsiteX50" fmla="*/ 1828040 w 2251903"/>
                    <a:gd name="connsiteY50" fmla="*/ 486128 h 2844339"/>
                    <a:gd name="connsiteX51" fmla="*/ 1851853 w 2251903"/>
                    <a:gd name="connsiteY51" fmla="*/ 428978 h 2844339"/>
                    <a:gd name="connsiteX52" fmla="*/ 1875665 w 2251903"/>
                    <a:gd name="connsiteY52" fmla="*/ 357541 h 2844339"/>
                    <a:gd name="connsiteX53" fmla="*/ 1913765 w 2251903"/>
                    <a:gd name="connsiteY53" fmla="*/ 295628 h 2844339"/>
                    <a:gd name="connsiteX54" fmla="*/ 1961390 w 2251903"/>
                    <a:gd name="connsiteY54" fmla="*/ 238478 h 2844339"/>
                    <a:gd name="connsiteX55" fmla="*/ 2018540 w 2251903"/>
                    <a:gd name="connsiteY55" fmla="*/ 214666 h 2844339"/>
                    <a:gd name="connsiteX56" fmla="*/ 2066165 w 2251903"/>
                    <a:gd name="connsiteY56" fmla="*/ 200378 h 2844339"/>
                    <a:gd name="connsiteX57" fmla="*/ 2089978 w 2251903"/>
                    <a:gd name="connsiteY57" fmla="*/ 152753 h 2844339"/>
                    <a:gd name="connsiteX58" fmla="*/ 2085215 w 2251903"/>
                    <a:gd name="connsiteY58" fmla="*/ 76553 h 2844339"/>
                    <a:gd name="connsiteX59" fmla="*/ 2137603 w 2251903"/>
                    <a:gd name="connsiteY59" fmla="*/ 9878 h 2844339"/>
                    <a:gd name="connsiteX60" fmla="*/ 2199515 w 2251903"/>
                    <a:gd name="connsiteY60" fmla="*/ 353 h 2844339"/>
                    <a:gd name="connsiteX61" fmla="*/ 2251903 w 2251903"/>
                    <a:gd name="connsiteY61" fmla="*/ 9878 h 2844339"/>
                    <a:gd name="connsiteX0" fmla="*/ 23053 w 2251903"/>
                    <a:gd name="connsiteY0" fmla="*/ 1391003 h 2844339"/>
                    <a:gd name="connsiteX1" fmla="*/ 4003 w 2251903"/>
                    <a:gd name="connsiteY1" fmla="*/ 1433866 h 2844339"/>
                    <a:gd name="connsiteX2" fmla="*/ 4003 w 2251903"/>
                    <a:gd name="connsiteY2" fmla="*/ 1500541 h 2844339"/>
                    <a:gd name="connsiteX3" fmla="*/ 46865 w 2251903"/>
                    <a:gd name="connsiteY3" fmla="*/ 1586266 h 2844339"/>
                    <a:gd name="connsiteX4" fmla="*/ 123065 w 2251903"/>
                    <a:gd name="connsiteY4" fmla="*/ 1652941 h 2844339"/>
                    <a:gd name="connsiteX5" fmla="*/ 189740 w 2251903"/>
                    <a:gd name="connsiteY5" fmla="*/ 1724378 h 2844339"/>
                    <a:gd name="connsiteX6" fmla="*/ 242128 w 2251903"/>
                    <a:gd name="connsiteY6" fmla="*/ 1838678 h 2844339"/>
                    <a:gd name="connsiteX7" fmla="*/ 318328 w 2251903"/>
                    <a:gd name="connsiteY7" fmla="*/ 1957741 h 2844339"/>
                    <a:gd name="connsiteX8" fmla="*/ 413578 w 2251903"/>
                    <a:gd name="connsiteY8" fmla="*/ 2019653 h 2844339"/>
                    <a:gd name="connsiteX9" fmla="*/ 432628 w 2251903"/>
                    <a:gd name="connsiteY9" fmla="*/ 2043466 h 2844339"/>
                    <a:gd name="connsiteX10" fmla="*/ 442153 w 2251903"/>
                    <a:gd name="connsiteY10" fmla="*/ 2138716 h 2844339"/>
                    <a:gd name="connsiteX11" fmla="*/ 461203 w 2251903"/>
                    <a:gd name="connsiteY11" fmla="*/ 2210154 h 2844339"/>
                    <a:gd name="connsiteX12" fmla="*/ 532640 w 2251903"/>
                    <a:gd name="connsiteY12" fmla="*/ 2343503 h 2844339"/>
                    <a:gd name="connsiteX13" fmla="*/ 546928 w 2251903"/>
                    <a:gd name="connsiteY13" fmla="*/ 2433991 h 2844339"/>
                    <a:gd name="connsiteX14" fmla="*/ 570740 w 2251903"/>
                    <a:gd name="connsiteY14" fmla="*/ 2514953 h 2844339"/>
                    <a:gd name="connsiteX15" fmla="*/ 561215 w 2251903"/>
                    <a:gd name="connsiteY15" fmla="*/ 2581628 h 2844339"/>
                    <a:gd name="connsiteX16" fmla="*/ 646940 w 2251903"/>
                    <a:gd name="connsiteY16" fmla="*/ 2695928 h 2844339"/>
                    <a:gd name="connsiteX17" fmla="*/ 642178 w 2251903"/>
                    <a:gd name="connsiteY17" fmla="*/ 2791178 h 2844339"/>
                    <a:gd name="connsiteX18" fmla="*/ 656465 w 2251903"/>
                    <a:gd name="connsiteY18" fmla="*/ 2843566 h 2844339"/>
                    <a:gd name="connsiteX19" fmla="*/ 889828 w 2251903"/>
                    <a:gd name="connsiteY19" fmla="*/ 2753078 h 2844339"/>
                    <a:gd name="connsiteX20" fmla="*/ 951740 w 2251903"/>
                    <a:gd name="connsiteY20" fmla="*/ 2724503 h 2844339"/>
                    <a:gd name="connsiteX21" fmla="*/ 1027940 w 2251903"/>
                    <a:gd name="connsiteY21" fmla="*/ 2748316 h 2844339"/>
                    <a:gd name="connsiteX22" fmla="*/ 1089853 w 2251903"/>
                    <a:gd name="connsiteY22" fmla="*/ 2753078 h 2844339"/>
                    <a:gd name="connsiteX23" fmla="*/ 1127953 w 2251903"/>
                    <a:gd name="connsiteY23" fmla="*/ 2672116 h 2844339"/>
                    <a:gd name="connsiteX24" fmla="*/ 1089853 w 2251903"/>
                    <a:gd name="connsiteY24" fmla="*/ 2595916 h 2844339"/>
                    <a:gd name="connsiteX25" fmla="*/ 1151765 w 2251903"/>
                    <a:gd name="connsiteY25" fmla="*/ 2534003 h 2844339"/>
                    <a:gd name="connsiteX26" fmla="*/ 1218440 w 2251903"/>
                    <a:gd name="connsiteY26" fmla="*/ 2472091 h 2844339"/>
                    <a:gd name="connsiteX27" fmla="*/ 1270828 w 2251903"/>
                    <a:gd name="connsiteY27" fmla="*/ 2357791 h 2844339"/>
                    <a:gd name="connsiteX28" fmla="*/ 1294640 w 2251903"/>
                    <a:gd name="connsiteY28" fmla="*/ 2305403 h 2844339"/>
                    <a:gd name="connsiteX29" fmla="*/ 1356553 w 2251903"/>
                    <a:gd name="connsiteY29" fmla="*/ 2243491 h 2844339"/>
                    <a:gd name="connsiteX30" fmla="*/ 1408940 w 2251903"/>
                    <a:gd name="connsiteY30" fmla="*/ 2162528 h 2844339"/>
                    <a:gd name="connsiteX31" fmla="*/ 1423228 w 2251903"/>
                    <a:gd name="connsiteY31" fmla="*/ 2081566 h 2844339"/>
                    <a:gd name="connsiteX32" fmla="*/ 1489903 w 2251903"/>
                    <a:gd name="connsiteY32" fmla="*/ 1948216 h 2844339"/>
                    <a:gd name="connsiteX33" fmla="*/ 1556578 w 2251903"/>
                    <a:gd name="connsiteY33" fmla="*/ 1833916 h 2844339"/>
                    <a:gd name="connsiteX34" fmla="*/ 1556578 w 2251903"/>
                    <a:gd name="connsiteY34" fmla="*/ 1752953 h 2844339"/>
                    <a:gd name="connsiteX35" fmla="*/ 1561340 w 2251903"/>
                    <a:gd name="connsiteY35" fmla="*/ 1624366 h 2844339"/>
                    <a:gd name="connsiteX36" fmla="*/ 1575628 w 2251903"/>
                    <a:gd name="connsiteY36" fmla="*/ 1529116 h 2844339"/>
                    <a:gd name="connsiteX37" fmla="*/ 1594678 w 2251903"/>
                    <a:gd name="connsiteY37" fmla="*/ 1448153 h 2844339"/>
                    <a:gd name="connsiteX38" fmla="*/ 1547053 w 2251903"/>
                    <a:gd name="connsiteY38" fmla="*/ 1314803 h 2844339"/>
                    <a:gd name="connsiteX39" fmla="*/ 1442278 w 2251903"/>
                    <a:gd name="connsiteY39" fmla="*/ 1100491 h 2844339"/>
                    <a:gd name="connsiteX40" fmla="*/ 1447040 w 2251903"/>
                    <a:gd name="connsiteY40" fmla="*/ 1052866 h 2844339"/>
                    <a:gd name="connsiteX41" fmla="*/ 1451803 w 2251903"/>
                    <a:gd name="connsiteY41" fmla="*/ 1010003 h 2844339"/>
                    <a:gd name="connsiteX42" fmla="*/ 1489903 w 2251903"/>
                    <a:gd name="connsiteY42" fmla="*/ 952853 h 2844339"/>
                    <a:gd name="connsiteX43" fmla="*/ 1508953 w 2251903"/>
                    <a:gd name="connsiteY43" fmla="*/ 914753 h 2844339"/>
                    <a:gd name="connsiteX44" fmla="*/ 1556578 w 2251903"/>
                    <a:gd name="connsiteY44" fmla="*/ 819503 h 2844339"/>
                    <a:gd name="connsiteX45" fmla="*/ 1594678 w 2251903"/>
                    <a:gd name="connsiteY45" fmla="*/ 743303 h 2844339"/>
                    <a:gd name="connsiteX46" fmla="*/ 1680403 w 2251903"/>
                    <a:gd name="connsiteY46" fmla="*/ 657578 h 2844339"/>
                    <a:gd name="connsiteX47" fmla="*/ 1728028 w 2251903"/>
                    <a:gd name="connsiteY47" fmla="*/ 600428 h 2844339"/>
                    <a:gd name="connsiteX48" fmla="*/ 1780415 w 2251903"/>
                    <a:gd name="connsiteY48" fmla="*/ 509941 h 2844339"/>
                    <a:gd name="connsiteX49" fmla="*/ 1828040 w 2251903"/>
                    <a:gd name="connsiteY49" fmla="*/ 486128 h 2844339"/>
                    <a:gd name="connsiteX50" fmla="*/ 1851853 w 2251903"/>
                    <a:gd name="connsiteY50" fmla="*/ 428978 h 2844339"/>
                    <a:gd name="connsiteX51" fmla="*/ 1875665 w 2251903"/>
                    <a:gd name="connsiteY51" fmla="*/ 357541 h 2844339"/>
                    <a:gd name="connsiteX52" fmla="*/ 1913765 w 2251903"/>
                    <a:gd name="connsiteY52" fmla="*/ 295628 h 2844339"/>
                    <a:gd name="connsiteX53" fmla="*/ 1961390 w 2251903"/>
                    <a:gd name="connsiteY53" fmla="*/ 238478 h 2844339"/>
                    <a:gd name="connsiteX54" fmla="*/ 2018540 w 2251903"/>
                    <a:gd name="connsiteY54" fmla="*/ 214666 h 2844339"/>
                    <a:gd name="connsiteX55" fmla="*/ 2066165 w 2251903"/>
                    <a:gd name="connsiteY55" fmla="*/ 200378 h 2844339"/>
                    <a:gd name="connsiteX56" fmla="*/ 2089978 w 2251903"/>
                    <a:gd name="connsiteY56" fmla="*/ 152753 h 2844339"/>
                    <a:gd name="connsiteX57" fmla="*/ 2085215 w 2251903"/>
                    <a:gd name="connsiteY57" fmla="*/ 76553 h 2844339"/>
                    <a:gd name="connsiteX58" fmla="*/ 2137603 w 2251903"/>
                    <a:gd name="connsiteY58" fmla="*/ 9878 h 2844339"/>
                    <a:gd name="connsiteX59" fmla="*/ 2199515 w 2251903"/>
                    <a:gd name="connsiteY59" fmla="*/ 353 h 2844339"/>
                    <a:gd name="connsiteX60" fmla="*/ 2251903 w 2251903"/>
                    <a:gd name="connsiteY60" fmla="*/ 9878 h 2844339"/>
                    <a:gd name="connsiteX0" fmla="*/ 4003 w 2251903"/>
                    <a:gd name="connsiteY0" fmla="*/ 1433866 h 2844339"/>
                    <a:gd name="connsiteX1" fmla="*/ 4003 w 2251903"/>
                    <a:gd name="connsiteY1" fmla="*/ 1500541 h 2844339"/>
                    <a:gd name="connsiteX2" fmla="*/ 46865 w 2251903"/>
                    <a:gd name="connsiteY2" fmla="*/ 1586266 h 2844339"/>
                    <a:gd name="connsiteX3" fmla="*/ 123065 w 2251903"/>
                    <a:gd name="connsiteY3" fmla="*/ 1652941 h 2844339"/>
                    <a:gd name="connsiteX4" fmla="*/ 189740 w 2251903"/>
                    <a:gd name="connsiteY4" fmla="*/ 1724378 h 2844339"/>
                    <a:gd name="connsiteX5" fmla="*/ 242128 w 2251903"/>
                    <a:gd name="connsiteY5" fmla="*/ 1838678 h 2844339"/>
                    <a:gd name="connsiteX6" fmla="*/ 318328 w 2251903"/>
                    <a:gd name="connsiteY6" fmla="*/ 1957741 h 2844339"/>
                    <a:gd name="connsiteX7" fmla="*/ 413578 w 2251903"/>
                    <a:gd name="connsiteY7" fmla="*/ 2019653 h 2844339"/>
                    <a:gd name="connsiteX8" fmla="*/ 432628 w 2251903"/>
                    <a:gd name="connsiteY8" fmla="*/ 2043466 h 2844339"/>
                    <a:gd name="connsiteX9" fmla="*/ 442153 w 2251903"/>
                    <a:gd name="connsiteY9" fmla="*/ 2138716 h 2844339"/>
                    <a:gd name="connsiteX10" fmla="*/ 461203 w 2251903"/>
                    <a:gd name="connsiteY10" fmla="*/ 2210154 h 2844339"/>
                    <a:gd name="connsiteX11" fmla="*/ 532640 w 2251903"/>
                    <a:gd name="connsiteY11" fmla="*/ 2343503 h 2844339"/>
                    <a:gd name="connsiteX12" fmla="*/ 546928 w 2251903"/>
                    <a:gd name="connsiteY12" fmla="*/ 2433991 h 2844339"/>
                    <a:gd name="connsiteX13" fmla="*/ 570740 w 2251903"/>
                    <a:gd name="connsiteY13" fmla="*/ 2514953 h 2844339"/>
                    <a:gd name="connsiteX14" fmla="*/ 561215 w 2251903"/>
                    <a:gd name="connsiteY14" fmla="*/ 2581628 h 2844339"/>
                    <a:gd name="connsiteX15" fmla="*/ 646940 w 2251903"/>
                    <a:gd name="connsiteY15" fmla="*/ 2695928 h 2844339"/>
                    <a:gd name="connsiteX16" fmla="*/ 642178 w 2251903"/>
                    <a:gd name="connsiteY16" fmla="*/ 2791178 h 2844339"/>
                    <a:gd name="connsiteX17" fmla="*/ 656465 w 2251903"/>
                    <a:gd name="connsiteY17" fmla="*/ 2843566 h 2844339"/>
                    <a:gd name="connsiteX18" fmla="*/ 889828 w 2251903"/>
                    <a:gd name="connsiteY18" fmla="*/ 2753078 h 2844339"/>
                    <a:gd name="connsiteX19" fmla="*/ 951740 w 2251903"/>
                    <a:gd name="connsiteY19" fmla="*/ 2724503 h 2844339"/>
                    <a:gd name="connsiteX20" fmla="*/ 1027940 w 2251903"/>
                    <a:gd name="connsiteY20" fmla="*/ 2748316 h 2844339"/>
                    <a:gd name="connsiteX21" fmla="*/ 1089853 w 2251903"/>
                    <a:gd name="connsiteY21" fmla="*/ 2753078 h 2844339"/>
                    <a:gd name="connsiteX22" fmla="*/ 1127953 w 2251903"/>
                    <a:gd name="connsiteY22" fmla="*/ 2672116 h 2844339"/>
                    <a:gd name="connsiteX23" fmla="*/ 1089853 w 2251903"/>
                    <a:gd name="connsiteY23" fmla="*/ 2595916 h 2844339"/>
                    <a:gd name="connsiteX24" fmla="*/ 1151765 w 2251903"/>
                    <a:gd name="connsiteY24" fmla="*/ 2534003 h 2844339"/>
                    <a:gd name="connsiteX25" fmla="*/ 1218440 w 2251903"/>
                    <a:gd name="connsiteY25" fmla="*/ 2472091 h 2844339"/>
                    <a:gd name="connsiteX26" fmla="*/ 1270828 w 2251903"/>
                    <a:gd name="connsiteY26" fmla="*/ 2357791 h 2844339"/>
                    <a:gd name="connsiteX27" fmla="*/ 1294640 w 2251903"/>
                    <a:gd name="connsiteY27" fmla="*/ 2305403 h 2844339"/>
                    <a:gd name="connsiteX28" fmla="*/ 1356553 w 2251903"/>
                    <a:gd name="connsiteY28" fmla="*/ 2243491 h 2844339"/>
                    <a:gd name="connsiteX29" fmla="*/ 1408940 w 2251903"/>
                    <a:gd name="connsiteY29" fmla="*/ 2162528 h 2844339"/>
                    <a:gd name="connsiteX30" fmla="*/ 1423228 w 2251903"/>
                    <a:gd name="connsiteY30" fmla="*/ 2081566 h 2844339"/>
                    <a:gd name="connsiteX31" fmla="*/ 1489903 w 2251903"/>
                    <a:gd name="connsiteY31" fmla="*/ 1948216 h 2844339"/>
                    <a:gd name="connsiteX32" fmla="*/ 1556578 w 2251903"/>
                    <a:gd name="connsiteY32" fmla="*/ 1833916 h 2844339"/>
                    <a:gd name="connsiteX33" fmla="*/ 1556578 w 2251903"/>
                    <a:gd name="connsiteY33" fmla="*/ 1752953 h 2844339"/>
                    <a:gd name="connsiteX34" fmla="*/ 1561340 w 2251903"/>
                    <a:gd name="connsiteY34" fmla="*/ 1624366 h 2844339"/>
                    <a:gd name="connsiteX35" fmla="*/ 1575628 w 2251903"/>
                    <a:gd name="connsiteY35" fmla="*/ 1529116 h 2844339"/>
                    <a:gd name="connsiteX36" fmla="*/ 1594678 w 2251903"/>
                    <a:gd name="connsiteY36" fmla="*/ 1448153 h 2844339"/>
                    <a:gd name="connsiteX37" fmla="*/ 1547053 w 2251903"/>
                    <a:gd name="connsiteY37" fmla="*/ 1314803 h 2844339"/>
                    <a:gd name="connsiteX38" fmla="*/ 1442278 w 2251903"/>
                    <a:gd name="connsiteY38" fmla="*/ 1100491 h 2844339"/>
                    <a:gd name="connsiteX39" fmla="*/ 1447040 w 2251903"/>
                    <a:gd name="connsiteY39" fmla="*/ 1052866 h 2844339"/>
                    <a:gd name="connsiteX40" fmla="*/ 1451803 w 2251903"/>
                    <a:gd name="connsiteY40" fmla="*/ 1010003 h 2844339"/>
                    <a:gd name="connsiteX41" fmla="*/ 1489903 w 2251903"/>
                    <a:gd name="connsiteY41" fmla="*/ 952853 h 2844339"/>
                    <a:gd name="connsiteX42" fmla="*/ 1508953 w 2251903"/>
                    <a:gd name="connsiteY42" fmla="*/ 914753 h 2844339"/>
                    <a:gd name="connsiteX43" fmla="*/ 1556578 w 2251903"/>
                    <a:gd name="connsiteY43" fmla="*/ 819503 h 2844339"/>
                    <a:gd name="connsiteX44" fmla="*/ 1594678 w 2251903"/>
                    <a:gd name="connsiteY44" fmla="*/ 743303 h 2844339"/>
                    <a:gd name="connsiteX45" fmla="*/ 1680403 w 2251903"/>
                    <a:gd name="connsiteY45" fmla="*/ 657578 h 2844339"/>
                    <a:gd name="connsiteX46" fmla="*/ 1728028 w 2251903"/>
                    <a:gd name="connsiteY46" fmla="*/ 600428 h 2844339"/>
                    <a:gd name="connsiteX47" fmla="*/ 1780415 w 2251903"/>
                    <a:gd name="connsiteY47" fmla="*/ 509941 h 2844339"/>
                    <a:gd name="connsiteX48" fmla="*/ 1828040 w 2251903"/>
                    <a:gd name="connsiteY48" fmla="*/ 486128 h 2844339"/>
                    <a:gd name="connsiteX49" fmla="*/ 1851853 w 2251903"/>
                    <a:gd name="connsiteY49" fmla="*/ 428978 h 2844339"/>
                    <a:gd name="connsiteX50" fmla="*/ 1875665 w 2251903"/>
                    <a:gd name="connsiteY50" fmla="*/ 357541 h 2844339"/>
                    <a:gd name="connsiteX51" fmla="*/ 1913765 w 2251903"/>
                    <a:gd name="connsiteY51" fmla="*/ 295628 h 2844339"/>
                    <a:gd name="connsiteX52" fmla="*/ 1961390 w 2251903"/>
                    <a:gd name="connsiteY52" fmla="*/ 238478 h 2844339"/>
                    <a:gd name="connsiteX53" fmla="*/ 2018540 w 2251903"/>
                    <a:gd name="connsiteY53" fmla="*/ 214666 h 2844339"/>
                    <a:gd name="connsiteX54" fmla="*/ 2066165 w 2251903"/>
                    <a:gd name="connsiteY54" fmla="*/ 200378 h 2844339"/>
                    <a:gd name="connsiteX55" fmla="*/ 2089978 w 2251903"/>
                    <a:gd name="connsiteY55" fmla="*/ 152753 h 2844339"/>
                    <a:gd name="connsiteX56" fmla="*/ 2085215 w 2251903"/>
                    <a:gd name="connsiteY56" fmla="*/ 76553 h 2844339"/>
                    <a:gd name="connsiteX57" fmla="*/ 2137603 w 2251903"/>
                    <a:gd name="connsiteY57" fmla="*/ 9878 h 2844339"/>
                    <a:gd name="connsiteX58" fmla="*/ 2199515 w 2251903"/>
                    <a:gd name="connsiteY58" fmla="*/ 353 h 2844339"/>
                    <a:gd name="connsiteX59" fmla="*/ 2251903 w 2251903"/>
                    <a:gd name="connsiteY59" fmla="*/ 9878 h 2844339"/>
                    <a:gd name="connsiteX0" fmla="*/ 0 w 2247900"/>
                    <a:gd name="connsiteY0" fmla="*/ 1500541 h 2844339"/>
                    <a:gd name="connsiteX1" fmla="*/ 42862 w 2247900"/>
                    <a:gd name="connsiteY1" fmla="*/ 1586266 h 2844339"/>
                    <a:gd name="connsiteX2" fmla="*/ 119062 w 2247900"/>
                    <a:gd name="connsiteY2" fmla="*/ 1652941 h 2844339"/>
                    <a:gd name="connsiteX3" fmla="*/ 185737 w 2247900"/>
                    <a:gd name="connsiteY3" fmla="*/ 1724378 h 2844339"/>
                    <a:gd name="connsiteX4" fmla="*/ 238125 w 2247900"/>
                    <a:gd name="connsiteY4" fmla="*/ 1838678 h 2844339"/>
                    <a:gd name="connsiteX5" fmla="*/ 314325 w 2247900"/>
                    <a:gd name="connsiteY5" fmla="*/ 1957741 h 2844339"/>
                    <a:gd name="connsiteX6" fmla="*/ 409575 w 2247900"/>
                    <a:gd name="connsiteY6" fmla="*/ 2019653 h 2844339"/>
                    <a:gd name="connsiteX7" fmla="*/ 428625 w 2247900"/>
                    <a:gd name="connsiteY7" fmla="*/ 2043466 h 2844339"/>
                    <a:gd name="connsiteX8" fmla="*/ 438150 w 2247900"/>
                    <a:gd name="connsiteY8" fmla="*/ 2138716 h 2844339"/>
                    <a:gd name="connsiteX9" fmla="*/ 457200 w 2247900"/>
                    <a:gd name="connsiteY9" fmla="*/ 2210154 h 2844339"/>
                    <a:gd name="connsiteX10" fmla="*/ 528637 w 2247900"/>
                    <a:gd name="connsiteY10" fmla="*/ 2343503 h 2844339"/>
                    <a:gd name="connsiteX11" fmla="*/ 542925 w 2247900"/>
                    <a:gd name="connsiteY11" fmla="*/ 2433991 h 2844339"/>
                    <a:gd name="connsiteX12" fmla="*/ 566737 w 2247900"/>
                    <a:gd name="connsiteY12" fmla="*/ 2514953 h 2844339"/>
                    <a:gd name="connsiteX13" fmla="*/ 557212 w 2247900"/>
                    <a:gd name="connsiteY13" fmla="*/ 2581628 h 2844339"/>
                    <a:gd name="connsiteX14" fmla="*/ 642937 w 2247900"/>
                    <a:gd name="connsiteY14" fmla="*/ 2695928 h 2844339"/>
                    <a:gd name="connsiteX15" fmla="*/ 638175 w 2247900"/>
                    <a:gd name="connsiteY15" fmla="*/ 2791178 h 2844339"/>
                    <a:gd name="connsiteX16" fmla="*/ 652462 w 2247900"/>
                    <a:gd name="connsiteY16" fmla="*/ 2843566 h 2844339"/>
                    <a:gd name="connsiteX17" fmla="*/ 885825 w 2247900"/>
                    <a:gd name="connsiteY17" fmla="*/ 2753078 h 2844339"/>
                    <a:gd name="connsiteX18" fmla="*/ 947737 w 2247900"/>
                    <a:gd name="connsiteY18" fmla="*/ 2724503 h 2844339"/>
                    <a:gd name="connsiteX19" fmla="*/ 1023937 w 2247900"/>
                    <a:gd name="connsiteY19" fmla="*/ 2748316 h 2844339"/>
                    <a:gd name="connsiteX20" fmla="*/ 1085850 w 2247900"/>
                    <a:gd name="connsiteY20" fmla="*/ 2753078 h 2844339"/>
                    <a:gd name="connsiteX21" fmla="*/ 1123950 w 2247900"/>
                    <a:gd name="connsiteY21" fmla="*/ 2672116 h 2844339"/>
                    <a:gd name="connsiteX22" fmla="*/ 1085850 w 2247900"/>
                    <a:gd name="connsiteY22" fmla="*/ 2595916 h 2844339"/>
                    <a:gd name="connsiteX23" fmla="*/ 1147762 w 2247900"/>
                    <a:gd name="connsiteY23" fmla="*/ 2534003 h 2844339"/>
                    <a:gd name="connsiteX24" fmla="*/ 1214437 w 2247900"/>
                    <a:gd name="connsiteY24" fmla="*/ 2472091 h 2844339"/>
                    <a:gd name="connsiteX25" fmla="*/ 1266825 w 2247900"/>
                    <a:gd name="connsiteY25" fmla="*/ 2357791 h 2844339"/>
                    <a:gd name="connsiteX26" fmla="*/ 1290637 w 2247900"/>
                    <a:gd name="connsiteY26" fmla="*/ 2305403 h 2844339"/>
                    <a:gd name="connsiteX27" fmla="*/ 1352550 w 2247900"/>
                    <a:gd name="connsiteY27" fmla="*/ 2243491 h 2844339"/>
                    <a:gd name="connsiteX28" fmla="*/ 1404937 w 2247900"/>
                    <a:gd name="connsiteY28" fmla="*/ 2162528 h 2844339"/>
                    <a:gd name="connsiteX29" fmla="*/ 1419225 w 2247900"/>
                    <a:gd name="connsiteY29" fmla="*/ 2081566 h 2844339"/>
                    <a:gd name="connsiteX30" fmla="*/ 1485900 w 2247900"/>
                    <a:gd name="connsiteY30" fmla="*/ 1948216 h 2844339"/>
                    <a:gd name="connsiteX31" fmla="*/ 1552575 w 2247900"/>
                    <a:gd name="connsiteY31" fmla="*/ 1833916 h 2844339"/>
                    <a:gd name="connsiteX32" fmla="*/ 1552575 w 2247900"/>
                    <a:gd name="connsiteY32" fmla="*/ 1752953 h 2844339"/>
                    <a:gd name="connsiteX33" fmla="*/ 1557337 w 2247900"/>
                    <a:gd name="connsiteY33" fmla="*/ 1624366 h 2844339"/>
                    <a:gd name="connsiteX34" fmla="*/ 1571625 w 2247900"/>
                    <a:gd name="connsiteY34" fmla="*/ 1529116 h 2844339"/>
                    <a:gd name="connsiteX35" fmla="*/ 1590675 w 2247900"/>
                    <a:gd name="connsiteY35" fmla="*/ 1448153 h 2844339"/>
                    <a:gd name="connsiteX36" fmla="*/ 1543050 w 2247900"/>
                    <a:gd name="connsiteY36" fmla="*/ 1314803 h 2844339"/>
                    <a:gd name="connsiteX37" fmla="*/ 1438275 w 2247900"/>
                    <a:gd name="connsiteY37" fmla="*/ 1100491 h 2844339"/>
                    <a:gd name="connsiteX38" fmla="*/ 1443037 w 2247900"/>
                    <a:gd name="connsiteY38" fmla="*/ 1052866 h 2844339"/>
                    <a:gd name="connsiteX39" fmla="*/ 1447800 w 2247900"/>
                    <a:gd name="connsiteY39" fmla="*/ 1010003 h 2844339"/>
                    <a:gd name="connsiteX40" fmla="*/ 1485900 w 2247900"/>
                    <a:gd name="connsiteY40" fmla="*/ 952853 h 2844339"/>
                    <a:gd name="connsiteX41" fmla="*/ 1504950 w 2247900"/>
                    <a:gd name="connsiteY41" fmla="*/ 914753 h 2844339"/>
                    <a:gd name="connsiteX42" fmla="*/ 1552575 w 2247900"/>
                    <a:gd name="connsiteY42" fmla="*/ 819503 h 2844339"/>
                    <a:gd name="connsiteX43" fmla="*/ 1590675 w 2247900"/>
                    <a:gd name="connsiteY43" fmla="*/ 743303 h 2844339"/>
                    <a:gd name="connsiteX44" fmla="*/ 1676400 w 2247900"/>
                    <a:gd name="connsiteY44" fmla="*/ 657578 h 2844339"/>
                    <a:gd name="connsiteX45" fmla="*/ 1724025 w 2247900"/>
                    <a:gd name="connsiteY45" fmla="*/ 600428 h 2844339"/>
                    <a:gd name="connsiteX46" fmla="*/ 1776412 w 2247900"/>
                    <a:gd name="connsiteY46" fmla="*/ 509941 h 2844339"/>
                    <a:gd name="connsiteX47" fmla="*/ 1824037 w 2247900"/>
                    <a:gd name="connsiteY47" fmla="*/ 486128 h 2844339"/>
                    <a:gd name="connsiteX48" fmla="*/ 1847850 w 2247900"/>
                    <a:gd name="connsiteY48" fmla="*/ 428978 h 2844339"/>
                    <a:gd name="connsiteX49" fmla="*/ 1871662 w 2247900"/>
                    <a:gd name="connsiteY49" fmla="*/ 357541 h 2844339"/>
                    <a:gd name="connsiteX50" fmla="*/ 1909762 w 2247900"/>
                    <a:gd name="connsiteY50" fmla="*/ 295628 h 2844339"/>
                    <a:gd name="connsiteX51" fmla="*/ 1957387 w 2247900"/>
                    <a:gd name="connsiteY51" fmla="*/ 238478 h 2844339"/>
                    <a:gd name="connsiteX52" fmla="*/ 2014537 w 2247900"/>
                    <a:gd name="connsiteY52" fmla="*/ 214666 h 2844339"/>
                    <a:gd name="connsiteX53" fmla="*/ 2062162 w 2247900"/>
                    <a:gd name="connsiteY53" fmla="*/ 200378 h 2844339"/>
                    <a:gd name="connsiteX54" fmla="*/ 2085975 w 2247900"/>
                    <a:gd name="connsiteY54" fmla="*/ 152753 h 2844339"/>
                    <a:gd name="connsiteX55" fmla="*/ 2081212 w 2247900"/>
                    <a:gd name="connsiteY55" fmla="*/ 76553 h 2844339"/>
                    <a:gd name="connsiteX56" fmla="*/ 2133600 w 2247900"/>
                    <a:gd name="connsiteY56" fmla="*/ 9878 h 2844339"/>
                    <a:gd name="connsiteX57" fmla="*/ 2195512 w 2247900"/>
                    <a:gd name="connsiteY57" fmla="*/ 353 h 2844339"/>
                    <a:gd name="connsiteX58" fmla="*/ 2247900 w 2247900"/>
                    <a:gd name="connsiteY58" fmla="*/ 9878 h 2844339"/>
                    <a:gd name="connsiteX0" fmla="*/ 0 w 2195512"/>
                    <a:gd name="connsiteY0" fmla="*/ 1500541 h 2844339"/>
                    <a:gd name="connsiteX1" fmla="*/ 42862 w 2195512"/>
                    <a:gd name="connsiteY1" fmla="*/ 1586266 h 2844339"/>
                    <a:gd name="connsiteX2" fmla="*/ 119062 w 2195512"/>
                    <a:gd name="connsiteY2" fmla="*/ 1652941 h 2844339"/>
                    <a:gd name="connsiteX3" fmla="*/ 185737 w 2195512"/>
                    <a:gd name="connsiteY3" fmla="*/ 1724378 h 2844339"/>
                    <a:gd name="connsiteX4" fmla="*/ 238125 w 2195512"/>
                    <a:gd name="connsiteY4" fmla="*/ 1838678 h 2844339"/>
                    <a:gd name="connsiteX5" fmla="*/ 314325 w 2195512"/>
                    <a:gd name="connsiteY5" fmla="*/ 1957741 h 2844339"/>
                    <a:gd name="connsiteX6" fmla="*/ 409575 w 2195512"/>
                    <a:gd name="connsiteY6" fmla="*/ 2019653 h 2844339"/>
                    <a:gd name="connsiteX7" fmla="*/ 428625 w 2195512"/>
                    <a:gd name="connsiteY7" fmla="*/ 2043466 h 2844339"/>
                    <a:gd name="connsiteX8" fmla="*/ 438150 w 2195512"/>
                    <a:gd name="connsiteY8" fmla="*/ 2138716 h 2844339"/>
                    <a:gd name="connsiteX9" fmla="*/ 457200 w 2195512"/>
                    <a:gd name="connsiteY9" fmla="*/ 2210154 h 2844339"/>
                    <a:gd name="connsiteX10" fmla="*/ 528637 w 2195512"/>
                    <a:gd name="connsiteY10" fmla="*/ 2343503 h 2844339"/>
                    <a:gd name="connsiteX11" fmla="*/ 542925 w 2195512"/>
                    <a:gd name="connsiteY11" fmla="*/ 2433991 h 2844339"/>
                    <a:gd name="connsiteX12" fmla="*/ 566737 w 2195512"/>
                    <a:gd name="connsiteY12" fmla="*/ 2514953 h 2844339"/>
                    <a:gd name="connsiteX13" fmla="*/ 557212 w 2195512"/>
                    <a:gd name="connsiteY13" fmla="*/ 2581628 h 2844339"/>
                    <a:gd name="connsiteX14" fmla="*/ 642937 w 2195512"/>
                    <a:gd name="connsiteY14" fmla="*/ 2695928 h 2844339"/>
                    <a:gd name="connsiteX15" fmla="*/ 638175 w 2195512"/>
                    <a:gd name="connsiteY15" fmla="*/ 2791178 h 2844339"/>
                    <a:gd name="connsiteX16" fmla="*/ 652462 w 2195512"/>
                    <a:gd name="connsiteY16" fmla="*/ 2843566 h 2844339"/>
                    <a:gd name="connsiteX17" fmla="*/ 885825 w 2195512"/>
                    <a:gd name="connsiteY17" fmla="*/ 2753078 h 2844339"/>
                    <a:gd name="connsiteX18" fmla="*/ 947737 w 2195512"/>
                    <a:gd name="connsiteY18" fmla="*/ 2724503 h 2844339"/>
                    <a:gd name="connsiteX19" fmla="*/ 1023937 w 2195512"/>
                    <a:gd name="connsiteY19" fmla="*/ 2748316 h 2844339"/>
                    <a:gd name="connsiteX20" fmla="*/ 1085850 w 2195512"/>
                    <a:gd name="connsiteY20" fmla="*/ 2753078 h 2844339"/>
                    <a:gd name="connsiteX21" fmla="*/ 1123950 w 2195512"/>
                    <a:gd name="connsiteY21" fmla="*/ 2672116 h 2844339"/>
                    <a:gd name="connsiteX22" fmla="*/ 1085850 w 2195512"/>
                    <a:gd name="connsiteY22" fmla="*/ 2595916 h 2844339"/>
                    <a:gd name="connsiteX23" fmla="*/ 1147762 w 2195512"/>
                    <a:gd name="connsiteY23" fmla="*/ 2534003 h 2844339"/>
                    <a:gd name="connsiteX24" fmla="*/ 1214437 w 2195512"/>
                    <a:gd name="connsiteY24" fmla="*/ 2472091 h 2844339"/>
                    <a:gd name="connsiteX25" fmla="*/ 1266825 w 2195512"/>
                    <a:gd name="connsiteY25" fmla="*/ 2357791 h 2844339"/>
                    <a:gd name="connsiteX26" fmla="*/ 1290637 w 2195512"/>
                    <a:gd name="connsiteY26" fmla="*/ 2305403 h 2844339"/>
                    <a:gd name="connsiteX27" fmla="*/ 1352550 w 2195512"/>
                    <a:gd name="connsiteY27" fmla="*/ 2243491 h 2844339"/>
                    <a:gd name="connsiteX28" fmla="*/ 1404937 w 2195512"/>
                    <a:gd name="connsiteY28" fmla="*/ 2162528 h 2844339"/>
                    <a:gd name="connsiteX29" fmla="*/ 1419225 w 2195512"/>
                    <a:gd name="connsiteY29" fmla="*/ 2081566 h 2844339"/>
                    <a:gd name="connsiteX30" fmla="*/ 1485900 w 2195512"/>
                    <a:gd name="connsiteY30" fmla="*/ 1948216 h 2844339"/>
                    <a:gd name="connsiteX31" fmla="*/ 1552575 w 2195512"/>
                    <a:gd name="connsiteY31" fmla="*/ 1833916 h 2844339"/>
                    <a:gd name="connsiteX32" fmla="*/ 1552575 w 2195512"/>
                    <a:gd name="connsiteY32" fmla="*/ 1752953 h 2844339"/>
                    <a:gd name="connsiteX33" fmla="*/ 1557337 w 2195512"/>
                    <a:gd name="connsiteY33" fmla="*/ 1624366 h 2844339"/>
                    <a:gd name="connsiteX34" fmla="*/ 1571625 w 2195512"/>
                    <a:gd name="connsiteY34" fmla="*/ 1529116 h 2844339"/>
                    <a:gd name="connsiteX35" fmla="*/ 1590675 w 2195512"/>
                    <a:gd name="connsiteY35" fmla="*/ 1448153 h 2844339"/>
                    <a:gd name="connsiteX36" fmla="*/ 1543050 w 2195512"/>
                    <a:gd name="connsiteY36" fmla="*/ 1314803 h 2844339"/>
                    <a:gd name="connsiteX37" fmla="*/ 1438275 w 2195512"/>
                    <a:gd name="connsiteY37" fmla="*/ 1100491 h 2844339"/>
                    <a:gd name="connsiteX38" fmla="*/ 1443037 w 2195512"/>
                    <a:gd name="connsiteY38" fmla="*/ 1052866 h 2844339"/>
                    <a:gd name="connsiteX39" fmla="*/ 1447800 w 2195512"/>
                    <a:gd name="connsiteY39" fmla="*/ 1010003 h 2844339"/>
                    <a:gd name="connsiteX40" fmla="*/ 1485900 w 2195512"/>
                    <a:gd name="connsiteY40" fmla="*/ 952853 h 2844339"/>
                    <a:gd name="connsiteX41" fmla="*/ 1504950 w 2195512"/>
                    <a:gd name="connsiteY41" fmla="*/ 914753 h 2844339"/>
                    <a:gd name="connsiteX42" fmla="*/ 1552575 w 2195512"/>
                    <a:gd name="connsiteY42" fmla="*/ 819503 h 2844339"/>
                    <a:gd name="connsiteX43" fmla="*/ 1590675 w 2195512"/>
                    <a:gd name="connsiteY43" fmla="*/ 743303 h 2844339"/>
                    <a:gd name="connsiteX44" fmla="*/ 1676400 w 2195512"/>
                    <a:gd name="connsiteY44" fmla="*/ 657578 h 2844339"/>
                    <a:gd name="connsiteX45" fmla="*/ 1724025 w 2195512"/>
                    <a:gd name="connsiteY45" fmla="*/ 600428 h 2844339"/>
                    <a:gd name="connsiteX46" fmla="*/ 1776412 w 2195512"/>
                    <a:gd name="connsiteY46" fmla="*/ 509941 h 2844339"/>
                    <a:gd name="connsiteX47" fmla="*/ 1824037 w 2195512"/>
                    <a:gd name="connsiteY47" fmla="*/ 486128 h 2844339"/>
                    <a:gd name="connsiteX48" fmla="*/ 1847850 w 2195512"/>
                    <a:gd name="connsiteY48" fmla="*/ 428978 h 2844339"/>
                    <a:gd name="connsiteX49" fmla="*/ 1871662 w 2195512"/>
                    <a:gd name="connsiteY49" fmla="*/ 357541 h 2844339"/>
                    <a:gd name="connsiteX50" fmla="*/ 1909762 w 2195512"/>
                    <a:gd name="connsiteY50" fmla="*/ 295628 h 2844339"/>
                    <a:gd name="connsiteX51" fmla="*/ 1957387 w 2195512"/>
                    <a:gd name="connsiteY51" fmla="*/ 238478 h 2844339"/>
                    <a:gd name="connsiteX52" fmla="*/ 2014537 w 2195512"/>
                    <a:gd name="connsiteY52" fmla="*/ 214666 h 2844339"/>
                    <a:gd name="connsiteX53" fmla="*/ 2062162 w 2195512"/>
                    <a:gd name="connsiteY53" fmla="*/ 200378 h 2844339"/>
                    <a:gd name="connsiteX54" fmla="*/ 2085975 w 2195512"/>
                    <a:gd name="connsiteY54" fmla="*/ 152753 h 2844339"/>
                    <a:gd name="connsiteX55" fmla="*/ 2081212 w 2195512"/>
                    <a:gd name="connsiteY55" fmla="*/ 76553 h 2844339"/>
                    <a:gd name="connsiteX56" fmla="*/ 2133600 w 2195512"/>
                    <a:gd name="connsiteY56" fmla="*/ 9878 h 2844339"/>
                    <a:gd name="connsiteX57" fmla="*/ 2195512 w 2195512"/>
                    <a:gd name="connsiteY57" fmla="*/ 353 h 2844339"/>
                    <a:gd name="connsiteX0" fmla="*/ 0 w 2133600"/>
                    <a:gd name="connsiteY0" fmla="*/ 1490663 h 2834461"/>
                    <a:gd name="connsiteX1" fmla="*/ 42862 w 2133600"/>
                    <a:gd name="connsiteY1" fmla="*/ 1576388 h 2834461"/>
                    <a:gd name="connsiteX2" fmla="*/ 119062 w 2133600"/>
                    <a:gd name="connsiteY2" fmla="*/ 1643063 h 2834461"/>
                    <a:gd name="connsiteX3" fmla="*/ 185737 w 2133600"/>
                    <a:gd name="connsiteY3" fmla="*/ 1714500 h 2834461"/>
                    <a:gd name="connsiteX4" fmla="*/ 238125 w 2133600"/>
                    <a:gd name="connsiteY4" fmla="*/ 1828800 h 2834461"/>
                    <a:gd name="connsiteX5" fmla="*/ 314325 w 2133600"/>
                    <a:gd name="connsiteY5" fmla="*/ 1947863 h 2834461"/>
                    <a:gd name="connsiteX6" fmla="*/ 409575 w 2133600"/>
                    <a:gd name="connsiteY6" fmla="*/ 2009775 h 2834461"/>
                    <a:gd name="connsiteX7" fmla="*/ 428625 w 2133600"/>
                    <a:gd name="connsiteY7" fmla="*/ 2033588 h 2834461"/>
                    <a:gd name="connsiteX8" fmla="*/ 438150 w 2133600"/>
                    <a:gd name="connsiteY8" fmla="*/ 2128838 h 2834461"/>
                    <a:gd name="connsiteX9" fmla="*/ 457200 w 2133600"/>
                    <a:gd name="connsiteY9" fmla="*/ 2200276 h 2834461"/>
                    <a:gd name="connsiteX10" fmla="*/ 528637 w 2133600"/>
                    <a:gd name="connsiteY10" fmla="*/ 2333625 h 2834461"/>
                    <a:gd name="connsiteX11" fmla="*/ 542925 w 2133600"/>
                    <a:gd name="connsiteY11" fmla="*/ 2424113 h 2834461"/>
                    <a:gd name="connsiteX12" fmla="*/ 566737 w 2133600"/>
                    <a:gd name="connsiteY12" fmla="*/ 2505075 h 2834461"/>
                    <a:gd name="connsiteX13" fmla="*/ 557212 w 2133600"/>
                    <a:gd name="connsiteY13" fmla="*/ 2571750 h 2834461"/>
                    <a:gd name="connsiteX14" fmla="*/ 642937 w 2133600"/>
                    <a:gd name="connsiteY14" fmla="*/ 2686050 h 2834461"/>
                    <a:gd name="connsiteX15" fmla="*/ 638175 w 2133600"/>
                    <a:gd name="connsiteY15" fmla="*/ 2781300 h 2834461"/>
                    <a:gd name="connsiteX16" fmla="*/ 652462 w 2133600"/>
                    <a:gd name="connsiteY16" fmla="*/ 2833688 h 2834461"/>
                    <a:gd name="connsiteX17" fmla="*/ 885825 w 2133600"/>
                    <a:gd name="connsiteY17" fmla="*/ 2743200 h 2834461"/>
                    <a:gd name="connsiteX18" fmla="*/ 947737 w 2133600"/>
                    <a:gd name="connsiteY18" fmla="*/ 2714625 h 2834461"/>
                    <a:gd name="connsiteX19" fmla="*/ 1023937 w 2133600"/>
                    <a:gd name="connsiteY19" fmla="*/ 2738438 h 2834461"/>
                    <a:gd name="connsiteX20" fmla="*/ 1085850 w 2133600"/>
                    <a:gd name="connsiteY20" fmla="*/ 2743200 h 2834461"/>
                    <a:gd name="connsiteX21" fmla="*/ 1123950 w 2133600"/>
                    <a:gd name="connsiteY21" fmla="*/ 2662238 h 2834461"/>
                    <a:gd name="connsiteX22" fmla="*/ 1085850 w 2133600"/>
                    <a:gd name="connsiteY22" fmla="*/ 2586038 h 2834461"/>
                    <a:gd name="connsiteX23" fmla="*/ 1147762 w 2133600"/>
                    <a:gd name="connsiteY23" fmla="*/ 2524125 h 2834461"/>
                    <a:gd name="connsiteX24" fmla="*/ 1214437 w 2133600"/>
                    <a:gd name="connsiteY24" fmla="*/ 2462213 h 2834461"/>
                    <a:gd name="connsiteX25" fmla="*/ 1266825 w 2133600"/>
                    <a:gd name="connsiteY25" fmla="*/ 2347913 h 2834461"/>
                    <a:gd name="connsiteX26" fmla="*/ 1290637 w 2133600"/>
                    <a:gd name="connsiteY26" fmla="*/ 2295525 h 2834461"/>
                    <a:gd name="connsiteX27" fmla="*/ 1352550 w 2133600"/>
                    <a:gd name="connsiteY27" fmla="*/ 2233613 h 2834461"/>
                    <a:gd name="connsiteX28" fmla="*/ 1404937 w 2133600"/>
                    <a:gd name="connsiteY28" fmla="*/ 2152650 h 2834461"/>
                    <a:gd name="connsiteX29" fmla="*/ 1419225 w 2133600"/>
                    <a:gd name="connsiteY29" fmla="*/ 2071688 h 2834461"/>
                    <a:gd name="connsiteX30" fmla="*/ 1485900 w 2133600"/>
                    <a:gd name="connsiteY30" fmla="*/ 1938338 h 2834461"/>
                    <a:gd name="connsiteX31" fmla="*/ 1552575 w 2133600"/>
                    <a:gd name="connsiteY31" fmla="*/ 1824038 h 2834461"/>
                    <a:gd name="connsiteX32" fmla="*/ 1552575 w 2133600"/>
                    <a:gd name="connsiteY32" fmla="*/ 1743075 h 2834461"/>
                    <a:gd name="connsiteX33" fmla="*/ 1557337 w 2133600"/>
                    <a:gd name="connsiteY33" fmla="*/ 1614488 h 2834461"/>
                    <a:gd name="connsiteX34" fmla="*/ 1571625 w 2133600"/>
                    <a:gd name="connsiteY34" fmla="*/ 1519238 h 2834461"/>
                    <a:gd name="connsiteX35" fmla="*/ 1590675 w 2133600"/>
                    <a:gd name="connsiteY35" fmla="*/ 1438275 h 2834461"/>
                    <a:gd name="connsiteX36" fmla="*/ 1543050 w 2133600"/>
                    <a:gd name="connsiteY36" fmla="*/ 1304925 h 2834461"/>
                    <a:gd name="connsiteX37" fmla="*/ 1438275 w 2133600"/>
                    <a:gd name="connsiteY37" fmla="*/ 1090613 h 2834461"/>
                    <a:gd name="connsiteX38" fmla="*/ 1443037 w 2133600"/>
                    <a:gd name="connsiteY38" fmla="*/ 1042988 h 2834461"/>
                    <a:gd name="connsiteX39" fmla="*/ 1447800 w 2133600"/>
                    <a:gd name="connsiteY39" fmla="*/ 1000125 h 2834461"/>
                    <a:gd name="connsiteX40" fmla="*/ 1485900 w 2133600"/>
                    <a:gd name="connsiteY40" fmla="*/ 942975 h 2834461"/>
                    <a:gd name="connsiteX41" fmla="*/ 1504950 w 2133600"/>
                    <a:gd name="connsiteY41" fmla="*/ 904875 h 2834461"/>
                    <a:gd name="connsiteX42" fmla="*/ 1552575 w 2133600"/>
                    <a:gd name="connsiteY42" fmla="*/ 809625 h 2834461"/>
                    <a:gd name="connsiteX43" fmla="*/ 1590675 w 2133600"/>
                    <a:gd name="connsiteY43" fmla="*/ 733425 h 2834461"/>
                    <a:gd name="connsiteX44" fmla="*/ 1676400 w 2133600"/>
                    <a:gd name="connsiteY44" fmla="*/ 647700 h 2834461"/>
                    <a:gd name="connsiteX45" fmla="*/ 1724025 w 2133600"/>
                    <a:gd name="connsiteY45" fmla="*/ 590550 h 2834461"/>
                    <a:gd name="connsiteX46" fmla="*/ 1776412 w 2133600"/>
                    <a:gd name="connsiteY46" fmla="*/ 500063 h 2834461"/>
                    <a:gd name="connsiteX47" fmla="*/ 1824037 w 2133600"/>
                    <a:gd name="connsiteY47" fmla="*/ 476250 h 2834461"/>
                    <a:gd name="connsiteX48" fmla="*/ 1847850 w 2133600"/>
                    <a:gd name="connsiteY48" fmla="*/ 419100 h 2834461"/>
                    <a:gd name="connsiteX49" fmla="*/ 1871662 w 2133600"/>
                    <a:gd name="connsiteY49" fmla="*/ 347663 h 2834461"/>
                    <a:gd name="connsiteX50" fmla="*/ 1909762 w 2133600"/>
                    <a:gd name="connsiteY50" fmla="*/ 285750 h 2834461"/>
                    <a:gd name="connsiteX51" fmla="*/ 1957387 w 2133600"/>
                    <a:gd name="connsiteY51" fmla="*/ 228600 h 2834461"/>
                    <a:gd name="connsiteX52" fmla="*/ 2014537 w 2133600"/>
                    <a:gd name="connsiteY52" fmla="*/ 204788 h 2834461"/>
                    <a:gd name="connsiteX53" fmla="*/ 2062162 w 2133600"/>
                    <a:gd name="connsiteY53" fmla="*/ 190500 h 2834461"/>
                    <a:gd name="connsiteX54" fmla="*/ 2085975 w 2133600"/>
                    <a:gd name="connsiteY54" fmla="*/ 142875 h 2834461"/>
                    <a:gd name="connsiteX55" fmla="*/ 2081212 w 2133600"/>
                    <a:gd name="connsiteY55" fmla="*/ 66675 h 2834461"/>
                    <a:gd name="connsiteX56" fmla="*/ 2133600 w 2133600"/>
                    <a:gd name="connsiteY56" fmla="*/ 0 h 2834461"/>
                    <a:gd name="connsiteX0" fmla="*/ 0 w 2086401"/>
                    <a:gd name="connsiteY0" fmla="*/ 1423988 h 2767786"/>
                    <a:gd name="connsiteX1" fmla="*/ 42862 w 2086401"/>
                    <a:gd name="connsiteY1" fmla="*/ 1509713 h 2767786"/>
                    <a:gd name="connsiteX2" fmla="*/ 119062 w 2086401"/>
                    <a:gd name="connsiteY2" fmla="*/ 1576388 h 2767786"/>
                    <a:gd name="connsiteX3" fmla="*/ 185737 w 2086401"/>
                    <a:gd name="connsiteY3" fmla="*/ 1647825 h 2767786"/>
                    <a:gd name="connsiteX4" fmla="*/ 238125 w 2086401"/>
                    <a:gd name="connsiteY4" fmla="*/ 1762125 h 2767786"/>
                    <a:gd name="connsiteX5" fmla="*/ 314325 w 2086401"/>
                    <a:gd name="connsiteY5" fmla="*/ 1881188 h 2767786"/>
                    <a:gd name="connsiteX6" fmla="*/ 409575 w 2086401"/>
                    <a:gd name="connsiteY6" fmla="*/ 1943100 h 2767786"/>
                    <a:gd name="connsiteX7" fmla="*/ 428625 w 2086401"/>
                    <a:gd name="connsiteY7" fmla="*/ 1966913 h 2767786"/>
                    <a:gd name="connsiteX8" fmla="*/ 438150 w 2086401"/>
                    <a:gd name="connsiteY8" fmla="*/ 2062163 h 2767786"/>
                    <a:gd name="connsiteX9" fmla="*/ 457200 w 2086401"/>
                    <a:gd name="connsiteY9" fmla="*/ 2133601 h 2767786"/>
                    <a:gd name="connsiteX10" fmla="*/ 528637 w 2086401"/>
                    <a:gd name="connsiteY10" fmla="*/ 2266950 h 2767786"/>
                    <a:gd name="connsiteX11" fmla="*/ 542925 w 2086401"/>
                    <a:gd name="connsiteY11" fmla="*/ 2357438 h 2767786"/>
                    <a:gd name="connsiteX12" fmla="*/ 566737 w 2086401"/>
                    <a:gd name="connsiteY12" fmla="*/ 2438400 h 2767786"/>
                    <a:gd name="connsiteX13" fmla="*/ 557212 w 2086401"/>
                    <a:gd name="connsiteY13" fmla="*/ 2505075 h 2767786"/>
                    <a:gd name="connsiteX14" fmla="*/ 642937 w 2086401"/>
                    <a:gd name="connsiteY14" fmla="*/ 2619375 h 2767786"/>
                    <a:gd name="connsiteX15" fmla="*/ 638175 w 2086401"/>
                    <a:gd name="connsiteY15" fmla="*/ 2714625 h 2767786"/>
                    <a:gd name="connsiteX16" fmla="*/ 652462 w 2086401"/>
                    <a:gd name="connsiteY16" fmla="*/ 2767013 h 2767786"/>
                    <a:gd name="connsiteX17" fmla="*/ 885825 w 2086401"/>
                    <a:gd name="connsiteY17" fmla="*/ 2676525 h 2767786"/>
                    <a:gd name="connsiteX18" fmla="*/ 947737 w 2086401"/>
                    <a:gd name="connsiteY18" fmla="*/ 2647950 h 2767786"/>
                    <a:gd name="connsiteX19" fmla="*/ 1023937 w 2086401"/>
                    <a:gd name="connsiteY19" fmla="*/ 2671763 h 2767786"/>
                    <a:gd name="connsiteX20" fmla="*/ 1085850 w 2086401"/>
                    <a:gd name="connsiteY20" fmla="*/ 2676525 h 2767786"/>
                    <a:gd name="connsiteX21" fmla="*/ 1123950 w 2086401"/>
                    <a:gd name="connsiteY21" fmla="*/ 2595563 h 2767786"/>
                    <a:gd name="connsiteX22" fmla="*/ 1085850 w 2086401"/>
                    <a:gd name="connsiteY22" fmla="*/ 2519363 h 2767786"/>
                    <a:gd name="connsiteX23" fmla="*/ 1147762 w 2086401"/>
                    <a:gd name="connsiteY23" fmla="*/ 2457450 h 2767786"/>
                    <a:gd name="connsiteX24" fmla="*/ 1214437 w 2086401"/>
                    <a:gd name="connsiteY24" fmla="*/ 2395538 h 2767786"/>
                    <a:gd name="connsiteX25" fmla="*/ 1266825 w 2086401"/>
                    <a:gd name="connsiteY25" fmla="*/ 2281238 h 2767786"/>
                    <a:gd name="connsiteX26" fmla="*/ 1290637 w 2086401"/>
                    <a:gd name="connsiteY26" fmla="*/ 2228850 h 2767786"/>
                    <a:gd name="connsiteX27" fmla="*/ 1352550 w 2086401"/>
                    <a:gd name="connsiteY27" fmla="*/ 2166938 h 2767786"/>
                    <a:gd name="connsiteX28" fmla="*/ 1404937 w 2086401"/>
                    <a:gd name="connsiteY28" fmla="*/ 2085975 h 2767786"/>
                    <a:gd name="connsiteX29" fmla="*/ 1419225 w 2086401"/>
                    <a:gd name="connsiteY29" fmla="*/ 2005013 h 2767786"/>
                    <a:gd name="connsiteX30" fmla="*/ 1485900 w 2086401"/>
                    <a:gd name="connsiteY30" fmla="*/ 1871663 h 2767786"/>
                    <a:gd name="connsiteX31" fmla="*/ 1552575 w 2086401"/>
                    <a:gd name="connsiteY31" fmla="*/ 1757363 h 2767786"/>
                    <a:gd name="connsiteX32" fmla="*/ 1552575 w 2086401"/>
                    <a:gd name="connsiteY32" fmla="*/ 1676400 h 2767786"/>
                    <a:gd name="connsiteX33" fmla="*/ 1557337 w 2086401"/>
                    <a:gd name="connsiteY33" fmla="*/ 1547813 h 2767786"/>
                    <a:gd name="connsiteX34" fmla="*/ 1571625 w 2086401"/>
                    <a:gd name="connsiteY34" fmla="*/ 1452563 h 2767786"/>
                    <a:gd name="connsiteX35" fmla="*/ 1590675 w 2086401"/>
                    <a:gd name="connsiteY35" fmla="*/ 1371600 h 2767786"/>
                    <a:gd name="connsiteX36" fmla="*/ 1543050 w 2086401"/>
                    <a:gd name="connsiteY36" fmla="*/ 1238250 h 2767786"/>
                    <a:gd name="connsiteX37" fmla="*/ 1438275 w 2086401"/>
                    <a:gd name="connsiteY37" fmla="*/ 1023938 h 2767786"/>
                    <a:gd name="connsiteX38" fmla="*/ 1443037 w 2086401"/>
                    <a:gd name="connsiteY38" fmla="*/ 976313 h 2767786"/>
                    <a:gd name="connsiteX39" fmla="*/ 1447800 w 2086401"/>
                    <a:gd name="connsiteY39" fmla="*/ 933450 h 2767786"/>
                    <a:gd name="connsiteX40" fmla="*/ 1485900 w 2086401"/>
                    <a:gd name="connsiteY40" fmla="*/ 876300 h 2767786"/>
                    <a:gd name="connsiteX41" fmla="*/ 1504950 w 2086401"/>
                    <a:gd name="connsiteY41" fmla="*/ 838200 h 2767786"/>
                    <a:gd name="connsiteX42" fmla="*/ 1552575 w 2086401"/>
                    <a:gd name="connsiteY42" fmla="*/ 742950 h 2767786"/>
                    <a:gd name="connsiteX43" fmla="*/ 1590675 w 2086401"/>
                    <a:gd name="connsiteY43" fmla="*/ 666750 h 2767786"/>
                    <a:gd name="connsiteX44" fmla="*/ 1676400 w 2086401"/>
                    <a:gd name="connsiteY44" fmla="*/ 581025 h 2767786"/>
                    <a:gd name="connsiteX45" fmla="*/ 1724025 w 2086401"/>
                    <a:gd name="connsiteY45" fmla="*/ 523875 h 2767786"/>
                    <a:gd name="connsiteX46" fmla="*/ 1776412 w 2086401"/>
                    <a:gd name="connsiteY46" fmla="*/ 433388 h 2767786"/>
                    <a:gd name="connsiteX47" fmla="*/ 1824037 w 2086401"/>
                    <a:gd name="connsiteY47" fmla="*/ 409575 h 2767786"/>
                    <a:gd name="connsiteX48" fmla="*/ 1847850 w 2086401"/>
                    <a:gd name="connsiteY48" fmla="*/ 352425 h 2767786"/>
                    <a:gd name="connsiteX49" fmla="*/ 1871662 w 2086401"/>
                    <a:gd name="connsiteY49" fmla="*/ 280988 h 2767786"/>
                    <a:gd name="connsiteX50" fmla="*/ 1909762 w 2086401"/>
                    <a:gd name="connsiteY50" fmla="*/ 219075 h 2767786"/>
                    <a:gd name="connsiteX51" fmla="*/ 1957387 w 2086401"/>
                    <a:gd name="connsiteY51" fmla="*/ 161925 h 2767786"/>
                    <a:gd name="connsiteX52" fmla="*/ 2014537 w 2086401"/>
                    <a:gd name="connsiteY52" fmla="*/ 138113 h 2767786"/>
                    <a:gd name="connsiteX53" fmla="*/ 2062162 w 2086401"/>
                    <a:gd name="connsiteY53" fmla="*/ 123825 h 2767786"/>
                    <a:gd name="connsiteX54" fmla="*/ 2085975 w 2086401"/>
                    <a:gd name="connsiteY54" fmla="*/ 76200 h 2767786"/>
                    <a:gd name="connsiteX55" fmla="*/ 2081212 w 2086401"/>
                    <a:gd name="connsiteY55" fmla="*/ 0 h 2767786"/>
                    <a:gd name="connsiteX0" fmla="*/ 0 w 2085975"/>
                    <a:gd name="connsiteY0" fmla="*/ 1347788 h 2691586"/>
                    <a:gd name="connsiteX1" fmla="*/ 42862 w 2085975"/>
                    <a:gd name="connsiteY1" fmla="*/ 1433513 h 2691586"/>
                    <a:gd name="connsiteX2" fmla="*/ 119062 w 2085975"/>
                    <a:gd name="connsiteY2" fmla="*/ 1500188 h 2691586"/>
                    <a:gd name="connsiteX3" fmla="*/ 185737 w 2085975"/>
                    <a:gd name="connsiteY3" fmla="*/ 1571625 h 2691586"/>
                    <a:gd name="connsiteX4" fmla="*/ 238125 w 2085975"/>
                    <a:gd name="connsiteY4" fmla="*/ 1685925 h 2691586"/>
                    <a:gd name="connsiteX5" fmla="*/ 314325 w 2085975"/>
                    <a:gd name="connsiteY5" fmla="*/ 1804988 h 2691586"/>
                    <a:gd name="connsiteX6" fmla="*/ 409575 w 2085975"/>
                    <a:gd name="connsiteY6" fmla="*/ 1866900 h 2691586"/>
                    <a:gd name="connsiteX7" fmla="*/ 428625 w 2085975"/>
                    <a:gd name="connsiteY7" fmla="*/ 1890713 h 2691586"/>
                    <a:gd name="connsiteX8" fmla="*/ 438150 w 2085975"/>
                    <a:gd name="connsiteY8" fmla="*/ 1985963 h 2691586"/>
                    <a:gd name="connsiteX9" fmla="*/ 457200 w 2085975"/>
                    <a:gd name="connsiteY9" fmla="*/ 2057401 h 2691586"/>
                    <a:gd name="connsiteX10" fmla="*/ 528637 w 2085975"/>
                    <a:gd name="connsiteY10" fmla="*/ 2190750 h 2691586"/>
                    <a:gd name="connsiteX11" fmla="*/ 542925 w 2085975"/>
                    <a:gd name="connsiteY11" fmla="*/ 2281238 h 2691586"/>
                    <a:gd name="connsiteX12" fmla="*/ 566737 w 2085975"/>
                    <a:gd name="connsiteY12" fmla="*/ 2362200 h 2691586"/>
                    <a:gd name="connsiteX13" fmla="*/ 557212 w 2085975"/>
                    <a:gd name="connsiteY13" fmla="*/ 2428875 h 2691586"/>
                    <a:gd name="connsiteX14" fmla="*/ 642937 w 2085975"/>
                    <a:gd name="connsiteY14" fmla="*/ 2543175 h 2691586"/>
                    <a:gd name="connsiteX15" fmla="*/ 638175 w 2085975"/>
                    <a:gd name="connsiteY15" fmla="*/ 2638425 h 2691586"/>
                    <a:gd name="connsiteX16" fmla="*/ 652462 w 2085975"/>
                    <a:gd name="connsiteY16" fmla="*/ 2690813 h 2691586"/>
                    <a:gd name="connsiteX17" fmla="*/ 885825 w 2085975"/>
                    <a:gd name="connsiteY17" fmla="*/ 2600325 h 2691586"/>
                    <a:gd name="connsiteX18" fmla="*/ 947737 w 2085975"/>
                    <a:gd name="connsiteY18" fmla="*/ 2571750 h 2691586"/>
                    <a:gd name="connsiteX19" fmla="*/ 1023937 w 2085975"/>
                    <a:gd name="connsiteY19" fmla="*/ 2595563 h 2691586"/>
                    <a:gd name="connsiteX20" fmla="*/ 1085850 w 2085975"/>
                    <a:gd name="connsiteY20" fmla="*/ 2600325 h 2691586"/>
                    <a:gd name="connsiteX21" fmla="*/ 1123950 w 2085975"/>
                    <a:gd name="connsiteY21" fmla="*/ 2519363 h 2691586"/>
                    <a:gd name="connsiteX22" fmla="*/ 1085850 w 2085975"/>
                    <a:gd name="connsiteY22" fmla="*/ 2443163 h 2691586"/>
                    <a:gd name="connsiteX23" fmla="*/ 1147762 w 2085975"/>
                    <a:gd name="connsiteY23" fmla="*/ 2381250 h 2691586"/>
                    <a:gd name="connsiteX24" fmla="*/ 1214437 w 2085975"/>
                    <a:gd name="connsiteY24" fmla="*/ 2319338 h 2691586"/>
                    <a:gd name="connsiteX25" fmla="*/ 1266825 w 2085975"/>
                    <a:gd name="connsiteY25" fmla="*/ 2205038 h 2691586"/>
                    <a:gd name="connsiteX26" fmla="*/ 1290637 w 2085975"/>
                    <a:gd name="connsiteY26" fmla="*/ 2152650 h 2691586"/>
                    <a:gd name="connsiteX27" fmla="*/ 1352550 w 2085975"/>
                    <a:gd name="connsiteY27" fmla="*/ 2090738 h 2691586"/>
                    <a:gd name="connsiteX28" fmla="*/ 1404937 w 2085975"/>
                    <a:gd name="connsiteY28" fmla="*/ 2009775 h 2691586"/>
                    <a:gd name="connsiteX29" fmla="*/ 1419225 w 2085975"/>
                    <a:gd name="connsiteY29" fmla="*/ 1928813 h 2691586"/>
                    <a:gd name="connsiteX30" fmla="*/ 1485900 w 2085975"/>
                    <a:gd name="connsiteY30" fmla="*/ 1795463 h 2691586"/>
                    <a:gd name="connsiteX31" fmla="*/ 1552575 w 2085975"/>
                    <a:gd name="connsiteY31" fmla="*/ 1681163 h 2691586"/>
                    <a:gd name="connsiteX32" fmla="*/ 1552575 w 2085975"/>
                    <a:gd name="connsiteY32" fmla="*/ 1600200 h 2691586"/>
                    <a:gd name="connsiteX33" fmla="*/ 1557337 w 2085975"/>
                    <a:gd name="connsiteY33" fmla="*/ 1471613 h 2691586"/>
                    <a:gd name="connsiteX34" fmla="*/ 1571625 w 2085975"/>
                    <a:gd name="connsiteY34" fmla="*/ 1376363 h 2691586"/>
                    <a:gd name="connsiteX35" fmla="*/ 1590675 w 2085975"/>
                    <a:gd name="connsiteY35" fmla="*/ 1295400 h 2691586"/>
                    <a:gd name="connsiteX36" fmla="*/ 1543050 w 2085975"/>
                    <a:gd name="connsiteY36" fmla="*/ 1162050 h 2691586"/>
                    <a:gd name="connsiteX37" fmla="*/ 1438275 w 2085975"/>
                    <a:gd name="connsiteY37" fmla="*/ 947738 h 2691586"/>
                    <a:gd name="connsiteX38" fmla="*/ 1443037 w 2085975"/>
                    <a:gd name="connsiteY38" fmla="*/ 900113 h 2691586"/>
                    <a:gd name="connsiteX39" fmla="*/ 1447800 w 2085975"/>
                    <a:gd name="connsiteY39" fmla="*/ 857250 h 2691586"/>
                    <a:gd name="connsiteX40" fmla="*/ 1485900 w 2085975"/>
                    <a:gd name="connsiteY40" fmla="*/ 800100 h 2691586"/>
                    <a:gd name="connsiteX41" fmla="*/ 1504950 w 2085975"/>
                    <a:gd name="connsiteY41" fmla="*/ 762000 h 2691586"/>
                    <a:gd name="connsiteX42" fmla="*/ 1552575 w 2085975"/>
                    <a:gd name="connsiteY42" fmla="*/ 666750 h 2691586"/>
                    <a:gd name="connsiteX43" fmla="*/ 1590675 w 2085975"/>
                    <a:gd name="connsiteY43" fmla="*/ 590550 h 2691586"/>
                    <a:gd name="connsiteX44" fmla="*/ 1676400 w 2085975"/>
                    <a:gd name="connsiteY44" fmla="*/ 504825 h 2691586"/>
                    <a:gd name="connsiteX45" fmla="*/ 1724025 w 2085975"/>
                    <a:gd name="connsiteY45" fmla="*/ 447675 h 2691586"/>
                    <a:gd name="connsiteX46" fmla="*/ 1776412 w 2085975"/>
                    <a:gd name="connsiteY46" fmla="*/ 357188 h 2691586"/>
                    <a:gd name="connsiteX47" fmla="*/ 1824037 w 2085975"/>
                    <a:gd name="connsiteY47" fmla="*/ 333375 h 2691586"/>
                    <a:gd name="connsiteX48" fmla="*/ 1847850 w 2085975"/>
                    <a:gd name="connsiteY48" fmla="*/ 276225 h 2691586"/>
                    <a:gd name="connsiteX49" fmla="*/ 1871662 w 2085975"/>
                    <a:gd name="connsiteY49" fmla="*/ 204788 h 2691586"/>
                    <a:gd name="connsiteX50" fmla="*/ 1909762 w 2085975"/>
                    <a:gd name="connsiteY50" fmla="*/ 142875 h 2691586"/>
                    <a:gd name="connsiteX51" fmla="*/ 1957387 w 2085975"/>
                    <a:gd name="connsiteY51" fmla="*/ 85725 h 2691586"/>
                    <a:gd name="connsiteX52" fmla="*/ 2014537 w 2085975"/>
                    <a:gd name="connsiteY52" fmla="*/ 61913 h 2691586"/>
                    <a:gd name="connsiteX53" fmla="*/ 2062162 w 2085975"/>
                    <a:gd name="connsiteY53" fmla="*/ 47625 h 2691586"/>
                    <a:gd name="connsiteX54" fmla="*/ 2085975 w 2085975"/>
                    <a:gd name="connsiteY54" fmla="*/ 0 h 2691586"/>
                    <a:gd name="connsiteX0" fmla="*/ 0 w 2062162"/>
                    <a:gd name="connsiteY0" fmla="*/ 1300163 h 2643961"/>
                    <a:gd name="connsiteX1" fmla="*/ 42862 w 2062162"/>
                    <a:gd name="connsiteY1" fmla="*/ 1385888 h 2643961"/>
                    <a:gd name="connsiteX2" fmla="*/ 119062 w 2062162"/>
                    <a:gd name="connsiteY2" fmla="*/ 1452563 h 2643961"/>
                    <a:gd name="connsiteX3" fmla="*/ 185737 w 2062162"/>
                    <a:gd name="connsiteY3" fmla="*/ 1524000 h 2643961"/>
                    <a:gd name="connsiteX4" fmla="*/ 238125 w 2062162"/>
                    <a:gd name="connsiteY4" fmla="*/ 1638300 h 2643961"/>
                    <a:gd name="connsiteX5" fmla="*/ 314325 w 2062162"/>
                    <a:gd name="connsiteY5" fmla="*/ 1757363 h 2643961"/>
                    <a:gd name="connsiteX6" fmla="*/ 409575 w 2062162"/>
                    <a:gd name="connsiteY6" fmla="*/ 1819275 h 2643961"/>
                    <a:gd name="connsiteX7" fmla="*/ 428625 w 2062162"/>
                    <a:gd name="connsiteY7" fmla="*/ 1843088 h 2643961"/>
                    <a:gd name="connsiteX8" fmla="*/ 438150 w 2062162"/>
                    <a:gd name="connsiteY8" fmla="*/ 1938338 h 2643961"/>
                    <a:gd name="connsiteX9" fmla="*/ 457200 w 2062162"/>
                    <a:gd name="connsiteY9" fmla="*/ 2009776 h 2643961"/>
                    <a:gd name="connsiteX10" fmla="*/ 528637 w 2062162"/>
                    <a:gd name="connsiteY10" fmla="*/ 2143125 h 2643961"/>
                    <a:gd name="connsiteX11" fmla="*/ 542925 w 2062162"/>
                    <a:gd name="connsiteY11" fmla="*/ 2233613 h 2643961"/>
                    <a:gd name="connsiteX12" fmla="*/ 566737 w 2062162"/>
                    <a:gd name="connsiteY12" fmla="*/ 2314575 h 2643961"/>
                    <a:gd name="connsiteX13" fmla="*/ 557212 w 2062162"/>
                    <a:gd name="connsiteY13" fmla="*/ 2381250 h 2643961"/>
                    <a:gd name="connsiteX14" fmla="*/ 642937 w 2062162"/>
                    <a:gd name="connsiteY14" fmla="*/ 2495550 h 2643961"/>
                    <a:gd name="connsiteX15" fmla="*/ 638175 w 2062162"/>
                    <a:gd name="connsiteY15" fmla="*/ 2590800 h 2643961"/>
                    <a:gd name="connsiteX16" fmla="*/ 652462 w 2062162"/>
                    <a:gd name="connsiteY16" fmla="*/ 2643188 h 2643961"/>
                    <a:gd name="connsiteX17" fmla="*/ 885825 w 2062162"/>
                    <a:gd name="connsiteY17" fmla="*/ 2552700 h 2643961"/>
                    <a:gd name="connsiteX18" fmla="*/ 947737 w 2062162"/>
                    <a:gd name="connsiteY18" fmla="*/ 2524125 h 2643961"/>
                    <a:gd name="connsiteX19" fmla="*/ 1023937 w 2062162"/>
                    <a:gd name="connsiteY19" fmla="*/ 2547938 h 2643961"/>
                    <a:gd name="connsiteX20" fmla="*/ 1085850 w 2062162"/>
                    <a:gd name="connsiteY20" fmla="*/ 2552700 h 2643961"/>
                    <a:gd name="connsiteX21" fmla="*/ 1123950 w 2062162"/>
                    <a:gd name="connsiteY21" fmla="*/ 2471738 h 2643961"/>
                    <a:gd name="connsiteX22" fmla="*/ 1085850 w 2062162"/>
                    <a:gd name="connsiteY22" fmla="*/ 2395538 h 2643961"/>
                    <a:gd name="connsiteX23" fmla="*/ 1147762 w 2062162"/>
                    <a:gd name="connsiteY23" fmla="*/ 2333625 h 2643961"/>
                    <a:gd name="connsiteX24" fmla="*/ 1214437 w 2062162"/>
                    <a:gd name="connsiteY24" fmla="*/ 2271713 h 2643961"/>
                    <a:gd name="connsiteX25" fmla="*/ 1266825 w 2062162"/>
                    <a:gd name="connsiteY25" fmla="*/ 2157413 h 2643961"/>
                    <a:gd name="connsiteX26" fmla="*/ 1290637 w 2062162"/>
                    <a:gd name="connsiteY26" fmla="*/ 2105025 h 2643961"/>
                    <a:gd name="connsiteX27" fmla="*/ 1352550 w 2062162"/>
                    <a:gd name="connsiteY27" fmla="*/ 2043113 h 2643961"/>
                    <a:gd name="connsiteX28" fmla="*/ 1404937 w 2062162"/>
                    <a:gd name="connsiteY28" fmla="*/ 1962150 h 2643961"/>
                    <a:gd name="connsiteX29" fmla="*/ 1419225 w 2062162"/>
                    <a:gd name="connsiteY29" fmla="*/ 1881188 h 2643961"/>
                    <a:gd name="connsiteX30" fmla="*/ 1485900 w 2062162"/>
                    <a:gd name="connsiteY30" fmla="*/ 1747838 h 2643961"/>
                    <a:gd name="connsiteX31" fmla="*/ 1552575 w 2062162"/>
                    <a:gd name="connsiteY31" fmla="*/ 1633538 h 2643961"/>
                    <a:gd name="connsiteX32" fmla="*/ 1552575 w 2062162"/>
                    <a:gd name="connsiteY32" fmla="*/ 1552575 h 2643961"/>
                    <a:gd name="connsiteX33" fmla="*/ 1557337 w 2062162"/>
                    <a:gd name="connsiteY33" fmla="*/ 1423988 h 2643961"/>
                    <a:gd name="connsiteX34" fmla="*/ 1571625 w 2062162"/>
                    <a:gd name="connsiteY34" fmla="*/ 1328738 h 2643961"/>
                    <a:gd name="connsiteX35" fmla="*/ 1590675 w 2062162"/>
                    <a:gd name="connsiteY35" fmla="*/ 1247775 h 2643961"/>
                    <a:gd name="connsiteX36" fmla="*/ 1543050 w 2062162"/>
                    <a:gd name="connsiteY36" fmla="*/ 1114425 h 2643961"/>
                    <a:gd name="connsiteX37" fmla="*/ 1438275 w 2062162"/>
                    <a:gd name="connsiteY37" fmla="*/ 900113 h 2643961"/>
                    <a:gd name="connsiteX38" fmla="*/ 1443037 w 2062162"/>
                    <a:gd name="connsiteY38" fmla="*/ 852488 h 2643961"/>
                    <a:gd name="connsiteX39" fmla="*/ 1447800 w 2062162"/>
                    <a:gd name="connsiteY39" fmla="*/ 809625 h 2643961"/>
                    <a:gd name="connsiteX40" fmla="*/ 1485900 w 2062162"/>
                    <a:gd name="connsiteY40" fmla="*/ 752475 h 2643961"/>
                    <a:gd name="connsiteX41" fmla="*/ 1504950 w 2062162"/>
                    <a:gd name="connsiteY41" fmla="*/ 714375 h 2643961"/>
                    <a:gd name="connsiteX42" fmla="*/ 1552575 w 2062162"/>
                    <a:gd name="connsiteY42" fmla="*/ 619125 h 2643961"/>
                    <a:gd name="connsiteX43" fmla="*/ 1590675 w 2062162"/>
                    <a:gd name="connsiteY43" fmla="*/ 542925 h 2643961"/>
                    <a:gd name="connsiteX44" fmla="*/ 1676400 w 2062162"/>
                    <a:gd name="connsiteY44" fmla="*/ 457200 h 2643961"/>
                    <a:gd name="connsiteX45" fmla="*/ 1724025 w 2062162"/>
                    <a:gd name="connsiteY45" fmla="*/ 400050 h 2643961"/>
                    <a:gd name="connsiteX46" fmla="*/ 1776412 w 2062162"/>
                    <a:gd name="connsiteY46" fmla="*/ 309563 h 2643961"/>
                    <a:gd name="connsiteX47" fmla="*/ 1824037 w 2062162"/>
                    <a:gd name="connsiteY47" fmla="*/ 285750 h 2643961"/>
                    <a:gd name="connsiteX48" fmla="*/ 1847850 w 2062162"/>
                    <a:gd name="connsiteY48" fmla="*/ 228600 h 2643961"/>
                    <a:gd name="connsiteX49" fmla="*/ 1871662 w 2062162"/>
                    <a:gd name="connsiteY49" fmla="*/ 157163 h 2643961"/>
                    <a:gd name="connsiteX50" fmla="*/ 1909762 w 2062162"/>
                    <a:gd name="connsiteY50" fmla="*/ 95250 h 2643961"/>
                    <a:gd name="connsiteX51" fmla="*/ 1957387 w 2062162"/>
                    <a:gd name="connsiteY51" fmla="*/ 38100 h 2643961"/>
                    <a:gd name="connsiteX52" fmla="*/ 2014537 w 2062162"/>
                    <a:gd name="connsiteY52" fmla="*/ 14288 h 2643961"/>
                    <a:gd name="connsiteX53" fmla="*/ 2062162 w 2062162"/>
                    <a:gd name="connsiteY53" fmla="*/ 0 h 2643961"/>
                    <a:gd name="connsiteX0" fmla="*/ 0 w 2014537"/>
                    <a:gd name="connsiteY0" fmla="*/ 1285875 h 2629673"/>
                    <a:gd name="connsiteX1" fmla="*/ 42862 w 2014537"/>
                    <a:gd name="connsiteY1" fmla="*/ 1371600 h 2629673"/>
                    <a:gd name="connsiteX2" fmla="*/ 119062 w 2014537"/>
                    <a:gd name="connsiteY2" fmla="*/ 1438275 h 2629673"/>
                    <a:gd name="connsiteX3" fmla="*/ 185737 w 2014537"/>
                    <a:gd name="connsiteY3" fmla="*/ 1509712 h 2629673"/>
                    <a:gd name="connsiteX4" fmla="*/ 238125 w 2014537"/>
                    <a:gd name="connsiteY4" fmla="*/ 1624012 h 2629673"/>
                    <a:gd name="connsiteX5" fmla="*/ 314325 w 2014537"/>
                    <a:gd name="connsiteY5" fmla="*/ 1743075 h 2629673"/>
                    <a:gd name="connsiteX6" fmla="*/ 409575 w 2014537"/>
                    <a:gd name="connsiteY6" fmla="*/ 1804987 h 2629673"/>
                    <a:gd name="connsiteX7" fmla="*/ 428625 w 2014537"/>
                    <a:gd name="connsiteY7" fmla="*/ 1828800 h 2629673"/>
                    <a:gd name="connsiteX8" fmla="*/ 438150 w 2014537"/>
                    <a:gd name="connsiteY8" fmla="*/ 1924050 h 2629673"/>
                    <a:gd name="connsiteX9" fmla="*/ 457200 w 2014537"/>
                    <a:gd name="connsiteY9" fmla="*/ 1995488 h 2629673"/>
                    <a:gd name="connsiteX10" fmla="*/ 528637 w 2014537"/>
                    <a:gd name="connsiteY10" fmla="*/ 2128837 h 2629673"/>
                    <a:gd name="connsiteX11" fmla="*/ 542925 w 2014537"/>
                    <a:gd name="connsiteY11" fmla="*/ 2219325 h 2629673"/>
                    <a:gd name="connsiteX12" fmla="*/ 566737 w 2014537"/>
                    <a:gd name="connsiteY12" fmla="*/ 2300287 h 2629673"/>
                    <a:gd name="connsiteX13" fmla="*/ 557212 w 2014537"/>
                    <a:gd name="connsiteY13" fmla="*/ 2366962 h 2629673"/>
                    <a:gd name="connsiteX14" fmla="*/ 642937 w 2014537"/>
                    <a:gd name="connsiteY14" fmla="*/ 2481262 h 2629673"/>
                    <a:gd name="connsiteX15" fmla="*/ 638175 w 2014537"/>
                    <a:gd name="connsiteY15" fmla="*/ 2576512 h 2629673"/>
                    <a:gd name="connsiteX16" fmla="*/ 652462 w 2014537"/>
                    <a:gd name="connsiteY16" fmla="*/ 2628900 h 2629673"/>
                    <a:gd name="connsiteX17" fmla="*/ 885825 w 2014537"/>
                    <a:gd name="connsiteY17" fmla="*/ 2538412 h 2629673"/>
                    <a:gd name="connsiteX18" fmla="*/ 947737 w 2014537"/>
                    <a:gd name="connsiteY18" fmla="*/ 2509837 h 2629673"/>
                    <a:gd name="connsiteX19" fmla="*/ 1023937 w 2014537"/>
                    <a:gd name="connsiteY19" fmla="*/ 2533650 h 2629673"/>
                    <a:gd name="connsiteX20" fmla="*/ 1085850 w 2014537"/>
                    <a:gd name="connsiteY20" fmla="*/ 2538412 h 2629673"/>
                    <a:gd name="connsiteX21" fmla="*/ 1123950 w 2014537"/>
                    <a:gd name="connsiteY21" fmla="*/ 2457450 h 2629673"/>
                    <a:gd name="connsiteX22" fmla="*/ 1085850 w 2014537"/>
                    <a:gd name="connsiteY22" fmla="*/ 2381250 h 2629673"/>
                    <a:gd name="connsiteX23" fmla="*/ 1147762 w 2014537"/>
                    <a:gd name="connsiteY23" fmla="*/ 2319337 h 2629673"/>
                    <a:gd name="connsiteX24" fmla="*/ 1214437 w 2014537"/>
                    <a:gd name="connsiteY24" fmla="*/ 2257425 h 2629673"/>
                    <a:gd name="connsiteX25" fmla="*/ 1266825 w 2014537"/>
                    <a:gd name="connsiteY25" fmla="*/ 2143125 h 2629673"/>
                    <a:gd name="connsiteX26" fmla="*/ 1290637 w 2014537"/>
                    <a:gd name="connsiteY26" fmla="*/ 2090737 h 2629673"/>
                    <a:gd name="connsiteX27" fmla="*/ 1352550 w 2014537"/>
                    <a:gd name="connsiteY27" fmla="*/ 2028825 h 2629673"/>
                    <a:gd name="connsiteX28" fmla="*/ 1404937 w 2014537"/>
                    <a:gd name="connsiteY28" fmla="*/ 1947862 h 2629673"/>
                    <a:gd name="connsiteX29" fmla="*/ 1419225 w 2014537"/>
                    <a:gd name="connsiteY29" fmla="*/ 1866900 h 2629673"/>
                    <a:gd name="connsiteX30" fmla="*/ 1485900 w 2014537"/>
                    <a:gd name="connsiteY30" fmla="*/ 1733550 h 2629673"/>
                    <a:gd name="connsiteX31" fmla="*/ 1552575 w 2014537"/>
                    <a:gd name="connsiteY31" fmla="*/ 1619250 h 2629673"/>
                    <a:gd name="connsiteX32" fmla="*/ 1552575 w 2014537"/>
                    <a:gd name="connsiteY32" fmla="*/ 1538287 h 2629673"/>
                    <a:gd name="connsiteX33" fmla="*/ 1557337 w 2014537"/>
                    <a:gd name="connsiteY33" fmla="*/ 1409700 h 2629673"/>
                    <a:gd name="connsiteX34" fmla="*/ 1571625 w 2014537"/>
                    <a:gd name="connsiteY34" fmla="*/ 1314450 h 2629673"/>
                    <a:gd name="connsiteX35" fmla="*/ 1590675 w 2014537"/>
                    <a:gd name="connsiteY35" fmla="*/ 1233487 h 2629673"/>
                    <a:gd name="connsiteX36" fmla="*/ 1543050 w 2014537"/>
                    <a:gd name="connsiteY36" fmla="*/ 1100137 h 2629673"/>
                    <a:gd name="connsiteX37" fmla="*/ 1438275 w 2014537"/>
                    <a:gd name="connsiteY37" fmla="*/ 885825 h 2629673"/>
                    <a:gd name="connsiteX38" fmla="*/ 1443037 w 2014537"/>
                    <a:gd name="connsiteY38" fmla="*/ 838200 h 2629673"/>
                    <a:gd name="connsiteX39" fmla="*/ 1447800 w 2014537"/>
                    <a:gd name="connsiteY39" fmla="*/ 795337 h 2629673"/>
                    <a:gd name="connsiteX40" fmla="*/ 1485900 w 2014537"/>
                    <a:gd name="connsiteY40" fmla="*/ 738187 h 2629673"/>
                    <a:gd name="connsiteX41" fmla="*/ 1504950 w 2014537"/>
                    <a:gd name="connsiteY41" fmla="*/ 700087 h 2629673"/>
                    <a:gd name="connsiteX42" fmla="*/ 1552575 w 2014537"/>
                    <a:gd name="connsiteY42" fmla="*/ 604837 h 2629673"/>
                    <a:gd name="connsiteX43" fmla="*/ 1590675 w 2014537"/>
                    <a:gd name="connsiteY43" fmla="*/ 528637 h 2629673"/>
                    <a:gd name="connsiteX44" fmla="*/ 1676400 w 2014537"/>
                    <a:gd name="connsiteY44" fmla="*/ 442912 h 2629673"/>
                    <a:gd name="connsiteX45" fmla="*/ 1724025 w 2014537"/>
                    <a:gd name="connsiteY45" fmla="*/ 385762 h 2629673"/>
                    <a:gd name="connsiteX46" fmla="*/ 1776412 w 2014537"/>
                    <a:gd name="connsiteY46" fmla="*/ 295275 h 2629673"/>
                    <a:gd name="connsiteX47" fmla="*/ 1824037 w 2014537"/>
                    <a:gd name="connsiteY47" fmla="*/ 271462 h 2629673"/>
                    <a:gd name="connsiteX48" fmla="*/ 1847850 w 2014537"/>
                    <a:gd name="connsiteY48" fmla="*/ 214312 h 2629673"/>
                    <a:gd name="connsiteX49" fmla="*/ 1871662 w 2014537"/>
                    <a:gd name="connsiteY49" fmla="*/ 142875 h 2629673"/>
                    <a:gd name="connsiteX50" fmla="*/ 1909762 w 2014537"/>
                    <a:gd name="connsiteY50" fmla="*/ 80962 h 2629673"/>
                    <a:gd name="connsiteX51" fmla="*/ 1957387 w 2014537"/>
                    <a:gd name="connsiteY51" fmla="*/ 23812 h 2629673"/>
                    <a:gd name="connsiteX52" fmla="*/ 2014537 w 2014537"/>
                    <a:gd name="connsiteY52" fmla="*/ 0 h 2629673"/>
                    <a:gd name="connsiteX0" fmla="*/ 0 w 1957387"/>
                    <a:gd name="connsiteY0" fmla="*/ 1262063 h 2605861"/>
                    <a:gd name="connsiteX1" fmla="*/ 42862 w 1957387"/>
                    <a:gd name="connsiteY1" fmla="*/ 1347788 h 2605861"/>
                    <a:gd name="connsiteX2" fmla="*/ 119062 w 1957387"/>
                    <a:gd name="connsiteY2" fmla="*/ 1414463 h 2605861"/>
                    <a:gd name="connsiteX3" fmla="*/ 185737 w 1957387"/>
                    <a:gd name="connsiteY3" fmla="*/ 1485900 h 2605861"/>
                    <a:gd name="connsiteX4" fmla="*/ 238125 w 1957387"/>
                    <a:gd name="connsiteY4" fmla="*/ 1600200 h 2605861"/>
                    <a:gd name="connsiteX5" fmla="*/ 314325 w 1957387"/>
                    <a:gd name="connsiteY5" fmla="*/ 1719263 h 2605861"/>
                    <a:gd name="connsiteX6" fmla="*/ 409575 w 1957387"/>
                    <a:gd name="connsiteY6" fmla="*/ 1781175 h 2605861"/>
                    <a:gd name="connsiteX7" fmla="*/ 428625 w 1957387"/>
                    <a:gd name="connsiteY7" fmla="*/ 1804988 h 2605861"/>
                    <a:gd name="connsiteX8" fmla="*/ 438150 w 1957387"/>
                    <a:gd name="connsiteY8" fmla="*/ 1900238 h 2605861"/>
                    <a:gd name="connsiteX9" fmla="*/ 457200 w 1957387"/>
                    <a:gd name="connsiteY9" fmla="*/ 1971676 h 2605861"/>
                    <a:gd name="connsiteX10" fmla="*/ 528637 w 1957387"/>
                    <a:gd name="connsiteY10" fmla="*/ 2105025 h 2605861"/>
                    <a:gd name="connsiteX11" fmla="*/ 542925 w 1957387"/>
                    <a:gd name="connsiteY11" fmla="*/ 2195513 h 2605861"/>
                    <a:gd name="connsiteX12" fmla="*/ 566737 w 1957387"/>
                    <a:gd name="connsiteY12" fmla="*/ 2276475 h 2605861"/>
                    <a:gd name="connsiteX13" fmla="*/ 557212 w 1957387"/>
                    <a:gd name="connsiteY13" fmla="*/ 2343150 h 2605861"/>
                    <a:gd name="connsiteX14" fmla="*/ 642937 w 1957387"/>
                    <a:gd name="connsiteY14" fmla="*/ 2457450 h 2605861"/>
                    <a:gd name="connsiteX15" fmla="*/ 638175 w 1957387"/>
                    <a:gd name="connsiteY15" fmla="*/ 2552700 h 2605861"/>
                    <a:gd name="connsiteX16" fmla="*/ 652462 w 1957387"/>
                    <a:gd name="connsiteY16" fmla="*/ 2605088 h 2605861"/>
                    <a:gd name="connsiteX17" fmla="*/ 885825 w 1957387"/>
                    <a:gd name="connsiteY17" fmla="*/ 2514600 h 2605861"/>
                    <a:gd name="connsiteX18" fmla="*/ 947737 w 1957387"/>
                    <a:gd name="connsiteY18" fmla="*/ 2486025 h 2605861"/>
                    <a:gd name="connsiteX19" fmla="*/ 1023937 w 1957387"/>
                    <a:gd name="connsiteY19" fmla="*/ 2509838 h 2605861"/>
                    <a:gd name="connsiteX20" fmla="*/ 1085850 w 1957387"/>
                    <a:gd name="connsiteY20" fmla="*/ 2514600 h 2605861"/>
                    <a:gd name="connsiteX21" fmla="*/ 1123950 w 1957387"/>
                    <a:gd name="connsiteY21" fmla="*/ 2433638 h 2605861"/>
                    <a:gd name="connsiteX22" fmla="*/ 1085850 w 1957387"/>
                    <a:gd name="connsiteY22" fmla="*/ 2357438 h 2605861"/>
                    <a:gd name="connsiteX23" fmla="*/ 1147762 w 1957387"/>
                    <a:gd name="connsiteY23" fmla="*/ 2295525 h 2605861"/>
                    <a:gd name="connsiteX24" fmla="*/ 1214437 w 1957387"/>
                    <a:gd name="connsiteY24" fmla="*/ 2233613 h 2605861"/>
                    <a:gd name="connsiteX25" fmla="*/ 1266825 w 1957387"/>
                    <a:gd name="connsiteY25" fmla="*/ 2119313 h 2605861"/>
                    <a:gd name="connsiteX26" fmla="*/ 1290637 w 1957387"/>
                    <a:gd name="connsiteY26" fmla="*/ 2066925 h 2605861"/>
                    <a:gd name="connsiteX27" fmla="*/ 1352550 w 1957387"/>
                    <a:gd name="connsiteY27" fmla="*/ 2005013 h 2605861"/>
                    <a:gd name="connsiteX28" fmla="*/ 1404937 w 1957387"/>
                    <a:gd name="connsiteY28" fmla="*/ 1924050 h 2605861"/>
                    <a:gd name="connsiteX29" fmla="*/ 1419225 w 1957387"/>
                    <a:gd name="connsiteY29" fmla="*/ 1843088 h 2605861"/>
                    <a:gd name="connsiteX30" fmla="*/ 1485900 w 1957387"/>
                    <a:gd name="connsiteY30" fmla="*/ 1709738 h 2605861"/>
                    <a:gd name="connsiteX31" fmla="*/ 1552575 w 1957387"/>
                    <a:gd name="connsiteY31" fmla="*/ 1595438 h 2605861"/>
                    <a:gd name="connsiteX32" fmla="*/ 1552575 w 1957387"/>
                    <a:gd name="connsiteY32" fmla="*/ 1514475 h 2605861"/>
                    <a:gd name="connsiteX33" fmla="*/ 1557337 w 1957387"/>
                    <a:gd name="connsiteY33" fmla="*/ 1385888 h 2605861"/>
                    <a:gd name="connsiteX34" fmla="*/ 1571625 w 1957387"/>
                    <a:gd name="connsiteY34" fmla="*/ 1290638 h 2605861"/>
                    <a:gd name="connsiteX35" fmla="*/ 1590675 w 1957387"/>
                    <a:gd name="connsiteY35" fmla="*/ 1209675 h 2605861"/>
                    <a:gd name="connsiteX36" fmla="*/ 1543050 w 1957387"/>
                    <a:gd name="connsiteY36" fmla="*/ 1076325 h 2605861"/>
                    <a:gd name="connsiteX37" fmla="*/ 1438275 w 1957387"/>
                    <a:gd name="connsiteY37" fmla="*/ 862013 h 2605861"/>
                    <a:gd name="connsiteX38" fmla="*/ 1443037 w 1957387"/>
                    <a:gd name="connsiteY38" fmla="*/ 814388 h 2605861"/>
                    <a:gd name="connsiteX39" fmla="*/ 1447800 w 1957387"/>
                    <a:gd name="connsiteY39" fmla="*/ 771525 h 2605861"/>
                    <a:gd name="connsiteX40" fmla="*/ 1485900 w 1957387"/>
                    <a:gd name="connsiteY40" fmla="*/ 714375 h 2605861"/>
                    <a:gd name="connsiteX41" fmla="*/ 1504950 w 1957387"/>
                    <a:gd name="connsiteY41" fmla="*/ 676275 h 2605861"/>
                    <a:gd name="connsiteX42" fmla="*/ 1552575 w 1957387"/>
                    <a:gd name="connsiteY42" fmla="*/ 581025 h 2605861"/>
                    <a:gd name="connsiteX43" fmla="*/ 1590675 w 1957387"/>
                    <a:gd name="connsiteY43" fmla="*/ 504825 h 2605861"/>
                    <a:gd name="connsiteX44" fmla="*/ 1676400 w 1957387"/>
                    <a:gd name="connsiteY44" fmla="*/ 419100 h 2605861"/>
                    <a:gd name="connsiteX45" fmla="*/ 1724025 w 1957387"/>
                    <a:gd name="connsiteY45" fmla="*/ 361950 h 2605861"/>
                    <a:gd name="connsiteX46" fmla="*/ 1776412 w 1957387"/>
                    <a:gd name="connsiteY46" fmla="*/ 271463 h 2605861"/>
                    <a:gd name="connsiteX47" fmla="*/ 1824037 w 1957387"/>
                    <a:gd name="connsiteY47" fmla="*/ 247650 h 2605861"/>
                    <a:gd name="connsiteX48" fmla="*/ 1847850 w 1957387"/>
                    <a:gd name="connsiteY48" fmla="*/ 190500 h 2605861"/>
                    <a:gd name="connsiteX49" fmla="*/ 1871662 w 1957387"/>
                    <a:gd name="connsiteY49" fmla="*/ 119063 h 2605861"/>
                    <a:gd name="connsiteX50" fmla="*/ 1909762 w 1957387"/>
                    <a:gd name="connsiteY50" fmla="*/ 57150 h 2605861"/>
                    <a:gd name="connsiteX51" fmla="*/ 1957387 w 1957387"/>
                    <a:gd name="connsiteY51" fmla="*/ 0 h 2605861"/>
                    <a:gd name="connsiteX0" fmla="*/ 0 w 1909762"/>
                    <a:gd name="connsiteY0" fmla="*/ 1204913 h 2548711"/>
                    <a:gd name="connsiteX1" fmla="*/ 42862 w 1909762"/>
                    <a:gd name="connsiteY1" fmla="*/ 1290638 h 2548711"/>
                    <a:gd name="connsiteX2" fmla="*/ 119062 w 1909762"/>
                    <a:gd name="connsiteY2" fmla="*/ 1357313 h 2548711"/>
                    <a:gd name="connsiteX3" fmla="*/ 185737 w 1909762"/>
                    <a:gd name="connsiteY3" fmla="*/ 1428750 h 2548711"/>
                    <a:gd name="connsiteX4" fmla="*/ 238125 w 1909762"/>
                    <a:gd name="connsiteY4" fmla="*/ 1543050 h 2548711"/>
                    <a:gd name="connsiteX5" fmla="*/ 314325 w 1909762"/>
                    <a:gd name="connsiteY5" fmla="*/ 1662113 h 2548711"/>
                    <a:gd name="connsiteX6" fmla="*/ 409575 w 1909762"/>
                    <a:gd name="connsiteY6" fmla="*/ 1724025 h 2548711"/>
                    <a:gd name="connsiteX7" fmla="*/ 428625 w 1909762"/>
                    <a:gd name="connsiteY7" fmla="*/ 1747838 h 2548711"/>
                    <a:gd name="connsiteX8" fmla="*/ 438150 w 1909762"/>
                    <a:gd name="connsiteY8" fmla="*/ 1843088 h 2548711"/>
                    <a:gd name="connsiteX9" fmla="*/ 457200 w 1909762"/>
                    <a:gd name="connsiteY9" fmla="*/ 1914526 h 2548711"/>
                    <a:gd name="connsiteX10" fmla="*/ 528637 w 1909762"/>
                    <a:gd name="connsiteY10" fmla="*/ 2047875 h 2548711"/>
                    <a:gd name="connsiteX11" fmla="*/ 542925 w 1909762"/>
                    <a:gd name="connsiteY11" fmla="*/ 2138363 h 2548711"/>
                    <a:gd name="connsiteX12" fmla="*/ 566737 w 1909762"/>
                    <a:gd name="connsiteY12" fmla="*/ 2219325 h 2548711"/>
                    <a:gd name="connsiteX13" fmla="*/ 557212 w 1909762"/>
                    <a:gd name="connsiteY13" fmla="*/ 2286000 h 2548711"/>
                    <a:gd name="connsiteX14" fmla="*/ 642937 w 1909762"/>
                    <a:gd name="connsiteY14" fmla="*/ 2400300 h 2548711"/>
                    <a:gd name="connsiteX15" fmla="*/ 638175 w 1909762"/>
                    <a:gd name="connsiteY15" fmla="*/ 2495550 h 2548711"/>
                    <a:gd name="connsiteX16" fmla="*/ 652462 w 1909762"/>
                    <a:gd name="connsiteY16" fmla="*/ 2547938 h 2548711"/>
                    <a:gd name="connsiteX17" fmla="*/ 885825 w 1909762"/>
                    <a:gd name="connsiteY17" fmla="*/ 2457450 h 2548711"/>
                    <a:gd name="connsiteX18" fmla="*/ 947737 w 1909762"/>
                    <a:gd name="connsiteY18" fmla="*/ 2428875 h 2548711"/>
                    <a:gd name="connsiteX19" fmla="*/ 1023937 w 1909762"/>
                    <a:gd name="connsiteY19" fmla="*/ 2452688 h 2548711"/>
                    <a:gd name="connsiteX20" fmla="*/ 1085850 w 1909762"/>
                    <a:gd name="connsiteY20" fmla="*/ 2457450 h 2548711"/>
                    <a:gd name="connsiteX21" fmla="*/ 1123950 w 1909762"/>
                    <a:gd name="connsiteY21" fmla="*/ 2376488 h 2548711"/>
                    <a:gd name="connsiteX22" fmla="*/ 1085850 w 1909762"/>
                    <a:gd name="connsiteY22" fmla="*/ 2300288 h 2548711"/>
                    <a:gd name="connsiteX23" fmla="*/ 1147762 w 1909762"/>
                    <a:gd name="connsiteY23" fmla="*/ 2238375 h 2548711"/>
                    <a:gd name="connsiteX24" fmla="*/ 1214437 w 1909762"/>
                    <a:gd name="connsiteY24" fmla="*/ 2176463 h 2548711"/>
                    <a:gd name="connsiteX25" fmla="*/ 1266825 w 1909762"/>
                    <a:gd name="connsiteY25" fmla="*/ 2062163 h 2548711"/>
                    <a:gd name="connsiteX26" fmla="*/ 1290637 w 1909762"/>
                    <a:gd name="connsiteY26" fmla="*/ 2009775 h 2548711"/>
                    <a:gd name="connsiteX27" fmla="*/ 1352550 w 1909762"/>
                    <a:gd name="connsiteY27" fmla="*/ 1947863 h 2548711"/>
                    <a:gd name="connsiteX28" fmla="*/ 1404937 w 1909762"/>
                    <a:gd name="connsiteY28" fmla="*/ 1866900 h 2548711"/>
                    <a:gd name="connsiteX29" fmla="*/ 1419225 w 1909762"/>
                    <a:gd name="connsiteY29" fmla="*/ 1785938 h 2548711"/>
                    <a:gd name="connsiteX30" fmla="*/ 1485900 w 1909762"/>
                    <a:gd name="connsiteY30" fmla="*/ 1652588 h 2548711"/>
                    <a:gd name="connsiteX31" fmla="*/ 1552575 w 1909762"/>
                    <a:gd name="connsiteY31" fmla="*/ 1538288 h 2548711"/>
                    <a:gd name="connsiteX32" fmla="*/ 1552575 w 1909762"/>
                    <a:gd name="connsiteY32" fmla="*/ 1457325 h 2548711"/>
                    <a:gd name="connsiteX33" fmla="*/ 1557337 w 1909762"/>
                    <a:gd name="connsiteY33" fmla="*/ 1328738 h 2548711"/>
                    <a:gd name="connsiteX34" fmla="*/ 1571625 w 1909762"/>
                    <a:gd name="connsiteY34" fmla="*/ 1233488 h 2548711"/>
                    <a:gd name="connsiteX35" fmla="*/ 1590675 w 1909762"/>
                    <a:gd name="connsiteY35" fmla="*/ 1152525 h 2548711"/>
                    <a:gd name="connsiteX36" fmla="*/ 1543050 w 1909762"/>
                    <a:gd name="connsiteY36" fmla="*/ 1019175 h 2548711"/>
                    <a:gd name="connsiteX37" fmla="*/ 1438275 w 1909762"/>
                    <a:gd name="connsiteY37" fmla="*/ 804863 h 2548711"/>
                    <a:gd name="connsiteX38" fmla="*/ 1443037 w 1909762"/>
                    <a:gd name="connsiteY38" fmla="*/ 757238 h 2548711"/>
                    <a:gd name="connsiteX39" fmla="*/ 1447800 w 1909762"/>
                    <a:gd name="connsiteY39" fmla="*/ 714375 h 2548711"/>
                    <a:gd name="connsiteX40" fmla="*/ 1485900 w 1909762"/>
                    <a:gd name="connsiteY40" fmla="*/ 657225 h 2548711"/>
                    <a:gd name="connsiteX41" fmla="*/ 1504950 w 1909762"/>
                    <a:gd name="connsiteY41" fmla="*/ 619125 h 2548711"/>
                    <a:gd name="connsiteX42" fmla="*/ 1552575 w 1909762"/>
                    <a:gd name="connsiteY42" fmla="*/ 523875 h 2548711"/>
                    <a:gd name="connsiteX43" fmla="*/ 1590675 w 1909762"/>
                    <a:gd name="connsiteY43" fmla="*/ 447675 h 2548711"/>
                    <a:gd name="connsiteX44" fmla="*/ 1676400 w 1909762"/>
                    <a:gd name="connsiteY44" fmla="*/ 361950 h 2548711"/>
                    <a:gd name="connsiteX45" fmla="*/ 1724025 w 1909762"/>
                    <a:gd name="connsiteY45" fmla="*/ 304800 h 2548711"/>
                    <a:gd name="connsiteX46" fmla="*/ 1776412 w 1909762"/>
                    <a:gd name="connsiteY46" fmla="*/ 214313 h 2548711"/>
                    <a:gd name="connsiteX47" fmla="*/ 1824037 w 1909762"/>
                    <a:gd name="connsiteY47" fmla="*/ 190500 h 2548711"/>
                    <a:gd name="connsiteX48" fmla="*/ 1847850 w 1909762"/>
                    <a:gd name="connsiteY48" fmla="*/ 133350 h 2548711"/>
                    <a:gd name="connsiteX49" fmla="*/ 1871662 w 1909762"/>
                    <a:gd name="connsiteY49" fmla="*/ 61913 h 2548711"/>
                    <a:gd name="connsiteX50" fmla="*/ 1909762 w 1909762"/>
                    <a:gd name="connsiteY50" fmla="*/ 0 h 2548711"/>
                    <a:gd name="connsiteX0" fmla="*/ 0 w 1871662"/>
                    <a:gd name="connsiteY0" fmla="*/ 1143000 h 2486798"/>
                    <a:gd name="connsiteX1" fmla="*/ 42862 w 1871662"/>
                    <a:gd name="connsiteY1" fmla="*/ 1228725 h 2486798"/>
                    <a:gd name="connsiteX2" fmla="*/ 119062 w 1871662"/>
                    <a:gd name="connsiteY2" fmla="*/ 1295400 h 2486798"/>
                    <a:gd name="connsiteX3" fmla="*/ 185737 w 1871662"/>
                    <a:gd name="connsiteY3" fmla="*/ 1366837 h 2486798"/>
                    <a:gd name="connsiteX4" fmla="*/ 238125 w 1871662"/>
                    <a:gd name="connsiteY4" fmla="*/ 1481137 h 2486798"/>
                    <a:gd name="connsiteX5" fmla="*/ 314325 w 1871662"/>
                    <a:gd name="connsiteY5" fmla="*/ 1600200 h 2486798"/>
                    <a:gd name="connsiteX6" fmla="*/ 409575 w 1871662"/>
                    <a:gd name="connsiteY6" fmla="*/ 1662112 h 2486798"/>
                    <a:gd name="connsiteX7" fmla="*/ 428625 w 1871662"/>
                    <a:gd name="connsiteY7" fmla="*/ 1685925 h 2486798"/>
                    <a:gd name="connsiteX8" fmla="*/ 438150 w 1871662"/>
                    <a:gd name="connsiteY8" fmla="*/ 1781175 h 2486798"/>
                    <a:gd name="connsiteX9" fmla="*/ 457200 w 1871662"/>
                    <a:gd name="connsiteY9" fmla="*/ 1852613 h 2486798"/>
                    <a:gd name="connsiteX10" fmla="*/ 528637 w 1871662"/>
                    <a:gd name="connsiteY10" fmla="*/ 1985962 h 2486798"/>
                    <a:gd name="connsiteX11" fmla="*/ 542925 w 1871662"/>
                    <a:gd name="connsiteY11" fmla="*/ 2076450 h 2486798"/>
                    <a:gd name="connsiteX12" fmla="*/ 566737 w 1871662"/>
                    <a:gd name="connsiteY12" fmla="*/ 2157412 h 2486798"/>
                    <a:gd name="connsiteX13" fmla="*/ 557212 w 1871662"/>
                    <a:gd name="connsiteY13" fmla="*/ 2224087 h 2486798"/>
                    <a:gd name="connsiteX14" fmla="*/ 642937 w 1871662"/>
                    <a:gd name="connsiteY14" fmla="*/ 2338387 h 2486798"/>
                    <a:gd name="connsiteX15" fmla="*/ 638175 w 1871662"/>
                    <a:gd name="connsiteY15" fmla="*/ 2433637 h 2486798"/>
                    <a:gd name="connsiteX16" fmla="*/ 652462 w 1871662"/>
                    <a:gd name="connsiteY16" fmla="*/ 2486025 h 2486798"/>
                    <a:gd name="connsiteX17" fmla="*/ 885825 w 1871662"/>
                    <a:gd name="connsiteY17" fmla="*/ 2395537 h 2486798"/>
                    <a:gd name="connsiteX18" fmla="*/ 947737 w 1871662"/>
                    <a:gd name="connsiteY18" fmla="*/ 2366962 h 2486798"/>
                    <a:gd name="connsiteX19" fmla="*/ 1023937 w 1871662"/>
                    <a:gd name="connsiteY19" fmla="*/ 2390775 h 2486798"/>
                    <a:gd name="connsiteX20" fmla="*/ 1085850 w 1871662"/>
                    <a:gd name="connsiteY20" fmla="*/ 2395537 h 2486798"/>
                    <a:gd name="connsiteX21" fmla="*/ 1123950 w 1871662"/>
                    <a:gd name="connsiteY21" fmla="*/ 2314575 h 2486798"/>
                    <a:gd name="connsiteX22" fmla="*/ 1085850 w 1871662"/>
                    <a:gd name="connsiteY22" fmla="*/ 2238375 h 2486798"/>
                    <a:gd name="connsiteX23" fmla="*/ 1147762 w 1871662"/>
                    <a:gd name="connsiteY23" fmla="*/ 2176462 h 2486798"/>
                    <a:gd name="connsiteX24" fmla="*/ 1214437 w 1871662"/>
                    <a:gd name="connsiteY24" fmla="*/ 2114550 h 2486798"/>
                    <a:gd name="connsiteX25" fmla="*/ 1266825 w 1871662"/>
                    <a:gd name="connsiteY25" fmla="*/ 2000250 h 2486798"/>
                    <a:gd name="connsiteX26" fmla="*/ 1290637 w 1871662"/>
                    <a:gd name="connsiteY26" fmla="*/ 1947862 h 2486798"/>
                    <a:gd name="connsiteX27" fmla="*/ 1352550 w 1871662"/>
                    <a:gd name="connsiteY27" fmla="*/ 1885950 h 2486798"/>
                    <a:gd name="connsiteX28" fmla="*/ 1404937 w 1871662"/>
                    <a:gd name="connsiteY28" fmla="*/ 1804987 h 2486798"/>
                    <a:gd name="connsiteX29" fmla="*/ 1419225 w 1871662"/>
                    <a:gd name="connsiteY29" fmla="*/ 1724025 h 2486798"/>
                    <a:gd name="connsiteX30" fmla="*/ 1485900 w 1871662"/>
                    <a:gd name="connsiteY30" fmla="*/ 1590675 h 2486798"/>
                    <a:gd name="connsiteX31" fmla="*/ 1552575 w 1871662"/>
                    <a:gd name="connsiteY31" fmla="*/ 1476375 h 2486798"/>
                    <a:gd name="connsiteX32" fmla="*/ 1552575 w 1871662"/>
                    <a:gd name="connsiteY32" fmla="*/ 1395412 h 2486798"/>
                    <a:gd name="connsiteX33" fmla="*/ 1557337 w 1871662"/>
                    <a:gd name="connsiteY33" fmla="*/ 1266825 h 2486798"/>
                    <a:gd name="connsiteX34" fmla="*/ 1571625 w 1871662"/>
                    <a:gd name="connsiteY34" fmla="*/ 1171575 h 2486798"/>
                    <a:gd name="connsiteX35" fmla="*/ 1590675 w 1871662"/>
                    <a:gd name="connsiteY35" fmla="*/ 1090612 h 2486798"/>
                    <a:gd name="connsiteX36" fmla="*/ 1543050 w 1871662"/>
                    <a:gd name="connsiteY36" fmla="*/ 957262 h 2486798"/>
                    <a:gd name="connsiteX37" fmla="*/ 1438275 w 1871662"/>
                    <a:gd name="connsiteY37" fmla="*/ 742950 h 2486798"/>
                    <a:gd name="connsiteX38" fmla="*/ 1443037 w 1871662"/>
                    <a:gd name="connsiteY38" fmla="*/ 695325 h 2486798"/>
                    <a:gd name="connsiteX39" fmla="*/ 1447800 w 1871662"/>
                    <a:gd name="connsiteY39" fmla="*/ 652462 h 2486798"/>
                    <a:gd name="connsiteX40" fmla="*/ 1485900 w 1871662"/>
                    <a:gd name="connsiteY40" fmla="*/ 595312 h 2486798"/>
                    <a:gd name="connsiteX41" fmla="*/ 1504950 w 1871662"/>
                    <a:gd name="connsiteY41" fmla="*/ 557212 h 2486798"/>
                    <a:gd name="connsiteX42" fmla="*/ 1552575 w 1871662"/>
                    <a:gd name="connsiteY42" fmla="*/ 461962 h 2486798"/>
                    <a:gd name="connsiteX43" fmla="*/ 1590675 w 1871662"/>
                    <a:gd name="connsiteY43" fmla="*/ 385762 h 2486798"/>
                    <a:gd name="connsiteX44" fmla="*/ 1676400 w 1871662"/>
                    <a:gd name="connsiteY44" fmla="*/ 300037 h 2486798"/>
                    <a:gd name="connsiteX45" fmla="*/ 1724025 w 1871662"/>
                    <a:gd name="connsiteY45" fmla="*/ 242887 h 2486798"/>
                    <a:gd name="connsiteX46" fmla="*/ 1776412 w 1871662"/>
                    <a:gd name="connsiteY46" fmla="*/ 152400 h 2486798"/>
                    <a:gd name="connsiteX47" fmla="*/ 1824037 w 1871662"/>
                    <a:gd name="connsiteY47" fmla="*/ 128587 h 2486798"/>
                    <a:gd name="connsiteX48" fmla="*/ 1847850 w 1871662"/>
                    <a:gd name="connsiteY48" fmla="*/ 71437 h 2486798"/>
                    <a:gd name="connsiteX49" fmla="*/ 1871662 w 1871662"/>
                    <a:gd name="connsiteY49" fmla="*/ 0 h 2486798"/>
                    <a:gd name="connsiteX0" fmla="*/ 0 w 1847850"/>
                    <a:gd name="connsiteY0" fmla="*/ 1071563 h 2415361"/>
                    <a:gd name="connsiteX1" fmla="*/ 42862 w 1847850"/>
                    <a:gd name="connsiteY1" fmla="*/ 1157288 h 2415361"/>
                    <a:gd name="connsiteX2" fmla="*/ 119062 w 1847850"/>
                    <a:gd name="connsiteY2" fmla="*/ 1223963 h 2415361"/>
                    <a:gd name="connsiteX3" fmla="*/ 185737 w 1847850"/>
                    <a:gd name="connsiteY3" fmla="*/ 1295400 h 2415361"/>
                    <a:gd name="connsiteX4" fmla="*/ 238125 w 1847850"/>
                    <a:gd name="connsiteY4" fmla="*/ 1409700 h 2415361"/>
                    <a:gd name="connsiteX5" fmla="*/ 314325 w 1847850"/>
                    <a:gd name="connsiteY5" fmla="*/ 1528763 h 2415361"/>
                    <a:gd name="connsiteX6" fmla="*/ 409575 w 1847850"/>
                    <a:gd name="connsiteY6" fmla="*/ 1590675 h 2415361"/>
                    <a:gd name="connsiteX7" fmla="*/ 428625 w 1847850"/>
                    <a:gd name="connsiteY7" fmla="*/ 1614488 h 2415361"/>
                    <a:gd name="connsiteX8" fmla="*/ 438150 w 1847850"/>
                    <a:gd name="connsiteY8" fmla="*/ 1709738 h 2415361"/>
                    <a:gd name="connsiteX9" fmla="*/ 457200 w 1847850"/>
                    <a:gd name="connsiteY9" fmla="*/ 1781176 h 2415361"/>
                    <a:gd name="connsiteX10" fmla="*/ 528637 w 1847850"/>
                    <a:gd name="connsiteY10" fmla="*/ 1914525 h 2415361"/>
                    <a:gd name="connsiteX11" fmla="*/ 542925 w 1847850"/>
                    <a:gd name="connsiteY11" fmla="*/ 2005013 h 2415361"/>
                    <a:gd name="connsiteX12" fmla="*/ 566737 w 1847850"/>
                    <a:gd name="connsiteY12" fmla="*/ 2085975 h 2415361"/>
                    <a:gd name="connsiteX13" fmla="*/ 557212 w 1847850"/>
                    <a:gd name="connsiteY13" fmla="*/ 2152650 h 2415361"/>
                    <a:gd name="connsiteX14" fmla="*/ 642937 w 1847850"/>
                    <a:gd name="connsiteY14" fmla="*/ 2266950 h 2415361"/>
                    <a:gd name="connsiteX15" fmla="*/ 638175 w 1847850"/>
                    <a:gd name="connsiteY15" fmla="*/ 2362200 h 2415361"/>
                    <a:gd name="connsiteX16" fmla="*/ 652462 w 1847850"/>
                    <a:gd name="connsiteY16" fmla="*/ 2414588 h 2415361"/>
                    <a:gd name="connsiteX17" fmla="*/ 885825 w 1847850"/>
                    <a:gd name="connsiteY17" fmla="*/ 2324100 h 2415361"/>
                    <a:gd name="connsiteX18" fmla="*/ 947737 w 1847850"/>
                    <a:gd name="connsiteY18" fmla="*/ 2295525 h 2415361"/>
                    <a:gd name="connsiteX19" fmla="*/ 1023937 w 1847850"/>
                    <a:gd name="connsiteY19" fmla="*/ 2319338 h 2415361"/>
                    <a:gd name="connsiteX20" fmla="*/ 1085850 w 1847850"/>
                    <a:gd name="connsiteY20" fmla="*/ 2324100 h 2415361"/>
                    <a:gd name="connsiteX21" fmla="*/ 1123950 w 1847850"/>
                    <a:gd name="connsiteY21" fmla="*/ 2243138 h 2415361"/>
                    <a:gd name="connsiteX22" fmla="*/ 1085850 w 1847850"/>
                    <a:gd name="connsiteY22" fmla="*/ 2166938 h 2415361"/>
                    <a:gd name="connsiteX23" fmla="*/ 1147762 w 1847850"/>
                    <a:gd name="connsiteY23" fmla="*/ 2105025 h 2415361"/>
                    <a:gd name="connsiteX24" fmla="*/ 1214437 w 1847850"/>
                    <a:gd name="connsiteY24" fmla="*/ 2043113 h 2415361"/>
                    <a:gd name="connsiteX25" fmla="*/ 1266825 w 1847850"/>
                    <a:gd name="connsiteY25" fmla="*/ 1928813 h 2415361"/>
                    <a:gd name="connsiteX26" fmla="*/ 1290637 w 1847850"/>
                    <a:gd name="connsiteY26" fmla="*/ 1876425 h 2415361"/>
                    <a:gd name="connsiteX27" fmla="*/ 1352550 w 1847850"/>
                    <a:gd name="connsiteY27" fmla="*/ 1814513 h 2415361"/>
                    <a:gd name="connsiteX28" fmla="*/ 1404937 w 1847850"/>
                    <a:gd name="connsiteY28" fmla="*/ 1733550 h 2415361"/>
                    <a:gd name="connsiteX29" fmla="*/ 1419225 w 1847850"/>
                    <a:gd name="connsiteY29" fmla="*/ 1652588 h 2415361"/>
                    <a:gd name="connsiteX30" fmla="*/ 1485900 w 1847850"/>
                    <a:gd name="connsiteY30" fmla="*/ 1519238 h 2415361"/>
                    <a:gd name="connsiteX31" fmla="*/ 1552575 w 1847850"/>
                    <a:gd name="connsiteY31" fmla="*/ 1404938 h 2415361"/>
                    <a:gd name="connsiteX32" fmla="*/ 1552575 w 1847850"/>
                    <a:gd name="connsiteY32" fmla="*/ 1323975 h 2415361"/>
                    <a:gd name="connsiteX33" fmla="*/ 1557337 w 1847850"/>
                    <a:gd name="connsiteY33" fmla="*/ 1195388 h 2415361"/>
                    <a:gd name="connsiteX34" fmla="*/ 1571625 w 1847850"/>
                    <a:gd name="connsiteY34" fmla="*/ 1100138 h 2415361"/>
                    <a:gd name="connsiteX35" fmla="*/ 1590675 w 1847850"/>
                    <a:gd name="connsiteY35" fmla="*/ 1019175 h 2415361"/>
                    <a:gd name="connsiteX36" fmla="*/ 1543050 w 1847850"/>
                    <a:gd name="connsiteY36" fmla="*/ 885825 h 2415361"/>
                    <a:gd name="connsiteX37" fmla="*/ 1438275 w 1847850"/>
                    <a:gd name="connsiteY37" fmla="*/ 671513 h 2415361"/>
                    <a:gd name="connsiteX38" fmla="*/ 1443037 w 1847850"/>
                    <a:gd name="connsiteY38" fmla="*/ 623888 h 2415361"/>
                    <a:gd name="connsiteX39" fmla="*/ 1447800 w 1847850"/>
                    <a:gd name="connsiteY39" fmla="*/ 581025 h 2415361"/>
                    <a:gd name="connsiteX40" fmla="*/ 1485900 w 1847850"/>
                    <a:gd name="connsiteY40" fmla="*/ 523875 h 2415361"/>
                    <a:gd name="connsiteX41" fmla="*/ 1504950 w 1847850"/>
                    <a:gd name="connsiteY41" fmla="*/ 485775 h 2415361"/>
                    <a:gd name="connsiteX42" fmla="*/ 1552575 w 1847850"/>
                    <a:gd name="connsiteY42" fmla="*/ 390525 h 2415361"/>
                    <a:gd name="connsiteX43" fmla="*/ 1590675 w 1847850"/>
                    <a:gd name="connsiteY43" fmla="*/ 314325 h 2415361"/>
                    <a:gd name="connsiteX44" fmla="*/ 1676400 w 1847850"/>
                    <a:gd name="connsiteY44" fmla="*/ 228600 h 2415361"/>
                    <a:gd name="connsiteX45" fmla="*/ 1724025 w 1847850"/>
                    <a:gd name="connsiteY45" fmla="*/ 171450 h 2415361"/>
                    <a:gd name="connsiteX46" fmla="*/ 1776412 w 1847850"/>
                    <a:gd name="connsiteY46" fmla="*/ 80963 h 2415361"/>
                    <a:gd name="connsiteX47" fmla="*/ 1824037 w 1847850"/>
                    <a:gd name="connsiteY47" fmla="*/ 57150 h 2415361"/>
                    <a:gd name="connsiteX48" fmla="*/ 1847850 w 1847850"/>
                    <a:gd name="connsiteY48" fmla="*/ 0 h 2415361"/>
                    <a:gd name="connsiteX0" fmla="*/ 0 w 1824037"/>
                    <a:gd name="connsiteY0" fmla="*/ 1014413 h 2358211"/>
                    <a:gd name="connsiteX1" fmla="*/ 42862 w 1824037"/>
                    <a:gd name="connsiteY1" fmla="*/ 1100138 h 2358211"/>
                    <a:gd name="connsiteX2" fmla="*/ 119062 w 1824037"/>
                    <a:gd name="connsiteY2" fmla="*/ 1166813 h 2358211"/>
                    <a:gd name="connsiteX3" fmla="*/ 185737 w 1824037"/>
                    <a:gd name="connsiteY3" fmla="*/ 1238250 h 2358211"/>
                    <a:gd name="connsiteX4" fmla="*/ 238125 w 1824037"/>
                    <a:gd name="connsiteY4" fmla="*/ 1352550 h 2358211"/>
                    <a:gd name="connsiteX5" fmla="*/ 314325 w 1824037"/>
                    <a:gd name="connsiteY5" fmla="*/ 1471613 h 2358211"/>
                    <a:gd name="connsiteX6" fmla="*/ 409575 w 1824037"/>
                    <a:gd name="connsiteY6" fmla="*/ 1533525 h 2358211"/>
                    <a:gd name="connsiteX7" fmla="*/ 428625 w 1824037"/>
                    <a:gd name="connsiteY7" fmla="*/ 1557338 h 2358211"/>
                    <a:gd name="connsiteX8" fmla="*/ 438150 w 1824037"/>
                    <a:gd name="connsiteY8" fmla="*/ 1652588 h 2358211"/>
                    <a:gd name="connsiteX9" fmla="*/ 457200 w 1824037"/>
                    <a:gd name="connsiteY9" fmla="*/ 1724026 h 2358211"/>
                    <a:gd name="connsiteX10" fmla="*/ 528637 w 1824037"/>
                    <a:gd name="connsiteY10" fmla="*/ 1857375 h 2358211"/>
                    <a:gd name="connsiteX11" fmla="*/ 542925 w 1824037"/>
                    <a:gd name="connsiteY11" fmla="*/ 1947863 h 2358211"/>
                    <a:gd name="connsiteX12" fmla="*/ 566737 w 1824037"/>
                    <a:gd name="connsiteY12" fmla="*/ 2028825 h 2358211"/>
                    <a:gd name="connsiteX13" fmla="*/ 557212 w 1824037"/>
                    <a:gd name="connsiteY13" fmla="*/ 2095500 h 2358211"/>
                    <a:gd name="connsiteX14" fmla="*/ 642937 w 1824037"/>
                    <a:gd name="connsiteY14" fmla="*/ 2209800 h 2358211"/>
                    <a:gd name="connsiteX15" fmla="*/ 638175 w 1824037"/>
                    <a:gd name="connsiteY15" fmla="*/ 2305050 h 2358211"/>
                    <a:gd name="connsiteX16" fmla="*/ 652462 w 1824037"/>
                    <a:gd name="connsiteY16" fmla="*/ 2357438 h 2358211"/>
                    <a:gd name="connsiteX17" fmla="*/ 885825 w 1824037"/>
                    <a:gd name="connsiteY17" fmla="*/ 2266950 h 2358211"/>
                    <a:gd name="connsiteX18" fmla="*/ 947737 w 1824037"/>
                    <a:gd name="connsiteY18" fmla="*/ 2238375 h 2358211"/>
                    <a:gd name="connsiteX19" fmla="*/ 1023937 w 1824037"/>
                    <a:gd name="connsiteY19" fmla="*/ 2262188 h 2358211"/>
                    <a:gd name="connsiteX20" fmla="*/ 1085850 w 1824037"/>
                    <a:gd name="connsiteY20" fmla="*/ 2266950 h 2358211"/>
                    <a:gd name="connsiteX21" fmla="*/ 1123950 w 1824037"/>
                    <a:gd name="connsiteY21" fmla="*/ 2185988 h 2358211"/>
                    <a:gd name="connsiteX22" fmla="*/ 1085850 w 1824037"/>
                    <a:gd name="connsiteY22" fmla="*/ 2109788 h 2358211"/>
                    <a:gd name="connsiteX23" fmla="*/ 1147762 w 1824037"/>
                    <a:gd name="connsiteY23" fmla="*/ 2047875 h 2358211"/>
                    <a:gd name="connsiteX24" fmla="*/ 1214437 w 1824037"/>
                    <a:gd name="connsiteY24" fmla="*/ 1985963 h 2358211"/>
                    <a:gd name="connsiteX25" fmla="*/ 1266825 w 1824037"/>
                    <a:gd name="connsiteY25" fmla="*/ 1871663 h 2358211"/>
                    <a:gd name="connsiteX26" fmla="*/ 1290637 w 1824037"/>
                    <a:gd name="connsiteY26" fmla="*/ 1819275 h 2358211"/>
                    <a:gd name="connsiteX27" fmla="*/ 1352550 w 1824037"/>
                    <a:gd name="connsiteY27" fmla="*/ 1757363 h 2358211"/>
                    <a:gd name="connsiteX28" fmla="*/ 1404937 w 1824037"/>
                    <a:gd name="connsiteY28" fmla="*/ 1676400 h 2358211"/>
                    <a:gd name="connsiteX29" fmla="*/ 1419225 w 1824037"/>
                    <a:gd name="connsiteY29" fmla="*/ 1595438 h 2358211"/>
                    <a:gd name="connsiteX30" fmla="*/ 1485900 w 1824037"/>
                    <a:gd name="connsiteY30" fmla="*/ 1462088 h 2358211"/>
                    <a:gd name="connsiteX31" fmla="*/ 1552575 w 1824037"/>
                    <a:gd name="connsiteY31" fmla="*/ 1347788 h 2358211"/>
                    <a:gd name="connsiteX32" fmla="*/ 1552575 w 1824037"/>
                    <a:gd name="connsiteY32" fmla="*/ 1266825 h 2358211"/>
                    <a:gd name="connsiteX33" fmla="*/ 1557337 w 1824037"/>
                    <a:gd name="connsiteY33" fmla="*/ 1138238 h 2358211"/>
                    <a:gd name="connsiteX34" fmla="*/ 1571625 w 1824037"/>
                    <a:gd name="connsiteY34" fmla="*/ 1042988 h 2358211"/>
                    <a:gd name="connsiteX35" fmla="*/ 1590675 w 1824037"/>
                    <a:gd name="connsiteY35" fmla="*/ 962025 h 2358211"/>
                    <a:gd name="connsiteX36" fmla="*/ 1543050 w 1824037"/>
                    <a:gd name="connsiteY36" fmla="*/ 828675 h 2358211"/>
                    <a:gd name="connsiteX37" fmla="*/ 1438275 w 1824037"/>
                    <a:gd name="connsiteY37" fmla="*/ 614363 h 2358211"/>
                    <a:gd name="connsiteX38" fmla="*/ 1443037 w 1824037"/>
                    <a:gd name="connsiteY38" fmla="*/ 566738 h 2358211"/>
                    <a:gd name="connsiteX39" fmla="*/ 1447800 w 1824037"/>
                    <a:gd name="connsiteY39" fmla="*/ 523875 h 2358211"/>
                    <a:gd name="connsiteX40" fmla="*/ 1485900 w 1824037"/>
                    <a:gd name="connsiteY40" fmla="*/ 466725 h 2358211"/>
                    <a:gd name="connsiteX41" fmla="*/ 1504950 w 1824037"/>
                    <a:gd name="connsiteY41" fmla="*/ 428625 h 2358211"/>
                    <a:gd name="connsiteX42" fmla="*/ 1552575 w 1824037"/>
                    <a:gd name="connsiteY42" fmla="*/ 333375 h 2358211"/>
                    <a:gd name="connsiteX43" fmla="*/ 1590675 w 1824037"/>
                    <a:gd name="connsiteY43" fmla="*/ 257175 h 2358211"/>
                    <a:gd name="connsiteX44" fmla="*/ 1676400 w 1824037"/>
                    <a:gd name="connsiteY44" fmla="*/ 171450 h 2358211"/>
                    <a:gd name="connsiteX45" fmla="*/ 1724025 w 1824037"/>
                    <a:gd name="connsiteY45" fmla="*/ 114300 h 2358211"/>
                    <a:gd name="connsiteX46" fmla="*/ 1776412 w 1824037"/>
                    <a:gd name="connsiteY46" fmla="*/ 23813 h 2358211"/>
                    <a:gd name="connsiteX47" fmla="*/ 1824037 w 1824037"/>
                    <a:gd name="connsiteY47" fmla="*/ 0 h 2358211"/>
                    <a:gd name="connsiteX0" fmla="*/ 0 w 1776412"/>
                    <a:gd name="connsiteY0" fmla="*/ 990600 h 2334398"/>
                    <a:gd name="connsiteX1" fmla="*/ 42862 w 1776412"/>
                    <a:gd name="connsiteY1" fmla="*/ 1076325 h 2334398"/>
                    <a:gd name="connsiteX2" fmla="*/ 119062 w 1776412"/>
                    <a:gd name="connsiteY2" fmla="*/ 1143000 h 2334398"/>
                    <a:gd name="connsiteX3" fmla="*/ 185737 w 1776412"/>
                    <a:gd name="connsiteY3" fmla="*/ 1214437 h 2334398"/>
                    <a:gd name="connsiteX4" fmla="*/ 238125 w 1776412"/>
                    <a:gd name="connsiteY4" fmla="*/ 1328737 h 2334398"/>
                    <a:gd name="connsiteX5" fmla="*/ 314325 w 1776412"/>
                    <a:gd name="connsiteY5" fmla="*/ 1447800 h 2334398"/>
                    <a:gd name="connsiteX6" fmla="*/ 409575 w 1776412"/>
                    <a:gd name="connsiteY6" fmla="*/ 1509712 h 2334398"/>
                    <a:gd name="connsiteX7" fmla="*/ 428625 w 1776412"/>
                    <a:gd name="connsiteY7" fmla="*/ 1533525 h 2334398"/>
                    <a:gd name="connsiteX8" fmla="*/ 438150 w 1776412"/>
                    <a:gd name="connsiteY8" fmla="*/ 1628775 h 2334398"/>
                    <a:gd name="connsiteX9" fmla="*/ 457200 w 1776412"/>
                    <a:gd name="connsiteY9" fmla="*/ 1700213 h 2334398"/>
                    <a:gd name="connsiteX10" fmla="*/ 528637 w 1776412"/>
                    <a:gd name="connsiteY10" fmla="*/ 1833562 h 2334398"/>
                    <a:gd name="connsiteX11" fmla="*/ 542925 w 1776412"/>
                    <a:gd name="connsiteY11" fmla="*/ 1924050 h 2334398"/>
                    <a:gd name="connsiteX12" fmla="*/ 566737 w 1776412"/>
                    <a:gd name="connsiteY12" fmla="*/ 2005012 h 2334398"/>
                    <a:gd name="connsiteX13" fmla="*/ 557212 w 1776412"/>
                    <a:gd name="connsiteY13" fmla="*/ 2071687 h 2334398"/>
                    <a:gd name="connsiteX14" fmla="*/ 642937 w 1776412"/>
                    <a:gd name="connsiteY14" fmla="*/ 2185987 h 2334398"/>
                    <a:gd name="connsiteX15" fmla="*/ 638175 w 1776412"/>
                    <a:gd name="connsiteY15" fmla="*/ 2281237 h 2334398"/>
                    <a:gd name="connsiteX16" fmla="*/ 652462 w 1776412"/>
                    <a:gd name="connsiteY16" fmla="*/ 2333625 h 2334398"/>
                    <a:gd name="connsiteX17" fmla="*/ 885825 w 1776412"/>
                    <a:gd name="connsiteY17" fmla="*/ 2243137 h 2334398"/>
                    <a:gd name="connsiteX18" fmla="*/ 947737 w 1776412"/>
                    <a:gd name="connsiteY18" fmla="*/ 2214562 h 2334398"/>
                    <a:gd name="connsiteX19" fmla="*/ 1023937 w 1776412"/>
                    <a:gd name="connsiteY19" fmla="*/ 2238375 h 2334398"/>
                    <a:gd name="connsiteX20" fmla="*/ 1085850 w 1776412"/>
                    <a:gd name="connsiteY20" fmla="*/ 2243137 h 2334398"/>
                    <a:gd name="connsiteX21" fmla="*/ 1123950 w 1776412"/>
                    <a:gd name="connsiteY21" fmla="*/ 2162175 h 2334398"/>
                    <a:gd name="connsiteX22" fmla="*/ 1085850 w 1776412"/>
                    <a:gd name="connsiteY22" fmla="*/ 2085975 h 2334398"/>
                    <a:gd name="connsiteX23" fmla="*/ 1147762 w 1776412"/>
                    <a:gd name="connsiteY23" fmla="*/ 2024062 h 2334398"/>
                    <a:gd name="connsiteX24" fmla="*/ 1214437 w 1776412"/>
                    <a:gd name="connsiteY24" fmla="*/ 1962150 h 2334398"/>
                    <a:gd name="connsiteX25" fmla="*/ 1266825 w 1776412"/>
                    <a:gd name="connsiteY25" fmla="*/ 1847850 h 2334398"/>
                    <a:gd name="connsiteX26" fmla="*/ 1290637 w 1776412"/>
                    <a:gd name="connsiteY26" fmla="*/ 1795462 h 2334398"/>
                    <a:gd name="connsiteX27" fmla="*/ 1352550 w 1776412"/>
                    <a:gd name="connsiteY27" fmla="*/ 1733550 h 2334398"/>
                    <a:gd name="connsiteX28" fmla="*/ 1404937 w 1776412"/>
                    <a:gd name="connsiteY28" fmla="*/ 1652587 h 2334398"/>
                    <a:gd name="connsiteX29" fmla="*/ 1419225 w 1776412"/>
                    <a:gd name="connsiteY29" fmla="*/ 1571625 h 2334398"/>
                    <a:gd name="connsiteX30" fmla="*/ 1485900 w 1776412"/>
                    <a:gd name="connsiteY30" fmla="*/ 1438275 h 2334398"/>
                    <a:gd name="connsiteX31" fmla="*/ 1552575 w 1776412"/>
                    <a:gd name="connsiteY31" fmla="*/ 1323975 h 2334398"/>
                    <a:gd name="connsiteX32" fmla="*/ 1552575 w 1776412"/>
                    <a:gd name="connsiteY32" fmla="*/ 1243012 h 2334398"/>
                    <a:gd name="connsiteX33" fmla="*/ 1557337 w 1776412"/>
                    <a:gd name="connsiteY33" fmla="*/ 1114425 h 2334398"/>
                    <a:gd name="connsiteX34" fmla="*/ 1571625 w 1776412"/>
                    <a:gd name="connsiteY34" fmla="*/ 1019175 h 2334398"/>
                    <a:gd name="connsiteX35" fmla="*/ 1590675 w 1776412"/>
                    <a:gd name="connsiteY35" fmla="*/ 938212 h 2334398"/>
                    <a:gd name="connsiteX36" fmla="*/ 1543050 w 1776412"/>
                    <a:gd name="connsiteY36" fmla="*/ 804862 h 2334398"/>
                    <a:gd name="connsiteX37" fmla="*/ 1438275 w 1776412"/>
                    <a:gd name="connsiteY37" fmla="*/ 590550 h 2334398"/>
                    <a:gd name="connsiteX38" fmla="*/ 1443037 w 1776412"/>
                    <a:gd name="connsiteY38" fmla="*/ 542925 h 2334398"/>
                    <a:gd name="connsiteX39" fmla="*/ 1447800 w 1776412"/>
                    <a:gd name="connsiteY39" fmla="*/ 500062 h 2334398"/>
                    <a:gd name="connsiteX40" fmla="*/ 1485900 w 1776412"/>
                    <a:gd name="connsiteY40" fmla="*/ 442912 h 2334398"/>
                    <a:gd name="connsiteX41" fmla="*/ 1504950 w 1776412"/>
                    <a:gd name="connsiteY41" fmla="*/ 404812 h 2334398"/>
                    <a:gd name="connsiteX42" fmla="*/ 1552575 w 1776412"/>
                    <a:gd name="connsiteY42" fmla="*/ 309562 h 2334398"/>
                    <a:gd name="connsiteX43" fmla="*/ 1590675 w 1776412"/>
                    <a:gd name="connsiteY43" fmla="*/ 233362 h 2334398"/>
                    <a:gd name="connsiteX44" fmla="*/ 1676400 w 1776412"/>
                    <a:gd name="connsiteY44" fmla="*/ 147637 h 2334398"/>
                    <a:gd name="connsiteX45" fmla="*/ 1724025 w 1776412"/>
                    <a:gd name="connsiteY45" fmla="*/ 90487 h 2334398"/>
                    <a:gd name="connsiteX46" fmla="*/ 1776412 w 1776412"/>
                    <a:gd name="connsiteY46" fmla="*/ 0 h 2334398"/>
                    <a:gd name="connsiteX0" fmla="*/ 0 w 1724025"/>
                    <a:gd name="connsiteY0" fmla="*/ 900113 h 2243911"/>
                    <a:gd name="connsiteX1" fmla="*/ 42862 w 1724025"/>
                    <a:gd name="connsiteY1" fmla="*/ 985838 h 2243911"/>
                    <a:gd name="connsiteX2" fmla="*/ 119062 w 1724025"/>
                    <a:gd name="connsiteY2" fmla="*/ 1052513 h 2243911"/>
                    <a:gd name="connsiteX3" fmla="*/ 185737 w 1724025"/>
                    <a:gd name="connsiteY3" fmla="*/ 1123950 h 2243911"/>
                    <a:gd name="connsiteX4" fmla="*/ 238125 w 1724025"/>
                    <a:gd name="connsiteY4" fmla="*/ 1238250 h 2243911"/>
                    <a:gd name="connsiteX5" fmla="*/ 314325 w 1724025"/>
                    <a:gd name="connsiteY5" fmla="*/ 1357313 h 2243911"/>
                    <a:gd name="connsiteX6" fmla="*/ 409575 w 1724025"/>
                    <a:gd name="connsiteY6" fmla="*/ 1419225 h 2243911"/>
                    <a:gd name="connsiteX7" fmla="*/ 428625 w 1724025"/>
                    <a:gd name="connsiteY7" fmla="*/ 1443038 h 2243911"/>
                    <a:gd name="connsiteX8" fmla="*/ 438150 w 1724025"/>
                    <a:gd name="connsiteY8" fmla="*/ 1538288 h 2243911"/>
                    <a:gd name="connsiteX9" fmla="*/ 457200 w 1724025"/>
                    <a:gd name="connsiteY9" fmla="*/ 1609726 h 2243911"/>
                    <a:gd name="connsiteX10" fmla="*/ 528637 w 1724025"/>
                    <a:gd name="connsiteY10" fmla="*/ 1743075 h 2243911"/>
                    <a:gd name="connsiteX11" fmla="*/ 542925 w 1724025"/>
                    <a:gd name="connsiteY11" fmla="*/ 1833563 h 2243911"/>
                    <a:gd name="connsiteX12" fmla="*/ 566737 w 1724025"/>
                    <a:gd name="connsiteY12" fmla="*/ 1914525 h 2243911"/>
                    <a:gd name="connsiteX13" fmla="*/ 557212 w 1724025"/>
                    <a:gd name="connsiteY13" fmla="*/ 1981200 h 2243911"/>
                    <a:gd name="connsiteX14" fmla="*/ 642937 w 1724025"/>
                    <a:gd name="connsiteY14" fmla="*/ 2095500 h 2243911"/>
                    <a:gd name="connsiteX15" fmla="*/ 638175 w 1724025"/>
                    <a:gd name="connsiteY15" fmla="*/ 2190750 h 2243911"/>
                    <a:gd name="connsiteX16" fmla="*/ 652462 w 1724025"/>
                    <a:gd name="connsiteY16" fmla="*/ 2243138 h 2243911"/>
                    <a:gd name="connsiteX17" fmla="*/ 885825 w 1724025"/>
                    <a:gd name="connsiteY17" fmla="*/ 2152650 h 2243911"/>
                    <a:gd name="connsiteX18" fmla="*/ 947737 w 1724025"/>
                    <a:gd name="connsiteY18" fmla="*/ 2124075 h 2243911"/>
                    <a:gd name="connsiteX19" fmla="*/ 1023937 w 1724025"/>
                    <a:gd name="connsiteY19" fmla="*/ 2147888 h 2243911"/>
                    <a:gd name="connsiteX20" fmla="*/ 1085850 w 1724025"/>
                    <a:gd name="connsiteY20" fmla="*/ 2152650 h 2243911"/>
                    <a:gd name="connsiteX21" fmla="*/ 1123950 w 1724025"/>
                    <a:gd name="connsiteY21" fmla="*/ 2071688 h 2243911"/>
                    <a:gd name="connsiteX22" fmla="*/ 1085850 w 1724025"/>
                    <a:gd name="connsiteY22" fmla="*/ 1995488 h 2243911"/>
                    <a:gd name="connsiteX23" fmla="*/ 1147762 w 1724025"/>
                    <a:gd name="connsiteY23" fmla="*/ 1933575 h 2243911"/>
                    <a:gd name="connsiteX24" fmla="*/ 1214437 w 1724025"/>
                    <a:gd name="connsiteY24" fmla="*/ 1871663 h 2243911"/>
                    <a:gd name="connsiteX25" fmla="*/ 1266825 w 1724025"/>
                    <a:gd name="connsiteY25" fmla="*/ 1757363 h 2243911"/>
                    <a:gd name="connsiteX26" fmla="*/ 1290637 w 1724025"/>
                    <a:gd name="connsiteY26" fmla="*/ 1704975 h 2243911"/>
                    <a:gd name="connsiteX27" fmla="*/ 1352550 w 1724025"/>
                    <a:gd name="connsiteY27" fmla="*/ 1643063 h 2243911"/>
                    <a:gd name="connsiteX28" fmla="*/ 1404937 w 1724025"/>
                    <a:gd name="connsiteY28" fmla="*/ 1562100 h 2243911"/>
                    <a:gd name="connsiteX29" fmla="*/ 1419225 w 1724025"/>
                    <a:gd name="connsiteY29" fmla="*/ 1481138 h 2243911"/>
                    <a:gd name="connsiteX30" fmla="*/ 1485900 w 1724025"/>
                    <a:gd name="connsiteY30" fmla="*/ 1347788 h 2243911"/>
                    <a:gd name="connsiteX31" fmla="*/ 1552575 w 1724025"/>
                    <a:gd name="connsiteY31" fmla="*/ 1233488 h 2243911"/>
                    <a:gd name="connsiteX32" fmla="*/ 1552575 w 1724025"/>
                    <a:gd name="connsiteY32" fmla="*/ 1152525 h 2243911"/>
                    <a:gd name="connsiteX33" fmla="*/ 1557337 w 1724025"/>
                    <a:gd name="connsiteY33" fmla="*/ 1023938 h 2243911"/>
                    <a:gd name="connsiteX34" fmla="*/ 1571625 w 1724025"/>
                    <a:gd name="connsiteY34" fmla="*/ 928688 h 2243911"/>
                    <a:gd name="connsiteX35" fmla="*/ 1590675 w 1724025"/>
                    <a:gd name="connsiteY35" fmla="*/ 847725 h 2243911"/>
                    <a:gd name="connsiteX36" fmla="*/ 1543050 w 1724025"/>
                    <a:gd name="connsiteY36" fmla="*/ 714375 h 2243911"/>
                    <a:gd name="connsiteX37" fmla="*/ 1438275 w 1724025"/>
                    <a:gd name="connsiteY37" fmla="*/ 500063 h 2243911"/>
                    <a:gd name="connsiteX38" fmla="*/ 1443037 w 1724025"/>
                    <a:gd name="connsiteY38" fmla="*/ 452438 h 2243911"/>
                    <a:gd name="connsiteX39" fmla="*/ 1447800 w 1724025"/>
                    <a:gd name="connsiteY39" fmla="*/ 409575 h 2243911"/>
                    <a:gd name="connsiteX40" fmla="*/ 1485900 w 1724025"/>
                    <a:gd name="connsiteY40" fmla="*/ 352425 h 2243911"/>
                    <a:gd name="connsiteX41" fmla="*/ 1504950 w 1724025"/>
                    <a:gd name="connsiteY41" fmla="*/ 314325 h 2243911"/>
                    <a:gd name="connsiteX42" fmla="*/ 1552575 w 1724025"/>
                    <a:gd name="connsiteY42" fmla="*/ 219075 h 2243911"/>
                    <a:gd name="connsiteX43" fmla="*/ 1590675 w 1724025"/>
                    <a:gd name="connsiteY43" fmla="*/ 142875 h 2243911"/>
                    <a:gd name="connsiteX44" fmla="*/ 1676400 w 1724025"/>
                    <a:gd name="connsiteY44" fmla="*/ 57150 h 2243911"/>
                    <a:gd name="connsiteX45" fmla="*/ 1724025 w 1724025"/>
                    <a:gd name="connsiteY45" fmla="*/ 0 h 2243911"/>
                    <a:gd name="connsiteX0" fmla="*/ 0 w 1676400"/>
                    <a:gd name="connsiteY0" fmla="*/ 842963 h 2186761"/>
                    <a:gd name="connsiteX1" fmla="*/ 42862 w 1676400"/>
                    <a:gd name="connsiteY1" fmla="*/ 928688 h 2186761"/>
                    <a:gd name="connsiteX2" fmla="*/ 119062 w 1676400"/>
                    <a:gd name="connsiteY2" fmla="*/ 995363 h 2186761"/>
                    <a:gd name="connsiteX3" fmla="*/ 185737 w 1676400"/>
                    <a:gd name="connsiteY3" fmla="*/ 1066800 h 2186761"/>
                    <a:gd name="connsiteX4" fmla="*/ 238125 w 1676400"/>
                    <a:gd name="connsiteY4" fmla="*/ 1181100 h 2186761"/>
                    <a:gd name="connsiteX5" fmla="*/ 314325 w 1676400"/>
                    <a:gd name="connsiteY5" fmla="*/ 1300163 h 2186761"/>
                    <a:gd name="connsiteX6" fmla="*/ 409575 w 1676400"/>
                    <a:gd name="connsiteY6" fmla="*/ 1362075 h 2186761"/>
                    <a:gd name="connsiteX7" fmla="*/ 428625 w 1676400"/>
                    <a:gd name="connsiteY7" fmla="*/ 1385888 h 2186761"/>
                    <a:gd name="connsiteX8" fmla="*/ 438150 w 1676400"/>
                    <a:gd name="connsiteY8" fmla="*/ 1481138 h 2186761"/>
                    <a:gd name="connsiteX9" fmla="*/ 457200 w 1676400"/>
                    <a:gd name="connsiteY9" fmla="*/ 1552576 h 2186761"/>
                    <a:gd name="connsiteX10" fmla="*/ 528637 w 1676400"/>
                    <a:gd name="connsiteY10" fmla="*/ 1685925 h 2186761"/>
                    <a:gd name="connsiteX11" fmla="*/ 542925 w 1676400"/>
                    <a:gd name="connsiteY11" fmla="*/ 1776413 h 2186761"/>
                    <a:gd name="connsiteX12" fmla="*/ 566737 w 1676400"/>
                    <a:gd name="connsiteY12" fmla="*/ 1857375 h 2186761"/>
                    <a:gd name="connsiteX13" fmla="*/ 557212 w 1676400"/>
                    <a:gd name="connsiteY13" fmla="*/ 1924050 h 2186761"/>
                    <a:gd name="connsiteX14" fmla="*/ 642937 w 1676400"/>
                    <a:gd name="connsiteY14" fmla="*/ 2038350 h 2186761"/>
                    <a:gd name="connsiteX15" fmla="*/ 638175 w 1676400"/>
                    <a:gd name="connsiteY15" fmla="*/ 2133600 h 2186761"/>
                    <a:gd name="connsiteX16" fmla="*/ 652462 w 1676400"/>
                    <a:gd name="connsiteY16" fmla="*/ 2185988 h 2186761"/>
                    <a:gd name="connsiteX17" fmla="*/ 885825 w 1676400"/>
                    <a:gd name="connsiteY17" fmla="*/ 2095500 h 2186761"/>
                    <a:gd name="connsiteX18" fmla="*/ 947737 w 1676400"/>
                    <a:gd name="connsiteY18" fmla="*/ 2066925 h 2186761"/>
                    <a:gd name="connsiteX19" fmla="*/ 1023937 w 1676400"/>
                    <a:gd name="connsiteY19" fmla="*/ 2090738 h 2186761"/>
                    <a:gd name="connsiteX20" fmla="*/ 1085850 w 1676400"/>
                    <a:gd name="connsiteY20" fmla="*/ 2095500 h 2186761"/>
                    <a:gd name="connsiteX21" fmla="*/ 1123950 w 1676400"/>
                    <a:gd name="connsiteY21" fmla="*/ 2014538 h 2186761"/>
                    <a:gd name="connsiteX22" fmla="*/ 1085850 w 1676400"/>
                    <a:gd name="connsiteY22" fmla="*/ 1938338 h 2186761"/>
                    <a:gd name="connsiteX23" fmla="*/ 1147762 w 1676400"/>
                    <a:gd name="connsiteY23" fmla="*/ 1876425 h 2186761"/>
                    <a:gd name="connsiteX24" fmla="*/ 1214437 w 1676400"/>
                    <a:gd name="connsiteY24" fmla="*/ 1814513 h 2186761"/>
                    <a:gd name="connsiteX25" fmla="*/ 1266825 w 1676400"/>
                    <a:gd name="connsiteY25" fmla="*/ 1700213 h 2186761"/>
                    <a:gd name="connsiteX26" fmla="*/ 1290637 w 1676400"/>
                    <a:gd name="connsiteY26" fmla="*/ 1647825 h 2186761"/>
                    <a:gd name="connsiteX27" fmla="*/ 1352550 w 1676400"/>
                    <a:gd name="connsiteY27" fmla="*/ 1585913 h 2186761"/>
                    <a:gd name="connsiteX28" fmla="*/ 1404937 w 1676400"/>
                    <a:gd name="connsiteY28" fmla="*/ 1504950 h 2186761"/>
                    <a:gd name="connsiteX29" fmla="*/ 1419225 w 1676400"/>
                    <a:gd name="connsiteY29" fmla="*/ 1423988 h 2186761"/>
                    <a:gd name="connsiteX30" fmla="*/ 1485900 w 1676400"/>
                    <a:gd name="connsiteY30" fmla="*/ 1290638 h 2186761"/>
                    <a:gd name="connsiteX31" fmla="*/ 1552575 w 1676400"/>
                    <a:gd name="connsiteY31" fmla="*/ 1176338 h 2186761"/>
                    <a:gd name="connsiteX32" fmla="*/ 1552575 w 1676400"/>
                    <a:gd name="connsiteY32" fmla="*/ 1095375 h 2186761"/>
                    <a:gd name="connsiteX33" fmla="*/ 1557337 w 1676400"/>
                    <a:gd name="connsiteY33" fmla="*/ 966788 h 2186761"/>
                    <a:gd name="connsiteX34" fmla="*/ 1571625 w 1676400"/>
                    <a:gd name="connsiteY34" fmla="*/ 871538 h 2186761"/>
                    <a:gd name="connsiteX35" fmla="*/ 1590675 w 1676400"/>
                    <a:gd name="connsiteY35" fmla="*/ 790575 h 2186761"/>
                    <a:gd name="connsiteX36" fmla="*/ 1543050 w 1676400"/>
                    <a:gd name="connsiteY36" fmla="*/ 657225 h 2186761"/>
                    <a:gd name="connsiteX37" fmla="*/ 1438275 w 1676400"/>
                    <a:gd name="connsiteY37" fmla="*/ 442913 h 2186761"/>
                    <a:gd name="connsiteX38" fmla="*/ 1443037 w 1676400"/>
                    <a:gd name="connsiteY38" fmla="*/ 395288 h 2186761"/>
                    <a:gd name="connsiteX39" fmla="*/ 1447800 w 1676400"/>
                    <a:gd name="connsiteY39" fmla="*/ 352425 h 2186761"/>
                    <a:gd name="connsiteX40" fmla="*/ 1485900 w 1676400"/>
                    <a:gd name="connsiteY40" fmla="*/ 295275 h 2186761"/>
                    <a:gd name="connsiteX41" fmla="*/ 1504950 w 1676400"/>
                    <a:gd name="connsiteY41" fmla="*/ 257175 h 2186761"/>
                    <a:gd name="connsiteX42" fmla="*/ 1552575 w 1676400"/>
                    <a:gd name="connsiteY42" fmla="*/ 161925 h 2186761"/>
                    <a:gd name="connsiteX43" fmla="*/ 1590675 w 1676400"/>
                    <a:gd name="connsiteY43" fmla="*/ 85725 h 2186761"/>
                    <a:gd name="connsiteX44" fmla="*/ 1676400 w 1676400"/>
                    <a:gd name="connsiteY44" fmla="*/ 0 h 2186761"/>
                    <a:gd name="connsiteX0" fmla="*/ 0 w 1591459"/>
                    <a:gd name="connsiteY0" fmla="*/ 757238 h 2101036"/>
                    <a:gd name="connsiteX1" fmla="*/ 42862 w 1591459"/>
                    <a:gd name="connsiteY1" fmla="*/ 842963 h 2101036"/>
                    <a:gd name="connsiteX2" fmla="*/ 119062 w 1591459"/>
                    <a:gd name="connsiteY2" fmla="*/ 909638 h 2101036"/>
                    <a:gd name="connsiteX3" fmla="*/ 185737 w 1591459"/>
                    <a:gd name="connsiteY3" fmla="*/ 981075 h 2101036"/>
                    <a:gd name="connsiteX4" fmla="*/ 238125 w 1591459"/>
                    <a:gd name="connsiteY4" fmla="*/ 1095375 h 2101036"/>
                    <a:gd name="connsiteX5" fmla="*/ 314325 w 1591459"/>
                    <a:gd name="connsiteY5" fmla="*/ 1214438 h 2101036"/>
                    <a:gd name="connsiteX6" fmla="*/ 409575 w 1591459"/>
                    <a:gd name="connsiteY6" fmla="*/ 1276350 h 2101036"/>
                    <a:gd name="connsiteX7" fmla="*/ 428625 w 1591459"/>
                    <a:gd name="connsiteY7" fmla="*/ 1300163 h 2101036"/>
                    <a:gd name="connsiteX8" fmla="*/ 438150 w 1591459"/>
                    <a:gd name="connsiteY8" fmla="*/ 1395413 h 2101036"/>
                    <a:gd name="connsiteX9" fmla="*/ 457200 w 1591459"/>
                    <a:gd name="connsiteY9" fmla="*/ 1466851 h 2101036"/>
                    <a:gd name="connsiteX10" fmla="*/ 528637 w 1591459"/>
                    <a:gd name="connsiteY10" fmla="*/ 1600200 h 2101036"/>
                    <a:gd name="connsiteX11" fmla="*/ 542925 w 1591459"/>
                    <a:gd name="connsiteY11" fmla="*/ 1690688 h 2101036"/>
                    <a:gd name="connsiteX12" fmla="*/ 566737 w 1591459"/>
                    <a:gd name="connsiteY12" fmla="*/ 1771650 h 2101036"/>
                    <a:gd name="connsiteX13" fmla="*/ 557212 w 1591459"/>
                    <a:gd name="connsiteY13" fmla="*/ 1838325 h 2101036"/>
                    <a:gd name="connsiteX14" fmla="*/ 642937 w 1591459"/>
                    <a:gd name="connsiteY14" fmla="*/ 1952625 h 2101036"/>
                    <a:gd name="connsiteX15" fmla="*/ 638175 w 1591459"/>
                    <a:gd name="connsiteY15" fmla="*/ 2047875 h 2101036"/>
                    <a:gd name="connsiteX16" fmla="*/ 652462 w 1591459"/>
                    <a:gd name="connsiteY16" fmla="*/ 2100263 h 2101036"/>
                    <a:gd name="connsiteX17" fmla="*/ 885825 w 1591459"/>
                    <a:gd name="connsiteY17" fmla="*/ 2009775 h 2101036"/>
                    <a:gd name="connsiteX18" fmla="*/ 947737 w 1591459"/>
                    <a:gd name="connsiteY18" fmla="*/ 1981200 h 2101036"/>
                    <a:gd name="connsiteX19" fmla="*/ 1023937 w 1591459"/>
                    <a:gd name="connsiteY19" fmla="*/ 2005013 h 2101036"/>
                    <a:gd name="connsiteX20" fmla="*/ 1085850 w 1591459"/>
                    <a:gd name="connsiteY20" fmla="*/ 2009775 h 2101036"/>
                    <a:gd name="connsiteX21" fmla="*/ 1123950 w 1591459"/>
                    <a:gd name="connsiteY21" fmla="*/ 1928813 h 2101036"/>
                    <a:gd name="connsiteX22" fmla="*/ 1085850 w 1591459"/>
                    <a:gd name="connsiteY22" fmla="*/ 1852613 h 2101036"/>
                    <a:gd name="connsiteX23" fmla="*/ 1147762 w 1591459"/>
                    <a:gd name="connsiteY23" fmla="*/ 1790700 h 2101036"/>
                    <a:gd name="connsiteX24" fmla="*/ 1214437 w 1591459"/>
                    <a:gd name="connsiteY24" fmla="*/ 1728788 h 2101036"/>
                    <a:gd name="connsiteX25" fmla="*/ 1266825 w 1591459"/>
                    <a:gd name="connsiteY25" fmla="*/ 1614488 h 2101036"/>
                    <a:gd name="connsiteX26" fmla="*/ 1290637 w 1591459"/>
                    <a:gd name="connsiteY26" fmla="*/ 1562100 h 2101036"/>
                    <a:gd name="connsiteX27" fmla="*/ 1352550 w 1591459"/>
                    <a:gd name="connsiteY27" fmla="*/ 1500188 h 2101036"/>
                    <a:gd name="connsiteX28" fmla="*/ 1404937 w 1591459"/>
                    <a:gd name="connsiteY28" fmla="*/ 1419225 h 2101036"/>
                    <a:gd name="connsiteX29" fmla="*/ 1419225 w 1591459"/>
                    <a:gd name="connsiteY29" fmla="*/ 1338263 h 2101036"/>
                    <a:gd name="connsiteX30" fmla="*/ 1485900 w 1591459"/>
                    <a:gd name="connsiteY30" fmla="*/ 1204913 h 2101036"/>
                    <a:gd name="connsiteX31" fmla="*/ 1552575 w 1591459"/>
                    <a:gd name="connsiteY31" fmla="*/ 1090613 h 2101036"/>
                    <a:gd name="connsiteX32" fmla="*/ 1552575 w 1591459"/>
                    <a:gd name="connsiteY32" fmla="*/ 1009650 h 2101036"/>
                    <a:gd name="connsiteX33" fmla="*/ 1557337 w 1591459"/>
                    <a:gd name="connsiteY33" fmla="*/ 881063 h 2101036"/>
                    <a:gd name="connsiteX34" fmla="*/ 1571625 w 1591459"/>
                    <a:gd name="connsiteY34" fmla="*/ 785813 h 2101036"/>
                    <a:gd name="connsiteX35" fmla="*/ 1590675 w 1591459"/>
                    <a:gd name="connsiteY35" fmla="*/ 704850 h 2101036"/>
                    <a:gd name="connsiteX36" fmla="*/ 1543050 w 1591459"/>
                    <a:gd name="connsiteY36" fmla="*/ 571500 h 2101036"/>
                    <a:gd name="connsiteX37" fmla="*/ 1438275 w 1591459"/>
                    <a:gd name="connsiteY37" fmla="*/ 357188 h 2101036"/>
                    <a:gd name="connsiteX38" fmla="*/ 1443037 w 1591459"/>
                    <a:gd name="connsiteY38" fmla="*/ 309563 h 2101036"/>
                    <a:gd name="connsiteX39" fmla="*/ 1447800 w 1591459"/>
                    <a:gd name="connsiteY39" fmla="*/ 266700 h 2101036"/>
                    <a:gd name="connsiteX40" fmla="*/ 1485900 w 1591459"/>
                    <a:gd name="connsiteY40" fmla="*/ 209550 h 2101036"/>
                    <a:gd name="connsiteX41" fmla="*/ 1504950 w 1591459"/>
                    <a:gd name="connsiteY41" fmla="*/ 171450 h 2101036"/>
                    <a:gd name="connsiteX42" fmla="*/ 1552575 w 1591459"/>
                    <a:gd name="connsiteY42" fmla="*/ 76200 h 2101036"/>
                    <a:gd name="connsiteX43" fmla="*/ 1590675 w 1591459"/>
                    <a:gd name="connsiteY43" fmla="*/ 0 h 2101036"/>
                    <a:gd name="connsiteX0" fmla="*/ 0 w 1591459"/>
                    <a:gd name="connsiteY0" fmla="*/ 681038 h 2024836"/>
                    <a:gd name="connsiteX1" fmla="*/ 42862 w 1591459"/>
                    <a:gd name="connsiteY1" fmla="*/ 766763 h 2024836"/>
                    <a:gd name="connsiteX2" fmla="*/ 119062 w 1591459"/>
                    <a:gd name="connsiteY2" fmla="*/ 833438 h 2024836"/>
                    <a:gd name="connsiteX3" fmla="*/ 185737 w 1591459"/>
                    <a:gd name="connsiteY3" fmla="*/ 904875 h 2024836"/>
                    <a:gd name="connsiteX4" fmla="*/ 238125 w 1591459"/>
                    <a:gd name="connsiteY4" fmla="*/ 1019175 h 2024836"/>
                    <a:gd name="connsiteX5" fmla="*/ 314325 w 1591459"/>
                    <a:gd name="connsiteY5" fmla="*/ 1138238 h 2024836"/>
                    <a:gd name="connsiteX6" fmla="*/ 409575 w 1591459"/>
                    <a:gd name="connsiteY6" fmla="*/ 1200150 h 2024836"/>
                    <a:gd name="connsiteX7" fmla="*/ 428625 w 1591459"/>
                    <a:gd name="connsiteY7" fmla="*/ 1223963 h 2024836"/>
                    <a:gd name="connsiteX8" fmla="*/ 438150 w 1591459"/>
                    <a:gd name="connsiteY8" fmla="*/ 1319213 h 2024836"/>
                    <a:gd name="connsiteX9" fmla="*/ 457200 w 1591459"/>
                    <a:gd name="connsiteY9" fmla="*/ 1390651 h 2024836"/>
                    <a:gd name="connsiteX10" fmla="*/ 528637 w 1591459"/>
                    <a:gd name="connsiteY10" fmla="*/ 1524000 h 2024836"/>
                    <a:gd name="connsiteX11" fmla="*/ 542925 w 1591459"/>
                    <a:gd name="connsiteY11" fmla="*/ 1614488 h 2024836"/>
                    <a:gd name="connsiteX12" fmla="*/ 566737 w 1591459"/>
                    <a:gd name="connsiteY12" fmla="*/ 1695450 h 2024836"/>
                    <a:gd name="connsiteX13" fmla="*/ 557212 w 1591459"/>
                    <a:gd name="connsiteY13" fmla="*/ 1762125 h 2024836"/>
                    <a:gd name="connsiteX14" fmla="*/ 642937 w 1591459"/>
                    <a:gd name="connsiteY14" fmla="*/ 1876425 h 2024836"/>
                    <a:gd name="connsiteX15" fmla="*/ 638175 w 1591459"/>
                    <a:gd name="connsiteY15" fmla="*/ 1971675 h 2024836"/>
                    <a:gd name="connsiteX16" fmla="*/ 652462 w 1591459"/>
                    <a:gd name="connsiteY16" fmla="*/ 2024063 h 2024836"/>
                    <a:gd name="connsiteX17" fmla="*/ 885825 w 1591459"/>
                    <a:gd name="connsiteY17" fmla="*/ 1933575 h 2024836"/>
                    <a:gd name="connsiteX18" fmla="*/ 947737 w 1591459"/>
                    <a:gd name="connsiteY18" fmla="*/ 1905000 h 2024836"/>
                    <a:gd name="connsiteX19" fmla="*/ 1023937 w 1591459"/>
                    <a:gd name="connsiteY19" fmla="*/ 1928813 h 2024836"/>
                    <a:gd name="connsiteX20" fmla="*/ 1085850 w 1591459"/>
                    <a:gd name="connsiteY20" fmla="*/ 1933575 h 2024836"/>
                    <a:gd name="connsiteX21" fmla="*/ 1123950 w 1591459"/>
                    <a:gd name="connsiteY21" fmla="*/ 1852613 h 2024836"/>
                    <a:gd name="connsiteX22" fmla="*/ 1085850 w 1591459"/>
                    <a:gd name="connsiteY22" fmla="*/ 1776413 h 2024836"/>
                    <a:gd name="connsiteX23" fmla="*/ 1147762 w 1591459"/>
                    <a:gd name="connsiteY23" fmla="*/ 1714500 h 2024836"/>
                    <a:gd name="connsiteX24" fmla="*/ 1214437 w 1591459"/>
                    <a:gd name="connsiteY24" fmla="*/ 1652588 h 2024836"/>
                    <a:gd name="connsiteX25" fmla="*/ 1266825 w 1591459"/>
                    <a:gd name="connsiteY25" fmla="*/ 1538288 h 2024836"/>
                    <a:gd name="connsiteX26" fmla="*/ 1290637 w 1591459"/>
                    <a:gd name="connsiteY26" fmla="*/ 1485900 h 2024836"/>
                    <a:gd name="connsiteX27" fmla="*/ 1352550 w 1591459"/>
                    <a:gd name="connsiteY27" fmla="*/ 1423988 h 2024836"/>
                    <a:gd name="connsiteX28" fmla="*/ 1404937 w 1591459"/>
                    <a:gd name="connsiteY28" fmla="*/ 1343025 h 2024836"/>
                    <a:gd name="connsiteX29" fmla="*/ 1419225 w 1591459"/>
                    <a:gd name="connsiteY29" fmla="*/ 1262063 h 2024836"/>
                    <a:gd name="connsiteX30" fmla="*/ 1485900 w 1591459"/>
                    <a:gd name="connsiteY30" fmla="*/ 1128713 h 2024836"/>
                    <a:gd name="connsiteX31" fmla="*/ 1552575 w 1591459"/>
                    <a:gd name="connsiteY31" fmla="*/ 1014413 h 2024836"/>
                    <a:gd name="connsiteX32" fmla="*/ 1552575 w 1591459"/>
                    <a:gd name="connsiteY32" fmla="*/ 933450 h 2024836"/>
                    <a:gd name="connsiteX33" fmla="*/ 1557337 w 1591459"/>
                    <a:gd name="connsiteY33" fmla="*/ 804863 h 2024836"/>
                    <a:gd name="connsiteX34" fmla="*/ 1571625 w 1591459"/>
                    <a:gd name="connsiteY34" fmla="*/ 709613 h 2024836"/>
                    <a:gd name="connsiteX35" fmla="*/ 1590675 w 1591459"/>
                    <a:gd name="connsiteY35" fmla="*/ 628650 h 2024836"/>
                    <a:gd name="connsiteX36" fmla="*/ 1543050 w 1591459"/>
                    <a:gd name="connsiteY36" fmla="*/ 495300 h 2024836"/>
                    <a:gd name="connsiteX37" fmla="*/ 1438275 w 1591459"/>
                    <a:gd name="connsiteY37" fmla="*/ 280988 h 2024836"/>
                    <a:gd name="connsiteX38" fmla="*/ 1443037 w 1591459"/>
                    <a:gd name="connsiteY38" fmla="*/ 233363 h 2024836"/>
                    <a:gd name="connsiteX39" fmla="*/ 1447800 w 1591459"/>
                    <a:gd name="connsiteY39" fmla="*/ 190500 h 2024836"/>
                    <a:gd name="connsiteX40" fmla="*/ 1485900 w 1591459"/>
                    <a:gd name="connsiteY40" fmla="*/ 133350 h 2024836"/>
                    <a:gd name="connsiteX41" fmla="*/ 1504950 w 1591459"/>
                    <a:gd name="connsiteY41" fmla="*/ 95250 h 2024836"/>
                    <a:gd name="connsiteX42" fmla="*/ 1552575 w 1591459"/>
                    <a:gd name="connsiteY42" fmla="*/ 0 h 2024836"/>
                    <a:gd name="connsiteX0" fmla="*/ 0 w 1591459"/>
                    <a:gd name="connsiteY0" fmla="*/ 585788 h 1929586"/>
                    <a:gd name="connsiteX1" fmla="*/ 42862 w 1591459"/>
                    <a:gd name="connsiteY1" fmla="*/ 671513 h 1929586"/>
                    <a:gd name="connsiteX2" fmla="*/ 119062 w 1591459"/>
                    <a:gd name="connsiteY2" fmla="*/ 738188 h 1929586"/>
                    <a:gd name="connsiteX3" fmla="*/ 185737 w 1591459"/>
                    <a:gd name="connsiteY3" fmla="*/ 809625 h 1929586"/>
                    <a:gd name="connsiteX4" fmla="*/ 238125 w 1591459"/>
                    <a:gd name="connsiteY4" fmla="*/ 923925 h 1929586"/>
                    <a:gd name="connsiteX5" fmla="*/ 314325 w 1591459"/>
                    <a:gd name="connsiteY5" fmla="*/ 1042988 h 1929586"/>
                    <a:gd name="connsiteX6" fmla="*/ 409575 w 1591459"/>
                    <a:gd name="connsiteY6" fmla="*/ 1104900 h 1929586"/>
                    <a:gd name="connsiteX7" fmla="*/ 428625 w 1591459"/>
                    <a:gd name="connsiteY7" fmla="*/ 1128713 h 1929586"/>
                    <a:gd name="connsiteX8" fmla="*/ 438150 w 1591459"/>
                    <a:gd name="connsiteY8" fmla="*/ 1223963 h 1929586"/>
                    <a:gd name="connsiteX9" fmla="*/ 457200 w 1591459"/>
                    <a:gd name="connsiteY9" fmla="*/ 1295401 h 1929586"/>
                    <a:gd name="connsiteX10" fmla="*/ 528637 w 1591459"/>
                    <a:gd name="connsiteY10" fmla="*/ 1428750 h 1929586"/>
                    <a:gd name="connsiteX11" fmla="*/ 542925 w 1591459"/>
                    <a:gd name="connsiteY11" fmla="*/ 1519238 h 1929586"/>
                    <a:gd name="connsiteX12" fmla="*/ 566737 w 1591459"/>
                    <a:gd name="connsiteY12" fmla="*/ 1600200 h 1929586"/>
                    <a:gd name="connsiteX13" fmla="*/ 557212 w 1591459"/>
                    <a:gd name="connsiteY13" fmla="*/ 1666875 h 1929586"/>
                    <a:gd name="connsiteX14" fmla="*/ 642937 w 1591459"/>
                    <a:gd name="connsiteY14" fmla="*/ 1781175 h 1929586"/>
                    <a:gd name="connsiteX15" fmla="*/ 638175 w 1591459"/>
                    <a:gd name="connsiteY15" fmla="*/ 1876425 h 1929586"/>
                    <a:gd name="connsiteX16" fmla="*/ 652462 w 1591459"/>
                    <a:gd name="connsiteY16" fmla="*/ 1928813 h 1929586"/>
                    <a:gd name="connsiteX17" fmla="*/ 885825 w 1591459"/>
                    <a:gd name="connsiteY17" fmla="*/ 1838325 h 1929586"/>
                    <a:gd name="connsiteX18" fmla="*/ 947737 w 1591459"/>
                    <a:gd name="connsiteY18" fmla="*/ 1809750 h 1929586"/>
                    <a:gd name="connsiteX19" fmla="*/ 1023937 w 1591459"/>
                    <a:gd name="connsiteY19" fmla="*/ 1833563 h 1929586"/>
                    <a:gd name="connsiteX20" fmla="*/ 1085850 w 1591459"/>
                    <a:gd name="connsiteY20" fmla="*/ 1838325 h 1929586"/>
                    <a:gd name="connsiteX21" fmla="*/ 1123950 w 1591459"/>
                    <a:gd name="connsiteY21" fmla="*/ 1757363 h 1929586"/>
                    <a:gd name="connsiteX22" fmla="*/ 1085850 w 1591459"/>
                    <a:gd name="connsiteY22" fmla="*/ 1681163 h 1929586"/>
                    <a:gd name="connsiteX23" fmla="*/ 1147762 w 1591459"/>
                    <a:gd name="connsiteY23" fmla="*/ 1619250 h 1929586"/>
                    <a:gd name="connsiteX24" fmla="*/ 1214437 w 1591459"/>
                    <a:gd name="connsiteY24" fmla="*/ 1557338 h 1929586"/>
                    <a:gd name="connsiteX25" fmla="*/ 1266825 w 1591459"/>
                    <a:gd name="connsiteY25" fmla="*/ 1443038 h 1929586"/>
                    <a:gd name="connsiteX26" fmla="*/ 1290637 w 1591459"/>
                    <a:gd name="connsiteY26" fmla="*/ 1390650 h 1929586"/>
                    <a:gd name="connsiteX27" fmla="*/ 1352550 w 1591459"/>
                    <a:gd name="connsiteY27" fmla="*/ 1328738 h 1929586"/>
                    <a:gd name="connsiteX28" fmla="*/ 1404937 w 1591459"/>
                    <a:gd name="connsiteY28" fmla="*/ 1247775 h 1929586"/>
                    <a:gd name="connsiteX29" fmla="*/ 1419225 w 1591459"/>
                    <a:gd name="connsiteY29" fmla="*/ 1166813 h 1929586"/>
                    <a:gd name="connsiteX30" fmla="*/ 1485900 w 1591459"/>
                    <a:gd name="connsiteY30" fmla="*/ 1033463 h 1929586"/>
                    <a:gd name="connsiteX31" fmla="*/ 1552575 w 1591459"/>
                    <a:gd name="connsiteY31" fmla="*/ 919163 h 1929586"/>
                    <a:gd name="connsiteX32" fmla="*/ 1552575 w 1591459"/>
                    <a:gd name="connsiteY32" fmla="*/ 838200 h 1929586"/>
                    <a:gd name="connsiteX33" fmla="*/ 1557337 w 1591459"/>
                    <a:gd name="connsiteY33" fmla="*/ 709613 h 1929586"/>
                    <a:gd name="connsiteX34" fmla="*/ 1571625 w 1591459"/>
                    <a:gd name="connsiteY34" fmla="*/ 614363 h 1929586"/>
                    <a:gd name="connsiteX35" fmla="*/ 1590675 w 1591459"/>
                    <a:gd name="connsiteY35" fmla="*/ 533400 h 1929586"/>
                    <a:gd name="connsiteX36" fmla="*/ 1543050 w 1591459"/>
                    <a:gd name="connsiteY36" fmla="*/ 400050 h 1929586"/>
                    <a:gd name="connsiteX37" fmla="*/ 1438275 w 1591459"/>
                    <a:gd name="connsiteY37" fmla="*/ 185738 h 1929586"/>
                    <a:gd name="connsiteX38" fmla="*/ 1443037 w 1591459"/>
                    <a:gd name="connsiteY38" fmla="*/ 138113 h 1929586"/>
                    <a:gd name="connsiteX39" fmla="*/ 1447800 w 1591459"/>
                    <a:gd name="connsiteY39" fmla="*/ 95250 h 1929586"/>
                    <a:gd name="connsiteX40" fmla="*/ 1485900 w 1591459"/>
                    <a:gd name="connsiteY40" fmla="*/ 38100 h 1929586"/>
                    <a:gd name="connsiteX41" fmla="*/ 1504950 w 1591459"/>
                    <a:gd name="connsiteY41" fmla="*/ 0 h 1929586"/>
                    <a:gd name="connsiteX0" fmla="*/ 0 w 1591459"/>
                    <a:gd name="connsiteY0" fmla="*/ 585788 h 1929586"/>
                    <a:gd name="connsiteX1" fmla="*/ 42862 w 1591459"/>
                    <a:gd name="connsiteY1" fmla="*/ 671513 h 1929586"/>
                    <a:gd name="connsiteX2" fmla="*/ 119062 w 1591459"/>
                    <a:gd name="connsiteY2" fmla="*/ 738188 h 1929586"/>
                    <a:gd name="connsiteX3" fmla="*/ 185737 w 1591459"/>
                    <a:gd name="connsiteY3" fmla="*/ 809625 h 1929586"/>
                    <a:gd name="connsiteX4" fmla="*/ 238125 w 1591459"/>
                    <a:gd name="connsiteY4" fmla="*/ 923925 h 1929586"/>
                    <a:gd name="connsiteX5" fmla="*/ 314325 w 1591459"/>
                    <a:gd name="connsiteY5" fmla="*/ 1042988 h 1929586"/>
                    <a:gd name="connsiteX6" fmla="*/ 409575 w 1591459"/>
                    <a:gd name="connsiteY6" fmla="*/ 1104900 h 1929586"/>
                    <a:gd name="connsiteX7" fmla="*/ 428625 w 1591459"/>
                    <a:gd name="connsiteY7" fmla="*/ 1128713 h 1929586"/>
                    <a:gd name="connsiteX8" fmla="*/ 438150 w 1591459"/>
                    <a:gd name="connsiteY8" fmla="*/ 1223963 h 1929586"/>
                    <a:gd name="connsiteX9" fmla="*/ 457200 w 1591459"/>
                    <a:gd name="connsiteY9" fmla="*/ 1295401 h 1929586"/>
                    <a:gd name="connsiteX10" fmla="*/ 528637 w 1591459"/>
                    <a:gd name="connsiteY10" fmla="*/ 1428750 h 1929586"/>
                    <a:gd name="connsiteX11" fmla="*/ 542925 w 1591459"/>
                    <a:gd name="connsiteY11" fmla="*/ 1519238 h 1929586"/>
                    <a:gd name="connsiteX12" fmla="*/ 566737 w 1591459"/>
                    <a:gd name="connsiteY12" fmla="*/ 1600200 h 1929586"/>
                    <a:gd name="connsiteX13" fmla="*/ 557212 w 1591459"/>
                    <a:gd name="connsiteY13" fmla="*/ 1666875 h 1929586"/>
                    <a:gd name="connsiteX14" fmla="*/ 642937 w 1591459"/>
                    <a:gd name="connsiteY14" fmla="*/ 1781175 h 1929586"/>
                    <a:gd name="connsiteX15" fmla="*/ 638175 w 1591459"/>
                    <a:gd name="connsiteY15" fmla="*/ 1876425 h 1929586"/>
                    <a:gd name="connsiteX16" fmla="*/ 652462 w 1591459"/>
                    <a:gd name="connsiteY16" fmla="*/ 1928813 h 1929586"/>
                    <a:gd name="connsiteX17" fmla="*/ 885825 w 1591459"/>
                    <a:gd name="connsiteY17" fmla="*/ 1838325 h 1929586"/>
                    <a:gd name="connsiteX18" fmla="*/ 947737 w 1591459"/>
                    <a:gd name="connsiteY18" fmla="*/ 1809750 h 1929586"/>
                    <a:gd name="connsiteX19" fmla="*/ 1023937 w 1591459"/>
                    <a:gd name="connsiteY19" fmla="*/ 1833563 h 1929586"/>
                    <a:gd name="connsiteX20" fmla="*/ 1085850 w 1591459"/>
                    <a:gd name="connsiteY20" fmla="*/ 1838325 h 1929586"/>
                    <a:gd name="connsiteX21" fmla="*/ 1123950 w 1591459"/>
                    <a:gd name="connsiteY21" fmla="*/ 1757363 h 1929586"/>
                    <a:gd name="connsiteX22" fmla="*/ 1085850 w 1591459"/>
                    <a:gd name="connsiteY22" fmla="*/ 1681163 h 1929586"/>
                    <a:gd name="connsiteX23" fmla="*/ 1147762 w 1591459"/>
                    <a:gd name="connsiteY23" fmla="*/ 1619250 h 1929586"/>
                    <a:gd name="connsiteX24" fmla="*/ 1214437 w 1591459"/>
                    <a:gd name="connsiteY24" fmla="*/ 1557338 h 1929586"/>
                    <a:gd name="connsiteX25" fmla="*/ 1266825 w 1591459"/>
                    <a:gd name="connsiteY25" fmla="*/ 1443038 h 1929586"/>
                    <a:gd name="connsiteX26" fmla="*/ 1290637 w 1591459"/>
                    <a:gd name="connsiteY26" fmla="*/ 1390650 h 1929586"/>
                    <a:gd name="connsiteX27" fmla="*/ 1352550 w 1591459"/>
                    <a:gd name="connsiteY27" fmla="*/ 1328738 h 1929586"/>
                    <a:gd name="connsiteX28" fmla="*/ 1404937 w 1591459"/>
                    <a:gd name="connsiteY28" fmla="*/ 1247775 h 1929586"/>
                    <a:gd name="connsiteX29" fmla="*/ 1419225 w 1591459"/>
                    <a:gd name="connsiteY29" fmla="*/ 1166813 h 1929586"/>
                    <a:gd name="connsiteX30" fmla="*/ 1485900 w 1591459"/>
                    <a:gd name="connsiteY30" fmla="*/ 1033463 h 1929586"/>
                    <a:gd name="connsiteX31" fmla="*/ 1552575 w 1591459"/>
                    <a:gd name="connsiteY31" fmla="*/ 919163 h 1929586"/>
                    <a:gd name="connsiteX32" fmla="*/ 1552575 w 1591459"/>
                    <a:gd name="connsiteY32" fmla="*/ 838200 h 1929586"/>
                    <a:gd name="connsiteX33" fmla="*/ 1557337 w 1591459"/>
                    <a:gd name="connsiteY33" fmla="*/ 709613 h 1929586"/>
                    <a:gd name="connsiteX34" fmla="*/ 1571625 w 1591459"/>
                    <a:gd name="connsiteY34" fmla="*/ 614363 h 1929586"/>
                    <a:gd name="connsiteX35" fmla="*/ 1590675 w 1591459"/>
                    <a:gd name="connsiteY35" fmla="*/ 533400 h 1929586"/>
                    <a:gd name="connsiteX36" fmla="*/ 1543050 w 1591459"/>
                    <a:gd name="connsiteY36" fmla="*/ 400050 h 1929586"/>
                    <a:gd name="connsiteX37" fmla="*/ 1438275 w 1591459"/>
                    <a:gd name="connsiteY37" fmla="*/ 185738 h 1929586"/>
                    <a:gd name="connsiteX38" fmla="*/ 1443037 w 1591459"/>
                    <a:gd name="connsiteY38" fmla="*/ 138113 h 1929586"/>
                    <a:gd name="connsiteX39" fmla="*/ 1447800 w 1591459"/>
                    <a:gd name="connsiteY39" fmla="*/ 95250 h 1929586"/>
                    <a:gd name="connsiteX40" fmla="*/ 1504950 w 1591459"/>
                    <a:gd name="connsiteY40" fmla="*/ 0 h 1929586"/>
                    <a:gd name="connsiteX0" fmla="*/ 0 w 1591459"/>
                    <a:gd name="connsiteY0" fmla="*/ 490538 h 1834336"/>
                    <a:gd name="connsiteX1" fmla="*/ 42862 w 1591459"/>
                    <a:gd name="connsiteY1" fmla="*/ 576263 h 1834336"/>
                    <a:gd name="connsiteX2" fmla="*/ 119062 w 1591459"/>
                    <a:gd name="connsiteY2" fmla="*/ 642938 h 1834336"/>
                    <a:gd name="connsiteX3" fmla="*/ 185737 w 1591459"/>
                    <a:gd name="connsiteY3" fmla="*/ 714375 h 1834336"/>
                    <a:gd name="connsiteX4" fmla="*/ 238125 w 1591459"/>
                    <a:gd name="connsiteY4" fmla="*/ 828675 h 1834336"/>
                    <a:gd name="connsiteX5" fmla="*/ 314325 w 1591459"/>
                    <a:gd name="connsiteY5" fmla="*/ 947738 h 1834336"/>
                    <a:gd name="connsiteX6" fmla="*/ 409575 w 1591459"/>
                    <a:gd name="connsiteY6" fmla="*/ 1009650 h 1834336"/>
                    <a:gd name="connsiteX7" fmla="*/ 428625 w 1591459"/>
                    <a:gd name="connsiteY7" fmla="*/ 1033463 h 1834336"/>
                    <a:gd name="connsiteX8" fmla="*/ 438150 w 1591459"/>
                    <a:gd name="connsiteY8" fmla="*/ 1128713 h 1834336"/>
                    <a:gd name="connsiteX9" fmla="*/ 457200 w 1591459"/>
                    <a:gd name="connsiteY9" fmla="*/ 1200151 h 1834336"/>
                    <a:gd name="connsiteX10" fmla="*/ 528637 w 1591459"/>
                    <a:gd name="connsiteY10" fmla="*/ 1333500 h 1834336"/>
                    <a:gd name="connsiteX11" fmla="*/ 542925 w 1591459"/>
                    <a:gd name="connsiteY11" fmla="*/ 1423988 h 1834336"/>
                    <a:gd name="connsiteX12" fmla="*/ 566737 w 1591459"/>
                    <a:gd name="connsiteY12" fmla="*/ 1504950 h 1834336"/>
                    <a:gd name="connsiteX13" fmla="*/ 557212 w 1591459"/>
                    <a:gd name="connsiteY13" fmla="*/ 1571625 h 1834336"/>
                    <a:gd name="connsiteX14" fmla="*/ 642937 w 1591459"/>
                    <a:gd name="connsiteY14" fmla="*/ 1685925 h 1834336"/>
                    <a:gd name="connsiteX15" fmla="*/ 638175 w 1591459"/>
                    <a:gd name="connsiteY15" fmla="*/ 1781175 h 1834336"/>
                    <a:gd name="connsiteX16" fmla="*/ 652462 w 1591459"/>
                    <a:gd name="connsiteY16" fmla="*/ 1833563 h 1834336"/>
                    <a:gd name="connsiteX17" fmla="*/ 885825 w 1591459"/>
                    <a:gd name="connsiteY17" fmla="*/ 1743075 h 1834336"/>
                    <a:gd name="connsiteX18" fmla="*/ 947737 w 1591459"/>
                    <a:gd name="connsiteY18" fmla="*/ 1714500 h 1834336"/>
                    <a:gd name="connsiteX19" fmla="*/ 1023937 w 1591459"/>
                    <a:gd name="connsiteY19" fmla="*/ 1738313 h 1834336"/>
                    <a:gd name="connsiteX20" fmla="*/ 1085850 w 1591459"/>
                    <a:gd name="connsiteY20" fmla="*/ 1743075 h 1834336"/>
                    <a:gd name="connsiteX21" fmla="*/ 1123950 w 1591459"/>
                    <a:gd name="connsiteY21" fmla="*/ 1662113 h 1834336"/>
                    <a:gd name="connsiteX22" fmla="*/ 1085850 w 1591459"/>
                    <a:gd name="connsiteY22" fmla="*/ 1585913 h 1834336"/>
                    <a:gd name="connsiteX23" fmla="*/ 1147762 w 1591459"/>
                    <a:gd name="connsiteY23" fmla="*/ 1524000 h 1834336"/>
                    <a:gd name="connsiteX24" fmla="*/ 1214437 w 1591459"/>
                    <a:gd name="connsiteY24" fmla="*/ 1462088 h 1834336"/>
                    <a:gd name="connsiteX25" fmla="*/ 1266825 w 1591459"/>
                    <a:gd name="connsiteY25" fmla="*/ 1347788 h 1834336"/>
                    <a:gd name="connsiteX26" fmla="*/ 1290637 w 1591459"/>
                    <a:gd name="connsiteY26" fmla="*/ 1295400 h 1834336"/>
                    <a:gd name="connsiteX27" fmla="*/ 1352550 w 1591459"/>
                    <a:gd name="connsiteY27" fmla="*/ 1233488 h 1834336"/>
                    <a:gd name="connsiteX28" fmla="*/ 1404937 w 1591459"/>
                    <a:gd name="connsiteY28" fmla="*/ 1152525 h 1834336"/>
                    <a:gd name="connsiteX29" fmla="*/ 1419225 w 1591459"/>
                    <a:gd name="connsiteY29" fmla="*/ 1071563 h 1834336"/>
                    <a:gd name="connsiteX30" fmla="*/ 1485900 w 1591459"/>
                    <a:gd name="connsiteY30" fmla="*/ 938213 h 1834336"/>
                    <a:gd name="connsiteX31" fmla="*/ 1552575 w 1591459"/>
                    <a:gd name="connsiteY31" fmla="*/ 823913 h 1834336"/>
                    <a:gd name="connsiteX32" fmla="*/ 1552575 w 1591459"/>
                    <a:gd name="connsiteY32" fmla="*/ 742950 h 1834336"/>
                    <a:gd name="connsiteX33" fmla="*/ 1557337 w 1591459"/>
                    <a:gd name="connsiteY33" fmla="*/ 614363 h 1834336"/>
                    <a:gd name="connsiteX34" fmla="*/ 1571625 w 1591459"/>
                    <a:gd name="connsiteY34" fmla="*/ 519113 h 1834336"/>
                    <a:gd name="connsiteX35" fmla="*/ 1590675 w 1591459"/>
                    <a:gd name="connsiteY35" fmla="*/ 438150 h 1834336"/>
                    <a:gd name="connsiteX36" fmla="*/ 1543050 w 1591459"/>
                    <a:gd name="connsiteY36" fmla="*/ 304800 h 1834336"/>
                    <a:gd name="connsiteX37" fmla="*/ 1438275 w 1591459"/>
                    <a:gd name="connsiteY37" fmla="*/ 90488 h 1834336"/>
                    <a:gd name="connsiteX38" fmla="*/ 1443037 w 1591459"/>
                    <a:gd name="connsiteY38" fmla="*/ 42863 h 1834336"/>
                    <a:gd name="connsiteX39" fmla="*/ 1447800 w 1591459"/>
                    <a:gd name="connsiteY39" fmla="*/ 0 h 1834336"/>
                    <a:gd name="connsiteX0" fmla="*/ 0 w 1591459"/>
                    <a:gd name="connsiteY0" fmla="*/ 447675 h 1791473"/>
                    <a:gd name="connsiteX1" fmla="*/ 42862 w 1591459"/>
                    <a:gd name="connsiteY1" fmla="*/ 533400 h 1791473"/>
                    <a:gd name="connsiteX2" fmla="*/ 119062 w 1591459"/>
                    <a:gd name="connsiteY2" fmla="*/ 600075 h 1791473"/>
                    <a:gd name="connsiteX3" fmla="*/ 185737 w 1591459"/>
                    <a:gd name="connsiteY3" fmla="*/ 671512 h 1791473"/>
                    <a:gd name="connsiteX4" fmla="*/ 238125 w 1591459"/>
                    <a:gd name="connsiteY4" fmla="*/ 785812 h 1791473"/>
                    <a:gd name="connsiteX5" fmla="*/ 314325 w 1591459"/>
                    <a:gd name="connsiteY5" fmla="*/ 904875 h 1791473"/>
                    <a:gd name="connsiteX6" fmla="*/ 409575 w 1591459"/>
                    <a:gd name="connsiteY6" fmla="*/ 966787 h 1791473"/>
                    <a:gd name="connsiteX7" fmla="*/ 428625 w 1591459"/>
                    <a:gd name="connsiteY7" fmla="*/ 990600 h 1791473"/>
                    <a:gd name="connsiteX8" fmla="*/ 438150 w 1591459"/>
                    <a:gd name="connsiteY8" fmla="*/ 1085850 h 1791473"/>
                    <a:gd name="connsiteX9" fmla="*/ 457200 w 1591459"/>
                    <a:gd name="connsiteY9" fmla="*/ 1157288 h 1791473"/>
                    <a:gd name="connsiteX10" fmla="*/ 528637 w 1591459"/>
                    <a:gd name="connsiteY10" fmla="*/ 1290637 h 1791473"/>
                    <a:gd name="connsiteX11" fmla="*/ 542925 w 1591459"/>
                    <a:gd name="connsiteY11" fmla="*/ 1381125 h 1791473"/>
                    <a:gd name="connsiteX12" fmla="*/ 566737 w 1591459"/>
                    <a:gd name="connsiteY12" fmla="*/ 1462087 h 1791473"/>
                    <a:gd name="connsiteX13" fmla="*/ 557212 w 1591459"/>
                    <a:gd name="connsiteY13" fmla="*/ 1528762 h 1791473"/>
                    <a:gd name="connsiteX14" fmla="*/ 642937 w 1591459"/>
                    <a:gd name="connsiteY14" fmla="*/ 1643062 h 1791473"/>
                    <a:gd name="connsiteX15" fmla="*/ 638175 w 1591459"/>
                    <a:gd name="connsiteY15" fmla="*/ 1738312 h 1791473"/>
                    <a:gd name="connsiteX16" fmla="*/ 652462 w 1591459"/>
                    <a:gd name="connsiteY16" fmla="*/ 1790700 h 1791473"/>
                    <a:gd name="connsiteX17" fmla="*/ 885825 w 1591459"/>
                    <a:gd name="connsiteY17" fmla="*/ 1700212 h 1791473"/>
                    <a:gd name="connsiteX18" fmla="*/ 947737 w 1591459"/>
                    <a:gd name="connsiteY18" fmla="*/ 1671637 h 1791473"/>
                    <a:gd name="connsiteX19" fmla="*/ 1023937 w 1591459"/>
                    <a:gd name="connsiteY19" fmla="*/ 1695450 h 1791473"/>
                    <a:gd name="connsiteX20" fmla="*/ 1085850 w 1591459"/>
                    <a:gd name="connsiteY20" fmla="*/ 1700212 h 1791473"/>
                    <a:gd name="connsiteX21" fmla="*/ 1123950 w 1591459"/>
                    <a:gd name="connsiteY21" fmla="*/ 1619250 h 1791473"/>
                    <a:gd name="connsiteX22" fmla="*/ 1085850 w 1591459"/>
                    <a:gd name="connsiteY22" fmla="*/ 1543050 h 1791473"/>
                    <a:gd name="connsiteX23" fmla="*/ 1147762 w 1591459"/>
                    <a:gd name="connsiteY23" fmla="*/ 1481137 h 1791473"/>
                    <a:gd name="connsiteX24" fmla="*/ 1214437 w 1591459"/>
                    <a:gd name="connsiteY24" fmla="*/ 1419225 h 1791473"/>
                    <a:gd name="connsiteX25" fmla="*/ 1266825 w 1591459"/>
                    <a:gd name="connsiteY25" fmla="*/ 1304925 h 1791473"/>
                    <a:gd name="connsiteX26" fmla="*/ 1290637 w 1591459"/>
                    <a:gd name="connsiteY26" fmla="*/ 1252537 h 1791473"/>
                    <a:gd name="connsiteX27" fmla="*/ 1352550 w 1591459"/>
                    <a:gd name="connsiteY27" fmla="*/ 1190625 h 1791473"/>
                    <a:gd name="connsiteX28" fmla="*/ 1404937 w 1591459"/>
                    <a:gd name="connsiteY28" fmla="*/ 1109662 h 1791473"/>
                    <a:gd name="connsiteX29" fmla="*/ 1419225 w 1591459"/>
                    <a:gd name="connsiteY29" fmla="*/ 1028700 h 1791473"/>
                    <a:gd name="connsiteX30" fmla="*/ 1485900 w 1591459"/>
                    <a:gd name="connsiteY30" fmla="*/ 895350 h 1791473"/>
                    <a:gd name="connsiteX31" fmla="*/ 1552575 w 1591459"/>
                    <a:gd name="connsiteY31" fmla="*/ 781050 h 1791473"/>
                    <a:gd name="connsiteX32" fmla="*/ 1552575 w 1591459"/>
                    <a:gd name="connsiteY32" fmla="*/ 700087 h 1791473"/>
                    <a:gd name="connsiteX33" fmla="*/ 1557337 w 1591459"/>
                    <a:gd name="connsiteY33" fmla="*/ 571500 h 1791473"/>
                    <a:gd name="connsiteX34" fmla="*/ 1571625 w 1591459"/>
                    <a:gd name="connsiteY34" fmla="*/ 476250 h 1791473"/>
                    <a:gd name="connsiteX35" fmla="*/ 1590675 w 1591459"/>
                    <a:gd name="connsiteY35" fmla="*/ 395287 h 1791473"/>
                    <a:gd name="connsiteX36" fmla="*/ 1543050 w 1591459"/>
                    <a:gd name="connsiteY36" fmla="*/ 261937 h 1791473"/>
                    <a:gd name="connsiteX37" fmla="*/ 1438275 w 1591459"/>
                    <a:gd name="connsiteY37" fmla="*/ 47625 h 1791473"/>
                    <a:gd name="connsiteX38" fmla="*/ 1443037 w 1591459"/>
                    <a:gd name="connsiteY38" fmla="*/ 0 h 1791473"/>
                    <a:gd name="connsiteX0" fmla="*/ 0 w 1591459"/>
                    <a:gd name="connsiteY0" fmla="*/ 400050 h 1743848"/>
                    <a:gd name="connsiteX1" fmla="*/ 42862 w 1591459"/>
                    <a:gd name="connsiteY1" fmla="*/ 485775 h 1743848"/>
                    <a:gd name="connsiteX2" fmla="*/ 119062 w 1591459"/>
                    <a:gd name="connsiteY2" fmla="*/ 552450 h 1743848"/>
                    <a:gd name="connsiteX3" fmla="*/ 185737 w 1591459"/>
                    <a:gd name="connsiteY3" fmla="*/ 623887 h 1743848"/>
                    <a:gd name="connsiteX4" fmla="*/ 238125 w 1591459"/>
                    <a:gd name="connsiteY4" fmla="*/ 738187 h 1743848"/>
                    <a:gd name="connsiteX5" fmla="*/ 314325 w 1591459"/>
                    <a:gd name="connsiteY5" fmla="*/ 857250 h 1743848"/>
                    <a:gd name="connsiteX6" fmla="*/ 409575 w 1591459"/>
                    <a:gd name="connsiteY6" fmla="*/ 919162 h 1743848"/>
                    <a:gd name="connsiteX7" fmla="*/ 428625 w 1591459"/>
                    <a:gd name="connsiteY7" fmla="*/ 942975 h 1743848"/>
                    <a:gd name="connsiteX8" fmla="*/ 438150 w 1591459"/>
                    <a:gd name="connsiteY8" fmla="*/ 1038225 h 1743848"/>
                    <a:gd name="connsiteX9" fmla="*/ 457200 w 1591459"/>
                    <a:gd name="connsiteY9" fmla="*/ 1109663 h 1743848"/>
                    <a:gd name="connsiteX10" fmla="*/ 528637 w 1591459"/>
                    <a:gd name="connsiteY10" fmla="*/ 1243012 h 1743848"/>
                    <a:gd name="connsiteX11" fmla="*/ 542925 w 1591459"/>
                    <a:gd name="connsiteY11" fmla="*/ 1333500 h 1743848"/>
                    <a:gd name="connsiteX12" fmla="*/ 566737 w 1591459"/>
                    <a:gd name="connsiteY12" fmla="*/ 1414462 h 1743848"/>
                    <a:gd name="connsiteX13" fmla="*/ 557212 w 1591459"/>
                    <a:gd name="connsiteY13" fmla="*/ 1481137 h 1743848"/>
                    <a:gd name="connsiteX14" fmla="*/ 642937 w 1591459"/>
                    <a:gd name="connsiteY14" fmla="*/ 1595437 h 1743848"/>
                    <a:gd name="connsiteX15" fmla="*/ 638175 w 1591459"/>
                    <a:gd name="connsiteY15" fmla="*/ 1690687 h 1743848"/>
                    <a:gd name="connsiteX16" fmla="*/ 652462 w 1591459"/>
                    <a:gd name="connsiteY16" fmla="*/ 1743075 h 1743848"/>
                    <a:gd name="connsiteX17" fmla="*/ 885825 w 1591459"/>
                    <a:gd name="connsiteY17" fmla="*/ 1652587 h 1743848"/>
                    <a:gd name="connsiteX18" fmla="*/ 947737 w 1591459"/>
                    <a:gd name="connsiteY18" fmla="*/ 1624012 h 1743848"/>
                    <a:gd name="connsiteX19" fmla="*/ 1023937 w 1591459"/>
                    <a:gd name="connsiteY19" fmla="*/ 1647825 h 1743848"/>
                    <a:gd name="connsiteX20" fmla="*/ 1085850 w 1591459"/>
                    <a:gd name="connsiteY20" fmla="*/ 1652587 h 1743848"/>
                    <a:gd name="connsiteX21" fmla="*/ 1123950 w 1591459"/>
                    <a:gd name="connsiteY21" fmla="*/ 1571625 h 1743848"/>
                    <a:gd name="connsiteX22" fmla="*/ 1085850 w 1591459"/>
                    <a:gd name="connsiteY22" fmla="*/ 1495425 h 1743848"/>
                    <a:gd name="connsiteX23" fmla="*/ 1147762 w 1591459"/>
                    <a:gd name="connsiteY23" fmla="*/ 1433512 h 1743848"/>
                    <a:gd name="connsiteX24" fmla="*/ 1214437 w 1591459"/>
                    <a:gd name="connsiteY24" fmla="*/ 1371600 h 1743848"/>
                    <a:gd name="connsiteX25" fmla="*/ 1266825 w 1591459"/>
                    <a:gd name="connsiteY25" fmla="*/ 1257300 h 1743848"/>
                    <a:gd name="connsiteX26" fmla="*/ 1290637 w 1591459"/>
                    <a:gd name="connsiteY26" fmla="*/ 1204912 h 1743848"/>
                    <a:gd name="connsiteX27" fmla="*/ 1352550 w 1591459"/>
                    <a:gd name="connsiteY27" fmla="*/ 1143000 h 1743848"/>
                    <a:gd name="connsiteX28" fmla="*/ 1404937 w 1591459"/>
                    <a:gd name="connsiteY28" fmla="*/ 1062037 h 1743848"/>
                    <a:gd name="connsiteX29" fmla="*/ 1419225 w 1591459"/>
                    <a:gd name="connsiteY29" fmla="*/ 981075 h 1743848"/>
                    <a:gd name="connsiteX30" fmla="*/ 1485900 w 1591459"/>
                    <a:gd name="connsiteY30" fmla="*/ 847725 h 1743848"/>
                    <a:gd name="connsiteX31" fmla="*/ 1552575 w 1591459"/>
                    <a:gd name="connsiteY31" fmla="*/ 733425 h 1743848"/>
                    <a:gd name="connsiteX32" fmla="*/ 1552575 w 1591459"/>
                    <a:gd name="connsiteY32" fmla="*/ 652462 h 1743848"/>
                    <a:gd name="connsiteX33" fmla="*/ 1557337 w 1591459"/>
                    <a:gd name="connsiteY33" fmla="*/ 523875 h 1743848"/>
                    <a:gd name="connsiteX34" fmla="*/ 1571625 w 1591459"/>
                    <a:gd name="connsiteY34" fmla="*/ 428625 h 1743848"/>
                    <a:gd name="connsiteX35" fmla="*/ 1590675 w 1591459"/>
                    <a:gd name="connsiteY35" fmla="*/ 347662 h 1743848"/>
                    <a:gd name="connsiteX36" fmla="*/ 1543050 w 1591459"/>
                    <a:gd name="connsiteY36" fmla="*/ 214312 h 1743848"/>
                    <a:gd name="connsiteX37" fmla="*/ 1438275 w 1591459"/>
                    <a:gd name="connsiteY37" fmla="*/ 0 h 1743848"/>
                    <a:gd name="connsiteX0" fmla="*/ 0 w 1591459"/>
                    <a:gd name="connsiteY0" fmla="*/ 185738 h 1529536"/>
                    <a:gd name="connsiteX1" fmla="*/ 42862 w 1591459"/>
                    <a:gd name="connsiteY1" fmla="*/ 271463 h 1529536"/>
                    <a:gd name="connsiteX2" fmla="*/ 119062 w 1591459"/>
                    <a:gd name="connsiteY2" fmla="*/ 338138 h 1529536"/>
                    <a:gd name="connsiteX3" fmla="*/ 185737 w 1591459"/>
                    <a:gd name="connsiteY3" fmla="*/ 409575 h 1529536"/>
                    <a:gd name="connsiteX4" fmla="*/ 238125 w 1591459"/>
                    <a:gd name="connsiteY4" fmla="*/ 523875 h 1529536"/>
                    <a:gd name="connsiteX5" fmla="*/ 314325 w 1591459"/>
                    <a:gd name="connsiteY5" fmla="*/ 642938 h 1529536"/>
                    <a:gd name="connsiteX6" fmla="*/ 409575 w 1591459"/>
                    <a:gd name="connsiteY6" fmla="*/ 704850 h 1529536"/>
                    <a:gd name="connsiteX7" fmla="*/ 428625 w 1591459"/>
                    <a:gd name="connsiteY7" fmla="*/ 728663 h 1529536"/>
                    <a:gd name="connsiteX8" fmla="*/ 438150 w 1591459"/>
                    <a:gd name="connsiteY8" fmla="*/ 823913 h 1529536"/>
                    <a:gd name="connsiteX9" fmla="*/ 457200 w 1591459"/>
                    <a:gd name="connsiteY9" fmla="*/ 895351 h 1529536"/>
                    <a:gd name="connsiteX10" fmla="*/ 528637 w 1591459"/>
                    <a:gd name="connsiteY10" fmla="*/ 1028700 h 1529536"/>
                    <a:gd name="connsiteX11" fmla="*/ 542925 w 1591459"/>
                    <a:gd name="connsiteY11" fmla="*/ 1119188 h 1529536"/>
                    <a:gd name="connsiteX12" fmla="*/ 566737 w 1591459"/>
                    <a:gd name="connsiteY12" fmla="*/ 1200150 h 1529536"/>
                    <a:gd name="connsiteX13" fmla="*/ 557212 w 1591459"/>
                    <a:gd name="connsiteY13" fmla="*/ 1266825 h 1529536"/>
                    <a:gd name="connsiteX14" fmla="*/ 642937 w 1591459"/>
                    <a:gd name="connsiteY14" fmla="*/ 1381125 h 1529536"/>
                    <a:gd name="connsiteX15" fmla="*/ 638175 w 1591459"/>
                    <a:gd name="connsiteY15" fmla="*/ 1476375 h 1529536"/>
                    <a:gd name="connsiteX16" fmla="*/ 652462 w 1591459"/>
                    <a:gd name="connsiteY16" fmla="*/ 1528763 h 1529536"/>
                    <a:gd name="connsiteX17" fmla="*/ 885825 w 1591459"/>
                    <a:gd name="connsiteY17" fmla="*/ 1438275 h 1529536"/>
                    <a:gd name="connsiteX18" fmla="*/ 947737 w 1591459"/>
                    <a:gd name="connsiteY18" fmla="*/ 1409700 h 1529536"/>
                    <a:gd name="connsiteX19" fmla="*/ 1023937 w 1591459"/>
                    <a:gd name="connsiteY19" fmla="*/ 1433513 h 1529536"/>
                    <a:gd name="connsiteX20" fmla="*/ 1085850 w 1591459"/>
                    <a:gd name="connsiteY20" fmla="*/ 1438275 h 1529536"/>
                    <a:gd name="connsiteX21" fmla="*/ 1123950 w 1591459"/>
                    <a:gd name="connsiteY21" fmla="*/ 1357313 h 1529536"/>
                    <a:gd name="connsiteX22" fmla="*/ 1085850 w 1591459"/>
                    <a:gd name="connsiteY22" fmla="*/ 1281113 h 1529536"/>
                    <a:gd name="connsiteX23" fmla="*/ 1147762 w 1591459"/>
                    <a:gd name="connsiteY23" fmla="*/ 1219200 h 1529536"/>
                    <a:gd name="connsiteX24" fmla="*/ 1214437 w 1591459"/>
                    <a:gd name="connsiteY24" fmla="*/ 1157288 h 1529536"/>
                    <a:gd name="connsiteX25" fmla="*/ 1266825 w 1591459"/>
                    <a:gd name="connsiteY25" fmla="*/ 1042988 h 1529536"/>
                    <a:gd name="connsiteX26" fmla="*/ 1290637 w 1591459"/>
                    <a:gd name="connsiteY26" fmla="*/ 990600 h 1529536"/>
                    <a:gd name="connsiteX27" fmla="*/ 1352550 w 1591459"/>
                    <a:gd name="connsiteY27" fmla="*/ 928688 h 1529536"/>
                    <a:gd name="connsiteX28" fmla="*/ 1404937 w 1591459"/>
                    <a:gd name="connsiteY28" fmla="*/ 847725 h 1529536"/>
                    <a:gd name="connsiteX29" fmla="*/ 1419225 w 1591459"/>
                    <a:gd name="connsiteY29" fmla="*/ 766763 h 1529536"/>
                    <a:gd name="connsiteX30" fmla="*/ 1485900 w 1591459"/>
                    <a:gd name="connsiteY30" fmla="*/ 633413 h 1529536"/>
                    <a:gd name="connsiteX31" fmla="*/ 1552575 w 1591459"/>
                    <a:gd name="connsiteY31" fmla="*/ 519113 h 1529536"/>
                    <a:gd name="connsiteX32" fmla="*/ 1552575 w 1591459"/>
                    <a:gd name="connsiteY32" fmla="*/ 438150 h 1529536"/>
                    <a:gd name="connsiteX33" fmla="*/ 1557337 w 1591459"/>
                    <a:gd name="connsiteY33" fmla="*/ 309563 h 1529536"/>
                    <a:gd name="connsiteX34" fmla="*/ 1571625 w 1591459"/>
                    <a:gd name="connsiteY34" fmla="*/ 214313 h 1529536"/>
                    <a:gd name="connsiteX35" fmla="*/ 1590675 w 1591459"/>
                    <a:gd name="connsiteY35" fmla="*/ 133350 h 1529536"/>
                    <a:gd name="connsiteX36" fmla="*/ 1543050 w 1591459"/>
                    <a:gd name="connsiteY36" fmla="*/ 0 h 1529536"/>
                    <a:gd name="connsiteX0" fmla="*/ 0 w 1591459"/>
                    <a:gd name="connsiteY0" fmla="*/ 52388 h 1396186"/>
                    <a:gd name="connsiteX1" fmla="*/ 42862 w 1591459"/>
                    <a:gd name="connsiteY1" fmla="*/ 138113 h 1396186"/>
                    <a:gd name="connsiteX2" fmla="*/ 119062 w 1591459"/>
                    <a:gd name="connsiteY2" fmla="*/ 204788 h 1396186"/>
                    <a:gd name="connsiteX3" fmla="*/ 185737 w 1591459"/>
                    <a:gd name="connsiteY3" fmla="*/ 276225 h 1396186"/>
                    <a:gd name="connsiteX4" fmla="*/ 238125 w 1591459"/>
                    <a:gd name="connsiteY4" fmla="*/ 390525 h 1396186"/>
                    <a:gd name="connsiteX5" fmla="*/ 314325 w 1591459"/>
                    <a:gd name="connsiteY5" fmla="*/ 509588 h 1396186"/>
                    <a:gd name="connsiteX6" fmla="*/ 409575 w 1591459"/>
                    <a:gd name="connsiteY6" fmla="*/ 571500 h 1396186"/>
                    <a:gd name="connsiteX7" fmla="*/ 428625 w 1591459"/>
                    <a:gd name="connsiteY7" fmla="*/ 595313 h 1396186"/>
                    <a:gd name="connsiteX8" fmla="*/ 438150 w 1591459"/>
                    <a:gd name="connsiteY8" fmla="*/ 690563 h 1396186"/>
                    <a:gd name="connsiteX9" fmla="*/ 457200 w 1591459"/>
                    <a:gd name="connsiteY9" fmla="*/ 762001 h 1396186"/>
                    <a:gd name="connsiteX10" fmla="*/ 528637 w 1591459"/>
                    <a:gd name="connsiteY10" fmla="*/ 895350 h 1396186"/>
                    <a:gd name="connsiteX11" fmla="*/ 542925 w 1591459"/>
                    <a:gd name="connsiteY11" fmla="*/ 985838 h 1396186"/>
                    <a:gd name="connsiteX12" fmla="*/ 566737 w 1591459"/>
                    <a:gd name="connsiteY12" fmla="*/ 1066800 h 1396186"/>
                    <a:gd name="connsiteX13" fmla="*/ 557212 w 1591459"/>
                    <a:gd name="connsiteY13" fmla="*/ 1133475 h 1396186"/>
                    <a:gd name="connsiteX14" fmla="*/ 642937 w 1591459"/>
                    <a:gd name="connsiteY14" fmla="*/ 1247775 h 1396186"/>
                    <a:gd name="connsiteX15" fmla="*/ 638175 w 1591459"/>
                    <a:gd name="connsiteY15" fmla="*/ 1343025 h 1396186"/>
                    <a:gd name="connsiteX16" fmla="*/ 652462 w 1591459"/>
                    <a:gd name="connsiteY16" fmla="*/ 1395413 h 1396186"/>
                    <a:gd name="connsiteX17" fmla="*/ 885825 w 1591459"/>
                    <a:gd name="connsiteY17" fmla="*/ 1304925 h 1396186"/>
                    <a:gd name="connsiteX18" fmla="*/ 947737 w 1591459"/>
                    <a:gd name="connsiteY18" fmla="*/ 1276350 h 1396186"/>
                    <a:gd name="connsiteX19" fmla="*/ 1023937 w 1591459"/>
                    <a:gd name="connsiteY19" fmla="*/ 1300163 h 1396186"/>
                    <a:gd name="connsiteX20" fmla="*/ 1085850 w 1591459"/>
                    <a:gd name="connsiteY20" fmla="*/ 1304925 h 1396186"/>
                    <a:gd name="connsiteX21" fmla="*/ 1123950 w 1591459"/>
                    <a:gd name="connsiteY21" fmla="*/ 1223963 h 1396186"/>
                    <a:gd name="connsiteX22" fmla="*/ 1085850 w 1591459"/>
                    <a:gd name="connsiteY22" fmla="*/ 1147763 h 1396186"/>
                    <a:gd name="connsiteX23" fmla="*/ 1147762 w 1591459"/>
                    <a:gd name="connsiteY23" fmla="*/ 1085850 h 1396186"/>
                    <a:gd name="connsiteX24" fmla="*/ 1214437 w 1591459"/>
                    <a:gd name="connsiteY24" fmla="*/ 1023938 h 1396186"/>
                    <a:gd name="connsiteX25" fmla="*/ 1266825 w 1591459"/>
                    <a:gd name="connsiteY25" fmla="*/ 909638 h 1396186"/>
                    <a:gd name="connsiteX26" fmla="*/ 1290637 w 1591459"/>
                    <a:gd name="connsiteY26" fmla="*/ 857250 h 1396186"/>
                    <a:gd name="connsiteX27" fmla="*/ 1352550 w 1591459"/>
                    <a:gd name="connsiteY27" fmla="*/ 795338 h 1396186"/>
                    <a:gd name="connsiteX28" fmla="*/ 1404937 w 1591459"/>
                    <a:gd name="connsiteY28" fmla="*/ 714375 h 1396186"/>
                    <a:gd name="connsiteX29" fmla="*/ 1419225 w 1591459"/>
                    <a:gd name="connsiteY29" fmla="*/ 633413 h 1396186"/>
                    <a:gd name="connsiteX30" fmla="*/ 1485900 w 1591459"/>
                    <a:gd name="connsiteY30" fmla="*/ 500063 h 1396186"/>
                    <a:gd name="connsiteX31" fmla="*/ 1552575 w 1591459"/>
                    <a:gd name="connsiteY31" fmla="*/ 385763 h 1396186"/>
                    <a:gd name="connsiteX32" fmla="*/ 1552575 w 1591459"/>
                    <a:gd name="connsiteY32" fmla="*/ 304800 h 1396186"/>
                    <a:gd name="connsiteX33" fmla="*/ 1557337 w 1591459"/>
                    <a:gd name="connsiteY33" fmla="*/ 176213 h 1396186"/>
                    <a:gd name="connsiteX34" fmla="*/ 1571625 w 1591459"/>
                    <a:gd name="connsiteY34" fmla="*/ 80963 h 1396186"/>
                    <a:gd name="connsiteX35" fmla="*/ 1590675 w 1591459"/>
                    <a:gd name="connsiteY35" fmla="*/ 0 h 1396186"/>
                    <a:gd name="connsiteX0" fmla="*/ 0 w 1571625"/>
                    <a:gd name="connsiteY0" fmla="*/ 0 h 1343798"/>
                    <a:gd name="connsiteX1" fmla="*/ 42862 w 1571625"/>
                    <a:gd name="connsiteY1" fmla="*/ 85725 h 1343798"/>
                    <a:gd name="connsiteX2" fmla="*/ 119062 w 1571625"/>
                    <a:gd name="connsiteY2" fmla="*/ 152400 h 1343798"/>
                    <a:gd name="connsiteX3" fmla="*/ 185737 w 1571625"/>
                    <a:gd name="connsiteY3" fmla="*/ 223837 h 1343798"/>
                    <a:gd name="connsiteX4" fmla="*/ 238125 w 1571625"/>
                    <a:gd name="connsiteY4" fmla="*/ 338137 h 1343798"/>
                    <a:gd name="connsiteX5" fmla="*/ 314325 w 1571625"/>
                    <a:gd name="connsiteY5" fmla="*/ 457200 h 1343798"/>
                    <a:gd name="connsiteX6" fmla="*/ 409575 w 1571625"/>
                    <a:gd name="connsiteY6" fmla="*/ 519112 h 1343798"/>
                    <a:gd name="connsiteX7" fmla="*/ 428625 w 1571625"/>
                    <a:gd name="connsiteY7" fmla="*/ 542925 h 1343798"/>
                    <a:gd name="connsiteX8" fmla="*/ 438150 w 1571625"/>
                    <a:gd name="connsiteY8" fmla="*/ 638175 h 1343798"/>
                    <a:gd name="connsiteX9" fmla="*/ 457200 w 1571625"/>
                    <a:gd name="connsiteY9" fmla="*/ 709613 h 1343798"/>
                    <a:gd name="connsiteX10" fmla="*/ 528637 w 1571625"/>
                    <a:gd name="connsiteY10" fmla="*/ 842962 h 1343798"/>
                    <a:gd name="connsiteX11" fmla="*/ 542925 w 1571625"/>
                    <a:gd name="connsiteY11" fmla="*/ 933450 h 1343798"/>
                    <a:gd name="connsiteX12" fmla="*/ 566737 w 1571625"/>
                    <a:gd name="connsiteY12" fmla="*/ 1014412 h 1343798"/>
                    <a:gd name="connsiteX13" fmla="*/ 557212 w 1571625"/>
                    <a:gd name="connsiteY13" fmla="*/ 1081087 h 1343798"/>
                    <a:gd name="connsiteX14" fmla="*/ 642937 w 1571625"/>
                    <a:gd name="connsiteY14" fmla="*/ 1195387 h 1343798"/>
                    <a:gd name="connsiteX15" fmla="*/ 638175 w 1571625"/>
                    <a:gd name="connsiteY15" fmla="*/ 1290637 h 1343798"/>
                    <a:gd name="connsiteX16" fmla="*/ 652462 w 1571625"/>
                    <a:gd name="connsiteY16" fmla="*/ 1343025 h 1343798"/>
                    <a:gd name="connsiteX17" fmla="*/ 885825 w 1571625"/>
                    <a:gd name="connsiteY17" fmla="*/ 1252537 h 1343798"/>
                    <a:gd name="connsiteX18" fmla="*/ 947737 w 1571625"/>
                    <a:gd name="connsiteY18" fmla="*/ 1223962 h 1343798"/>
                    <a:gd name="connsiteX19" fmla="*/ 1023937 w 1571625"/>
                    <a:gd name="connsiteY19" fmla="*/ 1247775 h 1343798"/>
                    <a:gd name="connsiteX20" fmla="*/ 1085850 w 1571625"/>
                    <a:gd name="connsiteY20" fmla="*/ 1252537 h 1343798"/>
                    <a:gd name="connsiteX21" fmla="*/ 1123950 w 1571625"/>
                    <a:gd name="connsiteY21" fmla="*/ 1171575 h 1343798"/>
                    <a:gd name="connsiteX22" fmla="*/ 1085850 w 1571625"/>
                    <a:gd name="connsiteY22" fmla="*/ 1095375 h 1343798"/>
                    <a:gd name="connsiteX23" fmla="*/ 1147762 w 1571625"/>
                    <a:gd name="connsiteY23" fmla="*/ 1033462 h 1343798"/>
                    <a:gd name="connsiteX24" fmla="*/ 1214437 w 1571625"/>
                    <a:gd name="connsiteY24" fmla="*/ 971550 h 1343798"/>
                    <a:gd name="connsiteX25" fmla="*/ 1266825 w 1571625"/>
                    <a:gd name="connsiteY25" fmla="*/ 857250 h 1343798"/>
                    <a:gd name="connsiteX26" fmla="*/ 1290637 w 1571625"/>
                    <a:gd name="connsiteY26" fmla="*/ 804862 h 1343798"/>
                    <a:gd name="connsiteX27" fmla="*/ 1352550 w 1571625"/>
                    <a:gd name="connsiteY27" fmla="*/ 742950 h 1343798"/>
                    <a:gd name="connsiteX28" fmla="*/ 1404937 w 1571625"/>
                    <a:gd name="connsiteY28" fmla="*/ 661987 h 1343798"/>
                    <a:gd name="connsiteX29" fmla="*/ 1419225 w 1571625"/>
                    <a:gd name="connsiteY29" fmla="*/ 581025 h 1343798"/>
                    <a:gd name="connsiteX30" fmla="*/ 1485900 w 1571625"/>
                    <a:gd name="connsiteY30" fmla="*/ 447675 h 1343798"/>
                    <a:gd name="connsiteX31" fmla="*/ 1552575 w 1571625"/>
                    <a:gd name="connsiteY31" fmla="*/ 333375 h 1343798"/>
                    <a:gd name="connsiteX32" fmla="*/ 1552575 w 1571625"/>
                    <a:gd name="connsiteY32" fmla="*/ 252412 h 1343798"/>
                    <a:gd name="connsiteX33" fmla="*/ 1557337 w 1571625"/>
                    <a:gd name="connsiteY33" fmla="*/ 123825 h 1343798"/>
                    <a:gd name="connsiteX34" fmla="*/ 1571625 w 1571625"/>
                    <a:gd name="connsiteY34" fmla="*/ 28575 h 1343798"/>
                    <a:gd name="connsiteX0" fmla="*/ 0 w 1557341"/>
                    <a:gd name="connsiteY0" fmla="*/ 0 h 1343798"/>
                    <a:gd name="connsiteX1" fmla="*/ 42862 w 1557341"/>
                    <a:gd name="connsiteY1" fmla="*/ 85725 h 1343798"/>
                    <a:gd name="connsiteX2" fmla="*/ 119062 w 1557341"/>
                    <a:gd name="connsiteY2" fmla="*/ 152400 h 1343798"/>
                    <a:gd name="connsiteX3" fmla="*/ 185737 w 1557341"/>
                    <a:gd name="connsiteY3" fmla="*/ 223837 h 1343798"/>
                    <a:gd name="connsiteX4" fmla="*/ 238125 w 1557341"/>
                    <a:gd name="connsiteY4" fmla="*/ 338137 h 1343798"/>
                    <a:gd name="connsiteX5" fmla="*/ 314325 w 1557341"/>
                    <a:gd name="connsiteY5" fmla="*/ 457200 h 1343798"/>
                    <a:gd name="connsiteX6" fmla="*/ 409575 w 1557341"/>
                    <a:gd name="connsiteY6" fmla="*/ 519112 h 1343798"/>
                    <a:gd name="connsiteX7" fmla="*/ 428625 w 1557341"/>
                    <a:gd name="connsiteY7" fmla="*/ 542925 h 1343798"/>
                    <a:gd name="connsiteX8" fmla="*/ 438150 w 1557341"/>
                    <a:gd name="connsiteY8" fmla="*/ 638175 h 1343798"/>
                    <a:gd name="connsiteX9" fmla="*/ 457200 w 1557341"/>
                    <a:gd name="connsiteY9" fmla="*/ 709613 h 1343798"/>
                    <a:gd name="connsiteX10" fmla="*/ 528637 w 1557341"/>
                    <a:gd name="connsiteY10" fmla="*/ 842962 h 1343798"/>
                    <a:gd name="connsiteX11" fmla="*/ 542925 w 1557341"/>
                    <a:gd name="connsiteY11" fmla="*/ 933450 h 1343798"/>
                    <a:gd name="connsiteX12" fmla="*/ 566737 w 1557341"/>
                    <a:gd name="connsiteY12" fmla="*/ 1014412 h 1343798"/>
                    <a:gd name="connsiteX13" fmla="*/ 557212 w 1557341"/>
                    <a:gd name="connsiteY13" fmla="*/ 1081087 h 1343798"/>
                    <a:gd name="connsiteX14" fmla="*/ 642937 w 1557341"/>
                    <a:gd name="connsiteY14" fmla="*/ 1195387 h 1343798"/>
                    <a:gd name="connsiteX15" fmla="*/ 638175 w 1557341"/>
                    <a:gd name="connsiteY15" fmla="*/ 1290637 h 1343798"/>
                    <a:gd name="connsiteX16" fmla="*/ 652462 w 1557341"/>
                    <a:gd name="connsiteY16" fmla="*/ 1343025 h 1343798"/>
                    <a:gd name="connsiteX17" fmla="*/ 885825 w 1557341"/>
                    <a:gd name="connsiteY17" fmla="*/ 1252537 h 1343798"/>
                    <a:gd name="connsiteX18" fmla="*/ 947737 w 1557341"/>
                    <a:gd name="connsiteY18" fmla="*/ 1223962 h 1343798"/>
                    <a:gd name="connsiteX19" fmla="*/ 1023937 w 1557341"/>
                    <a:gd name="connsiteY19" fmla="*/ 1247775 h 1343798"/>
                    <a:gd name="connsiteX20" fmla="*/ 1085850 w 1557341"/>
                    <a:gd name="connsiteY20" fmla="*/ 1252537 h 1343798"/>
                    <a:gd name="connsiteX21" fmla="*/ 1123950 w 1557341"/>
                    <a:gd name="connsiteY21" fmla="*/ 1171575 h 1343798"/>
                    <a:gd name="connsiteX22" fmla="*/ 1085850 w 1557341"/>
                    <a:gd name="connsiteY22" fmla="*/ 1095375 h 1343798"/>
                    <a:gd name="connsiteX23" fmla="*/ 1147762 w 1557341"/>
                    <a:gd name="connsiteY23" fmla="*/ 1033462 h 1343798"/>
                    <a:gd name="connsiteX24" fmla="*/ 1214437 w 1557341"/>
                    <a:gd name="connsiteY24" fmla="*/ 971550 h 1343798"/>
                    <a:gd name="connsiteX25" fmla="*/ 1266825 w 1557341"/>
                    <a:gd name="connsiteY25" fmla="*/ 857250 h 1343798"/>
                    <a:gd name="connsiteX26" fmla="*/ 1290637 w 1557341"/>
                    <a:gd name="connsiteY26" fmla="*/ 804862 h 1343798"/>
                    <a:gd name="connsiteX27" fmla="*/ 1352550 w 1557341"/>
                    <a:gd name="connsiteY27" fmla="*/ 742950 h 1343798"/>
                    <a:gd name="connsiteX28" fmla="*/ 1404937 w 1557341"/>
                    <a:gd name="connsiteY28" fmla="*/ 661987 h 1343798"/>
                    <a:gd name="connsiteX29" fmla="*/ 1419225 w 1557341"/>
                    <a:gd name="connsiteY29" fmla="*/ 581025 h 1343798"/>
                    <a:gd name="connsiteX30" fmla="*/ 1485900 w 1557341"/>
                    <a:gd name="connsiteY30" fmla="*/ 447675 h 1343798"/>
                    <a:gd name="connsiteX31" fmla="*/ 1552575 w 1557341"/>
                    <a:gd name="connsiteY31" fmla="*/ 333375 h 1343798"/>
                    <a:gd name="connsiteX32" fmla="*/ 1552575 w 1557341"/>
                    <a:gd name="connsiteY32" fmla="*/ 252412 h 1343798"/>
                    <a:gd name="connsiteX33" fmla="*/ 1557337 w 1557341"/>
                    <a:gd name="connsiteY33" fmla="*/ 123825 h 1343798"/>
                    <a:gd name="connsiteX0" fmla="*/ 0 w 1557341"/>
                    <a:gd name="connsiteY0" fmla="*/ 0 h 1343798"/>
                    <a:gd name="connsiteX1" fmla="*/ 42862 w 1557341"/>
                    <a:gd name="connsiteY1" fmla="*/ 85725 h 1343798"/>
                    <a:gd name="connsiteX2" fmla="*/ 119062 w 1557341"/>
                    <a:gd name="connsiteY2" fmla="*/ 152400 h 1343798"/>
                    <a:gd name="connsiteX3" fmla="*/ 185737 w 1557341"/>
                    <a:gd name="connsiteY3" fmla="*/ 223837 h 1343798"/>
                    <a:gd name="connsiteX4" fmla="*/ 238125 w 1557341"/>
                    <a:gd name="connsiteY4" fmla="*/ 338137 h 1343798"/>
                    <a:gd name="connsiteX5" fmla="*/ 314325 w 1557341"/>
                    <a:gd name="connsiteY5" fmla="*/ 457200 h 1343798"/>
                    <a:gd name="connsiteX6" fmla="*/ 409575 w 1557341"/>
                    <a:gd name="connsiteY6" fmla="*/ 519112 h 1343798"/>
                    <a:gd name="connsiteX7" fmla="*/ 428625 w 1557341"/>
                    <a:gd name="connsiteY7" fmla="*/ 542925 h 1343798"/>
                    <a:gd name="connsiteX8" fmla="*/ 438150 w 1557341"/>
                    <a:gd name="connsiteY8" fmla="*/ 638175 h 1343798"/>
                    <a:gd name="connsiteX9" fmla="*/ 457200 w 1557341"/>
                    <a:gd name="connsiteY9" fmla="*/ 709613 h 1343798"/>
                    <a:gd name="connsiteX10" fmla="*/ 528637 w 1557341"/>
                    <a:gd name="connsiteY10" fmla="*/ 842962 h 1343798"/>
                    <a:gd name="connsiteX11" fmla="*/ 542925 w 1557341"/>
                    <a:gd name="connsiteY11" fmla="*/ 933450 h 1343798"/>
                    <a:gd name="connsiteX12" fmla="*/ 566737 w 1557341"/>
                    <a:gd name="connsiteY12" fmla="*/ 1014412 h 1343798"/>
                    <a:gd name="connsiteX13" fmla="*/ 557212 w 1557341"/>
                    <a:gd name="connsiteY13" fmla="*/ 1081087 h 1343798"/>
                    <a:gd name="connsiteX14" fmla="*/ 642937 w 1557341"/>
                    <a:gd name="connsiteY14" fmla="*/ 1195387 h 1343798"/>
                    <a:gd name="connsiteX15" fmla="*/ 638175 w 1557341"/>
                    <a:gd name="connsiteY15" fmla="*/ 1290637 h 1343798"/>
                    <a:gd name="connsiteX16" fmla="*/ 652462 w 1557341"/>
                    <a:gd name="connsiteY16" fmla="*/ 1343025 h 1343798"/>
                    <a:gd name="connsiteX17" fmla="*/ 885825 w 1557341"/>
                    <a:gd name="connsiteY17" fmla="*/ 1252537 h 1343798"/>
                    <a:gd name="connsiteX18" fmla="*/ 947737 w 1557341"/>
                    <a:gd name="connsiteY18" fmla="*/ 1223962 h 1343798"/>
                    <a:gd name="connsiteX19" fmla="*/ 1023937 w 1557341"/>
                    <a:gd name="connsiteY19" fmla="*/ 1247775 h 1343798"/>
                    <a:gd name="connsiteX20" fmla="*/ 1085850 w 1557341"/>
                    <a:gd name="connsiteY20" fmla="*/ 1252537 h 1343798"/>
                    <a:gd name="connsiteX21" fmla="*/ 1123950 w 1557341"/>
                    <a:gd name="connsiteY21" fmla="*/ 1171575 h 1343798"/>
                    <a:gd name="connsiteX22" fmla="*/ 1085850 w 1557341"/>
                    <a:gd name="connsiteY22" fmla="*/ 1095375 h 1343798"/>
                    <a:gd name="connsiteX23" fmla="*/ 1147762 w 1557341"/>
                    <a:gd name="connsiteY23" fmla="*/ 1033462 h 1343798"/>
                    <a:gd name="connsiteX24" fmla="*/ 1214437 w 1557341"/>
                    <a:gd name="connsiteY24" fmla="*/ 971550 h 1343798"/>
                    <a:gd name="connsiteX25" fmla="*/ 1266825 w 1557341"/>
                    <a:gd name="connsiteY25" fmla="*/ 857250 h 1343798"/>
                    <a:gd name="connsiteX26" fmla="*/ 1290637 w 1557341"/>
                    <a:gd name="connsiteY26" fmla="*/ 804862 h 1343798"/>
                    <a:gd name="connsiteX27" fmla="*/ 1352550 w 1557341"/>
                    <a:gd name="connsiteY27" fmla="*/ 742950 h 1343798"/>
                    <a:gd name="connsiteX28" fmla="*/ 1404937 w 1557341"/>
                    <a:gd name="connsiteY28" fmla="*/ 661987 h 1343798"/>
                    <a:gd name="connsiteX29" fmla="*/ 1419225 w 1557341"/>
                    <a:gd name="connsiteY29" fmla="*/ 581025 h 1343798"/>
                    <a:gd name="connsiteX30" fmla="*/ 1485900 w 1557341"/>
                    <a:gd name="connsiteY30" fmla="*/ 447675 h 1343798"/>
                    <a:gd name="connsiteX31" fmla="*/ 1552575 w 1557341"/>
                    <a:gd name="connsiteY31" fmla="*/ 333375 h 1343798"/>
                    <a:gd name="connsiteX32" fmla="*/ 1552575 w 1557341"/>
                    <a:gd name="connsiteY32" fmla="*/ 252412 h 1343798"/>
                    <a:gd name="connsiteX0" fmla="*/ 0 w 1552575"/>
                    <a:gd name="connsiteY0" fmla="*/ 0 h 1343798"/>
                    <a:gd name="connsiteX1" fmla="*/ 42862 w 1552575"/>
                    <a:gd name="connsiteY1" fmla="*/ 85725 h 1343798"/>
                    <a:gd name="connsiteX2" fmla="*/ 119062 w 1552575"/>
                    <a:gd name="connsiteY2" fmla="*/ 152400 h 1343798"/>
                    <a:gd name="connsiteX3" fmla="*/ 185737 w 1552575"/>
                    <a:gd name="connsiteY3" fmla="*/ 223837 h 1343798"/>
                    <a:gd name="connsiteX4" fmla="*/ 238125 w 1552575"/>
                    <a:gd name="connsiteY4" fmla="*/ 338137 h 1343798"/>
                    <a:gd name="connsiteX5" fmla="*/ 314325 w 1552575"/>
                    <a:gd name="connsiteY5" fmla="*/ 457200 h 1343798"/>
                    <a:gd name="connsiteX6" fmla="*/ 409575 w 1552575"/>
                    <a:gd name="connsiteY6" fmla="*/ 519112 h 1343798"/>
                    <a:gd name="connsiteX7" fmla="*/ 428625 w 1552575"/>
                    <a:gd name="connsiteY7" fmla="*/ 542925 h 1343798"/>
                    <a:gd name="connsiteX8" fmla="*/ 438150 w 1552575"/>
                    <a:gd name="connsiteY8" fmla="*/ 638175 h 1343798"/>
                    <a:gd name="connsiteX9" fmla="*/ 457200 w 1552575"/>
                    <a:gd name="connsiteY9" fmla="*/ 709613 h 1343798"/>
                    <a:gd name="connsiteX10" fmla="*/ 528637 w 1552575"/>
                    <a:gd name="connsiteY10" fmla="*/ 842962 h 1343798"/>
                    <a:gd name="connsiteX11" fmla="*/ 542925 w 1552575"/>
                    <a:gd name="connsiteY11" fmla="*/ 933450 h 1343798"/>
                    <a:gd name="connsiteX12" fmla="*/ 566737 w 1552575"/>
                    <a:gd name="connsiteY12" fmla="*/ 1014412 h 1343798"/>
                    <a:gd name="connsiteX13" fmla="*/ 557212 w 1552575"/>
                    <a:gd name="connsiteY13" fmla="*/ 1081087 h 1343798"/>
                    <a:gd name="connsiteX14" fmla="*/ 642937 w 1552575"/>
                    <a:gd name="connsiteY14" fmla="*/ 1195387 h 1343798"/>
                    <a:gd name="connsiteX15" fmla="*/ 638175 w 1552575"/>
                    <a:gd name="connsiteY15" fmla="*/ 1290637 h 1343798"/>
                    <a:gd name="connsiteX16" fmla="*/ 652462 w 1552575"/>
                    <a:gd name="connsiteY16" fmla="*/ 1343025 h 1343798"/>
                    <a:gd name="connsiteX17" fmla="*/ 885825 w 1552575"/>
                    <a:gd name="connsiteY17" fmla="*/ 1252537 h 1343798"/>
                    <a:gd name="connsiteX18" fmla="*/ 947737 w 1552575"/>
                    <a:gd name="connsiteY18" fmla="*/ 1223962 h 1343798"/>
                    <a:gd name="connsiteX19" fmla="*/ 1023937 w 1552575"/>
                    <a:gd name="connsiteY19" fmla="*/ 1247775 h 1343798"/>
                    <a:gd name="connsiteX20" fmla="*/ 1085850 w 1552575"/>
                    <a:gd name="connsiteY20" fmla="*/ 1252537 h 1343798"/>
                    <a:gd name="connsiteX21" fmla="*/ 1123950 w 1552575"/>
                    <a:gd name="connsiteY21" fmla="*/ 1171575 h 1343798"/>
                    <a:gd name="connsiteX22" fmla="*/ 1085850 w 1552575"/>
                    <a:gd name="connsiteY22" fmla="*/ 1095375 h 1343798"/>
                    <a:gd name="connsiteX23" fmla="*/ 1147762 w 1552575"/>
                    <a:gd name="connsiteY23" fmla="*/ 1033462 h 1343798"/>
                    <a:gd name="connsiteX24" fmla="*/ 1214437 w 1552575"/>
                    <a:gd name="connsiteY24" fmla="*/ 971550 h 1343798"/>
                    <a:gd name="connsiteX25" fmla="*/ 1266825 w 1552575"/>
                    <a:gd name="connsiteY25" fmla="*/ 857250 h 1343798"/>
                    <a:gd name="connsiteX26" fmla="*/ 1290637 w 1552575"/>
                    <a:gd name="connsiteY26" fmla="*/ 804862 h 1343798"/>
                    <a:gd name="connsiteX27" fmla="*/ 1352550 w 1552575"/>
                    <a:gd name="connsiteY27" fmla="*/ 742950 h 1343798"/>
                    <a:gd name="connsiteX28" fmla="*/ 1404937 w 1552575"/>
                    <a:gd name="connsiteY28" fmla="*/ 661987 h 1343798"/>
                    <a:gd name="connsiteX29" fmla="*/ 1419225 w 1552575"/>
                    <a:gd name="connsiteY29" fmla="*/ 581025 h 1343798"/>
                    <a:gd name="connsiteX30" fmla="*/ 1485900 w 1552575"/>
                    <a:gd name="connsiteY30" fmla="*/ 447675 h 1343798"/>
                    <a:gd name="connsiteX31" fmla="*/ 1552575 w 1552575"/>
                    <a:gd name="connsiteY31" fmla="*/ 333375 h 1343798"/>
                    <a:gd name="connsiteX0" fmla="*/ 0 w 1485900"/>
                    <a:gd name="connsiteY0" fmla="*/ 0 h 1343798"/>
                    <a:gd name="connsiteX1" fmla="*/ 42862 w 1485900"/>
                    <a:gd name="connsiteY1" fmla="*/ 85725 h 1343798"/>
                    <a:gd name="connsiteX2" fmla="*/ 119062 w 1485900"/>
                    <a:gd name="connsiteY2" fmla="*/ 152400 h 1343798"/>
                    <a:gd name="connsiteX3" fmla="*/ 185737 w 1485900"/>
                    <a:gd name="connsiteY3" fmla="*/ 223837 h 1343798"/>
                    <a:gd name="connsiteX4" fmla="*/ 238125 w 1485900"/>
                    <a:gd name="connsiteY4" fmla="*/ 338137 h 1343798"/>
                    <a:gd name="connsiteX5" fmla="*/ 314325 w 1485900"/>
                    <a:gd name="connsiteY5" fmla="*/ 457200 h 1343798"/>
                    <a:gd name="connsiteX6" fmla="*/ 409575 w 1485900"/>
                    <a:gd name="connsiteY6" fmla="*/ 519112 h 1343798"/>
                    <a:gd name="connsiteX7" fmla="*/ 428625 w 1485900"/>
                    <a:gd name="connsiteY7" fmla="*/ 542925 h 1343798"/>
                    <a:gd name="connsiteX8" fmla="*/ 438150 w 1485900"/>
                    <a:gd name="connsiteY8" fmla="*/ 638175 h 1343798"/>
                    <a:gd name="connsiteX9" fmla="*/ 457200 w 1485900"/>
                    <a:gd name="connsiteY9" fmla="*/ 709613 h 1343798"/>
                    <a:gd name="connsiteX10" fmla="*/ 528637 w 1485900"/>
                    <a:gd name="connsiteY10" fmla="*/ 842962 h 1343798"/>
                    <a:gd name="connsiteX11" fmla="*/ 542925 w 1485900"/>
                    <a:gd name="connsiteY11" fmla="*/ 933450 h 1343798"/>
                    <a:gd name="connsiteX12" fmla="*/ 566737 w 1485900"/>
                    <a:gd name="connsiteY12" fmla="*/ 1014412 h 1343798"/>
                    <a:gd name="connsiteX13" fmla="*/ 557212 w 1485900"/>
                    <a:gd name="connsiteY13" fmla="*/ 1081087 h 1343798"/>
                    <a:gd name="connsiteX14" fmla="*/ 642937 w 1485900"/>
                    <a:gd name="connsiteY14" fmla="*/ 1195387 h 1343798"/>
                    <a:gd name="connsiteX15" fmla="*/ 638175 w 1485900"/>
                    <a:gd name="connsiteY15" fmla="*/ 1290637 h 1343798"/>
                    <a:gd name="connsiteX16" fmla="*/ 652462 w 1485900"/>
                    <a:gd name="connsiteY16" fmla="*/ 1343025 h 1343798"/>
                    <a:gd name="connsiteX17" fmla="*/ 885825 w 1485900"/>
                    <a:gd name="connsiteY17" fmla="*/ 1252537 h 1343798"/>
                    <a:gd name="connsiteX18" fmla="*/ 947737 w 1485900"/>
                    <a:gd name="connsiteY18" fmla="*/ 1223962 h 1343798"/>
                    <a:gd name="connsiteX19" fmla="*/ 1023937 w 1485900"/>
                    <a:gd name="connsiteY19" fmla="*/ 1247775 h 1343798"/>
                    <a:gd name="connsiteX20" fmla="*/ 1085850 w 1485900"/>
                    <a:gd name="connsiteY20" fmla="*/ 1252537 h 1343798"/>
                    <a:gd name="connsiteX21" fmla="*/ 1123950 w 1485900"/>
                    <a:gd name="connsiteY21" fmla="*/ 1171575 h 1343798"/>
                    <a:gd name="connsiteX22" fmla="*/ 1085850 w 1485900"/>
                    <a:gd name="connsiteY22" fmla="*/ 1095375 h 1343798"/>
                    <a:gd name="connsiteX23" fmla="*/ 1147762 w 1485900"/>
                    <a:gd name="connsiteY23" fmla="*/ 1033462 h 1343798"/>
                    <a:gd name="connsiteX24" fmla="*/ 1214437 w 1485900"/>
                    <a:gd name="connsiteY24" fmla="*/ 971550 h 1343798"/>
                    <a:gd name="connsiteX25" fmla="*/ 1266825 w 1485900"/>
                    <a:gd name="connsiteY25" fmla="*/ 857250 h 1343798"/>
                    <a:gd name="connsiteX26" fmla="*/ 1290637 w 1485900"/>
                    <a:gd name="connsiteY26" fmla="*/ 804862 h 1343798"/>
                    <a:gd name="connsiteX27" fmla="*/ 1352550 w 1485900"/>
                    <a:gd name="connsiteY27" fmla="*/ 742950 h 1343798"/>
                    <a:gd name="connsiteX28" fmla="*/ 1404937 w 1485900"/>
                    <a:gd name="connsiteY28" fmla="*/ 661987 h 1343798"/>
                    <a:gd name="connsiteX29" fmla="*/ 1419225 w 1485900"/>
                    <a:gd name="connsiteY29" fmla="*/ 581025 h 1343798"/>
                    <a:gd name="connsiteX30" fmla="*/ 1485900 w 1485900"/>
                    <a:gd name="connsiteY30" fmla="*/ 447675 h 1343798"/>
                    <a:gd name="connsiteX0" fmla="*/ 0 w 1419225"/>
                    <a:gd name="connsiteY0" fmla="*/ 0 h 1343798"/>
                    <a:gd name="connsiteX1" fmla="*/ 42862 w 1419225"/>
                    <a:gd name="connsiteY1" fmla="*/ 85725 h 1343798"/>
                    <a:gd name="connsiteX2" fmla="*/ 119062 w 1419225"/>
                    <a:gd name="connsiteY2" fmla="*/ 152400 h 1343798"/>
                    <a:gd name="connsiteX3" fmla="*/ 185737 w 1419225"/>
                    <a:gd name="connsiteY3" fmla="*/ 223837 h 1343798"/>
                    <a:gd name="connsiteX4" fmla="*/ 238125 w 1419225"/>
                    <a:gd name="connsiteY4" fmla="*/ 338137 h 1343798"/>
                    <a:gd name="connsiteX5" fmla="*/ 314325 w 1419225"/>
                    <a:gd name="connsiteY5" fmla="*/ 457200 h 1343798"/>
                    <a:gd name="connsiteX6" fmla="*/ 409575 w 1419225"/>
                    <a:gd name="connsiteY6" fmla="*/ 519112 h 1343798"/>
                    <a:gd name="connsiteX7" fmla="*/ 428625 w 1419225"/>
                    <a:gd name="connsiteY7" fmla="*/ 542925 h 1343798"/>
                    <a:gd name="connsiteX8" fmla="*/ 438150 w 1419225"/>
                    <a:gd name="connsiteY8" fmla="*/ 638175 h 1343798"/>
                    <a:gd name="connsiteX9" fmla="*/ 457200 w 1419225"/>
                    <a:gd name="connsiteY9" fmla="*/ 709613 h 1343798"/>
                    <a:gd name="connsiteX10" fmla="*/ 528637 w 1419225"/>
                    <a:gd name="connsiteY10" fmla="*/ 842962 h 1343798"/>
                    <a:gd name="connsiteX11" fmla="*/ 542925 w 1419225"/>
                    <a:gd name="connsiteY11" fmla="*/ 933450 h 1343798"/>
                    <a:gd name="connsiteX12" fmla="*/ 566737 w 1419225"/>
                    <a:gd name="connsiteY12" fmla="*/ 1014412 h 1343798"/>
                    <a:gd name="connsiteX13" fmla="*/ 557212 w 1419225"/>
                    <a:gd name="connsiteY13" fmla="*/ 1081087 h 1343798"/>
                    <a:gd name="connsiteX14" fmla="*/ 642937 w 1419225"/>
                    <a:gd name="connsiteY14" fmla="*/ 1195387 h 1343798"/>
                    <a:gd name="connsiteX15" fmla="*/ 638175 w 1419225"/>
                    <a:gd name="connsiteY15" fmla="*/ 1290637 h 1343798"/>
                    <a:gd name="connsiteX16" fmla="*/ 652462 w 1419225"/>
                    <a:gd name="connsiteY16" fmla="*/ 1343025 h 1343798"/>
                    <a:gd name="connsiteX17" fmla="*/ 885825 w 1419225"/>
                    <a:gd name="connsiteY17" fmla="*/ 1252537 h 1343798"/>
                    <a:gd name="connsiteX18" fmla="*/ 947737 w 1419225"/>
                    <a:gd name="connsiteY18" fmla="*/ 1223962 h 1343798"/>
                    <a:gd name="connsiteX19" fmla="*/ 1023937 w 1419225"/>
                    <a:gd name="connsiteY19" fmla="*/ 1247775 h 1343798"/>
                    <a:gd name="connsiteX20" fmla="*/ 1085850 w 1419225"/>
                    <a:gd name="connsiteY20" fmla="*/ 1252537 h 1343798"/>
                    <a:gd name="connsiteX21" fmla="*/ 1123950 w 1419225"/>
                    <a:gd name="connsiteY21" fmla="*/ 1171575 h 1343798"/>
                    <a:gd name="connsiteX22" fmla="*/ 1085850 w 1419225"/>
                    <a:gd name="connsiteY22" fmla="*/ 1095375 h 1343798"/>
                    <a:gd name="connsiteX23" fmla="*/ 1147762 w 1419225"/>
                    <a:gd name="connsiteY23" fmla="*/ 1033462 h 1343798"/>
                    <a:gd name="connsiteX24" fmla="*/ 1214437 w 1419225"/>
                    <a:gd name="connsiteY24" fmla="*/ 971550 h 1343798"/>
                    <a:gd name="connsiteX25" fmla="*/ 1266825 w 1419225"/>
                    <a:gd name="connsiteY25" fmla="*/ 857250 h 1343798"/>
                    <a:gd name="connsiteX26" fmla="*/ 1290637 w 1419225"/>
                    <a:gd name="connsiteY26" fmla="*/ 804862 h 1343798"/>
                    <a:gd name="connsiteX27" fmla="*/ 1352550 w 1419225"/>
                    <a:gd name="connsiteY27" fmla="*/ 742950 h 1343798"/>
                    <a:gd name="connsiteX28" fmla="*/ 1404937 w 1419225"/>
                    <a:gd name="connsiteY28" fmla="*/ 661987 h 1343798"/>
                    <a:gd name="connsiteX29" fmla="*/ 1419225 w 1419225"/>
                    <a:gd name="connsiteY29" fmla="*/ 581025 h 1343798"/>
                    <a:gd name="connsiteX0" fmla="*/ 0 w 1404937"/>
                    <a:gd name="connsiteY0" fmla="*/ 0 h 1343798"/>
                    <a:gd name="connsiteX1" fmla="*/ 42862 w 1404937"/>
                    <a:gd name="connsiteY1" fmla="*/ 85725 h 1343798"/>
                    <a:gd name="connsiteX2" fmla="*/ 119062 w 1404937"/>
                    <a:gd name="connsiteY2" fmla="*/ 152400 h 1343798"/>
                    <a:gd name="connsiteX3" fmla="*/ 185737 w 1404937"/>
                    <a:gd name="connsiteY3" fmla="*/ 223837 h 1343798"/>
                    <a:gd name="connsiteX4" fmla="*/ 238125 w 1404937"/>
                    <a:gd name="connsiteY4" fmla="*/ 338137 h 1343798"/>
                    <a:gd name="connsiteX5" fmla="*/ 314325 w 1404937"/>
                    <a:gd name="connsiteY5" fmla="*/ 457200 h 1343798"/>
                    <a:gd name="connsiteX6" fmla="*/ 409575 w 1404937"/>
                    <a:gd name="connsiteY6" fmla="*/ 519112 h 1343798"/>
                    <a:gd name="connsiteX7" fmla="*/ 428625 w 1404937"/>
                    <a:gd name="connsiteY7" fmla="*/ 542925 h 1343798"/>
                    <a:gd name="connsiteX8" fmla="*/ 438150 w 1404937"/>
                    <a:gd name="connsiteY8" fmla="*/ 638175 h 1343798"/>
                    <a:gd name="connsiteX9" fmla="*/ 457200 w 1404937"/>
                    <a:gd name="connsiteY9" fmla="*/ 709613 h 1343798"/>
                    <a:gd name="connsiteX10" fmla="*/ 528637 w 1404937"/>
                    <a:gd name="connsiteY10" fmla="*/ 842962 h 1343798"/>
                    <a:gd name="connsiteX11" fmla="*/ 542925 w 1404937"/>
                    <a:gd name="connsiteY11" fmla="*/ 933450 h 1343798"/>
                    <a:gd name="connsiteX12" fmla="*/ 566737 w 1404937"/>
                    <a:gd name="connsiteY12" fmla="*/ 1014412 h 1343798"/>
                    <a:gd name="connsiteX13" fmla="*/ 557212 w 1404937"/>
                    <a:gd name="connsiteY13" fmla="*/ 1081087 h 1343798"/>
                    <a:gd name="connsiteX14" fmla="*/ 642937 w 1404937"/>
                    <a:gd name="connsiteY14" fmla="*/ 1195387 h 1343798"/>
                    <a:gd name="connsiteX15" fmla="*/ 638175 w 1404937"/>
                    <a:gd name="connsiteY15" fmla="*/ 1290637 h 1343798"/>
                    <a:gd name="connsiteX16" fmla="*/ 652462 w 1404937"/>
                    <a:gd name="connsiteY16" fmla="*/ 1343025 h 1343798"/>
                    <a:gd name="connsiteX17" fmla="*/ 885825 w 1404937"/>
                    <a:gd name="connsiteY17" fmla="*/ 1252537 h 1343798"/>
                    <a:gd name="connsiteX18" fmla="*/ 947737 w 1404937"/>
                    <a:gd name="connsiteY18" fmla="*/ 1223962 h 1343798"/>
                    <a:gd name="connsiteX19" fmla="*/ 1023937 w 1404937"/>
                    <a:gd name="connsiteY19" fmla="*/ 1247775 h 1343798"/>
                    <a:gd name="connsiteX20" fmla="*/ 1085850 w 1404937"/>
                    <a:gd name="connsiteY20" fmla="*/ 1252537 h 1343798"/>
                    <a:gd name="connsiteX21" fmla="*/ 1123950 w 1404937"/>
                    <a:gd name="connsiteY21" fmla="*/ 1171575 h 1343798"/>
                    <a:gd name="connsiteX22" fmla="*/ 1085850 w 1404937"/>
                    <a:gd name="connsiteY22" fmla="*/ 1095375 h 1343798"/>
                    <a:gd name="connsiteX23" fmla="*/ 1147762 w 1404937"/>
                    <a:gd name="connsiteY23" fmla="*/ 1033462 h 1343798"/>
                    <a:gd name="connsiteX24" fmla="*/ 1214437 w 1404937"/>
                    <a:gd name="connsiteY24" fmla="*/ 971550 h 1343798"/>
                    <a:gd name="connsiteX25" fmla="*/ 1266825 w 1404937"/>
                    <a:gd name="connsiteY25" fmla="*/ 857250 h 1343798"/>
                    <a:gd name="connsiteX26" fmla="*/ 1290637 w 1404937"/>
                    <a:gd name="connsiteY26" fmla="*/ 804862 h 1343798"/>
                    <a:gd name="connsiteX27" fmla="*/ 1352550 w 1404937"/>
                    <a:gd name="connsiteY27" fmla="*/ 742950 h 1343798"/>
                    <a:gd name="connsiteX28" fmla="*/ 1404937 w 1404937"/>
                    <a:gd name="connsiteY28" fmla="*/ 661987 h 1343798"/>
                    <a:gd name="connsiteX0" fmla="*/ 0 w 1352550"/>
                    <a:gd name="connsiteY0" fmla="*/ 0 h 1343798"/>
                    <a:gd name="connsiteX1" fmla="*/ 42862 w 1352550"/>
                    <a:gd name="connsiteY1" fmla="*/ 85725 h 1343798"/>
                    <a:gd name="connsiteX2" fmla="*/ 119062 w 1352550"/>
                    <a:gd name="connsiteY2" fmla="*/ 152400 h 1343798"/>
                    <a:gd name="connsiteX3" fmla="*/ 185737 w 1352550"/>
                    <a:gd name="connsiteY3" fmla="*/ 223837 h 1343798"/>
                    <a:gd name="connsiteX4" fmla="*/ 238125 w 1352550"/>
                    <a:gd name="connsiteY4" fmla="*/ 338137 h 1343798"/>
                    <a:gd name="connsiteX5" fmla="*/ 314325 w 1352550"/>
                    <a:gd name="connsiteY5" fmla="*/ 457200 h 1343798"/>
                    <a:gd name="connsiteX6" fmla="*/ 409575 w 1352550"/>
                    <a:gd name="connsiteY6" fmla="*/ 519112 h 1343798"/>
                    <a:gd name="connsiteX7" fmla="*/ 428625 w 1352550"/>
                    <a:gd name="connsiteY7" fmla="*/ 542925 h 1343798"/>
                    <a:gd name="connsiteX8" fmla="*/ 438150 w 1352550"/>
                    <a:gd name="connsiteY8" fmla="*/ 638175 h 1343798"/>
                    <a:gd name="connsiteX9" fmla="*/ 457200 w 1352550"/>
                    <a:gd name="connsiteY9" fmla="*/ 709613 h 1343798"/>
                    <a:gd name="connsiteX10" fmla="*/ 528637 w 1352550"/>
                    <a:gd name="connsiteY10" fmla="*/ 842962 h 1343798"/>
                    <a:gd name="connsiteX11" fmla="*/ 542925 w 1352550"/>
                    <a:gd name="connsiteY11" fmla="*/ 933450 h 1343798"/>
                    <a:gd name="connsiteX12" fmla="*/ 566737 w 1352550"/>
                    <a:gd name="connsiteY12" fmla="*/ 1014412 h 1343798"/>
                    <a:gd name="connsiteX13" fmla="*/ 557212 w 1352550"/>
                    <a:gd name="connsiteY13" fmla="*/ 1081087 h 1343798"/>
                    <a:gd name="connsiteX14" fmla="*/ 642937 w 1352550"/>
                    <a:gd name="connsiteY14" fmla="*/ 1195387 h 1343798"/>
                    <a:gd name="connsiteX15" fmla="*/ 638175 w 1352550"/>
                    <a:gd name="connsiteY15" fmla="*/ 1290637 h 1343798"/>
                    <a:gd name="connsiteX16" fmla="*/ 652462 w 1352550"/>
                    <a:gd name="connsiteY16" fmla="*/ 1343025 h 1343798"/>
                    <a:gd name="connsiteX17" fmla="*/ 885825 w 1352550"/>
                    <a:gd name="connsiteY17" fmla="*/ 1252537 h 1343798"/>
                    <a:gd name="connsiteX18" fmla="*/ 947737 w 1352550"/>
                    <a:gd name="connsiteY18" fmla="*/ 1223962 h 1343798"/>
                    <a:gd name="connsiteX19" fmla="*/ 1023937 w 1352550"/>
                    <a:gd name="connsiteY19" fmla="*/ 1247775 h 1343798"/>
                    <a:gd name="connsiteX20" fmla="*/ 1085850 w 1352550"/>
                    <a:gd name="connsiteY20" fmla="*/ 1252537 h 1343798"/>
                    <a:gd name="connsiteX21" fmla="*/ 1123950 w 1352550"/>
                    <a:gd name="connsiteY21" fmla="*/ 1171575 h 1343798"/>
                    <a:gd name="connsiteX22" fmla="*/ 1085850 w 1352550"/>
                    <a:gd name="connsiteY22" fmla="*/ 1095375 h 1343798"/>
                    <a:gd name="connsiteX23" fmla="*/ 1147762 w 1352550"/>
                    <a:gd name="connsiteY23" fmla="*/ 1033462 h 1343798"/>
                    <a:gd name="connsiteX24" fmla="*/ 1214437 w 1352550"/>
                    <a:gd name="connsiteY24" fmla="*/ 971550 h 1343798"/>
                    <a:gd name="connsiteX25" fmla="*/ 1266825 w 1352550"/>
                    <a:gd name="connsiteY25" fmla="*/ 857250 h 1343798"/>
                    <a:gd name="connsiteX26" fmla="*/ 1290637 w 1352550"/>
                    <a:gd name="connsiteY26" fmla="*/ 804862 h 1343798"/>
                    <a:gd name="connsiteX27" fmla="*/ 1352550 w 1352550"/>
                    <a:gd name="connsiteY27" fmla="*/ 742950 h 1343798"/>
                    <a:gd name="connsiteX0" fmla="*/ 0 w 1290637"/>
                    <a:gd name="connsiteY0" fmla="*/ 0 h 1343798"/>
                    <a:gd name="connsiteX1" fmla="*/ 42862 w 1290637"/>
                    <a:gd name="connsiteY1" fmla="*/ 85725 h 1343798"/>
                    <a:gd name="connsiteX2" fmla="*/ 119062 w 1290637"/>
                    <a:gd name="connsiteY2" fmla="*/ 152400 h 1343798"/>
                    <a:gd name="connsiteX3" fmla="*/ 185737 w 1290637"/>
                    <a:gd name="connsiteY3" fmla="*/ 223837 h 1343798"/>
                    <a:gd name="connsiteX4" fmla="*/ 238125 w 1290637"/>
                    <a:gd name="connsiteY4" fmla="*/ 338137 h 1343798"/>
                    <a:gd name="connsiteX5" fmla="*/ 314325 w 1290637"/>
                    <a:gd name="connsiteY5" fmla="*/ 457200 h 1343798"/>
                    <a:gd name="connsiteX6" fmla="*/ 409575 w 1290637"/>
                    <a:gd name="connsiteY6" fmla="*/ 519112 h 1343798"/>
                    <a:gd name="connsiteX7" fmla="*/ 428625 w 1290637"/>
                    <a:gd name="connsiteY7" fmla="*/ 542925 h 1343798"/>
                    <a:gd name="connsiteX8" fmla="*/ 438150 w 1290637"/>
                    <a:gd name="connsiteY8" fmla="*/ 638175 h 1343798"/>
                    <a:gd name="connsiteX9" fmla="*/ 457200 w 1290637"/>
                    <a:gd name="connsiteY9" fmla="*/ 709613 h 1343798"/>
                    <a:gd name="connsiteX10" fmla="*/ 528637 w 1290637"/>
                    <a:gd name="connsiteY10" fmla="*/ 842962 h 1343798"/>
                    <a:gd name="connsiteX11" fmla="*/ 542925 w 1290637"/>
                    <a:gd name="connsiteY11" fmla="*/ 933450 h 1343798"/>
                    <a:gd name="connsiteX12" fmla="*/ 566737 w 1290637"/>
                    <a:gd name="connsiteY12" fmla="*/ 1014412 h 1343798"/>
                    <a:gd name="connsiteX13" fmla="*/ 557212 w 1290637"/>
                    <a:gd name="connsiteY13" fmla="*/ 1081087 h 1343798"/>
                    <a:gd name="connsiteX14" fmla="*/ 642937 w 1290637"/>
                    <a:gd name="connsiteY14" fmla="*/ 1195387 h 1343798"/>
                    <a:gd name="connsiteX15" fmla="*/ 638175 w 1290637"/>
                    <a:gd name="connsiteY15" fmla="*/ 1290637 h 1343798"/>
                    <a:gd name="connsiteX16" fmla="*/ 652462 w 1290637"/>
                    <a:gd name="connsiteY16" fmla="*/ 1343025 h 1343798"/>
                    <a:gd name="connsiteX17" fmla="*/ 885825 w 1290637"/>
                    <a:gd name="connsiteY17" fmla="*/ 1252537 h 1343798"/>
                    <a:gd name="connsiteX18" fmla="*/ 947737 w 1290637"/>
                    <a:gd name="connsiteY18" fmla="*/ 1223962 h 1343798"/>
                    <a:gd name="connsiteX19" fmla="*/ 1023937 w 1290637"/>
                    <a:gd name="connsiteY19" fmla="*/ 1247775 h 1343798"/>
                    <a:gd name="connsiteX20" fmla="*/ 1085850 w 1290637"/>
                    <a:gd name="connsiteY20" fmla="*/ 1252537 h 1343798"/>
                    <a:gd name="connsiteX21" fmla="*/ 1123950 w 1290637"/>
                    <a:gd name="connsiteY21" fmla="*/ 1171575 h 1343798"/>
                    <a:gd name="connsiteX22" fmla="*/ 1085850 w 1290637"/>
                    <a:gd name="connsiteY22" fmla="*/ 1095375 h 1343798"/>
                    <a:gd name="connsiteX23" fmla="*/ 1147762 w 1290637"/>
                    <a:gd name="connsiteY23" fmla="*/ 1033462 h 1343798"/>
                    <a:gd name="connsiteX24" fmla="*/ 1214437 w 1290637"/>
                    <a:gd name="connsiteY24" fmla="*/ 971550 h 1343798"/>
                    <a:gd name="connsiteX25" fmla="*/ 1266825 w 1290637"/>
                    <a:gd name="connsiteY25" fmla="*/ 857250 h 1343798"/>
                    <a:gd name="connsiteX26" fmla="*/ 1290637 w 1290637"/>
                    <a:gd name="connsiteY26" fmla="*/ 804862 h 1343798"/>
                    <a:gd name="connsiteX0" fmla="*/ 0 w 1266825"/>
                    <a:gd name="connsiteY0" fmla="*/ 0 h 1343798"/>
                    <a:gd name="connsiteX1" fmla="*/ 42862 w 1266825"/>
                    <a:gd name="connsiteY1" fmla="*/ 85725 h 1343798"/>
                    <a:gd name="connsiteX2" fmla="*/ 119062 w 1266825"/>
                    <a:gd name="connsiteY2" fmla="*/ 152400 h 1343798"/>
                    <a:gd name="connsiteX3" fmla="*/ 185737 w 1266825"/>
                    <a:gd name="connsiteY3" fmla="*/ 223837 h 1343798"/>
                    <a:gd name="connsiteX4" fmla="*/ 238125 w 1266825"/>
                    <a:gd name="connsiteY4" fmla="*/ 338137 h 1343798"/>
                    <a:gd name="connsiteX5" fmla="*/ 314325 w 1266825"/>
                    <a:gd name="connsiteY5" fmla="*/ 457200 h 1343798"/>
                    <a:gd name="connsiteX6" fmla="*/ 409575 w 1266825"/>
                    <a:gd name="connsiteY6" fmla="*/ 519112 h 1343798"/>
                    <a:gd name="connsiteX7" fmla="*/ 428625 w 1266825"/>
                    <a:gd name="connsiteY7" fmla="*/ 542925 h 1343798"/>
                    <a:gd name="connsiteX8" fmla="*/ 438150 w 1266825"/>
                    <a:gd name="connsiteY8" fmla="*/ 638175 h 1343798"/>
                    <a:gd name="connsiteX9" fmla="*/ 457200 w 1266825"/>
                    <a:gd name="connsiteY9" fmla="*/ 709613 h 1343798"/>
                    <a:gd name="connsiteX10" fmla="*/ 528637 w 1266825"/>
                    <a:gd name="connsiteY10" fmla="*/ 842962 h 1343798"/>
                    <a:gd name="connsiteX11" fmla="*/ 542925 w 1266825"/>
                    <a:gd name="connsiteY11" fmla="*/ 933450 h 1343798"/>
                    <a:gd name="connsiteX12" fmla="*/ 566737 w 1266825"/>
                    <a:gd name="connsiteY12" fmla="*/ 1014412 h 1343798"/>
                    <a:gd name="connsiteX13" fmla="*/ 557212 w 1266825"/>
                    <a:gd name="connsiteY13" fmla="*/ 1081087 h 1343798"/>
                    <a:gd name="connsiteX14" fmla="*/ 642937 w 1266825"/>
                    <a:gd name="connsiteY14" fmla="*/ 1195387 h 1343798"/>
                    <a:gd name="connsiteX15" fmla="*/ 638175 w 1266825"/>
                    <a:gd name="connsiteY15" fmla="*/ 1290637 h 1343798"/>
                    <a:gd name="connsiteX16" fmla="*/ 652462 w 1266825"/>
                    <a:gd name="connsiteY16" fmla="*/ 1343025 h 1343798"/>
                    <a:gd name="connsiteX17" fmla="*/ 885825 w 1266825"/>
                    <a:gd name="connsiteY17" fmla="*/ 1252537 h 1343798"/>
                    <a:gd name="connsiteX18" fmla="*/ 947737 w 1266825"/>
                    <a:gd name="connsiteY18" fmla="*/ 1223962 h 1343798"/>
                    <a:gd name="connsiteX19" fmla="*/ 1023937 w 1266825"/>
                    <a:gd name="connsiteY19" fmla="*/ 1247775 h 1343798"/>
                    <a:gd name="connsiteX20" fmla="*/ 1085850 w 1266825"/>
                    <a:gd name="connsiteY20" fmla="*/ 1252537 h 1343798"/>
                    <a:gd name="connsiteX21" fmla="*/ 1123950 w 1266825"/>
                    <a:gd name="connsiteY21" fmla="*/ 1171575 h 1343798"/>
                    <a:gd name="connsiteX22" fmla="*/ 1085850 w 1266825"/>
                    <a:gd name="connsiteY22" fmla="*/ 1095375 h 1343798"/>
                    <a:gd name="connsiteX23" fmla="*/ 1147762 w 1266825"/>
                    <a:gd name="connsiteY23" fmla="*/ 1033462 h 1343798"/>
                    <a:gd name="connsiteX24" fmla="*/ 1214437 w 1266825"/>
                    <a:gd name="connsiteY24" fmla="*/ 971550 h 1343798"/>
                    <a:gd name="connsiteX25" fmla="*/ 1266825 w 1266825"/>
                    <a:gd name="connsiteY25" fmla="*/ 857250 h 1343798"/>
                    <a:gd name="connsiteX0" fmla="*/ 0 w 1214437"/>
                    <a:gd name="connsiteY0" fmla="*/ 0 h 1343798"/>
                    <a:gd name="connsiteX1" fmla="*/ 42862 w 1214437"/>
                    <a:gd name="connsiteY1" fmla="*/ 85725 h 1343798"/>
                    <a:gd name="connsiteX2" fmla="*/ 119062 w 1214437"/>
                    <a:gd name="connsiteY2" fmla="*/ 152400 h 1343798"/>
                    <a:gd name="connsiteX3" fmla="*/ 185737 w 1214437"/>
                    <a:gd name="connsiteY3" fmla="*/ 223837 h 1343798"/>
                    <a:gd name="connsiteX4" fmla="*/ 238125 w 1214437"/>
                    <a:gd name="connsiteY4" fmla="*/ 338137 h 1343798"/>
                    <a:gd name="connsiteX5" fmla="*/ 314325 w 1214437"/>
                    <a:gd name="connsiteY5" fmla="*/ 457200 h 1343798"/>
                    <a:gd name="connsiteX6" fmla="*/ 409575 w 1214437"/>
                    <a:gd name="connsiteY6" fmla="*/ 519112 h 1343798"/>
                    <a:gd name="connsiteX7" fmla="*/ 428625 w 1214437"/>
                    <a:gd name="connsiteY7" fmla="*/ 542925 h 1343798"/>
                    <a:gd name="connsiteX8" fmla="*/ 438150 w 1214437"/>
                    <a:gd name="connsiteY8" fmla="*/ 638175 h 1343798"/>
                    <a:gd name="connsiteX9" fmla="*/ 457200 w 1214437"/>
                    <a:gd name="connsiteY9" fmla="*/ 709613 h 1343798"/>
                    <a:gd name="connsiteX10" fmla="*/ 528637 w 1214437"/>
                    <a:gd name="connsiteY10" fmla="*/ 842962 h 1343798"/>
                    <a:gd name="connsiteX11" fmla="*/ 542925 w 1214437"/>
                    <a:gd name="connsiteY11" fmla="*/ 933450 h 1343798"/>
                    <a:gd name="connsiteX12" fmla="*/ 566737 w 1214437"/>
                    <a:gd name="connsiteY12" fmla="*/ 1014412 h 1343798"/>
                    <a:gd name="connsiteX13" fmla="*/ 557212 w 1214437"/>
                    <a:gd name="connsiteY13" fmla="*/ 1081087 h 1343798"/>
                    <a:gd name="connsiteX14" fmla="*/ 642937 w 1214437"/>
                    <a:gd name="connsiteY14" fmla="*/ 1195387 h 1343798"/>
                    <a:gd name="connsiteX15" fmla="*/ 638175 w 1214437"/>
                    <a:gd name="connsiteY15" fmla="*/ 1290637 h 1343798"/>
                    <a:gd name="connsiteX16" fmla="*/ 652462 w 1214437"/>
                    <a:gd name="connsiteY16" fmla="*/ 1343025 h 1343798"/>
                    <a:gd name="connsiteX17" fmla="*/ 885825 w 1214437"/>
                    <a:gd name="connsiteY17" fmla="*/ 1252537 h 1343798"/>
                    <a:gd name="connsiteX18" fmla="*/ 947737 w 1214437"/>
                    <a:gd name="connsiteY18" fmla="*/ 1223962 h 1343798"/>
                    <a:gd name="connsiteX19" fmla="*/ 1023937 w 1214437"/>
                    <a:gd name="connsiteY19" fmla="*/ 1247775 h 1343798"/>
                    <a:gd name="connsiteX20" fmla="*/ 1085850 w 1214437"/>
                    <a:gd name="connsiteY20" fmla="*/ 1252537 h 1343798"/>
                    <a:gd name="connsiteX21" fmla="*/ 1123950 w 1214437"/>
                    <a:gd name="connsiteY21" fmla="*/ 1171575 h 1343798"/>
                    <a:gd name="connsiteX22" fmla="*/ 1085850 w 1214437"/>
                    <a:gd name="connsiteY22" fmla="*/ 1095375 h 1343798"/>
                    <a:gd name="connsiteX23" fmla="*/ 1147762 w 1214437"/>
                    <a:gd name="connsiteY23" fmla="*/ 1033462 h 1343798"/>
                    <a:gd name="connsiteX24" fmla="*/ 1214437 w 1214437"/>
                    <a:gd name="connsiteY24" fmla="*/ 971550 h 1343798"/>
                    <a:gd name="connsiteX0" fmla="*/ 0 w 1147762"/>
                    <a:gd name="connsiteY0" fmla="*/ 0 h 1343798"/>
                    <a:gd name="connsiteX1" fmla="*/ 42862 w 1147762"/>
                    <a:gd name="connsiteY1" fmla="*/ 85725 h 1343798"/>
                    <a:gd name="connsiteX2" fmla="*/ 119062 w 1147762"/>
                    <a:gd name="connsiteY2" fmla="*/ 152400 h 1343798"/>
                    <a:gd name="connsiteX3" fmla="*/ 185737 w 1147762"/>
                    <a:gd name="connsiteY3" fmla="*/ 223837 h 1343798"/>
                    <a:gd name="connsiteX4" fmla="*/ 238125 w 1147762"/>
                    <a:gd name="connsiteY4" fmla="*/ 338137 h 1343798"/>
                    <a:gd name="connsiteX5" fmla="*/ 314325 w 1147762"/>
                    <a:gd name="connsiteY5" fmla="*/ 457200 h 1343798"/>
                    <a:gd name="connsiteX6" fmla="*/ 409575 w 1147762"/>
                    <a:gd name="connsiteY6" fmla="*/ 519112 h 1343798"/>
                    <a:gd name="connsiteX7" fmla="*/ 428625 w 1147762"/>
                    <a:gd name="connsiteY7" fmla="*/ 542925 h 1343798"/>
                    <a:gd name="connsiteX8" fmla="*/ 438150 w 1147762"/>
                    <a:gd name="connsiteY8" fmla="*/ 638175 h 1343798"/>
                    <a:gd name="connsiteX9" fmla="*/ 457200 w 1147762"/>
                    <a:gd name="connsiteY9" fmla="*/ 709613 h 1343798"/>
                    <a:gd name="connsiteX10" fmla="*/ 528637 w 1147762"/>
                    <a:gd name="connsiteY10" fmla="*/ 842962 h 1343798"/>
                    <a:gd name="connsiteX11" fmla="*/ 542925 w 1147762"/>
                    <a:gd name="connsiteY11" fmla="*/ 933450 h 1343798"/>
                    <a:gd name="connsiteX12" fmla="*/ 566737 w 1147762"/>
                    <a:gd name="connsiteY12" fmla="*/ 1014412 h 1343798"/>
                    <a:gd name="connsiteX13" fmla="*/ 557212 w 1147762"/>
                    <a:gd name="connsiteY13" fmla="*/ 1081087 h 1343798"/>
                    <a:gd name="connsiteX14" fmla="*/ 642937 w 1147762"/>
                    <a:gd name="connsiteY14" fmla="*/ 1195387 h 1343798"/>
                    <a:gd name="connsiteX15" fmla="*/ 638175 w 1147762"/>
                    <a:gd name="connsiteY15" fmla="*/ 1290637 h 1343798"/>
                    <a:gd name="connsiteX16" fmla="*/ 652462 w 1147762"/>
                    <a:gd name="connsiteY16" fmla="*/ 1343025 h 1343798"/>
                    <a:gd name="connsiteX17" fmla="*/ 885825 w 1147762"/>
                    <a:gd name="connsiteY17" fmla="*/ 1252537 h 1343798"/>
                    <a:gd name="connsiteX18" fmla="*/ 947737 w 1147762"/>
                    <a:gd name="connsiteY18" fmla="*/ 1223962 h 1343798"/>
                    <a:gd name="connsiteX19" fmla="*/ 1023937 w 1147762"/>
                    <a:gd name="connsiteY19" fmla="*/ 1247775 h 1343798"/>
                    <a:gd name="connsiteX20" fmla="*/ 1085850 w 1147762"/>
                    <a:gd name="connsiteY20" fmla="*/ 1252537 h 1343798"/>
                    <a:gd name="connsiteX21" fmla="*/ 1123950 w 1147762"/>
                    <a:gd name="connsiteY21" fmla="*/ 1171575 h 1343798"/>
                    <a:gd name="connsiteX22" fmla="*/ 1085850 w 1147762"/>
                    <a:gd name="connsiteY22" fmla="*/ 1095375 h 1343798"/>
                    <a:gd name="connsiteX23" fmla="*/ 1147762 w 1147762"/>
                    <a:gd name="connsiteY23" fmla="*/ 1033462 h 1343798"/>
                    <a:gd name="connsiteX0" fmla="*/ 0 w 1123950"/>
                    <a:gd name="connsiteY0" fmla="*/ 0 h 1343798"/>
                    <a:gd name="connsiteX1" fmla="*/ 42862 w 1123950"/>
                    <a:gd name="connsiteY1" fmla="*/ 85725 h 1343798"/>
                    <a:gd name="connsiteX2" fmla="*/ 119062 w 1123950"/>
                    <a:gd name="connsiteY2" fmla="*/ 152400 h 1343798"/>
                    <a:gd name="connsiteX3" fmla="*/ 185737 w 1123950"/>
                    <a:gd name="connsiteY3" fmla="*/ 223837 h 1343798"/>
                    <a:gd name="connsiteX4" fmla="*/ 238125 w 1123950"/>
                    <a:gd name="connsiteY4" fmla="*/ 338137 h 1343798"/>
                    <a:gd name="connsiteX5" fmla="*/ 314325 w 1123950"/>
                    <a:gd name="connsiteY5" fmla="*/ 457200 h 1343798"/>
                    <a:gd name="connsiteX6" fmla="*/ 409575 w 1123950"/>
                    <a:gd name="connsiteY6" fmla="*/ 519112 h 1343798"/>
                    <a:gd name="connsiteX7" fmla="*/ 428625 w 1123950"/>
                    <a:gd name="connsiteY7" fmla="*/ 542925 h 1343798"/>
                    <a:gd name="connsiteX8" fmla="*/ 438150 w 1123950"/>
                    <a:gd name="connsiteY8" fmla="*/ 638175 h 1343798"/>
                    <a:gd name="connsiteX9" fmla="*/ 457200 w 1123950"/>
                    <a:gd name="connsiteY9" fmla="*/ 709613 h 1343798"/>
                    <a:gd name="connsiteX10" fmla="*/ 528637 w 1123950"/>
                    <a:gd name="connsiteY10" fmla="*/ 842962 h 1343798"/>
                    <a:gd name="connsiteX11" fmla="*/ 542925 w 1123950"/>
                    <a:gd name="connsiteY11" fmla="*/ 933450 h 1343798"/>
                    <a:gd name="connsiteX12" fmla="*/ 566737 w 1123950"/>
                    <a:gd name="connsiteY12" fmla="*/ 1014412 h 1343798"/>
                    <a:gd name="connsiteX13" fmla="*/ 557212 w 1123950"/>
                    <a:gd name="connsiteY13" fmla="*/ 1081087 h 1343798"/>
                    <a:gd name="connsiteX14" fmla="*/ 642937 w 1123950"/>
                    <a:gd name="connsiteY14" fmla="*/ 1195387 h 1343798"/>
                    <a:gd name="connsiteX15" fmla="*/ 638175 w 1123950"/>
                    <a:gd name="connsiteY15" fmla="*/ 1290637 h 1343798"/>
                    <a:gd name="connsiteX16" fmla="*/ 652462 w 1123950"/>
                    <a:gd name="connsiteY16" fmla="*/ 1343025 h 1343798"/>
                    <a:gd name="connsiteX17" fmla="*/ 885825 w 1123950"/>
                    <a:gd name="connsiteY17" fmla="*/ 1252537 h 1343798"/>
                    <a:gd name="connsiteX18" fmla="*/ 947737 w 1123950"/>
                    <a:gd name="connsiteY18" fmla="*/ 1223962 h 1343798"/>
                    <a:gd name="connsiteX19" fmla="*/ 1023937 w 1123950"/>
                    <a:gd name="connsiteY19" fmla="*/ 1247775 h 1343798"/>
                    <a:gd name="connsiteX20" fmla="*/ 1085850 w 1123950"/>
                    <a:gd name="connsiteY20" fmla="*/ 1252537 h 1343798"/>
                    <a:gd name="connsiteX21" fmla="*/ 1123950 w 1123950"/>
                    <a:gd name="connsiteY21" fmla="*/ 1171575 h 1343798"/>
                    <a:gd name="connsiteX22" fmla="*/ 1085850 w 1123950"/>
                    <a:gd name="connsiteY22" fmla="*/ 1095375 h 1343798"/>
                    <a:gd name="connsiteX0" fmla="*/ 0 w 1123950"/>
                    <a:gd name="connsiteY0" fmla="*/ 0 h 1343798"/>
                    <a:gd name="connsiteX1" fmla="*/ 42862 w 1123950"/>
                    <a:gd name="connsiteY1" fmla="*/ 85725 h 1343798"/>
                    <a:gd name="connsiteX2" fmla="*/ 119062 w 1123950"/>
                    <a:gd name="connsiteY2" fmla="*/ 152400 h 1343798"/>
                    <a:gd name="connsiteX3" fmla="*/ 185737 w 1123950"/>
                    <a:gd name="connsiteY3" fmla="*/ 223837 h 1343798"/>
                    <a:gd name="connsiteX4" fmla="*/ 238125 w 1123950"/>
                    <a:gd name="connsiteY4" fmla="*/ 338137 h 1343798"/>
                    <a:gd name="connsiteX5" fmla="*/ 314325 w 1123950"/>
                    <a:gd name="connsiteY5" fmla="*/ 457200 h 1343798"/>
                    <a:gd name="connsiteX6" fmla="*/ 409575 w 1123950"/>
                    <a:gd name="connsiteY6" fmla="*/ 519112 h 1343798"/>
                    <a:gd name="connsiteX7" fmla="*/ 428625 w 1123950"/>
                    <a:gd name="connsiteY7" fmla="*/ 542925 h 1343798"/>
                    <a:gd name="connsiteX8" fmla="*/ 438150 w 1123950"/>
                    <a:gd name="connsiteY8" fmla="*/ 638175 h 1343798"/>
                    <a:gd name="connsiteX9" fmla="*/ 457200 w 1123950"/>
                    <a:gd name="connsiteY9" fmla="*/ 709613 h 1343798"/>
                    <a:gd name="connsiteX10" fmla="*/ 528637 w 1123950"/>
                    <a:gd name="connsiteY10" fmla="*/ 842962 h 1343798"/>
                    <a:gd name="connsiteX11" fmla="*/ 542925 w 1123950"/>
                    <a:gd name="connsiteY11" fmla="*/ 933450 h 1343798"/>
                    <a:gd name="connsiteX12" fmla="*/ 566737 w 1123950"/>
                    <a:gd name="connsiteY12" fmla="*/ 1014412 h 1343798"/>
                    <a:gd name="connsiteX13" fmla="*/ 557212 w 1123950"/>
                    <a:gd name="connsiteY13" fmla="*/ 1081087 h 1343798"/>
                    <a:gd name="connsiteX14" fmla="*/ 642937 w 1123950"/>
                    <a:gd name="connsiteY14" fmla="*/ 1195387 h 1343798"/>
                    <a:gd name="connsiteX15" fmla="*/ 638175 w 1123950"/>
                    <a:gd name="connsiteY15" fmla="*/ 1290637 h 1343798"/>
                    <a:gd name="connsiteX16" fmla="*/ 652462 w 1123950"/>
                    <a:gd name="connsiteY16" fmla="*/ 1343025 h 1343798"/>
                    <a:gd name="connsiteX17" fmla="*/ 885825 w 1123950"/>
                    <a:gd name="connsiteY17" fmla="*/ 1252537 h 1343798"/>
                    <a:gd name="connsiteX18" fmla="*/ 947737 w 1123950"/>
                    <a:gd name="connsiteY18" fmla="*/ 1223962 h 1343798"/>
                    <a:gd name="connsiteX19" fmla="*/ 1023937 w 1123950"/>
                    <a:gd name="connsiteY19" fmla="*/ 1247775 h 1343798"/>
                    <a:gd name="connsiteX20" fmla="*/ 1085850 w 1123950"/>
                    <a:gd name="connsiteY20" fmla="*/ 1252537 h 1343798"/>
                    <a:gd name="connsiteX21" fmla="*/ 1123950 w 1123950"/>
                    <a:gd name="connsiteY21" fmla="*/ 1171575 h 1343798"/>
                    <a:gd name="connsiteX0" fmla="*/ 0 w 1085850"/>
                    <a:gd name="connsiteY0" fmla="*/ 0 h 1343798"/>
                    <a:gd name="connsiteX1" fmla="*/ 42862 w 1085850"/>
                    <a:gd name="connsiteY1" fmla="*/ 85725 h 1343798"/>
                    <a:gd name="connsiteX2" fmla="*/ 119062 w 1085850"/>
                    <a:gd name="connsiteY2" fmla="*/ 152400 h 1343798"/>
                    <a:gd name="connsiteX3" fmla="*/ 185737 w 1085850"/>
                    <a:gd name="connsiteY3" fmla="*/ 223837 h 1343798"/>
                    <a:gd name="connsiteX4" fmla="*/ 238125 w 1085850"/>
                    <a:gd name="connsiteY4" fmla="*/ 338137 h 1343798"/>
                    <a:gd name="connsiteX5" fmla="*/ 314325 w 1085850"/>
                    <a:gd name="connsiteY5" fmla="*/ 457200 h 1343798"/>
                    <a:gd name="connsiteX6" fmla="*/ 409575 w 1085850"/>
                    <a:gd name="connsiteY6" fmla="*/ 519112 h 1343798"/>
                    <a:gd name="connsiteX7" fmla="*/ 428625 w 1085850"/>
                    <a:gd name="connsiteY7" fmla="*/ 542925 h 1343798"/>
                    <a:gd name="connsiteX8" fmla="*/ 438150 w 1085850"/>
                    <a:gd name="connsiteY8" fmla="*/ 638175 h 1343798"/>
                    <a:gd name="connsiteX9" fmla="*/ 457200 w 1085850"/>
                    <a:gd name="connsiteY9" fmla="*/ 709613 h 1343798"/>
                    <a:gd name="connsiteX10" fmla="*/ 528637 w 1085850"/>
                    <a:gd name="connsiteY10" fmla="*/ 842962 h 1343798"/>
                    <a:gd name="connsiteX11" fmla="*/ 542925 w 1085850"/>
                    <a:gd name="connsiteY11" fmla="*/ 933450 h 1343798"/>
                    <a:gd name="connsiteX12" fmla="*/ 566737 w 1085850"/>
                    <a:gd name="connsiteY12" fmla="*/ 1014412 h 1343798"/>
                    <a:gd name="connsiteX13" fmla="*/ 557212 w 1085850"/>
                    <a:gd name="connsiteY13" fmla="*/ 1081087 h 1343798"/>
                    <a:gd name="connsiteX14" fmla="*/ 642937 w 1085850"/>
                    <a:gd name="connsiteY14" fmla="*/ 1195387 h 1343798"/>
                    <a:gd name="connsiteX15" fmla="*/ 638175 w 1085850"/>
                    <a:gd name="connsiteY15" fmla="*/ 1290637 h 1343798"/>
                    <a:gd name="connsiteX16" fmla="*/ 652462 w 1085850"/>
                    <a:gd name="connsiteY16" fmla="*/ 1343025 h 1343798"/>
                    <a:gd name="connsiteX17" fmla="*/ 885825 w 1085850"/>
                    <a:gd name="connsiteY17" fmla="*/ 1252537 h 1343798"/>
                    <a:gd name="connsiteX18" fmla="*/ 947737 w 1085850"/>
                    <a:gd name="connsiteY18" fmla="*/ 1223962 h 1343798"/>
                    <a:gd name="connsiteX19" fmla="*/ 1023937 w 1085850"/>
                    <a:gd name="connsiteY19" fmla="*/ 1247775 h 1343798"/>
                    <a:gd name="connsiteX20" fmla="*/ 1085850 w 1085850"/>
                    <a:gd name="connsiteY20" fmla="*/ 1252537 h 1343798"/>
                    <a:gd name="connsiteX0" fmla="*/ 0 w 1023937"/>
                    <a:gd name="connsiteY0" fmla="*/ 0 h 1343798"/>
                    <a:gd name="connsiteX1" fmla="*/ 42862 w 1023937"/>
                    <a:gd name="connsiteY1" fmla="*/ 85725 h 1343798"/>
                    <a:gd name="connsiteX2" fmla="*/ 119062 w 1023937"/>
                    <a:gd name="connsiteY2" fmla="*/ 152400 h 1343798"/>
                    <a:gd name="connsiteX3" fmla="*/ 185737 w 1023937"/>
                    <a:gd name="connsiteY3" fmla="*/ 223837 h 1343798"/>
                    <a:gd name="connsiteX4" fmla="*/ 238125 w 1023937"/>
                    <a:gd name="connsiteY4" fmla="*/ 338137 h 1343798"/>
                    <a:gd name="connsiteX5" fmla="*/ 314325 w 1023937"/>
                    <a:gd name="connsiteY5" fmla="*/ 457200 h 1343798"/>
                    <a:gd name="connsiteX6" fmla="*/ 409575 w 1023937"/>
                    <a:gd name="connsiteY6" fmla="*/ 519112 h 1343798"/>
                    <a:gd name="connsiteX7" fmla="*/ 428625 w 1023937"/>
                    <a:gd name="connsiteY7" fmla="*/ 542925 h 1343798"/>
                    <a:gd name="connsiteX8" fmla="*/ 438150 w 1023937"/>
                    <a:gd name="connsiteY8" fmla="*/ 638175 h 1343798"/>
                    <a:gd name="connsiteX9" fmla="*/ 457200 w 1023937"/>
                    <a:gd name="connsiteY9" fmla="*/ 709613 h 1343798"/>
                    <a:gd name="connsiteX10" fmla="*/ 528637 w 1023937"/>
                    <a:gd name="connsiteY10" fmla="*/ 842962 h 1343798"/>
                    <a:gd name="connsiteX11" fmla="*/ 542925 w 1023937"/>
                    <a:gd name="connsiteY11" fmla="*/ 933450 h 1343798"/>
                    <a:gd name="connsiteX12" fmla="*/ 566737 w 1023937"/>
                    <a:gd name="connsiteY12" fmla="*/ 1014412 h 1343798"/>
                    <a:gd name="connsiteX13" fmla="*/ 557212 w 1023937"/>
                    <a:gd name="connsiteY13" fmla="*/ 1081087 h 1343798"/>
                    <a:gd name="connsiteX14" fmla="*/ 642937 w 1023937"/>
                    <a:gd name="connsiteY14" fmla="*/ 1195387 h 1343798"/>
                    <a:gd name="connsiteX15" fmla="*/ 638175 w 1023937"/>
                    <a:gd name="connsiteY15" fmla="*/ 1290637 h 1343798"/>
                    <a:gd name="connsiteX16" fmla="*/ 652462 w 1023937"/>
                    <a:gd name="connsiteY16" fmla="*/ 1343025 h 1343798"/>
                    <a:gd name="connsiteX17" fmla="*/ 885825 w 1023937"/>
                    <a:gd name="connsiteY17" fmla="*/ 1252537 h 1343798"/>
                    <a:gd name="connsiteX18" fmla="*/ 947737 w 1023937"/>
                    <a:gd name="connsiteY18" fmla="*/ 1223962 h 1343798"/>
                    <a:gd name="connsiteX19" fmla="*/ 1023937 w 1023937"/>
                    <a:gd name="connsiteY19" fmla="*/ 1247775 h 1343798"/>
                    <a:gd name="connsiteX0" fmla="*/ 0 w 947737"/>
                    <a:gd name="connsiteY0" fmla="*/ 0 h 1343798"/>
                    <a:gd name="connsiteX1" fmla="*/ 42862 w 947737"/>
                    <a:gd name="connsiteY1" fmla="*/ 85725 h 1343798"/>
                    <a:gd name="connsiteX2" fmla="*/ 119062 w 947737"/>
                    <a:gd name="connsiteY2" fmla="*/ 152400 h 1343798"/>
                    <a:gd name="connsiteX3" fmla="*/ 185737 w 947737"/>
                    <a:gd name="connsiteY3" fmla="*/ 223837 h 1343798"/>
                    <a:gd name="connsiteX4" fmla="*/ 238125 w 947737"/>
                    <a:gd name="connsiteY4" fmla="*/ 338137 h 1343798"/>
                    <a:gd name="connsiteX5" fmla="*/ 314325 w 947737"/>
                    <a:gd name="connsiteY5" fmla="*/ 457200 h 1343798"/>
                    <a:gd name="connsiteX6" fmla="*/ 409575 w 947737"/>
                    <a:gd name="connsiteY6" fmla="*/ 519112 h 1343798"/>
                    <a:gd name="connsiteX7" fmla="*/ 428625 w 947737"/>
                    <a:gd name="connsiteY7" fmla="*/ 542925 h 1343798"/>
                    <a:gd name="connsiteX8" fmla="*/ 438150 w 947737"/>
                    <a:gd name="connsiteY8" fmla="*/ 638175 h 1343798"/>
                    <a:gd name="connsiteX9" fmla="*/ 457200 w 947737"/>
                    <a:gd name="connsiteY9" fmla="*/ 709613 h 1343798"/>
                    <a:gd name="connsiteX10" fmla="*/ 528637 w 947737"/>
                    <a:gd name="connsiteY10" fmla="*/ 842962 h 1343798"/>
                    <a:gd name="connsiteX11" fmla="*/ 542925 w 947737"/>
                    <a:gd name="connsiteY11" fmla="*/ 933450 h 1343798"/>
                    <a:gd name="connsiteX12" fmla="*/ 566737 w 947737"/>
                    <a:gd name="connsiteY12" fmla="*/ 1014412 h 1343798"/>
                    <a:gd name="connsiteX13" fmla="*/ 557212 w 947737"/>
                    <a:gd name="connsiteY13" fmla="*/ 1081087 h 1343798"/>
                    <a:gd name="connsiteX14" fmla="*/ 642937 w 947737"/>
                    <a:gd name="connsiteY14" fmla="*/ 1195387 h 1343798"/>
                    <a:gd name="connsiteX15" fmla="*/ 638175 w 947737"/>
                    <a:gd name="connsiteY15" fmla="*/ 1290637 h 1343798"/>
                    <a:gd name="connsiteX16" fmla="*/ 652462 w 947737"/>
                    <a:gd name="connsiteY16" fmla="*/ 1343025 h 1343798"/>
                    <a:gd name="connsiteX17" fmla="*/ 885825 w 947737"/>
                    <a:gd name="connsiteY17" fmla="*/ 1252537 h 1343798"/>
                    <a:gd name="connsiteX18" fmla="*/ 947737 w 947737"/>
                    <a:gd name="connsiteY18" fmla="*/ 1223962 h 1343798"/>
                    <a:gd name="connsiteX0" fmla="*/ 0 w 885825"/>
                    <a:gd name="connsiteY0" fmla="*/ 0 h 1343798"/>
                    <a:gd name="connsiteX1" fmla="*/ 42862 w 885825"/>
                    <a:gd name="connsiteY1" fmla="*/ 85725 h 1343798"/>
                    <a:gd name="connsiteX2" fmla="*/ 119062 w 885825"/>
                    <a:gd name="connsiteY2" fmla="*/ 152400 h 1343798"/>
                    <a:gd name="connsiteX3" fmla="*/ 185737 w 885825"/>
                    <a:gd name="connsiteY3" fmla="*/ 223837 h 1343798"/>
                    <a:gd name="connsiteX4" fmla="*/ 238125 w 885825"/>
                    <a:gd name="connsiteY4" fmla="*/ 338137 h 1343798"/>
                    <a:gd name="connsiteX5" fmla="*/ 314325 w 885825"/>
                    <a:gd name="connsiteY5" fmla="*/ 457200 h 1343798"/>
                    <a:gd name="connsiteX6" fmla="*/ 409575 w 885825"/>
                    <a:gd name="connsiteY6" fmla="*/ 519112 h 1343798"/>
                    <a:gd name="connsiteX7" fmla="*/ 428625 w 885825"/>
                    <a:gd name="connsiteY7" fmla="*/ 542925 h 1343798"/>
                    <a:gd name="connsiteX8" fmla="*/ 438150 w 885825"/>
                    <a:gd name="connsiteY8" fmla="*/ 638175 h 1343798"/>
                    <a:gd name="connsiteX9" fmla="*/ 457200 w 885825"/>
                    <a:gd name="connsiteY9" fmla="*/ 709613 h 1343798"/>
                    <a:gd name="connsiteX10" fmla="*/ 528637 w 885825"/>
                    <a:gd name="connsiteY10" fmla="*/ 842962 h 1343798"/>
                    <a:gd name="connsiteX11" fmla="*/ 542925 w 885825"/>
                    <a:gd name="connsiteY11" fmla="*/ 933450 h 1343798"/>
                    <a:gd name="connsiteX12" fmla="*/ 566737 w 885825"/>
                    <a:gd name="connsiteY12" fmla="*/ 1014412 h 1343798"/>
                    <a:gd name="connsiteX13" fmla="*/ 557212 w 885825"/>
                    <a:gd name="connsiteY13" fmla="*/ 1081087 h 1343798"/>
                    <a:gd name="connsiteX14" fmla="*/ 642937 w 885825"/>
                    <a:gd name="connsiteY14" fmla="*/ 1195387 h 1343798"/>
                    <a:gd name="connsiteX15" fmla="*/ 638175 w 885825"/>
                    <a:gd name="connsiteY15" fmla="*/ 1290637 h 1343798"/>
                    <a:gd name="connsiteX16" fmla="*/ 652462 w 885825"/>
                    <a:gd name="connsiteY16" fmla="*/ 1343025 h 1343798"/>
                    <a:gd name="connsiteX17" fmla="*/ 885825 w 885825"/>
                    <a:gd name="connsiteY17" fmla="*/ 1252537 h 1343798"/>
                    <a:gd name="connsiteX0" fmla="*/ 0 w 833438"/>
                    <a:gd name="connsiteY0" fmla="*/ 0 h 1843755"/>
                    <a:gd name="connsiteX1" fmla="*/ 42862 w 833438"/>
                    <a:gd name="connsiteY1" fmla="*/ 85725 h 1843755"/>
                    <a:gd name="connsiteX2" fmla="*/ 119062 w 833438"/>
                    <a:gd name="connsiteY2" fmla="*/ 152400 h 1843755"/>
                    <a:gd name="connsiteX3" fmla="*/ 185737 w 833438"/>
                    <a:gd name="connsiteY3" fmla="*/ 223837 h 1843755"/>
                    <a:gd name="connsiteX4" fmla="*/ 238125 w 833438"/>
                    <a:gd name="connsiteY4" fmla="*/ 338137 h 1843755"/>
                    <a:gd name="connsiteX5" fmla="*/ 314325 w 833438"/>
                    <a:gd name="connsiteY5" fmla="*/ 457200 h 1843755"/>
                    <a:gd name="connsiteX6" fmla="*/ 409575 w 833438"/>
                    <a:gd name="connsiteY6" fmla="*/ 519112 h 1843755"/>
                    <a:gd name="connsiteX7" fmla="*/ 428625 w 833438"/>
                    <a:gd name="connsiteY7" fmla="*/ 542925 h 1843755"/>
                    <a:gd name="connsiteX8" fmla="*/ 438150 w 833438"/>
                    <a:gd name="connsiteY8" fmla="*/ 638175 h 1843755"/>
                    <a:gd name="connsiteX9" fmla="*/ 457200 w 833438"/>
                    <a:gd name="connsiteY9" fmla="*/ 709613 h 1843755"/>
                    <a:gd name="connsiteX10" fmla="*/ 528637 w 833438"/>
                    <a:gd name="connsiteY10" fmla="*/ 842962 h 1843755"/>
                    <a:gd name="connsiteX11" fmla="*/ 542925 w 833438"/>
                    <a:gd name="connsiteY11" fmla="*/ 933450 h 1843755"/>
                    <a:gd name="connsiteX12" fmla="*/ 566737 w 833438"/>
                    <a:gd name="connsiteY12" fmla="*/ 1014412 h 1843755"/>
                    <a:gd name="connsiteX13" fmla="*/ 557212 w 833438"/>
                    <a:gd name="connsiteY13" fmla="*/ 1081087 h 1843755"/>
                    <a:gd name="connsiteX14" fmla="*/ 642937 w 833438"/>
                    <a:gd name="connsiteY14" fmla="*/ 1195387 h 1843755"/>
                    <a:gd name="connsiteX15" fmla="*/ 638175 w 833438"/>
                    <a:gd name="connsiteY15" fmla="*/ 1290637 h 1843755"/>
                    <a:gd name="connsiteX16" fmla="*/ 652462 w 833438"/>
                    <a:gd name="connsiteY16" fmla="*/ 1343025 h 1843755"/>
                    <a:gd name="connsiteX17" fmla="*/ 833438 w 833438"/>
                    <a:gd name="connsiteY17" fmla="*/ 1843087 h 1843755"/>
                    <a:gd name="connsiteX0" fmla="*/ 0 w 834721"/>
                    <a:gd name="connsiteY0" fmla="*/ 0 h 1843087"/>
                    <a:gd name="connsiteX1" fmla="*/ 42862 w 834721"/>
                    <a:gd name="connsiteY1" fmla="*/ 85725 h 1843087"/>
                    <a:gd name="connsiteX2" fmla="*/ 119062 w 834721"/>
                    <a:gd name="connsiteY2" fmla="*/ 152400 h 1843087"/>
                    <a:gd name="connsiteX3" fmla="*/ 185737 w 834721"/>
                    <a:gd name="connsiteY3" fmla="*/ 223837 h 1843087"/>
                    <a:gd name="connsiteX4" fmla="*/ 238125 w 834721"/>
                    <a:gd name="connsiteY4" fmla="*/ 338137 h 1843087"/>
                    <a:gd name="connsiteX5" fmla="*/ 314325 w 834721"/>
                    <a:gd name="connsiteY5" fmla="*/ 457200 h 1843087"/>
                    <a:gd name="connsiteX6" fmla="*/ 409575 w 834721"/>
                    <a:gd name="connsiteY6" fmla="*/ 519112 h 1843087"/>
                    <a:gd name="connsiteX7" fmla="*/ 428625 w 834721"/>
                    <a:gd name="connsiteY7" fmla="*/ 542925 h 1843087"/>
                    <a:gd name="connsiteX8" fmla="*/ 438150 w 834721"/>
                    <a:gd name="connsiteY8" fmla="*/ 638175 h 1843087"/>
                    <a:gd name="connsiteX9" fmla="*/ 457200 w 834721"/>
                    <a:gd name="connsiteY9" fmla="*/ 709613 h 1843087"/>
                    <a:gd name="connsiteX10" fmla="*/ 528637 w 834721"/>
                    <a:gd name="connsiteY10" fmla="*/ 842962 h 1843087"/>
                    <a:gd name="connsiteX11" fmla="*/ 542925 w 834721"/>
                    <a:gd name="connsiteY11" fmla="*/ 933450 h 1843087"/>
                    <a:gd name="connsiteX12" fmla="*/ 566737 w 834721"/>
                    <a:gd name="connsiteY12" fmla="*/ 1014412 h 1843087"/>
                    <a:gd name="connsiteX13" fmla="*/ 557212 w 834721"/>
                    <a:gd name="connsiteY13" fmla="*/ 1081087 h 1843087"/>
                    <a:gd name="connsiteX14" fmla="*/ 642937 w 834721"/>
                    <a:gd name="connsiteY14" fmla="*/ 1195387 h 1843087"/>
                    <a:gd name="connsiteX15" fmla="*/ 638175 w 834721"/>
                    <a:gd name="connsiteY15" fmla="*/ 1290637 h 1843087"/>
                    <a:gd name="connsiteX16" fmla="*/ 652462 w 834721"/>
                    <a:gd name="connsiteY16" fmla="*/ 1343025 h 1843087"/>
                    <a:gd name="connsiteX17" fmla="*/ 833438 w 834721"/>
                    <a:gd name="connsiteY17" fmla="*/ 1843087 h 1843087"/>
                    <a:gd name="connsiteX0" fmla="*/ 0 w 844831"/>
                    <a:gd name="connsiteY0" fmla="*/ 0 h 1843087"/>
                    <a:gd name="connsiteX1" fmla="*/ 42862 w 844831"/>
                    <a:gd name="connsiteY1" fmla="*/ 85725 h 1843087"/>
                    <a:gd name="connsiteX2" fmla="*/ 119062 w 844831"/>
                    <a:gd name="connsiteY2" fmla="*/ 152400 h 1843087"/>
                    <a:gd name="connsiteX3" fmla="*/ 185737 w 844831"/>
                    <a:gd name="connsiteY3" fmla="*/ 223837 h 1843087"/>
                    <a:gd name="connsiteX4" fmla="*/ 238125 w 844831"/>
                    <a:gd name="connsiteY4" fmla="*/ 338137 h 1843087"/>
                    <a:gd name="connsiteX5" fmla="*/ 314325 w 844831"/>
                    <a:gd name="connsiteY5" fmla="*/ 457200 h 1843087"/>
                    <a:gd name="connsiteX6" fmla="*/ 409575 w 844831"/>
                    <a:gd name="connsiteY6" fmla="*/ 519112 h 1843087"/>
                    <a:gd name="connsiteX7" fmla="*/ 428625 w 844831"/>
                    <a:gd name="connsiteY7" fmla="*/ 542925 h 1843087"/>
                    <a:gd name="connsiteX8" fmla="*/ 438150 w 844831"/>
                    <a:gd name="connsiteY8" fmla="*/ 638175 h 1843087"/>
                    <a:gd name="connsiteX9" fmla="*/ 457200 w 844831"/>
                    <a:gd name="connsiteY9" fmla="*/ 709613 h 1843087"/>
                    <a:gd name="connsiteX10" fmla="*/ 528637 w 844831"/>
                    <a:gd name="connsiteY10" fmla="*/ 842962 h 1843087"/>
                    <a:gd name="connsiteX11" fmla="*/ 542925 w 844831"/>
                    <a:gd name="connsiteY11" fmla="*/ 933450 h 1843087"/>
                    <a:gd name="connsiteX12" fmla="*/ 566737 w 844831"/>
                    <a:gd name="connsiteY12" fmla="*/ 1014412 h 1843087"/>
                    <a:gd name="connsiteX13" fmla="*/ 557212 w 844831"/>
                    <a:gd name="connsiteY13" fmla="*/ 1081087 h 1843087"/>
                    <a:gd name="connsiteX14" fmla="*/ 642937 w 844831"/>
                    <a:gd name="connsiteY14" fmla="*/ 1195387 h 1843087"/>
                    <a:gd name="connsiteX15" fmla="*/ 638175 w 844831"/>
                    <a:gd name="connsiteY15" fmla="*/ 1290637 h 1843087"/>
                    <a:gd name="connsiteX16" fmla="*/ 652462 w 844831"/>
                    <a:gd name="connsiteY16" fmla="*/ 1343025 h 1843087"/>
                    <a:gd name="connsiteX17" fmla="*/ 833445 w 844831"/>
                    <a:gd name="connsiteY17" fmla="*/ 1538282 h 1843087"/>
                    <a:gd name="connsiteX18" fmla="*/ 833438 w 844831"/>
                    <a:gd name="connsiteY18" fmla="*/ 1843087 h 1843087"/>
                    <a:gd name="connsiteX0" fmla="*/ 0 w 844831"/>
                    <a:gd name="connsiteY0" fmla="*/ 0 h 1843087"/>
                    <a:gd name="connsiteX1" fmla="*/ 42862 w 844831"/>
                    <a:gd name="connsiteY1" fmla="*/ 85725 h 1843087"/>
                    <a:gd name="connsiteX2" fmla="*/ 119062 w 844831"/>
                    <a:gd name="connsiteY2" fmla="*/ 152400 h 1843087"/>
                    <a:gd name="connsiteX3" fmla="*/ 185737 w 844831"/>
                    <a:gd name="connsiteY3" fmla="*/ 223837 h 1843087"/>
                    <a:gd name="connsiteX4" fmla="*/ 238125 w 844831"/>
                    <a:gd name="connsiteY4" fmla="*/ 338137 h 1843087"/>
                    <a:gd name="connsiteX5" fmla="*/ 314325 w 844831"/>
                    <a:gd name="connsiteY5" fmla="*/ 457200 h 1843087"/>
                    <a:gd name="connsiteX6" fmla="*/ 409575 w 844831"/>
                    <a:gd name="connsiteY6" fmla="*/ 519112 h 1843087"/>
                    <a:gd name="connsiteX7" fmla="*/ 428625 w 844831"/>
                    <a:gd name="connsiteY7" fmla="*/ 542925 h 1843087"/>
                    <a:gd name="connsiteX8" fmla="*/ 438150 w 844831"/>
                    <a:gd name="connsiteY8" fmla="*/ 638175 h 1843087"/>
                    <a:gd name="connsiteX9" fmla="*/ 457200 w 844831"/>
                    <a:gd name="connsiteY9" fmla="*/ 709613 h 1843087"/>
                    <a:gd name="connsiteX10" fmla="*/ 528637 w 844831"/>
                    <a:gd name="connsiteY10" fmla="*/ 842962 h 1843087"/>
                    <a:gd name="connsiteX11" fmla="*/ 542925 w 844831"/>
                    <a:gd name="connsiteY11" fmla="*/ 933450 h 1843087"/>
                    <a:gd name="connsiteX12" fmla="*/ 566737 w 844831"/>
                    <a:gd name="connsiteY12" fmla="*/ 1014412 h 1843087"/>
                    <a:gd name="connsiteX13" fmla="*/ 557212 w 844831"/>
                    <a:gd name="connsiteY13" fmla="*/ 1081087 h 1843087"/>
                    <a:gd name="connsiteX14" fmla="*/ 642937 w 844831"/>
                    <a:gd name="connsiteY14" fmla="*/ 1195387 h 1843087"/>
                    <a:gd name="connsiteX15" fmla="*/ 638175 w 844831"/>
                    <a:gd name="connsiteY15" fmla="*/ 1290637 h 1843087"/>
                    <a:gd name="connsiteX16" fmla="*/ 652462 w 844831"/>
                    <a:gd name="connsiteY16" fmla="*/ 1343025 h 1843087"/>
                    <a:gd name="connsiteX17" fmla="*/ 690570 w 844831"/>
                    <a:gd name="connsiteY17" fmla="*/ 1443032 h 1843087"/>
                    <a:gd name="connsiteX18" fmla="*/ 833445 w 844831"/>
                    <a:gd name="connsiteY18" fmla="*/ 1538282 h 1843087"/>
                    <a:gd name="connsiteX19" fmla="*/ 833438 w 844831"/>
                    <a:gd name="connsiteY19" fmla="*/ 1843087 h 1843087"/>
                    <a:gd name="connsiteX0" fmla="*/ 0 w 842360"/>
                    <a:gd name="connsiteY0" fmla="*/ 0 h 1843087"/>
                    <a:gd name="connsiteX1" fmla="*/ 42862 w 842360"/>
                    <a:gd name="connsiteY1" fmla="*/ 85725 h 1843087"/>
                    <a:gd name="connsiteX2" fmla="*/ 119062 w 842360"/>
                    <a:gd name="connsiteY2" fmla="*/ 152400 h 1843087"/>
                    <a:gd name="connsiteX3" fmla="*/ 185737 w 842360"/>
                    <a:gd name="connsiteY3" fmla="*/ 223837 h 1843087"/>
                    <a:gd name="connsiteX4" fmla="*/ 238125 w 842360"/>
                    <a:gd name="connsiteY4" fmla="*/ 338137 h 1843087"/>
                    <a:gd name="connsiteX5" fmla="*/ 314325 w 842360"/>
                    <a:gd name="connsiteY5" fmla="*/ 457200 h 1843087"/>
                    <a:gd name="connsiteX6" fmla="*/ 409575 w 842360"/>
                    <a:gd name="connsiteY6" fmla="*/ 519112 h 1843087"/>
                    <a:gd name="connsiteX7" fmla="*/ 428625 w 842360"/>
                    <a:gd name="connsiteY7" fmla="*/ 542925 h 1843087"/>
                    <a:gd name="connsiteX8" fmla="*/ 438150 w 842360"/>
                    <a:gd name="connsiteY8" fmla="*/ 638175 h 1843087"/>
                    <a:gd name="connsiteX9" fmla="*/ 457200 w 842360"/>
                    <a:gd name="connsiteY9" fmla="*/ 709613 h 1843087"/>
                    <a:gd name="connsiteX10" fmla="*/ 528637 w 842360"/>
                    <a:gd name="connsiteY10" fmla="*/ 842962 h 1843087"/>
                    <a:gd name="connsiteX11" fmla="*/ 542925 w 842360"/>
                    <a:gd name="connsiteY11" fmla="*/ 933450 h 1843087"/>
                    <a:gd name="connsiteX12" fmla="*/ 566737 w 842360"/>
                    <a:gd name="connsiteY12" fmla="*/ 1014412 h 1843087"/>
                    <a:gd name="connsiteX13" fmla="*/ 557212 w 842360"/>
                    <a:gd name="connsiteY13" fmla="*/ 1081087 h 1843087"/>
                    <a:gd name="connsiteX14" fmla="*/ 642937 w 842360"/>
                    <a:gd name="connsiteY14" fmla="*/ 1195387 h 1843087"/>
                    <a:gd name="connsiteX15" fmla="*/ 638175 w 842360"/>
                    <a:gd name="connsiteY15" fmla="*/ 1290637 h 1843087"/>
                    <a:gd name="connsiteX16" fmla="*/ 652462 w 842360"/>
                    <a:gd name="connsiteY16" fmla="*/ 1343025 h 1843087"/>
                    <a:gd name="connsiteX17" fmla="*/ 690570 w 842360"/>
                    <a:gd name="connsiteY17" fmla="*/ 1443032 h 1843087"/>
                    <a:gd name="connsiteX18" fmla="*/ 833445 w 842360"/>
                    <a:gd name="connsiteY18" fmla="*/ 1538282 h 1843087"/>
                    <a:gd name="connsiteX19" fmla="*/ 823920 w 842360"/>
                    <a:gd name="connsiteY19" fmla="*/ 1624007 h 1843087"/>
                    <a:gd name="connsiteX20" fmla="*/ 833438 w 842360"/>
                    <a:gd name="connsiteY20" fmla="*/ 1843087 h 1843087"/>
                    <a:gd name="connsiteX0" fmla="*/ 0 w 858995"/>
                    <a:gd name="connsiteY0" fmla="*/ 0 h 1843087"/>
                    <a:gd name="connsiteX1" fmla="*/ 42862 w 858995"/>
                    <a:gd name="connsiteY1" fmla="*/ 85725 h 1843087"/>
                    <a:gd name="connsiteX2" fmla="*/ 119062 w 858995"/>
                    <a:gd name="connsiteY2" fmla="*/ 152400 h 1843087"/>
                    <a:gd name="connsiteX3" fmla="*/ 185737 w 858995"/>
                    <a:gd name="connsiteY3" fmla="*/ 223837 h 1843087"/>
                    <a:gd name="connsiteX4" fmla="*/ 238125 w 858995"/>
                    <a:gd name="connsiteY4" fmla="*/ 338137 h 1843087"/>
                    <a:gd name="connsiteX5" fmla="*/ 314325 w 858995"/>
                    <a:gd name="connsiteY5" fmla="*/ 457200 h 1843087"/>
                    <a:gd name="connsiteX6" fmla="*/ 409575 w 858995"/>
                    <a:gd name="connsiteY6" fmla="*/ 519112 h 1843087"/>
                    <a:gd name="connsiteX7" fmla="*/ 428625 w 858995"/>
                    <a:gd name="connsiteY7" fmla="*/ 542925 h 1843087"/>
                    <a:gd name="connsiteX8" fmla="*/ 438150 w 858995"/>
                    <a:gd name="connsiteY8" fmla="*/ 638175 h 1843087"/>
                    <a:gd name="connsiteX9" fmla="*/ 457200 w 858995"/>
                    <a:gd name="connsiteY9" fmla="*/ 709613 h 1843087"/>
                    <a:gd name="connsiteX10" fmla="*/ 528637 w 858995"/>
                    <a:gd name="connsiteY10" fmla="*/ 842962 h 1843087"/>
                    <a:gd name="connsiteX11" fmla="*/ 542925 w 858995"/>
                    <a:gd name="connsiteY11" fmla="*/ 933450 h 1843087"/>
                    <a:gd name="connsiteX12" fmla="*/ 566737 w 858995"/>
                    <a:gd name="connsiteY12" fmla="*/ 1014412 h 1843087"/>
                    <a:gd name="connsiteX13" fmla="*/ 557212 w 858995"/>
                    <a:gd name="connsiteY13" fmla="*/ 1081087 h 1843087"/>
                    <a:gd name="connsiteX14" fmla="*/ 642937 w 858995"/>
                    <a:gd name="connsiteY14" fmla="*/ 1195387 h 1843087"/>
                    <a:gd name="connsiteX15" fmla="*/ 638175 w 858995"/>
                    <a:gd name="connsiteY15" fmla="*/ 1290637 h 1843087"/>
                    <a:gd name="connsiteX16" fmla="*/ 652462 w 858995"/>
                    <a:gd name="connsiteY16" fmla="*/ 1343025 h 1843087"/>
                    <a:gd name="connsiteX17" fmla="*/ 690570 w 858995"/>
                    <a:gd name="connsiteY17" fmla="*/ 1443032 h 1843087"/>
                    <a:gd name="connsiteX18" fmla="*/ 852495 w 858995"/>
                    <a:gd name="connsiteY18" fmla="*/ 1528757 h 1843087"/>
                    <a:gd name="connsiteX19" fmla="*/ 823920 w 858995"/>
                    <a:gd name="connsiteY19" fmla="*/ 1624007 h 1843087"/>
                    <a:gd name="connsiteX20" fmla="*/ 833438 w 858995"/>
                    <a:gd name="connsiteY20" fmla="*/ 1843087 h 1843087"/>
                    <a:gd name="connsiteX0" fmla="*/ 0 w 858995"/>
                    <a:gd name="connsiteY0" fmla="*/ 0 h 1843087"/>
                    <a:gd name="connsiteX1" fmla="*/ 42862 w 858995"/>
                    <a:gd name="connsiteY1" fmla="*/ 85725 h 1843087"/>
                    <a:gd name="connsiteX2" fmla="*/ 119062 w 858995"/>
                    <a:gd name="connsiteY2" fmla="*/ 152400 h 1843087"/>
                    <a:gd name="connsiteX3" fmla="*/ 185737 w 858995"/>
                    <a:gd name="connsiteY3" fmla="*/ 223837 h 1843087"/>
                    <a:gd name="connsiteX4" fmla="*/ 238125 w 858995"/>
                    <a:gd name="connsiteY4" fmla="*/ 338137 h 1843087"/>
                    <a:gd name="connsiteX5" fmla="*/ 314325 w 858995"/>
                    <a:gd name="connsiteY5" fmla="*/ 457200 h 1843087"/>
                    <a:gd name="connsiteX6" fmla="*/ 409575 w 858995"/>
                    <a:gd name="connsiteY6" fmla="*/ 519112 h 1843087"/>
                    <a:gd name="connsiteX7" fmla="*/ 428625 w 858995"/>
                    <a:gd name="connsiteY7" fmla="*/ 542925 h 1843087"/>
                    <a:gd name="connsiteX8" fmla="*/ 438150 w 858995"/>
                    <a:gd name="connsiteY8" fmla="*/ 638175 h 1843087"/>
                    <a:gd name="connsiteX9" fmla="*/ 457200 w 858995"/>
                    <a:gd name="connsiteY9" fmla="*/ 709613 h 1843087"/>
                    <a:gd name="connsiteX10" fmla="*/ 528637 w 858995"/>
                    <a:gd name="connsiteY10" fmla="*/ 842962 h 1843087"/>
                    <a:gd name="connsiteX11" fmla="*/ 542925 w 858995"/>
                    <a:gd name="connsiteY11" fmla="*/ 933450 h 1843087"/>
                    <a:gd name="connsiteX12" fmla="*/ 566737 w 858995"/>
                    <a:gd name="connsiteY12" fmla="*/ 1014412 h 1843087"/>
                    <a:gd name="connsiteX13" fmla="*/ 557212 w 858995"/>
                    <a:gd name="connsiteY13" fmla="*/ 1081087 h 1843087"/>
                    <a:gd name="connsiteX14" fmla="*/ 642937 w 858995"/>
                    <a:gd name="connsiteY14" fmla="*/ 1195387 h 1843087"/>
                    <a:gd name="connsiteX15" fmla="*/ 638175 w 858995"/>
                    <a:gd name="connsiteY15" fmla="*/ 1290637 h 1843087"/>
                    <a:gd name="connsiteX16" fmla="*/ 652462 w 858995"/>
                    <a:gd name="connsiteY16" fmla="*/ 1343025 h 1843087"/>
                    <a:gd name="connsiteX17" fmla="*/ 690570 w 858995"/>
                    <a:gd name="connsiteY17" fmla="*/ 1443032 h 1843087"/>
                    <a:gd name="connsiteX18" fmla="*/ 852495 w 858995"/>
                    <a:gd name="connsiteY18" fmla="*/ 1528757 h 1843087"/>
                    <a:gd name="connsiteX19" fmla="*/ 823920 w 858995"/>
                    <a:gd name="connsiteY19" fmla="*/ 1624007 h 1843087"/>
                    <a:gd name="connsiteX20" fmla="*/ 833438 w 858995"/>
                    <a:gd name="connsiteY20" fmla="*/ 1843087 h 1843087"/>
                    <a:gd name="connsiteX0" fmla="*/ 0 w 862319"/>
                    <a:gd name="connsiteY0" fmla="*/ 0 h 1843087"/>
                    <a:gd name="connsiteX1" fmla="*/ 42862 w 862319"/>
                    <a:gd name="connsiteY1" fmla="*/ 85725 h 1843087"/>
                    <a:gd name="connsiteX2" fmla="*/ 119062 w 862319"/>
                    <a:gd name="connsiteY2" fmla="*/ 152400 h 1843087"/>
                    <a:gd name="connsiteX3" fmla="*/ 185737 w 862319"/>
                    <a:gd name="connsiteY3" fmla="*/ 223837 h 1843087"/>
                    <a:gd name="connsiteX4" fmla="*/ 238125 w 862319"/>
                    <a:gd name="connsiteY4" fmla="*/ 338137 h 1843087"/>
                    <a:gd name="connsiteX5" fmla="*/ 314325 w 862319"/>
                    <a:gd name="connsiteY5" fmla="*/ 457200 h 1843087"/>
                    <a:gd name="connsiteX6" fmla="*/ 409575 w 862319"/>
                    <a:gd name="connsiteY6" fmla="*/ 519112 h 1843087"/>
                    <a:gd name="connsiteX7" fmla="*/ 428625 w 862319"/>
                    <a:gd name="connsiteY7" fmla="*/ 542925 h 1843087"/>
                    <a:gd name="connsiteX8" fmla="*/ 438150 w 862319"/>
                    <a:gd name="connsiteY8" fmla="*/ 638175 h 1843087"/>
                    <a:gd name="connsiteX9" fmla="*/ 457200 w 862319"/>
                    <a:gd name="connsiteY9" fmla="*/ 709613 h 1843087"/>
                    <a:gd name="connsiteX10" fmla="*/ 528637 w 862319"/>
                    <a:gd name="connsiteY10" fmla="*/ 842962 h 1843087"/>
                    <a:gd name="connsiteX11" fmla="*/ 542925 w 862319"/>
                    <a:gd name="connsiteY11" fmla="*/ 933450 h 1843087"/>
                    <a:gd name="connsiteX12" fmla="*/ 566737 w 862319"/>
                    <a:gd name="connsiteY12" fmla="*/ 1014412 h 1843087"/>
                    <a:gd name="connsiteX13" fmla="*/ 557212 w 862319"/>
                    <a:gd name="connsiteY13" fmla="*/ 1081087 h 1843087"/>
                    <a:gd name="connsiteX14" fmla="*/ 642937 w 862319"/>
                    <a:gd name="connsiteY14" fmla="*/ 1195387 h 1843087"/>
                    <a:gd name="connsiteX15" fmla="*/ 638175 w 862319"/>
                    <a:gd name="connsiteY15" fmla="*/ 1290637 h 1843087"/>
                    <a:gd name="connsiteX16" fmla="*/ 652462 w 862319"/>
                    <a:gd name="connsiteY16" fmla="*/ 1343025 h 1843087"/>
                    <a:gd name="connsiteX17" fmla="*/ 690570 w 862319"/>
                    <a:gd name="connsiteY17" fmla="*/ 1443032 h 1843087"/>
                    <a:gd name="connsiteX18" fmla="*/ 852495 w 862319"/>
                    <a:gd name="connsiteY18" fmla="*/ 1528757 h 1843087"/>
                    <a:gd name="connsiteX19" fmla="*/ 847733 w 862319"/>
                    <a:gd name="connsiteY19" fmla="*/ 1633532 h 1843087"/>
                    <a:gd name="connsiteX20" fmla="*/ 833438 w 862319"/>
                    <a:gd name="connsiteY20" fmla="*/ 1843087 h 1843087"/>
                    <a:gd name="connsiteX0" fmla="*/ 0 w 819457"/>
                    <a:gd name="connsiteY0" fmla="*/ 0 h 1757362"/>
                    <a:gd name="connsiteX1" fmla="*/ 76200 w 819457"/>
                    <a:gd name="connsiteY1" fmla="*/ 66675 h 1757362"/>
                    <a:gd name="connsiteX2" fmla="*/ 142875 w 819457"/>
                    <a:gd name="connsiteY2" fmla="*/ 138112 h 1757362"/>
                    <a:gd name="connsiteX3" fmla="*/ 195263 w 819457"/>
                    <a:gd name="connsiteY3" fmla="*/ 252412 h 1757362"/>
                    <a:gd name="connsiteX4" fmla="*/ 271463 w 819457"/>
                    <a:gd name="connsiteY4" fmla="*/ 371475 h 1757362"/>
                    <a:gd name="connsiteX5" fmla="*/ 366713 w 819457"/>
                    <a:gd name="connsiteY5" fmla="*/ 433387 h 1757362"/>
                    <a:gd name="connsiteX6" fmla="*/ 385763 w 819457"/>
                    <a:gd name="connsiteY6" fmla="*/ 457200 h 1757362"/>
                    <a:gd name="connsiteX7" fmla="*/ 395288 w 819457"/>
                    <a:gd name="connsiteY7" fmla="*/ 552450 h 1757362"/>
                    <a:gd name="connsiteX8" fmla="*/ 414338 w 819457"/>
                    <a:gd name="connsiteY8" fmla="*/ 623888 h 1757362"/>
                    <a:gd name="connsiteX9" fmla="*/ 485775 w 819457"/>
                    <a:gd name="connsiteY9" fmla="*/ 757237 h 1757362"/>
                    <a:gd name="connsiteX10" fmla="*/ 500063 w 819457"/>
                    <a:gd name="connsiteY10" fmla="*/ 847725 h 1757362"/>
                    <a:gd name="connsiteX11" fmla="*/ 523875 w 819457"/>
                    <a:gd name="connsiteY11" fmla="*/ 928687 h 1757362"/>
                    <a:gd name="connsiteX12" fmla="*/ 514350 w 819457"/>
                    <a:gd name="connsiteY12" fmla="*/ 995362 h 1757362"/>
                    <a:gd name="connsiteX13" fmla="*/ 600075 w 819457"/>
                    <a:gd name="connsiteY13" fmla="*/ 1109662 h 1757362"/>
                    <a:gd name="connsiteX14" fmla="*/ 595313 w 819457"/>
                    <a:gd name="connsiteY14" fmla="*/ 1204912 h 1757362"/>
                    <a:gd name="connsiteX15" fmla="*/ 609600 w 819457"/>
                    <a:gd name="connsiteY15" fmla="*/ 1257300 h 1757362"/>
                    <a:gd name="connsiteX16" fmla="*/ 647708 w 819457"/>
                    <a:gd name="connsiteY16" fmla="*/ 1357307 h 1757362"/>
                    <a:gd name="connsiteX17" fmla="*/ 809633 w 819457"/>
                    <a:gd name="connsiteY17" fmla="*/ 1443032 h 1757362"/>
                    <a:gd name="connsiteX18" fmla="*/ 804871 w 819457"/>
                    <a:gd name="connsiteY18" fmla="*/ 1547807 h 1757362"/>
                    <a:gd name="connsiteX19" fmla="*/ 790576 w 819457"/>
                    <a:gd name="connsiteY19" fmla="*/ 1757362 h 1757362"/>
                    <a:gd name="connsiteX0" fmla="*/ 0 w 838507"/>
                    <a:gd name="connsiteY0" fmla="*/ 0 h 1785937"/>
                    <a:gd name="connsiteX1" fmla="*/ 95250 w 838507"/>
                    <a:gd name="connsiteY1" fmla="*/ 95250 h 1785937"/>
                    <a:gd name="connsiteX2" fmla="*/ 161925 w 838507"/>
                    <a:gd name="connsiteY2" fmla="*/ 166687 h 1785937"/>
                    <a:gd name="connsiteX3" fmla="*/ 214313 w 838507"/>
                    <a:gd name="connsiteY3" fmla="*/ 280987 h 1785937"/>
                    <a:gd name="connsiteX4" fmla="*/ 290513 w 838507"/>
                    <a:gd name="connsiteY4" fmla="*/ 400050 h 1785937"/>
                    <a:gd name="connsiteX5" fmla="*/ 385763 w 838507"/>
                    <a:gd name="connsiteY5" fmla="*/ 461962 h 1785937"/>
                    <a:gd name="connsiteX6" fmla="*/ 404813 w 838507"/>
                    <a:gd name="connsiteY6" fmla="*/ 485775 h 1785937"/>
                    <a:gd name="connsiteX7" fmla="*/ 414338 w 838507"/>
                    <a:gd name="connsiteY7" fmla="*/ 581025 h 1785937"/>
                    <a:gd name="connsiteX8" fmla="*/ 433388 w 838507"/>
                    <a:gd name="connsiteY8" fmla="*/ 652463 h 1785937"/>
                    <a:gd name="connsiteX9" fmla="*/ 504825 w 838507"/>
                    <a:gd name="connsiteY9" fmla="*/ 785812 h 1785937"/>
                    <a:gd name="connsiteX10" fmla="*/ 519113 w 838507"/>
                    <a:gd name="connsiteY10" fmla="*/ 876300 h 1785937"/>
                    <a:gd name="connsiteX11" fmla="*/ 542925 w 838507"/>
                    <a:gd name="connsiteY11" fmla="*/ 957262 h 1785937"/>
                    <a:gd name="connsiteX12" fmla="*/ 533400 w 838507"/>
                    <a:gd name="connsiteY12" fmla="*/ 1023937 h 1785937"/>
                    <a:gd name="connsiteX13" fmla="*/ 619125 w 838507"/>
                    <a:gd name="connsiteY13" fmla="*/ 1138237 h 1785937"/>
                    <a:gd name="connsiteX14" fmla="*/ 614363 w 838507"/>
                    <a:gd name="connsiteY14" fmla="*/ 1233487 h 1785937"/>
                    <a:gd name="connsiteX15" fmla="*/ 628650 w 838507"/>
                    <a:gd name="connsiteY15" fmla="*/ 1285875 h 1785937"/>
                    <a:gd name="connsiteX16" fmla="*/ 666758 w 838507"/>
                    <a:gd name="connsiteY16" fmla="*/ 1385882 h 1785937"/>
                    <a:gd name="connsiteX17" fmla="*/ 828683 w 838507"/>
                    <a:gd name="connsiteY17" fmla="*/ 1471607 h 1785937"/>
                    <a:gd name="connsiteX18" fmla="*/ 823921 w 838507"/>
                    <a:gd name="connsiteY18" fmla="*/ 1576382 h 1785937"/>
                    <a:gd name="connsiteX19" fmla="*/ 809626 w 838507"/>
                    <a:gd name="connsiteY19" fmla="*/ 1785937 h 1785937"/>
                    <a:gd name="connsiteX0" fmla="*/ 0 w 838507"/>
                    <a:gd name="connsiteY0" fmla="*/ 0 h 1785937"/>
                    <a:gd name="connsiteX1" fmla="*/ 95250 w 838507"/>
                    <a:gd name="connsiteY1" fmla="*/ 95250 h 1785937"/>
                    <a:gd name="connsiteX2" fmla="*/ 161925 w 838507"/>
                    <a:gd name="connsiteY2" fmla="*/ 166687 h 1785937"/>
                    <a:gd name="connsiteX3" fmla="*/ 214313 w 838507"/>
                    <a:gd name="connsiteY3" fmla="*/ 280987 h 1785937"/>
                    <a:gd name="connsiteX4" fmla="*/ 290513 w 838507"/>
                    <a:gd name="connsiteY4" fmla="*/ 400050 h 1785937"/>
                    <a:gd name="connsiteX5" fmla="*/ 385763 w 838507"/>
                    <a:gd name="connsiteY5" fmla="*/ 461962 h 1785937"/>
                    <a:gd name="connsiteX6" fmla="*/ 404813 w 838507"/>
                    <a:gd name="connsiteY6" fmla="*/ 485775 h 1785937"/>
                    <a:gd name="connsiteX7" fmla="*/ 414338 w 838507"/>
                    <a:gd name="connsiteY7" fmla="*/ 581025 h 1785937"/>
                    <a:gd name="connsiteX8" fmla="*/ 433388 w 838507"/>
                    <a:gd name="connsiteY8" fmla="*/ 652463 h 1785937"/>
                    <a:gd name="connsiteX9" fmla="*/ 504825 w 838507"/>
                    <a:gd name="connsiteY9" fmla="*/ 785812 h 1785937"/>
                    <a:gd name="connsiteX10" fmla="*/ 519113 w 838507"/>
                    <a:gd name="connsiteY10" fmla="*/ 876300 h 1785937"/>
                    <a:gd name="connsiteX11" fmla="*/ 542925 w 838507"/>
                    <a:gd name="connsiteY11" fmla="*/ 957262 h 1785937"/>
                    <a:gd name="connsiteX12" fmla="*/ 533400 w 838507"/>
                    <a:gd name="connsiteY12" fmla="*/ 1023937 h 1785937"/>
                    <a:gd name="connsiteX13" fmla="*/ 619125 w 838507"/>
                    <a:gd name="connsiteY13" fmla="*/ 1138237 h 1785937"/>
                    <a:gd name="connsiteX14" fmla="*/ 614363 w 838507"/>
                    <a:gd name="connsiteY14" fmla="*/ 1233487 h 1785937"/>
                    <a:gd name="connsiteX15" fmla="*/ 628650 w 838507"/>
                    <a:gd name="connsiteY15" fmla="*/ 1285875 h 1785937"/>
                    <a:gd name="connsiteX16" fmla="*/ 666758 w 838507"/>
                    <a:gd name="connsiteY16" fmla="*/ 1385882 h 1785937"/>
                    <a:gd name="connsiteX17" fmla="*/ 828683 w 838507"/>
                    <a:gd name="connsiteY17" fmla="*/ 1471607 h 1785937"/>
                    <a:gd name="connsiteX18" fmla="*/ 823921 w 838507"/>
                    <a:gd name="connsiteY18" fmla="*/ 1576382 h 1785937"/>
                    <a:gd name="connsiteX19" fmla="*/ 809626 w 838507"/>
                    <a:gd name="connsiteY19" fmla="*/ 1785937 h 1785937"/>
                    <a:gd name="connsiteX0" fmla="*/ 0 w 1367144"/>
                    <a:gd name="connsiteY0" fmla="*/ 71437 h 1690687"/>
                    <a:gd name="connsiteX1" fmla="*/ 623887 w 1367144"/>
                    <a:gd name="connsiteY1" fmla="*/ 0 h 1690687"/>
                    <a:gd name="connsiteX2" fmla="*/ 690562 w 1367144"/>
                    <a:gd name="connsiteY2" fmla="*/ 71437 h 1690687"/>
                    <a:gd name="connsiteX3" fmla="*/ 742950 w 1367144"/>
                    <a:gd name="connsiteY3" fmla="*/ 185737 h 1690687"/>
                    <a:gd name="connsiteX4" fmla="*/ 819150 w 1367144"/>
                    <a:gd name="connsiteY4" fmla="*/ 304800 h 1690687"/>
                    <a:gd name="connsiteX5" fmla="*/ 914400 w 1367144"/>
                    <a:gd name="connsiteY5" fmla="*/ 366712 h 1690687"/>
                    <a:gd name="connsiteX6" fmla="*/ 933450 w 1367144"/>
                    <a:gd name="connsiteY6" fmla="*/ 390525 h 1690687"/>
                    <a:gd name="connsiteX7" fmla="*/ 942975 w 1367144"/>
                    <a:gd name="connsiteY7" fmla="*/ 485775 h 1690687"/>
                    <a:gd name="connsiteX8" fmla="*/ 962025 w 1367144"/>
                    <a:gd name="connsiteY8" fmla="*/ 557213 h 1690687"/>
                    <a:gd name="connsiteX9" fmla="*/ 1033462 w 1367144"/>
                    <a:gd name="connsiteY9" fmla="*/ 690562 h 1690687"/>
                    <a:gd name="connsiteX10" fmla="*/ 1047750 w 1367144"/>
                    <a:gd name="connsiteY10" fmla="*/ 781050 h 1690687"/>
                    <a:gd name="connsiteX11" fmla="*/ 1071562 w 1367144"/>
                    <a:gd name="connsiteY11" fmla="*/ 862012 h 1690687"/>
                    <a:gd name="connsiteX12" fmla="*/ 1062037 w 1367144"/>
                    <a:gd name="connsiteY12" fmla="*/ 928687 h 1690687"/>
                    <a:gd name="connsiteX13" fmla="*/ 1147762 w 1367144"/>
                    <a:gd name="connsiteY13" fmla="*/ 1042987 h 1690687"/>
                    <a:gd name="connsiteX14" fmla="*/ 1143000 w 1367144"/>
                    <a:gd name="connsiteY14" fmla="*/ 1138237 h 1690687"/>
                    <a:gd name="connsiteX15" fmla="*/ 1157287 w 1367144"/>
                    <a:gd name="connsiteY15" fmla="*/ 1190625 h 1690687"/>
                    <a:gd name="connsiteX16" fmla="*/ 1195395 w 1367144"/>
                    <a:gd name="connsiteY16" fmla="*/ 1290632 h 1690687"/>
                    <a:gd name="connsiteX17" fmla="*/ 1357320 w 1367144"/>
                    <a:gd name="connsiteY17" fmla="*/ 1376357 h 1690687"/>
                    <a:gd name="connsiteX18" fmla="*/ 1352558 w 1367144"/>
                    <a:gd name="connsiteY18" fmla="*/ 1481132 h 1690687"/>
                    <a:gd name="connsiteX19" fmla="*/ 1338263 w 1367144"/>
                    <a:gd name="connsiteY19" fmla="*/ 1690687 h 1690687"/>
                    <a:gd name="connsiteX0" fmla="*/ 0 w 1367144"/>
                    <a:gd name="connsiteY0" fmla="*/ 76204 h 1695454"/>
                    <a:gd name="connsiteX1" fmla="*/ 109545 w 1367144"/>
                    <a:gd name="connsiteY1" fmla="*/ 14287 h 1695454"/>
                    <a:gd name="connsiteX2" fmla="*/ 623887 w 1367144"/>
                    <a:gd name="connsiteY2" fmla="*/ 4767 h 1695454"/>
                    <a:gd name="connsiteX3" fmla="*/ 690562 w 1367144"/>
                    <a:gd name="connsiteY3" fmla="*/ 76204 h 1695454"/>
                    <a:gd name="connsiteX4" fmla="*/ 742950 w 1367144"/>
                    <a:gd name="connsiteY4" fmla="*/ 190504 h 1695454"/>
                    <a:gd name="connsiteX5" fmla="*/ 819150 w 1367144"/>
                    <a:gd name="connsiteY5" fmla="*/ 309567 h 1695454"/>
                    <a:gd name="connsiteX6" fmla="*/ 914400 w 1367144"/>
                    <a:gd name="connsiteY6" fmla="*/ 371479 h 1695454"/>
                    <a:gd name="connsiteX7" fmla="*/ 933450 w 1367144"/>
                    <a:gd name="connsiteY7" fmla="*/ 395292 h 1695454"/>
                    <a:gd name="connsiteX8" fmla="*/ 942975 w 1367144"/>
                    <a:gd name="connsiteY8" fmla="*/ 490542 h 1695454"/>
                    <a:gd name="connsiteX9" fmla="*/ 962025 w 1367144"/>
                    <a:gd name="connsiteY9" fmla="*/ 561980 h 1695454"/>
                    <a:gd name="connsiteX10" fmla="*/ 1033462 w 1367144"/>
                    <a:gd name="connsiteY10" fmla="*/ 695329 h 1695454"/>
                    <a:gd name="connsiteX11" fmla="*/ 1047750 w 1367144"/>
                    <a:gd name="connsiteY11" fmla="*/ 785817 h 1695454"/>
                    <a:gd name="connsiteX12" fmla="*/ 1071562 w 1367144"/>
                    <a:gd name="connsiteY12" fmla="*/ 866779 h 1695454"/>
                    <a:gd name="connsiteX13" fmla="*/ 1062037 w 1367144"/>
                    <a:gd name="connsiteY13" fmla="*/ 933454 h 1695454"/>
                    <a:gd name="connsiteX14" fmla="*/ 1147762 w 1367144"/>
                    <a:gd name="connsiteY14" fmla="*/ 1047754 h 1695454"/>
                    <a:gd name="connsiteX15" fmla="*/ 1143000 w 1367144"/>
                    <a:gd name="connsiteY15" fmla="*/ 1143004 h 1695454"/>
                    <a:gd name="connsiteX16" fmla="*/ 1157287 w 1367144"/>
                    <a:gd name="connsiteY16" fmla="*/ 1195392 h 1695454"/>
                    <a:gd name="connsiteX17" fmla="*/ 1195395 w 1367144"/>
                    <a:gd name="connsiteY17" fmla="*/ 1295399 h 1695454"/>
                    <a:gd name="connsiteX18" fmla="*/ 1357320 w 1367144"/>
                    <a:gd name="connsiteY18" fmla="*/ 1381124 h 1695454"/>
                    <a:gd name="connsiteX19" fmla="*/ 1352558 w 1367144"/>
                    <a:gd name="connsiteY19" fmla="*/ 1485899 h 1695454"/>
                    <a:gd name="connsiteX20" fmla="*/ 1338263 w 1367144"/>
                    <a:gd name="connsiteY20" fmla="*/ 1695454 h 1695454"/>
                    <a:gd name="connsiteX0" fmla="*/ 0 w 1367144"/>
                    <a:gd name="connsiteY0" fmla="*/ 161958 h 1781208"/>
                    <a:gd name="connsiteX1" fmla="*/ 109545 w 1367144"/>
                    <a:gd name="connsiteY1" fmla="*/ 100041 h 1781208"/>
                    <a:gd name="connsiteX2" fmla="*/ 519120 w 1367144"/>
                    <a:gd name="connsiteY2" fmla="*/ 28 h 1781208"/>
                    <a:gd name="connsiteX3" fmla="*/ 623887 w 1367144"/>
                    <a:gd name="connsiteY3" fmla="*/ 90521 h 1781208"/>
                    <a:gd name="connsiteX4" fmla="*/ 690562 w 1367144"/>
                    <a:gd name="connsiteY4" fmla="*/ 161958 h 1781208"/>
                    <a:gd name="connsiteX5" fmla="*/ 742950 w 1367144"/>
                    <a:gd name="connsiteY5" fmla="*/ 276258 h 1781208"/>
                    <a:gd name="connsiteX6" fmla="*/ 819150 w 1367144"/>
                    <a:gd name="connsiteY6" fmla="*/ 395321 h 1781208"/>
                    <a:gd name="connsiteX7" fmla="*/ 914400 w 1367144"/>
                    <a:gd name="connsiteY7" fmla="*/ 457233 h 1781208"/>
                    <a:gd name="connsiteX8" fmla="*/ 933450 w 1367144"/>
                    <a:gd name="connsiteY8" fmla="*/ 481046 h 1781208"/>
                    <a:gd name="connsiteX9" fmla="*/ 942975 w 1367144"/>
                    <a:gd name="connsiteY9" fmla="*/ 576296 h 1781208"/>
                    <a:gd name="connsiteX10" fmla="*/ 962025 w 1367144"/>
                    <a:gd name="connsiteY10" fmla="*/ 647734 h 1781208"/>
                    <a:gd name="connsiteX11" fmla="*/ 1033462 w 1367144"/>
                    <a:gd name="connsiteY11" fmla="*/ 781083 h 1781208"/>
                    <a:gd name="connsiteX12" fmla="*/ 1047750 w 1367144"/>
                    <a:gd name="connsiteY12" fmla="*/ 871571 h 1781208"/>
                    <a:gd name="connsiteX13" fmla="*/ 1071562 w 1367144"/>
                    <a:gd name="connsiteY13" fmla="*/ 952533 h 1781208"/>
                    <a:gd name="connsiteX14" fmla="*/ 1062037 w 1367144"/>
                    <a:gd name="connsiteY14" fmla="*/ 1019208 h 1781208"/>
                    <a:gd name="connsiteX15" fmla="*/ 1147762 w 1367144"/>
                    <a:gd name="connsiteY15" fmla="*/ 1133508 h 1781208"/>
                    <a:gd name="connsiteX16" fmla="*/ 1143000 w 1367144"/>
                    <a:gd name="connsiteY16" fmla="*/ 1228758 h 1781208"/>
                    <a:gd name="connsiteX17" fmla="*/ 1157287 w 1367144"/>
                    <a:gd name="connsiteY17" fmla="*/ 1281146 h 1781208"/>
                    <a:gd name="connsiteX18" fmla="*/ 1195395 w 1367144"/>
                    <a:gd name="connsiteY18" fmla="*/ 1381153 h 1781208"/>
                    <a:gd name="connsiteX19" fmla="*/ 1357320 w 1367144"/>
                    <a:gd name="connsiteY19" fmla="*/ 1466878 h 1781208"/>
                    <a:gd name="connsiteX20" fmla="*/ 1352558 w 1367144"/>
                    <a:gd name="connsiteY20" fmla="*/ 1571653 h 1781208"/>
                    <a:gd name="connsiteX21" fmla="*/ 1338263 w 1367144"/>
                    <a:gd name="connsiteY21" fmla="*/ 1781208 h 1781208"/>
                    <a:gd name="connsiteX0" fmla="*/ 0 w 1367144"/>
                    <a:gd name="connsiteY0" fmla="*/ 161930 h 1781180"/>
                    <a:gd name="connsiteX1" fmla="*/ 109545 w 1367144"/>
                    <a:gd name="connsiteY1" fmla="*/ 100013 h 1781180"/>
                    <a:gd name="connsiteX2" fmla="*/ 519120 w 1367144"/>
                    <a:gd name="connsiteY2" fmla="*/ 0 h 1781180"/>
                    <a:gd name="connsiteX3" fmla="*/ 623887 w 1367144"/>
                    <a:gd name="connsiteY3" fmla="*/ 90493 h 1781180"/>
                    <a:gd name="connsiteX4" fmla="*/ 690562 w 1367144"/>
                    <a:gd name="connsiteY4" fmla="*/ 161930 h 1781180"/>
                    <a:gd name="connsiteX5" fmla="*/ 742950 w 1367144"/>
                    <a:gd name="connsiteY5" fmla="*/ 276230 h 1781180"/>
                    <a:gd name="connsiteX6" fmla="*/ 819150 w 1367144"/>
                    <a:gd name="connsiteY6" fmla="*/ 395293 h 1781180"/>
                    <a:gd name="connsiteX7" fmla="*/ 914400 w 1367144"/>
                    <a:gd name="connsiteY7" fmla="*/ 457205 h 1781180"/>
                    <a:gd name="connsiteX8" fmla="*/ 933450 w 1367144"/>
                    <a:gd name="connsiteY8" fmla="*/ 481018 h 1781180"/>
                    <a:gd name="connsiteX9" fmla="*/ 942975 w 1367144"/>
                    <a:gd name="connsiteY9" fmla="*/ 576268 h 1781180"/>
                    <a:gd name="connsiteX10" fmla="*/ 962025 w 1367144"/>
                    <a:gd name="connsiteY10" fmla="*/ 647706 h 1781180"/>
                    <a:gd name="connsiteX11" fmla="*/ 1033462 w 1367144"/>
                    <a:gd name="connsiteY11" fmla="*/ 781055 h 1781180"/>
                    <a:gd name="connsiteX12" fmla="*/ 1047750 w 1367144"/>
                    <a:gd name="connsiteY12" fmla="*/ 871543 h 1781180"/>
                    <a:gd name="connsiteX13" fmla="*/ 1071562 w 1367144"/>
                    <a:gd name="connsiteY13" fmla="*/ 952505 h 1781180"/>
                    <a:gd name="connsiteX14" fmla="*/ 1062037 w 1367144"/>
                    <a:gd name="connsiteY14" fmla="*/ 1019180 h 1781180"/>
                    <a:gd name="connsiteX15" fmla="*/ 1147762 w 1367144"/>
                    <a:gd name="connsiteY15" fmla="*/ 1133480 h 1781180"/>
                    <a:gd name="connsiteX16" fmla="*/ 1143000 w 1367144"/>
                    <a:gd name="connsiteY16" fmla="*/ 1228730 h 1781180"/>
                    <a:gd name="connsiteX17" fmla="*/ 1157287 w 1367144"/>
                    <a:gd name="connsiteY17" fmla="*/ 1281118 h 1781180"/>
                    <a:gd name="connsiteX18" fmla="*/ 1195395 w 1367144"/>
                    <a:gd name="connsiteY18" fmla="*/ 1381125 h 1781180"/>
                    <a:gd name="connsiteX19" fmla="*/ 1357320 w 1367144"/>
                    <a:gd name="connsiteY19" fmla="*/ 1466850 h 1781180"/>
                    <a:gd name="connsiteX20" fmla="*/ 1352558 w 1367144"/>
                    <a:gd name="connsiteY20" fmla="*/ 1571625 h 1781180"/>
                    <a:gd name="connsiteX21" fmla="*/ 1338263 w 1367144"/>
                    <a:gd name="connsiteY21" fmla="*/ 1781180 h 1781180"/>
                    <a:gd name="connsiteX0" fmla="*/ 0 w 1367144"/>
                    <a:gd name="connsiteY0" fmla="*/ 176217 h 1795467"/>
                    <a:gd name="connsiteX1" fmla="*/ 109545 w 1367144"/>
                    <a:gd name="connsiteY1" fmla="*/ 114300 h 1795467"/>
                    <a:gd name="connsiteX2" fmla="*/ 528645 w 1367144"/>
                    <a:gd name="connsiteY2" fmla="*/ 0 h 1795467"/>
                    <a:gd name="connsiteX3" fmla="*/ 623887 w 1367144"/>
                    <a:gd name="connsiteY3" fmla="*/ 104780 h 1795467"/>
                    <a:gd name="connsiteX4" fmla="*/ 690562 w 1367144"/>
                    <a:gd name="connsiteY4" fmla="*/ 176217 h 1795467"/>
                    <a:gd name="connsiteX5" fmla="*/ 742950 w 1367144"/>
                    <a:gd name="connsiteY5" fmla="*/ 290517 h 1795467"/>
                    <a:gd name="connsiteX6" fmla="*/ 819150 w 1367144"/>
                    <a:gd name="connsiteY6" fmla="*/ 409580 h 1795467"/>
                    <a:gd name="connsiteX7" fmla="*/ 914400 w 1367144"/>
                    <a:gd name="connsiteY7" fmla="*/ 471492 h 1795467"/>
                    <a:gd name="connsiteX8" fmla="*/ 933450 w 1367144"/>
                    <a:gd name="connsiteY8" fmla="*/ 495305 h 1795467"/>
                    <a:gd name="connsiteX9" fmla="*/ 942975 w 1367144"/>
                    <a:gd name="connsiteY9" fmla="*/ 590555 h 1795467"/>
                    <a:gd name="connsiteX10" fmla="*/ 962025 w 1367144"/>
                    <a:gd name="connsiteY10" fmla="*/ 661993 h 1795467"/>
                    <a:gd name="connsiteX11" fmla="*/ 1033462 w 1367144"/>
                    <a:gd name="connsiteY11" fmla="*/ 795342 h 1795467"/>
                    <a:gd name="connsiteX12" fmla="*/ 1047750 w 1367144"/>
                    <a:gd name="connsiteY12" fmla="*/ 885830 h 1795467"/>
                    <a:gd name="connsiteX13" fmla="*/ 1071562 w 1367144"/>
                    <a:gd name="connsiteY13" fmla="*/ 966792 h 1795467"/>
                    <a:gd name="connsiteX14" fmla="*/ 1062037 w 1367144"/>
                    <a:gd name="connsiteY14" fmla="*/ 1033467 h 1795467"/>
                    <a:gd name="connsiteX15" fmla="*/ 1147762 w 1367144"/>
                    <a:gd name="connsiteY15" fmla="*/ 1147767 h 1795467"/>
                    <a:gd name="connsiteX16" fmla="*/ 1143000 w 1367144"/>
                    <a:gd name="connsiteY16" fmla="*/ 1243017 h 1795467"/>
                    <a:gd name="connsiteX17" fmla="*/ 1157287 w 1367144"/>
                    <a:gd name="connsiteY17" fmla="*/ 1295405 h 1795467"/>
                    <a:gd name="connsiteX18" fmla="*/ 1195395 w 1367144"/>
                    <a:gd name="connsiteY18" fmla="*/ 1395412 h 1795467"/>
                    <a:gd name="connsiteX19" fmla="*/ 1357320 w 1367144"/>
                    <a:gd name="connsiteY19" fmla="*/ 1481137 h 1795467"/>
                    <a:gd name="connsiteX20" fmla="*/ 1352558 w 1367144"/>
                    <a:gd name="connsiteY20" fmla="*/ 1585912 h 1795467"/>
                    <a:gd name="connsiteX21" fmla="*/ 1338263 w 1367144"/>
                    <a:gd name="connsiteY21" fmla="*/ 1795467 h 1795467"/>
                    <a:gd name="connsiteX0" fmla="*/ 0 w 1367144"/>
                    <a:gd name="connsiteY0" fmla="*/ 176217 h 1795467"/>
                    <a:gd name="connsiteX1" fmla="*/ 109545 w 1367144"/>
                    <a:gd name="connsiteY1" fmla="*/ 114300 h 1795467"/>
                    <a:gd name="connsiteX2" fmla="*/ 528645 w 1367144"/>
                    <a:gd name="connsiteY2" fmla="*/ 0 h 1795467"/>
                    <a:gd name="connsiteX3" fmla="*/ 623887 w 1367144"/>
                    <a:gd name="connsiteY3" fmla="*/ 104780 h 1795467"/>
                    <a:gd name="connsiteX4" fmla="*/ 690562 w 1367144"/>
                    <a:gd name="connsiteY4" fmla="*/ 176217 h 1795467"/>
                    <a:gd name="connsiteX5" fmla="*/ 742950 w 1367144"/>
                    <a:gd name="connsiteY5" fmla="*/ 290517 h 1795467"/>
                    <a:gd name="connsiteX6" fmla="*/ 819150 w 1367144"/>
                    <a:gd name="connsiteY6" fmla="*/ 409580 h 1795467"/>
                    <a:gd name="connsiteX7" fmla="*/ 914400 w 1367144"/>
                    <a:gd name="connsiteY7" fmla="*/ 471492 h 1795467"/>
                    <a:gd name="connsiteX8" fmla="*/ 933450 w 1367144"/>
                    <a:gd name="connsiteY8" fmla="*/ 495305 h 1795467"/>
                    <a:gd name="connsiteX9" fmla="*/ 942975 w 1367144"/>
                    <a:gd name="connsiteY9" fmla="*/ 590555 h 1795467"/>
                    <a:gd name="connsiteX10" fmla="*/ 962025 w 1367144"/>
                    <a:gd name="connsiteY10" fmla="*/ 661993 h 1795467"/>
                    <a:gd name="connsiteX11" fmla="*/ 1033462 w 1367144"/>
                    <a:gd name="connsiteY11" fmla="*/ 795342 h 1795467"/>
                    <a:gd name="connsiteX12" fmla="*/ 1047750 w 1367144"/>
                    <a:gd name="connsiteY12" fmla="*/ 885830 h 1795467"/>
                    <a:gd name="connsiteX13" fmla="*/ 1071562 w 1367144"/>
                    <a:gd name="connsiteY13" fmla="*/ 966792 h 1795467"/>
                    <a:gd name="connsiteX14" fmla="*/ 1062037 w 1367144"/>
                    <a:gd name="connsiteY14" fmla="*/ 1033467 h 1795467"/>
                    <a:gd name="connsiteX15" fmla="*/ 1147762 w 1367144"/>
                    <a:gd name="connsiteY15" fmla="*/ 1147767 h 1795467"/>
                    <a:gd name="connsiteX16" fmla="*/ 1143000 w 1367144"/>
                    <a:gd name="connsiteY16" fmla="*/ 1243017 h 1795467"/>
                    <a:gd name="connsiteX17" fmla="*/ 1157287 w 1367144"/>
                    <a:gd name="connsiteY17" fmla="*/ 1295405 h 1795467"/>
                    <a:gd name="connsiteX18" fmla="*/ 1195395 w 1367144"/>
                    <a:gd name="connsiteY18" fmla="*/ 1395412 h 1795467"/>
                    <a:gd name="connsiteX19" fmla="*/ 1357320 w 1367144"/>
                    <a:gd name="connsiteY19" fmla="*/ 1481137 h 1795467"/>
                    <a:gd name="connsiteX20" fmla="*/ 1352558 w 1367144"/>
                    <a:gd name="connsiteY20" fmla="*/ 1585912 h 1795467"/>
                    <a:gd name="connsiteX21" fmla="*/ 1338263 w 1367144"/>
                    <a:gd name="connsiteY21" fmla="*/ 1795467 h 1795467"/>
                    <a:gd name="connsiteX0" fmla="*/ 0 w 1367144"/>
                    <a:gd name="connsiteY0" fmla="*/ 176217 h 1795467"/>
                    <a:gd name="connsiteX1" fmla="*/ 109545 w 1367144"/>
                    <a:gd name="connsiteY1" fmla="*/ 114300 h 1795467"/>
                    <a:gd name="connsiteX2" fmla="*/ 528645 w 1367144"/>
                    <a:gd name="connsiteY2" fmla="*/ 0 h 1795467"/>
                    <a:gd name="connsiteX3" fmla="*/ 623887 w 1367144"/>
                    <a:gd name="connsiteY3" fmla="*/ 104780 h 1795467"/>
                    <a:gd name="connsiteX4" fmla="*/ 690562 w 1367144"/>
                    <a:gd name="connsiteY4" fmla="*/ 176217 h 1795467"/>
                    <a:gd name="connsiteX5" fmla="*/ 742950 w 1367144"/>
                    <a:gd name="connsiteY5" fmla="*/ 290517 h 1795467"/>
                    <a:gd name="connsiteX6" fmla="*/ 819150 w 1367144"/>
                    <a:gd name="connsiteY6" fmla="*/ 409580 h 1795467"/>
                    <a:gd name="connsiteX7" fmla="*/ 914400 w 1367144"/>
                    <a:gd name="connsiteY7" fmla="*/ 471492 h 1795467"/>
                    <a:gd name="connsiteX8" fmla="*/ 933450 w 1367144"/>
                    <a:gd name="connsiteY8" fmla="*/ 495305 h 1795467"/>
                    <a:gd name="connsiteX9" fmla="*/ 942975 w 1367144"/>
                    <a:gd name="connsiteY9" fmla="*/ 590555 h 1795467"/>
                    <a:gd name="connsiteX10" fmla="*/ 962025 w 1367144"/>
                    <a:gd name="connsiteY10" fmla="*/ 661993 h 1795467"/>
                    <a:gd name="connsiteX11" fmla="*/ 1033462 w 1367144"/>
                    <a:gd name="connsiteY11" fmla="*/ 795342 h 1795467"/>
                    <a:gd name="connsiteX12" fmla="*/ 1047750 w 1367144"/>
                    <a:gd name="connsiteY12" fmla="*/ 885830 h 1795467"/>
                    <a:gd name="connsiteX13" fmla="*/ 1071562 w 1367144"/>
                    <a:gd name="connsiteY13" fmla="*/ 966792 h 1795467"/>
                    <a:gd name="connsiteX14" fmla="*/ 1062037 w 1367144"/>
                    <a:gd name="connsiteY14" fmla="*/ 1033467 h 1795467"/>
                    <a:gd name="connsiteX15" fmla="*/ 1147762 w 1367144"/>
                    <a:gd name="connsiteY15" fmla="*/ 1147767 h 1795467"/>
                    <a:gd name="connsiteX16" fmla="*/ 1143000 w 1367144"/>
                    <a:gd name="connsiteY16" fmla="*/ 1243017 h 1795467"/>
                    <a:gd name="connsiteX17" fmla="*/ 1157287 w 1367144"/>
                    <a:gd name="connsiteY17" fmla="*/ 1295405 h 1795467"/>
                    <a:gd name="connsiteX18" fmla="*/ 1195395 w 1367144"/>
                    <a:gd name="connsiteY18" fmla="*/ 1395412 h 1795467"/>
                    <a:gd name="connsiteX19" fmla="*/ 1357320 w 1367144"/>
                    <a:gd name="connsiteY19" fmla="*/ 1481137 h 1795467"/>
                    <a:gd name="connsiteX20" fmla="*/ 1352558 w 1367144"/>
                    <a:gd name="connsiteY20" fmla="*/ 1585912 h 1795467"/>
                    <a:gd name="connsiteX21" fmla="*/ 1338263 w 1367144"/>
                    <a:gd name="connsiteY21" fmla="*/ 1795467 h 1795467"/>
                    <a:gd name="connsiteX0" fmla="*/ 0 w 1367144"/>
                    <a:gd name="connsiteY0" fmla="*/ 178123 h 1797373"/>
                    <a:gd name="connsiteX1" fmla="*/ 109545 w 1367144"/>
                    <a:gd name="connsiteY1" fmla="*/ 116206 h 1797373"/>
                    <a:gd name="connsiteX2" fmla="*/ 385770 w 1367144"/>
                    <a:gd name="connsiteY2" fmla="*/ 35244 h 1797373"/>
                    <a:gd name="connsiteX3" fmla="*/ 528645 w 1367144"/>
                    <a:gd name="connsiteY3" fmla="*/ 1906 h 1797373"/>
                    <a:gd name="connsiteX4" fmla="*/ 623887 w 1367144"/>
                    <a:gd name="connsiteY4" fmla="*/ 106686 h 1797373"/>
                    <a:gd name="connsiteX5" fmla="*/ 690562 w 1367144"/>
                    <a:gd name="connsiteY5" fmla="*/ 178123 h 1797373"/>
                    <a:gd name="connsiteX6" fmla="*/ 742950 w 1367144"/>
                    <a:gd name="connsiteY6" fmla="*/ 292423 h 1797373"/>
                    <a:gd name="connsiteX7" fmla="*/ 819150 w 1367144"/>
                    <a:gd name="connsiteY7" fmla="*/ 411486 h 1797373"/>
                    <a:gd name="connsiteX8" fmla="*/ 914400 w 1367144"/>
                    <a:gd name="connsiteY8" fmla="*/ 473398 h 1797373"/>
                    <a:gd name="connsiteX9" fmla="*/ 933450 w 1367144"/>
                    <a:gd name="connsiteY9" fmla="*/ 497211 h 1797373"/>
                    <a:gd name="connsiteX10" fmla="*/ 942975 w 1367144"/>
                    <a:gd name="connsiteY10" fmla="*/ 592461 h 1797373"/>
                    <a:gd name="connsiteX11" fmla="*/ 962025 w 1367144"/>
                    <a:gd name="connsiteY11" fmla="*/ 663899 h 1797373"/>
                    <a:gd name="connsiteX12" fmla="*/ 1033462 w 1367144"/>
                    <a:gd name="connsiteY12" fmla="*/ 797248 h 1797373"/>
                    <a:gd name="connsiteX13" fmla="*/ 1047750 w 1367144"/>
                    <a:gd name="connsiteY13" fmla="*/ 887736 h 1797373"/>
                    <a:gd name="connsiteX14" fmla="*/ 1071562 w 1367144"/>
                    <a:gd name="connsiteY14" fmla="*/ 968698 h 1797373"/>
                    <a:gd name="connsiteX15" fmla="*/ 1062037 w 1367144"/>
                    <a:gd name="connsiteY15" fmla="*/ 1035373 h 1797373"/>
                    <a:gd name="connsiteX16" fmla="*/ 1147762 w 1367144"/>
                    <a:gd name="connsiteY16" fmla="*/ 1149673 h 1797373"/>
                    <a:gd name="connsiteX17" fmla="*/ 1143000 w 1367144"/>
                    <a:gd name="connsiteY17" fmla="*/ 1244923 h 1797373"/>
                    <a:gd name="connsiteX18" fmla="*/ 1157287 w 1367144"/>
                    <a:gd name="connsiteY18" fmla="*/ 1297311 h 1797373"/>
                    <a:gd name="connsiteX19" fmla="*/ 1195395 w 1367144"/>
                    <a:gd name="connsiteY19" fmla="*/ 1397318 h 1797373"/>
                    <a:gd name="connsiteX20" fmla="*/ 1357320 w 1367144"/>
                    <a:gd name="connsiteY20" fmla="*/ 1483043 h 1797373"/>
                    <a:gd name="connsiteX21" fmla="*/ 1352558 w 1367144"/>
                    <a:gd name="connsiteY21" fmla="*/ 1587818 h 1797373"/>
                    <a:gd name="connsiteX22" fmla="*/ 1338263 w 1367144"/>
                    <a:gd name="connsiteY22" fmla="*/ 1797373 h 1797373"/>
                    <a:gd name="connsiteX0" fmla="*/ 0 w 1367144"/>
                    <a:gd name="connsiteY0" fmla="*/ 177306 h 1796556"/>
                    <a:gd name="connsiteX1" fmla="*/ 109545 w 1367144"/>
                    <a:gd name="connsiteY1" fmla="*/ 115389 h 1796556"/>
                    <a:gd name="connsiteX2" fmla="*/ 385770 w 1367144"/>
                    <a:gd name="connsiteY2" fmla="*/ 34427 h 1796556"/>
                    <a:gd name="connsiteX3" fmla="*/ 528645 w 1367144"/>
                    <a:gd name="connsiteY3" fmla="*/ 1089 h 1796556"/>
                    <a:gd name="connsiteX4" fmla="*/ 623887 w 1367144"/>
                    <a:gd name="connsiteY4" fmla="*/ 105869 h 1796556"/>
                    <a:gd name="connsiteX5" fmla="*/ 690562 w 1367144"/>
                    <a:gd name="connsiteY5" fmla="*/ 177306 h 1796556"/>
                    <a:gd name="connsiteX6" fmla="*/ 742950 w 1367144"/>
                    <a:gd name="connsiteY6" fmla="*/ 291606 h 1796556"/>
                    <a:gd name="connsiteX7" fmla="*/ 819150 w 1367144"/>
                    <a:gd name="connsiteY7" fmla="*/ 410669 h 1796556"/>
                    <a:gd name="connsiteX8" fmla="*/ 914400 w 1367144"/>
                    <a:gd name="connsiteY8" fmla="*/ 472581 h 1796556"/>
                    <a:gd name="connsiteX9" fmla="*/ 933450 w 1367144"/>
                    <a:gd name="connsiteY9" fmla="*/ 496394 h 1796556"/>
                    <a:gd name="connsiteX10" fmla="*/ 942975 w 1367144"/>
                    <a:gd name="connsiteY10" fmla="*/ 591644 h 1796556"/>
                    <a:gd name="connsiteX11" fmla="*/ 962025 w 1367144"/>
                    <a:gd name="connsiteY11" fmla="*/ 663082 h 1796556"/>
                    <a:gd name="connsiteX12" fmla="*/ 1033462 w 1367144"/>
                    <a:gd name="connsiteY12" fmla="*/ 796431 h 1796556"/>
                    <a:gd name="connsiteX13" fmla="*/ 1047750 w 1367144"/>
                    <a:gd name="connsiteY13" fmla="*/ 886919 h 1796556"/>
                    <a:gd name="connsiteX14" fmla="*/ 1071562 w 1367144"/>
                    <a:gd name="connsiteY14" fmla="*/ 967881 h 1796556"/>
                    <a:gd name="connsiteX15" fmla="*/ 1062037 w 1367144"/>
                    <a:gd name="connsiteY15" fmla="*/ 1034556 h 1796556"/>
                    <a:gd name="connsiteX16" fmla="*/ 1147762 w 1367144"/>
                    <a:gd name="connsiteY16" fmla="*/ 1148856 h 1796556"/>
                    <a:gd name="connsiteX17" fmla="*/ 1143000 w 1367144"/>
                    <a:gd name="connsiteY17" fmla="*/ 1244106 h 1796556"/>
                    <a:gd name="connsiteX18" fmla="*/ 1157287 w 1367144"/>
                    <a:gd name="connsiteY18" fmla="*/ 1296494 h 1796556"/>
                    <a:gd name="connsiteX19" fmla="*/ 1195395 w 1367144"/>
                    <a:gd name="connsiteY19" fmla="*/ 1396501 h 1796556"/>
                    <a:gd name="connsiteX20" fmla="*/ 1357320 w 1367144"/>
                    <a:gd name="connsiteY20" fmla="*/ 1482226 h 1796556"/>
                    <a:gd name="connsiteX21" fmla="*/ 1352558 w 1367144"/>
                    <a:gd name="connsiteY21" fmla="*/ 1587001 h 1796556"/>
                    <a:gd name="connsiteX22" fmla="*/ 1338263 w 1367144"/>
                    <a:gd name="connsiteY22" fmla="*/ 1796556 h 1796556"/>
                    <a:gd name="connsiteX0" fmla="*/ 0 w 1367144"/>
                    <a:gd name="connsiteY0" fmla="*/ 177306 h 1796556"/>
                    <a:gd name="connsiteX1" fmla="*/ 109545 w 1367144"/>
                    <a:gd name="connsiteY1" fmla="*/ 115389 h 1796556"/>
                    <a:gd name="connsiteX2" fmla="*/ 328620 w 1367144"/>
                    <a:gd name="connsiteY2" fmla="*/ 72526 h 1796556"/>
                    <a:gd name="connsiteX3" fmla="*/ 385770 w 1367144"/>
                    <a:gd name="connsiteY3" fmla="*/ 34427 h 1796556"/>
                    <a:gd name="connsiteX4" fmla="*/ 528645 w 1367144"/>
                    <a:gd name="connsiteY4" fmla="*/ 1089 h 1796556"/>
                    <a:gd name="connsiteX5" fmla="*/ 623887 w 1367144"/>
                    <a:gd name="connsiteY5" fmla="*/ 105869 h 1796556"/>
                    <a:gd name="connsiteX6" fmla="*/ 690562 w 1367144"/>
                    <a:gd name="connsiteY6" fmla="*/ 177306 h 1796556"/>
                    <a:gd name="connsiteX7" fmla="*/ 742950 w 1367144"/>
                    <a:gd name="connsiteY7" fmla="*/ 291606 h 1796556"/>
                    <a:gd name="connsiteX8" fmla="*/ 819150 w 1367144"/>
                    <a:gd name="connsiteY8" fmla="*/ 410669 h 1796556"/>
                    <a:gd name="connsiteX9" fmla="*/ 914400 w 1367144"/>
                    <a:gd name="connsiteY9" fmla="*/ 472581 h 1796556"/>
                    <a:gd name="connsiteX10" fmla="*/ 933450 w 1367144"/>
                    <a:gd name="connsiteY10" fmla="*/ 496394 h 1796556"/>
                    <a:gd name="connsiteX11" fmla="*/ 942975 w 1367144"/>
                    <a:gd name="connsiteY11" fmla="*/ 591644 h 1796556"/>
                    <a:gd name="connsiteX12" fmla="*/ 962025 w 1367144"/>
                    <a:gd name="connsiteY12" fmla="*/ 663082 h 1796556"/>
                    <a:gd name="connsiteX13" fmla="*/ 1033462 w 1367144"/>
                    <a:gd name="connsiteY13" fmla="*/ 796431 h 1796556"/>
                    <a:gd name="connsiteX14" fmla="*/ 1047750 w 1367144"/>
                    <a:gd name="connsiteY14" fmla="*/ 886919 h 1796556"/>
                    <a:gd name="connsiteX15" fmla="*/ 1071562 w 1367144"/>
                    <a:gd name="connsiteY15" fmla="*/ 967881 h 1796556"/>
                    <a:gd name="connsiteX16" fmla="*/ 1062037 w 1367144"/>
                    <a:gd name="connsiteY16" fmla="*/ 1034556 h 1796556"/>
                    <a:gd name="connsiteX17" fmla="*/ 1147762 w 1367144"/>
                    <a:gd name="connsiteY17" fmla="*/ 1148856 h 1796556"/>
                    <a:gd name="connsiteX18" fmla="*/ 1143000 w 1367144"/>
                    <a:gd name="connsiteY18" fmla="*/ 1244106 h 1796556"/>
                    <a:gd name="connsiteX19" fmla="*/ 1157287 w 1367144"/>
                    <a:gd name="connsiteY19" fmla="*/ 1296494 h 1796556"/>
                    <a:gd name="connsiteX20" fmla="*/ 1195395 w 1367144"/>
                    <a:gd name="connsiteY20" fmla="*/ 1396501 h 1796556"/>
                    <a:gd name="connsiteX21" fmla="*/ 1357320 w 1367144"/>
                    <a:gd name="connsiteY21" fmla="*/ 1482226 h 1796556"/>
                    <a:gd name="connsiteX22" fmla="*/ 1352558 w 1367144"/>
                    <a:gd name="connsiteY22" fmla="*/ 1587001 h 1796556"/>
                    <a:gd name="connsiteX23" fmla="*/ 1338263 w 1367144"/>
                    <a:gd name="connsiteY23" fmla="*/ 1796556 h 17965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367144" h="1796556">
                      <a:moveTo>
                        <a:pt x="0" y="177306"/>
                      </a:moveTo>
                      <a:cubicBezTo>
                        <a:pt x="18257" y="177305"/>
                        <a:pt x="5564" y="127295"/>
                        <a:pt x="109545" y="115389"/>
                      </a:cubicBezTo>
                      <a:cubicBezTo>
                        <a:pt x="155584" y="96338"/>
                        <a:pt x="282583" y="86020"/>
                        <a:pt x="328620" y="72526"/>
                      </a:cubicBezTo>
                      <a:cubicBezTo>
                        <a:pt x="374657" y="59032"/>
                        <a:pt x="343701" y="44746"/>
                        <a:pt x="385770" y="34427"/>
                      </a:cubicBezTo>
                      <a:cubicBezTo>
                        <a:pt x="455620" y="39190"/>
                        <a:pt x="488959" y="-7643"/>
                        <a:pt x="528645" y="1089"/>
                      </a:cubicBezTo>
                      <a:cubicBezTo>
                        <a:pt x="571506" y="42365"/>
                        <a:pt x="596901" y="76499"/>
                        <a:pt x="623887" y="105869"/>
                      </a:cubicBezTo>
                      <a:cubicBezTo>
                        <a:pt x="650873" y="135239"/>
                        <a:pt x="670718" y="146350"/>
                        <a:pt x="690562" y="177306"/>
                      </a:cubicBezTo>
                      <a:cubicBezTo>
                        <a:pt x="710406" y="208262"/>
                        <a:pt x="721519" y="252712"/>
                        <a:pt x="742950" y="291606"/>
                      </a:cubicBezTo>
                      <a:cubicBezTo>
                        <a:pt x="764381" y="330500"/>
                        <a:pt x="790575" y="380507"/>
                        <a:pt x="819150" y="410669"/>
                      </a:cubicBezTo>
                      <a:cubicBezTo>
                        <a:pt x="847725" y="440831"/>
                        <a:pt x="895350" y="458294"/>
                        <a:pt x="914400" y="472581"/>
                      </a:cubicBezTo>
                      <a:cubicBezTo>
                        <a:pt x="933450" y="486869"/>
                        <a:pt x="928688" y="476550"/>
                        <a:pt x="933450" y="496394"/>
                      </a:cubicBezTo>
                      <a:cubicBezTo>
                        <a:pt x="938212" y="516238"/>
                        <a:pt x="938213" y="563863"/>
                        <a:pt x="942975" y="591644"/>
                      </a:cubicBezTo>
                      <a:cubicBezTo>
                        <a:pt x="947738" y="619425"/>
                        <a:pt x="946944" y="628951"/>
                        <a:pt x="962025" y="663082"/>
                      </a:cubicBezTo>
                      <a:cubicBezTo>
                        <a:pt x="977106" y="697213"/>
                        <a:pt x="1019175" y="759125"/>
                        <a:pt x="1033462" y="796431"/>
                      </a:cubicBezTo>
                      <a:cubicBezTo>
                        <a:pt x="1047750" y="833737"/>
                        <a:pt x="1041400" y="858344"/>
                        <a:pt x="1047750" y="886919"/>
                      </a:cubicBezTo>
                      <a:cubicBezTo>
                        <a:pt x="1054100" y="915494"/>
                        <a:pt x="1069181" y="943275"/>
                        <a:pt x="1071562" y="967881"/>
                      </a:cubicBezTo>
                      <a:cubicBezTo>
                        <a:pt x="1073943" y="992487"/>
                        <a:pt x="1049337" y="1004394"/>
                        <a:pt x="1062037" y="1034556"/>
                      </a:cubicBezTo>
                      <a:cubicBezTo>
                        <a:pt x="1074737" y="1064719"/>
                        <a:pt x="1134268" y="1113931"/>
                        <a:pt x="1147762" y="1148856"/>
                      </a:cubicBezTo>
                      <a:cubicBezTo>
                        <a:pt x="1161256" y="1183781"/>
                        <a:pt x="1141413" y="1219500"/>
                        <a:pt x="1143000" y="1244106"/>
                      </a:cubicBezTo>
                      <a:cubicBezTo>
                        <a:pt x="1144587" y="1268712"/>
                        <a:pt x="1148555" y="1271095"/>
                        <a:pt x="1157287" y="1296494"/>
                      </a:cubicBezTo>
                      <a:cubicBezTo>
                        <a:pt x="1166020" y="1321893"/>
                        <a:pt x="1165231" y="1363958"/>
                        <a:pt x="1195395" y="1396501"/>
                      </a:cubicBezTo>
                      <a:cubicBezTo>
                        <a:pt x="1225559" y="1429044"/>
                        <a:pt x="1323189" y="1409994"/>
                        <a:pt x="1357320" y="1482226"/>
                      </a:cubicBezTo>
                      <a:cubicBezTo>
                        <a:pt x="1381926" y="1511595"/>
                        <a:pt x="1352559" y="1536200"/>
                        <a:pt x="1352558" y="1587001"/>
                      </a:cubicBezTo>
                      <a:cubicBezTo>
                        <a:pt x="1352557" y="1637802"/>
                        <a:pt x="1339058" y="1759249"/>
                        <a:pt x="1338263" y="1796556"/>
                      </a:cubicBezTo>
                    </a:path>
                  </a:pathLst>
                </a:custGeom>
                <a:noFill/>
                <a:ln w="15875" cmpd="sng">
                  <a:solidFill>
                    <a:srgbClr val="7030A0"/>
                  </a:solidFill>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41" name="Freeform 40"/>
                <p:cNvSpPr/>
                <p:nvPr/>
              </p:nvSpPr>
              <p:spPr>
                <a:xfrm>
                  <a:off x="2111028" y="4138369"/>
                  <a:ext cx="1711162" cy="179316"/>
                </a:xfrm>
                <a:custGeom>
                  <a:avLst/>
                  <a:gdLst>
                    <a:gd name="connsiteX0" fmla="*/ 0 w 971550"/>
                    <a:gd name="connsiteY0" fmla="*/ 95753 h 164448"/>
                    <a:gd name="connsiteX1" fmla="*/ 109538 w 971550"/>
                    <a:gd name="connsiteY1" fmla="*/ 14791 h 164448"/>
                    <a:gd name="connsiteX2" fmla="*/ 200025 w 971550"/>
                    <a:gd name="connsiteY2" fmla="*/ 33841 h 164448"/>
                    <a:gd name="connsiteX3" fmla="*/ 304800 w 971550"/>
                    <a:gd name="connsiteY3" fmla="*/ 503 h 164448"/>
                    <a:gd name="connsiteX4" fmla="*/ 390525 w 971550"/>
                    <a:gd name="connsiteY4" fmla="*/ 14791 h 164448"/>
                    <a:gd name="connsiteX5" fmla="*/ 466725 w 971550"/>
                    <a:gd name="connsiteY5" fmla="*/ 29078 h 164448"/>
                    <a:gd name="connsiteX6" fmla="*/ 557213 w 971550"/>
                    <a:gd name="connsiteY6" fmla="*/ 5266 h 164448"/>
                    <a:gd name="connsiteX7" fmla="*/ 628650 w 971550"/>
                    <a:gd name="connsiteY7" fmla="*/ 52891 h 164448"/>
                    <a:gd name="connsiteX8" fmla="*/ 700088 w 971550"/>
                    <a:gd name="connsiteY8" fmla="*/ 114803 h 164448"/>
                    <a:gd name="connsiteX9" fmla="*/ 757238 w 971550"/>
                    <a:gd name="connsiteY9" fmla="*/ 100516 h 164448"/>
                    <a:gd name="connsiteX10" fmla="*/ 871538 w 971550"/>
                    <a:gd name="connsiteY10" fmla="*/ 162428 h 164448"/>
                    <a:gd name="connsiteX11" fmla="*/ 971550 w 971550"/>
                    <a:gd name="connsiteY11" fmla="*/ 143378 h 164448"/>
                    <a:gd name="connsiteX0" fmla="*/ 0 w 3186113"/>
                    <a:gd name="connsiteY0" fmla="*/ 95753 h 334708"/>
                    <a:gd name="connsiteX1" fmla="*/ 109538 w 3186113"/>
                    <a:gd name="connsiteY1" fmla="*/ 14791 h 334708"/>
                    <a:gd name="connsiteX2" fmla="*/ 200025 w 3186113"/>
                    <a:gd name="connsiteY2" fmla="*/ 33841 h 334708"/>
                    <a:gd name="connsiteX3" fmla="*/ 304800 w 3186113"/>
                    <a:gd name="connsiteY3" fmla="*/ 503 h 334708"/>
                    <a:gd name="connsiteX4" fmla="*/ 390525 w 3186113"/>
                    <a:gd name="connsiteY4" fmla="*/ 14791 h 334708"/>
                    <a:gd name="connsiteX5" fmla="*/ 466725 w 3186113"/>
                    <a:gd name="connsiteY5" fmla="*/ 29078 h 334708"/>
                    <a:gd name="connsiteX6" fmla="*/ 557213 w 3186113"/>
                    <a:gd name="connsiteY6" fmla="*/ 5266 h 334708"/>
                    <a:gd name="connsiteX7" fmla="*/ 628650 w 3186113"/>
                    <a:gd name="connsiteY7" fmla="*/ 52891 h 334708"/>
                    <a:gd name="connsiteX8" fmla="*/ 700088 w 3186113"/>
                    <a:gd name="connsiteY8" fmla="*/ 114803 h 334708"/>
                    <a:gd name="connsiteX9" fmla="*/ 757238 w 3186113"/>
                    <a:gd name="connsiteY9" fmla="*/ 100516 h 334708"/>
                    <a:gd name="connsiteX10" fmla="*/ 871538 w 3186113"/>
                    <a:gd name="connsiteY10" fmla="*/ 162428 h 334708"/>
                    <a:gd name="connsiteX11" fmla="*/ 3186113 w 3186113"/>
                    <a:gd name="connsiteY11" fmla="*/ 333878 h 334708"/>
                    <a:gd name="connsiteX0" fmla="*/ 0 w 3188250"/>
                    <a:gd name="connsiteY0" fmla="*/ 95753 h 333878"/>
                    <a:gd name="connsiteX1" fmla="*/ 109538 w 3188250"/>
                    <a:gd name="connsiteY1" fmla="*/ 14791 h 333878"/>
                    <a:gd name="connsiteX2" fmla="*/ 200025 w 3188250"/>
                    <a:gd name="connsiteY2" fmla="*/ 33841 h 333878"/>
                    <a:gd name="connsiteX3" fmla="*/ 304800 w 3188250"/>
                    <a:gd name="connsiteY3" fmla="*/ 503 h 333878"/>
                    <a:gd name="connsiteX4" fmla="*/ 390525 w 3188250"/>
                    <a:gd name="connsiteY4" fmla="*/ 14791 h 333878"/>
                    <a:gd name="connsiteX5" fmla="*/ 466725 w 3188250"/>
                    <a:gd name="connsiteY5" fmla="*/ 29078 h 333878"/>
                    <a:gd name="connsiteX6" fmla="*/ 557213 w 3188250"/>
                    <a:gd name="connsiteY6" fmla="*/ 5266 h 333878"/>
                    <a:gd name="connsiteX7" fmla="*/ 628650 w 3188250"/>
                    <a:gd name="connsiteY7" fmla="*/ 52891 h 333878"/>
                    <a:gd name="connsiteX8" fmla="*/ 700088 w 3188250"/>
                    <a:gd name="connsiteY8" fmla="*/ 114803 h 333878"/>
                    <a:gd name="connsiteX9" fmla="*/ 757238 w 3188250"/>
                    <a:gd name="connsiteY9" fmla="*/ 100516 h 333878"/>
                    <a:gd name="connsiteX10" fmla="*/ 871538 w 3188250"/>
                    <a:gd name="connsiteY10" fmla="*/ 162428 h 333878"/>
                    <a:gd name="connsiteX11" fmla="*/ 2924175 w 3188250"/>
                    <a:gd name="connsiteY11" fmla="*/ 310066 h 333878"/>
                    <a:gd name="connsiteX12" fmla="*/ 3186113 w 3188250"/>
                    <a:gd name="connsiteY12" fmla="*/ 333878 h 333878"/>
                    <a:gd name="connsiteX0" fmla="*/ 0 w 3188250"/>
                    <a:gd name="connsiteY0" fmla="*/ 95753 h 333878"/>
                    <a:gd name="connsiteX1" fmla="*/ 109538 w 3188250"/>
                    <a:gd name="connsiteY1" fmla="*/ 14791 h 333878"/>
                    <a:gd name="connsiteX2" fmla="*/ 200025 w 3188250"/>
                    <a:gd name="connsiteY2" fmla="*/ 33841 h 333878"/>
                    <a:gd name="connsiteX3" fmla="*/ 304800 w 3188250"/>
                    <a:gd name="connsiteY3" fmla="*/ 503 h 333878"/>
                    <a:gd name="connsiteX4" fmla="*/ 390525 w 3188250"/>
                    <a:gd name="connsiteY4" fmla="*/ 14791 h 333878"/>
                    <a:gd name="connsiteX5" fmla="*/ 466725 w 3188250"/>
                    <a:gd name="connsiteY5" fmla="*/ 29078 h 333878"/>
                    <a:gd name="connsiteX6" fmla="*/ 557213 w 3188250"/>
                    <a:gd name="connsiteY6" fmla="*/ 5266 h 333878"/>
                    <a:gd name="connsiteX7" fmla="*/ 628650 w 3188250"/>
                    <a:gd name="connsiteY7" fmla="*/ 52891 h 333878"/>
                    <a:gd name="connsiteX8" fmla="*/ 700088 w 3188250"/>
                    <a:gd name="connsiteY8" fmla="*/ 114803 h 333878"/>
                    <a:gd name="connsiteX9" fmla="*/ 757238 w 3188250"/>
                    <a:gd name="connsiteY9" fmla="*/ 100516 h 333878"/>
                    <a:gd name="connsiteX10" fmla="*/ 871538 w 3188250"/>
                    <a:gd name="connsiteY10" fmla="*/ 162428 h 333878"/>
                    <a:gd name="connsiteX11" fmla="*/ 2600324 w 3188250"/>
                    <a:gd name="connsiteY11" fmla="*/ 281491 h 333878"/>
                    <a:gd name="connsiteX12" fmla="*/ 2924175 w 3188250"/>
                    <a:gd name="connsiteY12" fmla="*/ 310066 h 333878"/>
                    <a:gd name="connsiteX13" fmla="*/ 3186113 w 3188250"/>
                    <a:gd name="connsiteY13" fmla="*/ 333878 h 333878"/>
                    <a:gd name="connsiteX0" fmla="*/ 0 w 3188250"/>
                    <a:gd name="connsiteY0" fmla="*/ 95753 h 339608"/>
                    <a:gd name="connsiteX1" fmla="*/ 109538 w 3188250"/>
                    <a:gd name="connsiteY1" fmla="*/ 14791 h 339608"/>
                    <a:gd name="connsiteX2" fmla="*/ 200025 w 3188250"/>
                    <a:gd name="connsiteY2" fmla="*/ 33841 h 339608"/>
                    <a:gd name="connsiteX3" fmla="*/ 304800 w 3188250"/>
                    <a:gd name="connsiteY3" fmla="*/ 503 h 339608"/>
                    <a:gd name="connsiteX4" fmla="*/ 390525 w 3188250"/>
                    <a:gd name="connsiteY4" fmla="*/ 14791 h 339608"/>
                    <a:gd name="connsiteX5" fmla="*/ 466725 w 3188250"/>
                    <a:gd name="connsiteY5" fmla="*/ 29078 h 339608"/>
                    <a:gd name="connsiteX6" fmla="*/ 557213 w 3188250"/>
                    <a:gd name="connsiteY6" fmla="*/ 5266 h 339608"/>
                    <a:gd name="connsiteX7" fmla="*/ 628650 w 3188250"/>
                    <a:gd name="connsiteY7" fmla="*/ 52891 h 339608"/>
                    <a:gd name="connsiteX8" fmla="*/ 700088 w 3188250"/>
                    <a:gd name="connsiteY8" fmla="*/ 114803 h 339608"/>
                    <a:gd name="connsiteX9" fmla="*/ 757238 w 3188250"/>
                    <a:gd name="connsiteY9" fmla="*/ 100516 h 339608"/>
                    <a:gd name="connsiteX10" fmla="*/ 871538 w 3188250"/>
                    <a:gd name="connsiteY10" fmla="*/ 162428 h 339608"/>
                    <a:gd name="connsiteX11" fmla="*/ 2600324 w 3188250"/>
                    <a:gd name="connsiteY11" fmla="*/ 281491 h 339608"/>
                    <a:gd name="connsiteX12" fmla="*/ 2924175 w 3188250"/>
                    <a:gd name="connsiteY12" fmla="*/ 324353 h 339608"/>
                    <a:gd name="connsiteX13" fmla="*/ 3186113 w 3188250"/>
                    <a:gd name="connsiteY13" fmla="*/ 333878 h 339608"/>
                    <a:gd name="connsiteX0" fmla="*/ 0 w 3186113"/>
                    <a:gd name="connsiteY0" fmla="*/ 95753 h 333878"/>
                    <a:gd name="connsiteX1" fmla="*/ 109538 w 3186113"/>
                    <a:gd name="connsiteY1" fmla="*/ 14791 h 333878"/>
                    <a:gd name="connsiteX2" fmla="*/ 200025 w 3186113"/>
                    <a:gd name="connsiteY2" fmla="*/ 33841 h 333878"/>
                    <a:gd name="connsiteX3" fmla="*/ 304800 w 3186113"/>
                    <a:gd name="connsiteY3" fmla="*/ 503 h 333878"/>
                    <a:gd name="connsiteX4" fmla="*/ 390525 w 3186113"/>
                    <a:gd name="connsiteY4" fmla="*/ 14791 h 333878"/>
                    <a:gd name="connsiteX5" fmla="*/ 466725 w 3186113"/>
                    <a:gd name="connsiteY5" fmla="*/ 29078 h 333878"/>
                    <a:gd name="connsiteX6" fmla="*/ 557213 w 3186113"/>
                    <a:gd name="connsiteY6" fmla="*/ 5266 h 333878"/>
                    <a:gd name="connsiteX7" fmla="*/ 628650 w 3186113"/>
                    <a:gd name="connsiteY7" fmla="*/ 52891 h 333878"/>
                    <a:gd name="connsiteX8" fmla="*/ 700088 w 3186113"/>
                    <a:gd name="connsiteY8" fmla="*/ 114803 h 333878"/>
                    <a:gd name="connsiteX9" fmla="*/ 757238 w 3186113"/>
                    <a:gd name="connsiteY9" fmla="*/ 100516 h 333878"/>
                    <a:gd name="connsiteX10" fmla="*/ 871538 w 3186113"/>
                    <a:gd name="connsiteY10" fmla="*/ 162428 h 333878"/>
                    <a:gd name="connsiteX11" fmla="*/ 2600324 w 3186113"/>
                    <a:gd name="connsiteY11" fmla="*/ 281491 h 333878"/>
                    <a:gd name="connsiteX12" fmla="*/ 2924175 w 3186113"/>
                    <a:gd name="connsiteY12" fmla="*/ 324353 h 333878"/>
                    <a:gd name="connsiteX13" fmla="*/ 3186113 w 3186113"/>
                    <a:gd name="connsiteY13" fmla="*/ 333878 h 333878"/>
                    <a:gd name="connsiteX0" fmla="*/ 0 w 3186113"/>
                    <a:gd name="connsiteY0" fmla="*/ 95753 h 333878"/>
                    <a:gd name="connsiteX1" fmla="*/ 109538 w 3186113"/>
                    <a:gd name="connsiteY1" fmla="*/ 14791 h 333878"/>
                    <a:gd name="connsiteX2" fmla="*/ 200025 w 3186113"/>
                    <a:gd name="connsiteY2" fmla="*/ 33841 h 333878"/>
                    <a:gd name="connsiteX3" fmla="*/ 304800 w 3186113"/>
                    <a:gd name="connsiteY3" fmla="*/ 503 h 333878"/>
                    <a:gd name="connsiteX4" fmla="*/ 390525 w 3186113"/>
                    <a:gd name="connsiteY4" fmla="*/ 14791 h 333878"/>
                    <a:gd name="connsiteX5" fmla="*/ 466725 w 3186113"/>
                    <a:gd name="connsiteY5" fmla="*/ 29078 h 333878"/>
                    <a:gd name="connsiteX6" fmla="*/ 557213 w 3186113"/>
                    <a:gd name="connsiteY6" fmla="*/ 5266 h 333878"/>
                    <a:gd name="connsiteX7" fmla="*/ 628650 w 3186113"/>
                    <a:gd name="connsiteY7" fmla="*/ 52891 h 333878"/>
                    <a:gd name="connsiteX8" fmla="*/ 700088 w 3186113"/>
                    <a:gd name="connsiteY8" fmla="*/ 114803 h 333878"/>
                    <a:gd name="connsiteX9" fmla="*/ 757238 w 3186113"/>
                    <a:gd name="connsiteY9" fmla="*/ 100516 h 333878"/>
                    <a:gd name="connsiteX10" fmla="*/ 871538 w 3186113"/>
                    <a:gd name="connsiteY10" fmla="*/ 162428 h 333878"/>
                    <a:gd name="connsiteX11" fmla="*/ 2600324 w 3186113"/>
                    <a:gd name="connsiteY11" fmla="*/ 281491 h 333878"/>
                    <a:gd name="connsiteX12" fmla="*/ 2928938 w 3186113"/>
                    <a:gd name="connsiteY12" fmla="*/ 310066 h 333878"/>
                    <a:gd name="connsiteX13" fmla="*/ 3186113 w 3186113"/>
                    <a:gd name="connsiteY13" fmla="*/ 333878 h 333878"/>
                    <a:gd name="connsiteX0" fmla="*/ 0 w 3186113"/>
                    <a:gd name="connsiteY0" fmla="*/ 95753 h 333878"/>
                    <a:gd name="connsiteX1" fmla="*/ 109538 w 3186113"/>
                    <a:gd name="connsiteY1" fmla="*/ 14791 h 333878"/>
                    <a:gd name="connsiteX2" fmla="*/ 200025 w 3186113"/>
                    <a:gd name="connsiteY2" fmla="*/ 33841 h 333878"/>
                    <a:gd name="connsiteX3" fmla="*/ 304800 w 3186113"/>
                    <a:gd name="connsiteY3" fmla="*/ 503 h 333878"/>
                    <a:gd name="connsiteX4" fmla="*/ 390525 w 3186113"/>
                    <a:gd name="connsiteY4" fmla="*/ 14791 h 333878"/>
                    <a:gd name="connsiteX5" fmla="*/ 466725 w 3186113"/>
                    <a:gd name="connsiteY5" fmla="*/ 29078 h 333878"/>
                    <a:gd name="connsiteX6" fmla="*/ 557213 w 3186113"/>
                    <a:gd name="connsiteY6" fmla="*/ 5266 h 333878"/>
                    <a:gd name="connsiteX7" fmla="*/ 628650 w 3186113"/>
                    <a:gd name="connsiteY7" fmla="*/ 52891 h 333878"/>
                    <a:gd name="connsiteX8" fmla="*/ 700088 w 3186113"/>
                    <a:gd name="connsiteY8" fmla="*/ 114803 h 333878"/>
                    <a:gd name="connsiteX9" fmla="*/ 757238 w 3186113"/>
                    <a:gd name="connsiteY9" fmla="*/ 100516 h 333878"/>
                    <a:gd name="connsiteX10" fmla="*/ 871538 w 3186113"/>
                    <a:gd name="connsiteY10" fmla="*/ 162428 h 333878"/>
                    <a:gd name="connsiteX11" fmla="*/ 2600324 w 3186113"/>
                    <a:gd name="connsiteY11" fmla="*/ 281491 h 333878"/>
                    <a:gd name="connsiteX12" fmla="*/ 2928938 w 3186113"/>
                    <a:gd name="connsiteY12" fmla="*/ 310066 h 333878"/>
                    <a:gd name="connsiteX13" fmla="*/ 3186113 w 3186113"/>
                    <a:gd name="connsiteY13" fmla="*/ 333878 h 333878"/>
                    <a:gd name="connsiteX0" fmla="*/ 0 w 3186113"/>
                    <a:gd name="connsiteY0" fmla="*/ 95753 h 333878"/>
                    <a:gd name="connsiteX1" fmla="*/ 109538 w 3186113"/>
                    <a:gd name="connsiteY1" fmla="*/ 14791 h 333878"/>
                    <a:gd name="connsiteX2" fmla="*/ 200025 w 3186113"/>
                    <a:gd name="connsiteY2" fmla="*/ 33841 h 333878"/>
                    <a:gd name="connsiteX3" fmla="*/ 304800 w 3186113"/>
                    <a:gd name="connsiteY3" fmla="*/ 503 h 333878"/>
                    <a:gd name="connsiteX4" fmla="*/ 390525 w 3186113"/>
                    <a:gd name="connsiteY4" fmla="*/ 14791 h 333878"/>
                    <a:gd name="connsiteX5" fmla="*/ 466725 w 3186113"/>
                    <a:gd name="connsiteY5" fmla="*/ 29078 h 333878"/>
                    <a:gd name="connsiteX6" fmla="*/ 557213 w 3186113"/>
                    <a:gd name="connsiteY6" fmla="*/ 5266 h 333878"/>
                    <a:gd name="connsiteX7" fmla="*/ 628650 w 3186113"/>
                    <a:gd name="connsiteY7" fmla="*/ 52891 h 333878"/>
                    <a:gd name="connsiteX8" fmla="*/ 700088 w 3186113"/>
                    <a:gd name="connsiteY8" fmla="*/ 114803 h 333878"/>
                    <a:gd name="connsiteX9" fmla="*/ 757238 w 3186113"/>
                    <a:gd name="connsiteY9" fmla="*/ 100516 h 333878"/>
                    <a:gd name="connsiteX10" fmla="*/ 871538 w 3186113"/>
                    <a:gd name="connsiteY10" fmla="*/ 162428 h 333878"/>
                    <a:gd name="connsiteX11" fmla="*/ 2600324 w 3186113"/>
                    <a:gd name="connsiteY11" fmla="*/ 281491 h 333878"/>
                    <a:gd name="connsiteX12" fmla="*/ 2928938 w 3186113"/>
                    <a:gd name="connsiteY12" fmla="*/ 310066 h 333878"/>
                    <a:gd name="connsiteX13" fmla="*/ 3186113 w 3186113"/>
                    <a:gd name="connsiteY13" fmla="*/ 333878 h 333878"/>
                    <a:gd name="connsiteX0" fmla="*/ 0 w 3186113"/>
                    <a:gd name="connsiteY0" fmla="*/ 95753 h 333878"/>
                    <a:gd name="connsiteX1" fmla="*/ 109538 w 3186113"/>
                    <a:gd name="connsiteY1" fmla="*/ 14791 h 333878"/>
                    <a:gd name="connsiteX2" fmla="*/ 200025 w 3186113"/>
                    <a:gd name="connsiteY2" fmla="*/ 33841 h 333878"/>
                    <a:gd name="connsiteX3" fmla="*/ 304800 w 3186113"/>
                    <a:gd name="connsiteY3" fmla="*/ 503 h 333878"/>
                    <a:gd name="connsiteX4" fmla="*/ 390525 w 3186113"/>
                    <a:gd name="connsiteY4" fmla="*/ 14791 h 333878"/>
                    <a:gd name="connsiteX5" fmla="*/ 466725 w 3186113"/>
                    <a:gd name="connsiteY5" fmla="*/ 29078 h 333878"/>
                    <a:gd name="connsiteX6" fmla="*/ 557213 w 3186113"/>
                    <a:gd name="connsiteY6" fmla="*/ 5266 h 333878"/>
                    <a:gd name="connsiteX7" fmla="*/ 628650 w 3186113"/>
                    <a:gd name="connsiteY7" fmla="*/ 52891 h 333878"/>
                    <a:gd name="connsiteX8" fmla="*/ 700088 w 3186113"/>
                    <a:gd name="connsiteY8" fmla="*/ 114803 h 333878"/>
                    <a:gd name="connsiteX9" fmla="*/ 757238 w 3186113"/>
                    <a:gd name="connsiteY9" fmla="*/ 100516 h 333878"/>
                    <a:gd name="connsiteX10" fmla="*/ 871538 w 3186113"/>
                    <a:gd name="connsiteY10" fmla="*/ 162428 h 333878"/>
                    <a:gd name="connsiteX11" fmla="*/ 2600324 w 3186113"/>
                    <a:gd name="connsiteY11" fmla="*/ 281491 h 333878"/>
                    <a:gd name="connsiteX12" fmla="*/ 2928938 w 3186113"/>
                    <a:gd name="connsiteY12" fmla="*/ 310066 h 333878"/>
                    <a:gd name="connsiteX13" fmla="*/ 3186113 w 3186113"/>
                    <a:gd name="connsiteY13" fmla="*/ 333878 h 333878"/>
                    <a:gd name="connsiteX0" fmla="*/ 0 w 3186113"/>
                    <a:gd name="connsiteY0" fmla="*/ 95753 h 333878"/>
                    <a:gd name="connsiteX1" fmla="*/ 109538 w 3186113"/>
                    <a:gd name="connsiteY1" fmla="*/ 14791 h 333878"/>
                    <a:gd name="connsiteX2" fmla="*/ 200025 w 3186113"/>
                    <a:gd name="connsiteY2" fmla="*/ 33841 h 333878"/>
                    <a:gd name="connsiteX3" fmla="*/ 304800 w 3186113"/>
                    <a:gd name="connsiteY3" fmla="*/ 503 h 333878"/>
                    <a:gd name="connsiteX4" fmla="*/ 390525 w 3186113"/>
                    <a:gd name="connsiteY4" fmla="*/ 14791 h 333878"/>
                    <a:gd name="connsiteX5" fmla="*/ 466725 w 3186113"/>
                    <a:gd name="connsiteY5" fmla="*/ 29078 h 333878"/>
                    <a:gd name="connsiteX6" fmla="*/ 557213 w 3186113"/>
                    <a:gd name="connsiteY6" fmla="*/ 5266 h 333878"/>
                    <a:gd name="connsiteX7" fmla="*/ 628650 w 3186113"/>
                    <a:gd name="connsiteY7" fmla="*/ 52891 h 333878"/>
                    <a:gd name="connsiteX8" fmla="*/ 700088 w 3186113"/>
                    <a:gd name="connsiteY8" fmla="*/ 114803 h 333878"/>
                    <a:gd name="connsiteX9" fmla="*/ 757238 w 3186113"/>
                    <a:gd name="connsiteY9" fmla="*/ 100516 h 333878"/>
                    <a:gd name="connsiteX10" fmla="*/ 871538 w 3186113"/>
                    <a:gd name="connsiteY10" fmla="*/ 162428 h 333878"/>
                    <a:gd name="connsiteX11" fmla="*/ 2371725 w 3186113"/>
                    <a:gd name="connsiteY11" fmla="*/ 271966 h 333878"/>
                    <a:gd name="connsiteX12" fmla="*/ 2600324 w 3186113"/>
                    <a:gd name="connsiteY12" fmla="*/ 281491 h 333878"/>
                    <a:gd name="connsiteX13" fmla="*/ 2928938 w 3186113"/>
                    <a:gd name="connsiteY13" fmla="*/ 310066 h 333878"/>
                    <a:gd name="connsiteX14" fmla="*/ 3186113 w 3186113"/>
                    <a:gd name="connsiteY14" fmla="*/ 333878 h 333878"/>
                    <a:gd name="connsiteX0" fmla="*/ 0 w 3186113"/>
                    <a:gd name="connsiteY0" fmla="*/ 95753 h 333878"/>
                    <a:gd name="connsiteX1" fmla="*/ 109538 w 3186113"/>
                    <a:gd name="connsiteY1" fmla="*/ 14791 h 333878"/>
                    <a:gd name="connsiteX2" fmla="*/ 200025 w 3186113"/>
                    <a:gd name="connsiteY2" fmla="*/ 33841 h 333878"/>
                    <a:gd name="connsiteX3" fmla="*/ 304800 w 3186113"/>
                    <a:gd name="connsiteY3" fmla="*/ 503 h 333878"/>
                    <a:gd name="connsiteX4" fmla="*/ 390525 w 3186113"/>
                    <a:gd name="connsiteY4" fmla="*/ 14791 h 333878"/>
                    <a:gd name="connsiteX5" fmla="*/ 466725 w 3186113"/>
                    <a:gd name="connsiteY5" fmla="*/ 29078 h 333878"/>
                    <a:gd name="connsiteX6" fmla="*/ 557213 w 3186113"/>
                    <a:gd name="connsiteY6" fmla="*/ 5266 h 333878"/>
                    <a:gd name="connsiteX7" fmla="*/ 628650 w 3186113"/>
                    <a:gd name="connsiteY7" fmla="*/ 52891 h 333878"/>
                    <a:gd name="connsiteX8" fmla="*/ 700088 w 3186113"/>
                    <a:gd name="connsiteY8" fmla="*/ 114803 h 333878"/>
                    <a:gd name="connsiteX9" fmla="*/ 757238 w 3186113"/>
                    <a:gd name="connsiteY9" fmla="*/ 100516 h 333878"/>
                    <a:gd name="connsiteX10" fmla="*/ 871538 w 3186113"/>
                    <a:gd name="connsiteY10" fmla="*/ 162428 h 333878"/>
                    <a:gd name="connsiteX11" fmla="*/ 2371725 w 3186113"/>
                    <a:gd name="connsiteY11" fmla="*/ 271966 h 333878"/>
                    <a:gd name="connsiteX12" fmla="*/ 2600324 w 3186113"/>
                    <a:gd name="connsiteY12" fmla="*/ 281491 h 333878"/>
                    <a:gd name="connsiteX13" fmla="*/ 2928938 w 3186113"/>
                    <a:gd name="connsiteY13" fmla="*/ 310066 h 333878"/>
                    <a:gd name="connsiteX14" fmla="*/ 3186113 w 3186113"/>
                    <a:gd name="connsiteY14" fmla="*/ 333878 h 333878"/>
                    <a:gd name="connsiteX0" fmla="*/ 0 w 3186113"/>
                    <a:gd name="connsiteY0" fmla="*/ 95753 h 333878"/>
                    <a:gd name="connsiteX1" fmla="*/ 109538 w 3186113"/>
                    <a:gd name="connsiteY1" fmla="*/ 14791 h 333878"/>
                    <a:gd name="connsiteX2" fmla="*/ 200025 w 3186113"/>
                    <a:gd name="connsiteY2" fmla="*/ 33841 h 333878"/>
                    <a:gd name="connsiteX3" fmla="*/ 304800 w 3186113"/>
                    <a:gd name="connsiteY3" fmla="*/ 503 h 333878"/>
                    <a:gd name="connsiteX4" fmla="*/ 390525 w 3186113"/>
                    <a:gd name="connsiteY4" fmla="*/ 14791 h 333878"/>
                    <a:gd name="connsiteX5" fmla="*/ 466725 w 3186113"/>
                    <a:gd name="connsiteY5" fmla="*/ 29078 h 333878"/>
                    <a:gd name="connsiteX6" fmla="*/ 557213 w 3186113"/>
                    <a:gd name="connsiteY6" fmla="*/ 5266 h 333878"/>
                    <a:gd name="connsiteX7" fmla="*/ 628650 w 3186113"/>
                    <a:gd name="connsiteY7" fmla="*/ 52891 h 333878"/>
                    <a:gd name="connsiteX8" fmla="*/ 700088 w 3186113"/>
                    <a:gd name="connsiteY8" fmla="*/ 114803 h 333878"/>
                    <a:gd name="connsiteX9" fmla="*/ 757238 w 3186113"/>
                    <a:gd name="connsiteY9" fmla="*/ 100516 h 333878"/>
                    <a:gd name="connsiteX10" fmla="*/ 871538 w 3186113"/>
                    <a:gd name="connsiteY10" fmla="*/ 162428 h 333878"/>
                    <a:gd name="connsiteX11" fmla="*/ 2371725 w 3186113"/>
                    <a:gd name="connsiteY11" fmla="*/ 271966 h 333878"/>
                    <a:gd name="connsiteX12" fmla="*/ 2600324 w 3186113"/>
                    <a:gd name="connsiteY12" fmla="*/ 281491 h 333878"/>
                    <a:gd name="connsiteX13" fmla="*/ 2928938 w 3186113"/>
                    <a:gd name="connsiteY13" fmla="*/ 310066 h 333878"/>
                    <a:gd name="connsiteX14" fmla="*/ 3186113 w 3186113"/>
                    <a:gd name="connsiteY14" fmla="*/ 333878 h 333878"/>
                    <a:gd name="connsiteX0" fmla="*/ 0 w 3186113"/>
                    <a:gd name="connsiteY0" fmla="*/ 95753 h 333878"/>
                    <a:gd name="connsiteX1" fmla="*/ 109538 w 3186113"/>
                    <a:gd name="connsiteY1" fmla="*/ 14791 h 333878"/>
                    <a:gd name="connsiteX2" fmla="*/ 200025 w 3186113"/>
                    <a:gd name="connsiteY2" fmla="*/ 33841 h 333878"/>
                    <a:gd name="connsiteX3" fmla="*/ 304800 w 3186113"/>
                    <a:gd name="connsiteY3" fmla="*/ 503 h 333878"/>
                    <a:gd name="connsiteX4" fmla="*/ 390525 w 3186113"/>
                    <a:gd name="connsiteY4" fmla="*/ 14791 h 333878"/>
                    <a:gd name="connsiteX5" fmla="*/ 466725 w 3186113"/>
                    <a:gd name="connsiteY5" fmla="*/ 29078 h 333878"/>
                    <a:gd name="connsiteX6" fmla="*/ 557213 w 3186113"/>
                    <a:gd name="connsiteY6" fmla="*/ 5266 h 333878"/>
                    <a:gd name="connsiteX7" fmla="*/ 628650 w 3186113"/>
                    <a:gd name="connsiteY7" fmla="*/ 52891 h 333878"/>
                    <a:gd name="connsiteX8" fmla="*/ 700088 w 3186113"/>
                    <a:gd name="connsiteY8" fmla="*/ 114803 h 333878"/>
                    <a:gd name="connsiteX9" fmla="*/ 757238 w 3186113"/>
                    <a:gd name="connsiteY9" fmla="*/ 100516 h 333878"/>
                    <a:gd name="connsiteX10" fmla="*/ 871538 w 3186113"/>
                    <a:gd name="connsiteY10" fmla="*/ 162428 h 333878"/>
                    <a:gd name="connsiteX11" fmla="*/ 2128838 w 3186113"/>
                    <a:gd name="connsiteY11" fmla="*/ 219578 h 333878"/>
                    <a:gd name="connsiteX12" fmla="*/ 2371725 w 3186113"/>
                    <a:gd name="connsiteY12" fmla="*/ 271966 h 333878"/>
                    <a:gd name="connsiteX13" fmla="*/ 2600324 w 3186113"/>
                    <a:gd name="connsiteY13" fmla="*/ 281491 h 333878"/>
                    <a:gd name="connsiteX14" fmla="*/ 2928938 w 3186113"/>
                    <a:gd name="connsiteY14" fmla="*/ 310066 h 333878"/>
                    <a:gd name="connsiteX15" fmla="*/ 3186113 w 3186113"/>
                    <a:gd name="connsiteY15" fmla="*/ 333878 h 333878"/>
                    <a:gd name="connsiteX0" fmla="*/ 0 w 3186113"/>
                    <a:gd name="connsiteY0" fmla="*/ 95753 h 333878"/>
                    <a:gd name="connsiteX1" fmla="*/ 109538 w 3186113"/>
                    <a:gd name="connsiteY1" fmla="*/ 14791 h 333878"/>
                    <a:gd name="connsiteX2" fmla="*/ 200025 w 3186113"/>
                    <a:gd name="connsiteY2" fmla="*/ 33841 h 333878"/>
                    <a:gd name="connsiteX3" fmla="*/ 304800 w 3186113"/>
                    <a:gd name="connsiteY3" fmla="*/ 503 h 333878"/>
                    <a:gd name="connsiteX4" fmla="*/ 390525 w 3186113"/>
                    <a:gd name="connsiteY4" fmla="*/ 14791 h 333878"/>
                    <a:gd name="connsiteX5" fmla="*/ 466725 w 3186113"/>
                    <a:gd name="connsiteY5" fmla="*/ 29078 h 333878"/>
                    <a:gd name="connsiteX6" fmla="*/ 557213 w 3186113"/>
                    <a:gd name="connsiteY6" fmla="*/ 5266 h 333878"/>
                    <a:gd name="connsiteX7" fmla="*/ 628650 w 3186113"/>
                    <a:gd name="connsiteY7" fmla="*/ 52891 h 333878"/>
                    <a:gd name="connsiteX8" fmla="*/ 700088 w 3186113"/>
                    <a:gd name="connsiteY8" fmla="*/ 114803 h 333878"/>
                    <a:gd name="connsiteX9" fmla="*/ 757238 w 3186113"/>
                    <a:gd name="connsiteY9" fmla="*/ 100516 h 333878"/>
                    <a:gd name="connsiteX10" fmla="*/ 871538 w 3186113"/>
                    <a:gd name="connsiteY10" fmla="*/ 162428 h 333878"/>
                    <a:gd name="connsiteX11" fmla="*/ 2128838 w 3186113"/>
                    <a:gd name="connsiteY11" fmla="*/ 219578 h 333878"/>
                    <a:gd name="connsiteX12" fmla="*/ 2371725 w 3186113"/>
                    <a:gd name="connsiteY12" fmla="*/ 271966 h 333878"/>
                    <a:gd name="connsiteX13" fmla="*/ 2600324 w 3186113"/>
                    <a:gd name="connsiteY13" fmla="*/ 281491 h 333878"/>
                    <a:gd name="connsiteX14" fmla="*/ 2928938 w 3186113"/>
                    <a:gd name="connsiteY14" fmla="*/ 310066 h 333878"/>
                    <a:gd name="connsiteX15" fmla="*/ 3186113 w 3186113"/>
                    <a:gd name="connsiteY15" fmla="*/ 333878 h 333878"/>
                    <a:gd name="connsiteX0" fmla="*/ 0 w 3186113"/>
                    <a:gd name="connsiteY0" fmla="*/ 95753 h 333878"/>
                    <a:gd name="connsiteX1" fmla="*/ 109538 w 3186113"/>
                    <a:gd name="connsiteY1" fmla="*/ 14791 h 333878"/>
                    <a:gd name="connsiteX2" fmla="*/ 200025 w 3186113"/>
                    <a:gd name="connsiteY2" fmla="*/ 33841 h 333878"/>
                    <a:gd name="connsiteX3" fmla="*/ 304800 w 3186113"/>
                    <a:gd name="connsiteY3" fmla="*/ 503 h 333878"/>
                    <a:gd name="connsiteX4" fmla="*/ 390525 w 3186113"/>
                    <a:gd name="connsiteY4" fmla="*/ 14791 h 333878"/>
                    <a:gd name="connsiteX5" fmla="*/ 466725 w 3186113"/>
                    <a:gd name="connsiteY5" fmla="*/ 29078 h 333878"/>
                    <a:gd name="connsiteX6" fmla="*/ 557213 w 3186113"/>
                    <a:gd name="connsiteY6" fmla="*/ 5266 h 333878"/>
                    <a:gd name="connsiteX7" fmla="*/ 628650 w 3186113"/>
                    <a:gd name="connsiteY7" fmla="*/ 52891 h 333878"/>
                    <a:gd name="connsiteX8" fmla="*/ 700088 w 3186113"/>
                    <a:gd name="connsiteY8" fmla="*/ 114803 h 333878"/>
                    <a:gd name="connsiteX9" fmla="*/ 757238 w 3186113"/>
                    <a:gd name="connsiteY9" fmla="*/ 100516 h 333878"/>
                    <a:gd name="connsiteX10" fmla="*/ 871538 w 3186113"/>
                    <a:gd name="connsiteY10" fmla="*/ 162428 h 333878"/>
                    <a:gd name="connsiteX11" fmla="*/ 2128838 w 3186113"/>
                    <a:gd name="connsiteY11" fmla="*/ 219578 h 333878"/>
                    <a:gd name="connsiteX12" fmla="*/ 2371725 w 3186113"/>
                    <a:gd name="connsiteY12" fmla="*/ 271966 h 333878"/>
                    <a:gd name="connsiteX13" fmla="*/ 2600324 w 3186113"/>
                    <a:gd name="connsiteY13" fmla="*/ 281491 h 333878"/>
                    <a:gd name="connsiteX14" fmla="*/ 2928938 w 3186113"/>
                    <a:gd name="connsiteY14" fmla="*/ 310066 h 333878"/>
                    <a:gd name="connsiteX15" fmla="*/ 3186113 w 3186113"/>
                    <a:gd name="connsiteY15" fmla="*/ 333878 h 333878"/>
                    <a:gd name="connsiteX0" fmla="*/ 0 w 3186113"/>
                    <a:gd name="connsiteY0" fmla="*/ 95753 h 333878"/>
                    <a:gd name="connsiteX1" fmla="*/ 109538 w 3186113"/>
                    <a:gd name="connsiteY1" fmla="*/ 14791 h 333878"/>
                    <a:gd name="connsiteX2" fmla="*/ 200025 w 3186113"/>
                    <a:gd name="connsiteY2" fmla="*/ 33841 h 333878"/>
                    <a:gd name="connsiteX3" fmla="*/ 304800 w 3186113"/>
                    <a:gd name="connsiteY3" fmla="*/ 503 h 333878"/>
                    <a:gd name="connsiteX4" fmla="*/ 390525 w 3186113"/>
                    <a:gd name="connsiteY4" fmla="*/ 14791 h 333878"/>
                    <a:gd name="connsiteX5" fmla="*/ 466725 w 3186113"/>
                    <a:gd name="connsiteY5" fmla="*/ 29078 h 333878"/>
                    <a:gd name="connsiteX6" fmla="*/ 557213 w 3186113"/>
                    <a:gd name="connsiteY6" fmla="*/ 5266 h 333878"/>
                    <a:gd name="connsiteX7" fmla="*/ 628650 w 3186113"/>
                    <a:gd name="connsiteY7" fmla="*/ 52891 h 333878"/>
                    <a:gd name="connsiteX8" fmla="*/ 700088 w 3186113"/>
                    <a:gd name="connsiteY8" fmla="*/ 114803 h 333878"/>
                    <a:gd name="connsiteX9" fmla="*/ 757238 w 3186113"/>
                    <a:gd name="connsiteY9" fmla="*/ 100516 h 333878"/>
                    <a:gd name="connsiteX10" fmla="*/ 871538 w 3186113"/>
                    <a:gd name="connsiteY10" fmla="*/ 162428 h 333878"/>
                    <a:gd name="connsiteX11" fmla="*/ 2128838 w 3186113"/>
                    <a:gd name="connsiteY11" fmla="*/ 219578 h 333878"/>
                    <a:gd name="connsiteX12" fmla="*/ 2371725 w 3186113"/>
                    <a:gd name="connsiteY12" fmla="*/ 271966 h 333878"/>
                    <a:gd name="connsiteX13" fmla="*/ 2600324 w 3186113"/>
                    <a:gd name="connsiteY13" fmla="*/ 281491 h 333878"/>
                    <a:gd name="connsiteX14" fmla="*/ 2928938 w 3186113"/>
                    <a:gd name="connsiteY14" fmla="*/ 310066 h 333878"/>
                    <a:gd name="connsiteX15" fmla="*/ 3186113 w 3186113"/>
                    <a:gd name="connsiteY15" fmla="*/ 333878 h 333878"/>
                    <a:gd name="connsiteX0" fmla="*/ 0 w 3186113"/>
                    <a:gd name="connsiteY0" fmla="*/ 95753 h 333878"/>
                    <a:gd name="connsiteX1" fmla="*/ 109538 w 3186113"/>
                    <a:gd name="connsiteY1" fmla="*/ 14791 h 333878"/>
                    <a:gd name="connsiteX2" fmla="*/ 200025 w 3186113"/>
                    <a:gd name="connsiteY2" fmla="*/ 33841 h 333878"/>
                    <a:gd name="connsiteX3" fmla="*/ 304800 w 3186113"/>
                    <a:gd name="connsiteY3" fmla="*/ 503 h 333878"/>
                    <a:gd name="connsiteX4" fmla="*/ 390525 w 3186113"/>
                    <a:gd name="connsiteY4" fmla="*/ 14791 h 333878"/>
                    <a:gd name="connsiteX5" fmla="*/ 466725 w 3186113"/>
                    <a:gd name="connsiteY5" fmla="*/ 29078 h 333878"/>
                    <a:gd name="connsiteX6" fmla="*/ 557213 w 3186113"/>
                    <a:gd name="connsiteY6" fmla="*/ 5266 h 333878"/>
                    <a:gd name="connsiteX7" fmla="*/ 628650 w 3186113"/>
                    <a:gd name="connsiteY7" fmla="*/ 52891 h 333878"/>
                    <a:gd name="connsiteX8" fmla="*/ 700088 w 3186113"/>
                    <a:gd name="connsiteY8" fmla="*/ 114803 h 333878"/>
                    <a:gd name="connsiteX9" fmla="*/ 757238 w 3186113"/>
                    <a:gd name="connsiteY9" fmla="*/ 100516 h 333878"/>
                    <a:gd name="connsiteX10" fmla="*/ 871538 w 3186113"/>
                    <a:gd name="connsiteY10" fmla="*/ 162428 h 333878"/>
                    <a:gd name="connsiteX11" fmla="*/ 2000250 w 3186113"/>
                    <a:gd name="connsiteY11" fmla="*/ 238628 h 333878"/>
                    <a:gd name="connsiteX12" fmla="*/ 2128838 w 3186113"/>
                    <a:gd name="connsiteY12" fmla="*/ 219578 h 333878"/>
                    <a:gd name="connsiteX13" fmla="*/ 2371725 w 3186113"/>
                    <a:gd name="connsiteY13" fmla="*/ 271966 h 333878"/>
                    <a:gd name="connsiteX14" fmla="*/ 2600324 w 3186113"/>
                    <a:gd name="connsiteY14" fmla="*/ 281491 h 333878"/>
                    <a:gd name="connsiteX15" fmla="*/ 2928938 w 3186113"/>
                    <a:gd name="connsiteY15" fmla="*/ 310066 h 333878"/>
                    <a:gd name="connsiteX16" fmla="*/ 3186113 w 3186113"/>
                    <a:gd name="connsiteY16" fmla="*/ 333878 h 333878"/>
                    <a:gd name="connsiteX0" fmla="*/ 0 w 3186113"/>
                    <a:gd name="connsiteY0" fmla="*/ 95753 h 333878"/>
                    <a:gd name="connsiteX1" fmla="*/ 109538 w 3186113"/>
                    <a:gd name="connsiteY1" fmla="*/ 14791 h 333878"/>
                    <a:gd name="connsiteX2" fmla="*/ 200025 w 3186113"/>
                    <a:gd name="connsiteY2" fmla="*/ 33841 h 333878"/>
                    <a:gd name="connsiteX3" fmla="*/ 304800 w 3186113"/>
                    <a:gd name="connsiteY3" fmla="*/ 503 h 333878"/>
                    <a:gd name="connsiteX4" fmla="*/ 390525 w 3186113"/>
                    <a:gd name="connsiteY4" fmla="*/ 14791 h 333878"/>
                    <a:gd name="connsiteX5" fmla="*/ 466725 w 3186113"/>
                    <a:gd name="connsiteY5" fmla="*/ 29078 h 333878"/>
                    <a:gd name="connsiteX6" fmla="*/ 557213 w 3186113"/>
                    <a:gd name="connsiteY6" fmla="*/ 5266 h 333878"/>
                    <a:gd name="connsiteX7" fmla="*/ 628650 w 3186113"/>
                    <a:gd name="connsiteY7" fmla="*/ 52891 h 333878"/>
                    <a:gd name="connsiteX8" fmla="*/ 700088 w 3186113"/>
                    <a:gd name="connsiteY8" fmla="*/ 114803 h 333878"/>
                    <a:gd name="connsiteX9" fmla="*/ 757238 w 3186113"/>
                    <a:gd name="connsiteY9" fmla="*/ 100516 h 333878"/>
                    <a:gd name="connsiteX10" fmla="*/ 871538 w 3186113"/>
                    <a:gd name="connsiteY10" fmla="*/ 162428 h 333878"/>
                    <a:gd name="connsiteX11" fmla="*/ 2000250 w 3186113"/>
                    <a:gd name="connsiteY11" fmla="*/ 238628 h 333878"/>
                    <a:gd name="connsiteX12" fmla="*/ 2128838 w 3186113"/>
                    <a:gd name="connsiteY12" fmla="*/ 219578 h 333878"/>
                    <a:gd name="connsiteX13" fmla="*/ 2371725 w 3186113"/>
                    <a:gd name="connsiteY13" fmla="*/ 271966 h 333878"/>
                    <a:gd name="connsiteX14" fmla="*/ 2600324 w 3186113"/>
                    <a:gd name="connsiteY14" fmla="*/ 281491 h 333878"/>
                    <a:gd name="connsiteX15" fmla="*/ 2928938 w 3186113"/>
                    <a:gd name="connsiteY15" fmla="*/ 310066 h 333878"/>
                    <a:gd name="connsiteX16" fmla="*/ 3186113 w 3186113"/>
                    <a:gd name="connsiteY16" fmla="*/ 333878 h 333878"/>
                    <a:gd name="connsiteX0" fmla="*/ 0 w 3186113"/>
                    <a:gd name="connsiteY0" fmla="*/ 95753 h 333878"/>
                    <a:gd name="connsiteX1" fmla="*/ 109538 w 3186113"/>
                    <a:gd name="connsiteY1" fmla="*/ 14791 h 333878"/>
                    <a:gd name="connsiteX2" fmla="*/ 200025 w 3186113"/>
                    <a:gd name="connsiteY2" fmla="*/ 33841 h 333878"/>
                    <a:gd name="connsiteX3" fmla="*/ 304800 w 3186113"/>
                    <a:gd name="connsiteY3" fmla="*/ 503 h 333878"/>
                    <a:gd name="connsiteX4" fmla="*/ 390525 w 3186113"/>
                    <a:gd name="connsiteY4" fmla="*/ 14791 h 333878"/>
                    <a:gd name="connsiteX5" fmla="*/ 466725 w 3186113"/>
                    <a:gd name="connsiteY5" fmla="*/ 29078 h 333878"/>
                    <a:gd name="connsiteX6" fmla="*/ 557213 w 3186113"/>
                    <a:gd name="connsiteY6" fmla="*/ 5266 h 333878"/>
                    <a:gd name="connsiteX7" fmla="*/ 628650 w 3186113"/>
                    <a:gd name="connsiteY7" fmla="*/ 52891 h 333878"/>
                    <a:gd name="connsiteX8" fmla="*/ 700088 w 3186113"/>
                    <a:gd name="connsiteY8" fmla="*/ 114803 h 333878"/>
                    <a:gd name="connsiteX9" fmla="*/ 757238 w 3186113"/>
                    <a:gd name="connsiteY9" fmla="*/ 100516 h 333878"/>
                    <a:gd name="connsiteX10" fmla="*/ 871538 w 3186113"/>
                    <a:gd name="connsiteY10" fmla="*/ 162428 h 333878"/>
                    <a:gd name="connsiteX11" fmla="*/ 2000250 w 3186113"/>
                    <a:gd name="connsiteY11" fmla="*/ 238628 h 333878"/>
                    <a:gd name="connsiteX12" fmla="*/ 2128838 w 3186113"/>
                    <a:gd name="connsiteY12" fmla="*/ 219578 h 333878"/>
                    <a:gd name="connsiteX13" fmla="*/ 2371725 w 3186113"/>
                    <a:gd name="connsiteY13" fmla="*/ 271966 h 333878"/>
                    <a:gd name="connsiteX14" fmla="*/ 2600324 w 3186113"/>
                    <a:gd name="connsiteY14" fmla="*/ 281491 h 333878"/>
                    <a:gd name="connsiteX15" fmla="*/ 2928938 w 3186113"/>
                    <a:gd name="connsiteY15" fmla="*/ 310066 h 333878"/>
                    <a:gd name="connsiteX16" fmla="*/ 3186113 w 3186113"/>
                    <a:gd name="connsiteY16" fmla="*/ 333878 h 333878"/>
                    <a:gd name="connsiteX0" fmla="*/ 0 w 3186113"/>
                    <a:gd name="connsiteY0" fmla="*/ 95753 h 333878"/>
                    <a:gd name="connsiteX1" fmla="*/ 109538 w 3186113"/>
                    <a:gd name="connsiteY1" fmla="*/ 14791 h 333878"/>
                    <a:gd name="connsiteX2" fmla="*/ 200025 w 3186113"/>
                    <a:gd name="connsiteY2" fmla="*/ 33841 h 333878"/>
                    <a:gd name="connsiteX3" fmla="*/ 304800 w 3186113"/>
                    <a:gd name="connsiteY3" fmla="*/ 503 h 333878"/>
                    <a:gd name="connsiteX4" fmla="*/ 390525 w 3186113"/>
                    <a:gd name="connsiteY4" fmla="*/ 14791 h 333878"/>
                    <a:gd name="connsiteX5" fmla="*/ 466725 w 3186113"/>
                    <a:gd name="connsiteY5" fmla="*/ 29078 h 333878"/>
                    <a:gd name="connsiteX6" fmla="*/ 557213 w 3186113"/>
                    <a:gd name="connsiteY6" fmla="*/ 5266 h 333878"/>
                    <a:gd name="connsiteX7" fmla="*/ 628650 w 3186113"/>
                    <a:gd name="connsiteY7" fmla="*/ 52891 h 333878"/>
                    <a:gd name="connsiteX8" fmla="*/ 700088 w 3186113"/>
                    <a:gd name="connsiteY8" fmla="*/ 114803 h 333878"/>
                    <a:gd name="connsiteX9" fmla="*/ 757238 w 3186113"/>
                    <a:gd name="connsiteY9" fmla="*/ 100516 h 333878"/>
                    <a:gd name="connsiteX10" fmla="*/ 871538 w 3186113"/>
                    <a:gd name="connsiteY10" fmla="*/ 162428 h 333878"/>
                    <a:gd name="connsiteX11" fmla="*/ 1728788 w 3186113"/>
                    <a:gd name="connsiteY11" fmla="*/ 133853 h 333878"/>
                    <a:gd name="connsiteX12" fmla="*/ 2000250 w 3186113"/>
                    <a:gd name="connsiteY12" fmla="*/ 238628 h 333878"/>
                    <a:gd name="connsiteX13" fmla="*/ 2128838 w 3186113"/>
                    <a:gd name="connsiteY13" fmla="*/ 219578 h 333878"/>
                    <a:gd name="connsiteX14" fmla="*/ 2371725 w 3186113"/>
                    <a:gd name="connsiteY14" fmla="*/ 271966 h 333878"/>
                    <a:gd name="connsiteX15" fmla="*/ 2600324 w 3186113"/>
                    <a:gd name="connsiteY15" fmla="*/ 281491 h 333878"/>
                    <a:gd name="connsiteX16" fmla="*/ 2928938 w 3186113"/>
                    <a:gd name="connsiteY16" fmla="*/ 310066 h 333878"/>
                    <a:gd name="connsiteX17" fmla="*/ 3186113 w 3186113"/>
                    <a:gd name="connsiteY17" fmla="*/ 333878 h 333878"/>
                    <a:gd name="connsiteX0" fmla="*/ 0 w 3186113"/>
                    <a:gd name="connsiteY0" fmla="*/ 95753 h 333878"/>
                    <a:gd name="connsiteX1" fmla="*/ 109538 w 3186113"/>
                    <a:gd name="connsiteY1" fmla="*/ 14791 h 333878"/>
                    <a:gd name="connsiteX2" fmla="*/ 200025 w 3186113"/>
                    <a:gd name="connsiteY2" fmla="*/ 33841 h 333878"/>
                    <a:gd name="connsiteX3" fmla="*/ 304800 w 3186113"/>
                    <a:gd name="connsiteY3" fmla="*/ 503 h 333878"/>
                    <a:gd name="connsiteX4" fmla="*/ 390525 w 3186113"/>
                    <a:gd name="connsiteY4" fmla="*/ 14791 h 333878"/>
                    <a:gd name="connsiteX5" fmla="*/ 466725 w 3186113"/>
                    <a:gd name="connsiteY5" fmla="*/ 29078 h 333878"/>
                    <a:gd name="connsiteX6" fmla="*/ 557213 w 3186113"/>
                    <a:gd name="connsiteY6" fmla="*/ 5266 h 333878"/>
                    <a:gd name="connsiteX7" fmla="*/ 628650 w 3186113"/>
                    <a:gd name="connsiteY7" fmla="*/ 52891 h 333878"/>
                    <a:gd name="connsiteX8" fmla="*/ 700088 w 3186113"/>
                    <a:gd name="connsiteY8" fmla="*/ 114803 h 333878"/>
                    <a:gd name="connsiteX9" fmla="*/ 757238 w 3186113"/>
                    <a:gd name="connsiteY9" fmla="*/ 100516 h 333878"/>
                    <a:gd name="connsiteX10" fmla="*/ 871538 w 3186113"/>
                    <a:gd name="connsiteY10" fmla="*/ 162428 h 333878"/>
                    <a:gd name="connsiteX11" fmla="*/ 1728788 w 3186113"/>
                    <a:gd name="connsiteY11" fmla="*/ 133853 h 333878"/>
                    <a:gd name="connsiteX12" fmla="*/ 2000250 w 3186113"/>
                    <a:gd name="connsiteY12" fmla="*/ 238628 h 333878"/>
                    <a:gd name="connsiteX13" fmla="*/ 2128838 w 3186113"/>
                    <a:gd name="connsiteY13" fmla="*/ 219578 h 333878"/>
                    <a:gd name="connsiteX14" fmla="*/ 2371725 w 3186113"/>
                    <a:gd name="connsiteY14" fmla="*/ 271966 h 333878"/>
                    <a:gd name="connsiteX15" fmla="*/ 2600324 w 3186113"/>
                    <a:gd name="connsiteY15" fmla="*/ 281491 h 333878"/>
                    <a:gd name="connsiteX16" fmla="*/ 2928938 w 3186113"/>
                    <a:gd name="connsiteY16" fmla="*/ 310066 h 333878"/>
                    <a:gd name="connsiteX17" fmla="*/ 3186113 w 3186113"/>
                    <a:gd name="connsiteY17" fmla="*/ 333878 h 333878"/>
                    <a:gd name="connsiteX0" fmla="*/ 0 w 3186113"/>
                    <a:gd name="connsiteY0" fmla="*/ 95753 h 333878"/>
                    <a:gd name="connsiteX1" fmla="*/ 109538 w 3186113"/>
                    <a:gd name="connsiteY1" fmla="*/ 14791 h 333878"/>
                    <a:gd name="connsiteX2" fmla="*/ 200025 w 3186113"/>
                    <a:gd name="connsiteY2" fmla="*/ 33841 h 333878"/>
                    <a:gd name="connsiteX3" fmla="*/ 304800 w 3186113"/>
                    <a:gd name="connsiteY3" fmla="*/ 503 h 333878"/>
                    <a:gd name="connsiteX4" fmla="*/ 390525 w 3186113"/>
                    <a:gd name="connsiteY4" fmla="*/ 14791 h 333878"/>
                    <a:gd name="connsiteX5" fmla="*/ 466725 w 3186113"/>
                    <a:gd name="connsiteY5" fmla="*/ 29078 h 333878"/>
                    <a:gd name="connsiteX6" fmla="*/ 557213 w 3186113"/>
                    <a:gd name="connsiteY6" fmla="*/ 5266 h 333878"/>
                    <a:gd name="connsiteX7" fmla="*/ 628650 w 3186113"/>
                    <a:gd name="connsiteY7" fmla="*/ 52891 h 333878"/>
                    <a:gd name="connsiteX8" fmla="*/ 700088 w 3186113"/>
                    <a:gd name="connsiteY8" fmla="*/ 114803 h 333878"/>
                    <a:gd name="connsiteX9" fmla="*/ 757238 w 3186113"/>
                    <a:gd name="connsiteY9" fmla="*/ 100516 h 333878"/>
                    <a:gd name="connsiteX10" fmla="*/ 871538 w 3186113"/>
                    <a:gd name="connsiteY10" fmla="*/ 162428 h 333878"/>
                    <a:gd name="connsiteX11" fmla="*/ 1728788 w 3186113"/>
                    <a:gd name="connsiteY11" fmla="*/ 133853 h 333878"/>
                    <a:gd name="connsiteX12" fmla="*/ 2000250 w 3186113"/>
                    <a:gd name="connsiteY12" fmla="*/ 238628 h 333878"/>
                    <a:gd name="connsiteX13" fmla="*/ 2128838 w 3186113"/>
                    <a:gd name="connsiteY13" fmla="*/ 219578 h 333878"/>
                    <a:gd name="connsiteX14" fmla="*/ 2371725 w 3186113"/>
                    <a:gd name="connsiteY14" fmla="*/ 271966 h 333878"/>
                    <a:gd name="connsiteX15" fmla="*/ 2600324 w 3186113"/>
                    <a:gd name="connsiteY15" fmla="*/ 281491 h 333878"/>
                    <a:gd name="connsiteX16" fmla="*/ 2928938 w 3186113"/>
                    <a:gd name="connsiteY16" fmla="*/ 310066 h 333878"/>
                    <a:gd name="connsiteX17" fmla="*/ 3186113 w 3186113"/>
                    <a:gd name="connsiteY17" fmla="*/ 333878 h 333878"/>
                    <a:gd name="connsiteX0" fmla="*/ 0 w 3186113"/>
                    <a:gd name="connsiteY0" fmla="*/ 95753 h 333878"/>
                    <a:gd name="connsiteX1" fmla="*/ 109538 w 3186113"/>
                    <a:gd name="connsiteY1" fmla="*/ 14791 h 333878"/>
                    <a:gd name="connsiteX2" fmla="*/ 200025 w 3186113"/>
                    <a:gd name="connsiteY2" fmla="*/ 33841 h 333878"/>
                    <a:gd name="connsiteX3" fmla="*/ 304800 w 3186113"/>
                    <a:gd name="connsiteY3" fmla="*/ 503 h 333878"/>
                    <a:gd name="connsiteX4" fmla="*/ 390525 w 3186113"/>
                    <a:gd name="connsiteY4" fmla="*/ 14791 h 333878"/>
                    <a:gd name="connsiteX5" fmla="*/ 466725 w 3186113"/>
                    <a:gd name="connsiteY5" fmla="*/ 29078 h 333878"/>
                    <a:gd name="connsiteX6" fmla="*/ 557213 w 3186113"/>
                    <a:gd name="connsiteY6" fmla="*/ 5266 h 333878"/>
                    <a:gd name="connsiteX7" fmla="*/ 628650 w 3186113"/>
                    <a:gd name="connsiteY7" fmla="*/ 52891 h 333878"/>
                    <a:gd name="connsiteX8" fmla="*/ 700088 w 3186113"/>
                    <a:gd name="connsiteY8" fmla="*/ 114803 h 333878"/>
                    <a:gd name="connsiteX9" fmla="*/ 757238 w 3186113"/>
                    <a:gd name="connsiteY9" fmla="*/ 100516 h 333878"/>
                    <a:gd name="connsiteX10" fmla="*/ 871538 w 3186113"/>
                    <a:gd name="connsiteY10" fmla="*/ 162428 h 333878"/>
                    <a:gd name="connsiteX11" fmla="*/ 1552575 w 3186113"/>
                    <a:gd name="connsiteY11" fmla="*/ 71941 h 333878"/>
                    <a:gd name="connsiteX12" fmla="*/ 1728788 w 3186113"/>
                    <a:gd name="connsiteY12" fmla="*/ 133853 h 333878"/>
                    <a:gd name="connsiteX13" fmla="*/ 2000250 w 3186113"/>
                    <a:gd name="connsiteY13" fmla="*/ 238628 h 333878"/>
                    <a:gd name="connsiteX14" fmla="*/ 2128838 w 3186113"/>
                    <a:gd name="connsiteY14" fmla="*/ 219578 h 333878"/>
                    <a:gd name="connsiteX15" fmla="*/ 2371725 w 3186113"/>
                    <a:gd name="connsiteY15" fmla="*/ 271966 h 333878"/>
                    <a:gd name="connsiteX16" fmla="*/ 2600324 w 3186113"/>
                    <a:gd name="connsiteY16" fmla="*/ 281491 h 333878"/>
                    <a:gd name="connsiteX17" fmla="*/ 2928938 w 3186113"/>
                    <a:gd name="connsiteY17" fmla="*/ 310066 h 333878"/>
                    <a:gd name="connsiteX18" fmla="*/ 3186113 w 3186113"/>
                    <a:gd name="connsiteY18" fmla="*/ 333878 h 333878"/>
                    <a:gd name="connsiteX0" fmla="*/ 0 w 3186113"/>
                    <a:gd name="connsiteY0" fmla="*/ 95753 h 333878"/>
                    <a:gd name="connsiteX1" fmla="*/ 109538 w 3186113"/>
                    <a:gd name="connsiteY1" fmla="*/ 14791 h 333878"/>
                    <a:gd name="connsiteX2" fmla="*/ 200025 w 3186113"/>
                    <a:gd name="connsiteY2" fmla="*/ 33841 h 333878"/>
                    <a:gd name="connsiteX3" fmla="*/ 304800 w 3186113"/>
                    <a:gd name="connsiteY3" fmla="*/ 503 h 333878"/>
                    <a:gd name="connsiteX4" fmla="*/ 390525 w 3186113"/>
                    <a:gd name="connsiteY4" fmla="*/ 14791 h 333878"/>
                    <a:gd name="connsiteX5" fmla="*/ 466725 w 3186113"/>
                    <a:gd name="connsiteY5" fmla="*/ 29078 h 333878"/>
                    <a:gd name="connsiteX6" fmla="*/ 557213 w 3186113"/>
                    <a:gd name="connsiteY6" fmla="*/ 5266 h 333878"/>
                    <a:gd name="connsiteX7" fmla="*/ 628650 w 3186113"/>
                    <a:gd name="connsiteY7" fmla="*/ 52891 h 333878"/>
                    <a:gd name="connsiteX8" fmla="*/ 700088 w 3186113"/>
                    <a:gd name="connsiteY8" fmla="*/ 114803 h 333878"/>
                    <a:gd name="connsiteX9" fmla="*/ 757238 w 3186113"/>
                    <a:gd name="connsiteY9" fmla="*/ 100516 h 333878"/>
                    <a:gd name="connsiteX10" fmla="*/ 871538 w 3186113"/>
                    <a:gd name="connsiteY10" fmla="*/ 162428 h 333878"/>
                    <a:gd name="connsiteX11" fmla="*/ 1552575 w 3186113"/>
                    <a:gd name="connsiteY11" fmla="*/ 71941 h 333878"/>
                    <a:gd name="connsiteX12" fmla="*/ 1728788 w 3186113"/>
                    <a:gd name="connsiteY12" fmla="*/ 133853 h 333878"/>
                    <a:gd name="connsiteX13" fmla="*/ 2000250 w 3186113"/>
                    <a:gd name="connsiteY13" fmla="*/ 238628 h 333878"/>
                    <a:gd name="connsiteX14" fmla="*/ 2128838 w 3186113"/>
                    <a:gd name="connsiteY14" fmla="*/ 219578 h 333878"/>
                    <a:gd name="connsiteX15" fmla="*/ 2371725 w 3186113"/>
                    <a:gd name="connsiteY15" fmla="*/ 271966 h 333878"/>
                    <a:gd name="connsiteX16" fmla="*/ 2600324 w 3186113"/>
                    <a:gd name="connsiteY16" fmla="*/ 281491 h 333878"/>
                    <a:gd name="connsiteX17" fmla="*/ 2928938 w 3186113"/>
                    <a:gd name="connsiteY17" fmla="*/ 310066 h 333878"/>
                    <a:gd name="connsiteX18" fmla="*/ 3186113 w 3186113"/>
                    <a:gd name="connsiteY18" fmla="*/ 333878 h 333878"/>
                    <a:gd name="connsiteX0" fmla="*/ 0 w 3186113"/>
                    <a:gd name="connsiteY0" fmla="*/ 95753 h 333878"/>
                    <a:gd name="connsiteX1" fmla="*/ 109538 w 3186113"/>
                    <a:gd name="connsiteY1" fmla="*/ 14791 h 333878"/>
                    <a:gd name="connsiteX2" fmla="*/ 200025 w 3186113"/>
                    <a:gd name="connsiteY2" fmla="*/ 33841 h 333878"/>
                    <a:gd name="connsiteX3" fmla="*/ 304800 w 3186113"/>
                    <a:gd name="connsiteY3" fmla="*/ 503 h 333878"/>
                    <a:gd name="connsiteX4" fmla="*/ 390525 w 3186113"/>
                    <a:gd name="connsiteY4" fmla="*/ 14791 h 333878"/>
                    <a:gd name="connsiteX5" fmla="*/ 466725 w 3186113"/>
                    <a:gd name="connsiteY5" fmla="*/ 29078 h 333878"/>
                    <a:gd name="connsiteX6" fmla="*/ 557213 w 3186113"/>
                    <a:gd name="connsiteY6" fmla="*/ 5266 h 333878"/>
                    <a:gd name="connsiteX7" fmla="*/ 628650 w 3186113"/>
                    <a:gd name="connsiteY7" fmla="*/ 52891 h 333878"/>
                    <a:gd name="connsiteX8" fmla="*/ 700088 w 3186113"/>
                    <a:gd name="connsiteY8" fmla="*/ 114803 h 333878"/>
                    <a:gd name="connsiteX9" fmla="*/ 757238 w 3186113"/>
                    <a:gd name="connsiteY9" fmla="*/ 100516 h 333878"/>
                    <a:gd name="connsiteX10" fmla="*/ 871538 w 3186113"/>
                    <a:gd name="connsiteY10" fmla="*/ 162428 h 333878"/>
                    <a:gd name="connsiteX11" fmla="*/ 1552575 w 3186113"/>
                    <a:gd name="connsiteY11" fmla="*/ 71941 h 333878"/>
                    <a:gd name="connsiteX12" fmla="*/ 1728788 w 3186113"/>
                    <a:gd name="connsiteY12" fmla="*/ 133853 h 333878"/>
                    <a:gd name="connsiteX13" fmla="*/ 2000250 w 3186113"/>
                    <a:gd name="connsiteY13" fmla="*/ 238628 h 333878"/>
                    <a:gd name="connsiteX14" fmla="*/ 2128838 w 3186113"/>
                    <a:gd name="connsiteY14" fmla="*/ 219578 h 333878"/>
                    <a:gd name="connsiteX15" fmla="*/ 2371725 w 3186113"/>
                    <a:gd name="connsiteY15" fmla="*/ 271966 h 333878"/>
                    <a:gd name="connsiteX16" fmla="*/ 2600324 w 3186113"/>
                    <a:gd name="connsiteY16" fmla="*/ 281491 h 333878"/>
                    <a:gd name="connsiteX17" fmla="*/ 2928938 w 3186113"/>
                    <a:gd name="connsiteY17" fmla="*/ 310066 h 333878"/>
                    <a:gd name="connsiteX18" fmla="*/ 3186113 w 3186113"/>
                    <a:gd name="connsiteY18" fmla="*/ 333878 h 333878"/>
                    <a:gd name="connsiteX0" fmla="*/ 0 w 3186113"/>
                    <a:gd name="connsiteY0" fmla="*/ 95753 h 333878"/>
                    <a:gd name="connsiteX1" fmla="*/ 109538 w 3186113"/>
                    <a:gd name="connsiteY1" fmla="*/ 14791 h 333878"/>
                    <a:gd name="connsiteX2" fmla="*/ 200025 w 3186113"/>
                    <a:gd name="connsiteY2" fmla="*/ 33841 h 333878"/>
                    <a:gd name="connsiteX3" fmla="*/ 304800 w 3186113"/>
                    <a:gd name="connsiteY3" fmla="*/ 503 h 333878"/>
                    <a:gd name="connsiteX4" fmla="*/ 390525 w 3186113"/>
                    <a:gd name="connsiteY4" fmla="*/ 14791 h 333878"/>
                    <a:gd name="connsiteX5" fmla="*/ 466725 w 3186113"/>
                    <a:gd name="connsiteY5" fmla="*/ 29078 h 333878"/>
                    <a:gd name="connsiteX6" fmla="*/ 557213 w 3186113"/>
                    <a:gd name="connsiteY6" fmla="*/ 5266 h 333878"/>
                    <a:gd name="connsiteX7" fmla="*/ 628650 w 3186113"/>
                    <a:gd name="connsiteY7" fmla="*/ 52891 h 333878"/>
                    <a:gd name="connsiteX8" fmla="*/ 700088 w 3186113"/>
                    <a:gd name="connsiteY8" fmla="*/ 114803 h 333878"/>
                    <a:gd name="connsiteX9" fmla="*/ 757238 w 3186113"/>
                    <a:gd name="connsiteY9" fmla="*/ 100516 h 333878"/>
                    <a:gd name="connsiteX10" fmla="*/ 871538 w 3186113"/>
                    <a:gd name="connsiteY10" fmla="*/ 162428 h 333878"/>
                    <a:gd name="connsiteX11" fmla="*/ 1223963 w 3186113"/>
                    <a:gd name="connsiteY11" fmla="*/ 62416 h 333878"/>
                    <a:gd name="connsiteX12" fmla="*/ 1552575 w 3186113"/>
                    <a:gd name="connsiteY12" fmla="*/ 71941 h 333878"/>
                    <a:gd name="connsiteX13" fmla="*/ 1728788 w 3186113"/>
                    <a:gd name="connsiteY13" fmla="*/ 133853 h 333878"/>
                    <a:gd name="connsiteX14" fmla="*/ 2000250 w 3186113"/>
                    <a:gd name="connsiteY14" fmla="*/ 238628 h 333878"/>
                    <a:gd name="connsiteX15" fmla="*/ 2128838 w 3186113"/>
                    <a:gd name="connsiteY15" fmla="*/ 219578 h 333878"/>
                    <a:gd name="connsiteX16" fmla="*/ 2371725 w 3186113"/>
                    <a:gd name="connsiteY16" fmla="*/ 271966 h 333878"/>
                    <a:gd name="connsiteX17" fmla="*/ 2600324 w 3186113"/>
                    <a:gd name="connsiteY17" fmla="*/ 281491 h 333878"/>
                    <a:gd name="connsiteX18" fmla="*/ 2928938 w 3186113"/>
                    <a:gd name="connsiteY18" fmla="*/ 310066 h 333878"/>
                    <a:gd name="connsiteX19" fmla="*/ 3186113 w 3186113"/>
                    <a:gd name="connsiteY19" fmla="*/ 333878 h 333878"/>
                    <a:gd name="connsiteX0" fmla="*/ 0 w 3186113"/>
                    <a:gd name="connsiteY0" fmla="*/ 95753 h 333878"/>
                    <a:gd name="connsiteX1" fmla="*/ 109538 w 3186113"/>
                    <a:gd name="connsiteY1" fmla="*/ 14791 h 333878"/>
                    <a:gd name="connsiteX2" fmla="*/ 200025 w 3186113"/>
                    <a:gd name="connsiteY2" fmla="*/ 33841 h 333878"/>
                    <a:gd name="connsiteX3" fmla="*/ 304800 w 3186113"/>
                    <a:gd name="connsiteY3" fmla="*/ 503 h 333878"/>
                    <a:gd name="connsiteX4" fmla="*/ 390525 w 3186113"/>
                    <a:gd name="connsiteY4" fmla="*/ 14791 h 333878"/>
                    <a:gd name="connsiteX5" fmla="*/ 466725 w 3186113"/>
                    <a:gd name="connsiteY5" fmla="*/ 29078 h 333878"/>
                    <a:gd name="connsiteX6" fmla="*/ 557213 w 3186113"/>
                    <a:gd name="connsiteY6" fmla="*/ 5266 h 333878"/>
                    <a:gd name="connsiteX7" fmla="*/ 628650 w 3186113"/>
                    <a:gd name="connsiteY7" fmla="*/ 52891 h 333878"/>
                    <a:gd name="connsiteX8" fmla="*/ 700088 w 3186113"/>
                    <a:gd name="connsiteY8" fmla="*/ 114803 h 333878"/>
                    <a:gd name="connsiteX9" fmla="*/ 757238 w 3186113"/>
                    <a:gd name="connsiteY9" fmla="*/ 100516 h 333878"/>
                    <a:gd name="connsiteX10" fmla="*/ 871538 w 3186113"/>
                    <a:gd name="connsiteY10" fmla="*/ 162428 h 333878"/>
                    <a:gd name="connsiteX11" fmla="*/ 1223963 w 3186113"/>
                    <a:gd name="connsiteY11" fmla="*/ 62416 h 333878"/>
                    <a:gd name="connsiteX12" fmla="*/ 1552575 w 3186113"/>
                    <a:gd name="connsiteY12" fmla="*/ 71941 h 333878"/>
                    <a:gd name="connsiteX13" fmla="*/ 1728788 w 3186113"/>
                    <a:gd name="connsiteY13" fmla="*/ 133853 h 333878"/>
                    <a:gd name="connsiteX14" fmla="*/ 2000250 w 3186113"/>
                    <a:gd name="connsiteY14" fmla="*/ 238628 h 333878"/>
                    <a:gd name="connsiteX15" fmla="*/ 2128838 w 3186113"/>
                    <a:gd name="connsiteY15" fmla="*/ 219578 h 333878"/>
                    <a:gd name="connsiteX16" fmla="*/ 2371725 w 3186113"/>
                    <a:gd name="connsiteY16" fmla="*/ 271966 h 333878"/>
                    <a:gd name="connsiteX17" fmla="*/ 2600324 w 3186113"/>
                    <a:gd name="connsiteY17" fmla="*/ 281491 h 333878"/>
                    <a:gd name="connsiteX18" fmla="*/ 2928938 w 3186113"/>
                    <a:gd name="connsiteY18" fmla="*/ 310066 h 333878"/>
                    <a:gd name="connsiteX19" fmla="*/ 3186113 w 3186113"/>
                    <a:gd name="connsiteY19" fmla="*/ 333878 h 3338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3186113" h="333878">
                      <a:moveTo>
                        <a:pt x="0" y="95753"/>
                      </a:moveTo>
                      <a:cubicBezTo>
                        <a:pt x="38100" y="60431"/>
                        <a:pt x="76201" y="25110"/>
                        <a:pt x="109538" y="14791"/>
                      </a:cubicBezTo>
                      <a:cubicBezTo>
                        <a:pt x="142875" y="4472"/>
                        <a:pt x="167481" y="36222"/>
                        <a:pt x="200025" y="33841"/>
                      </a:cubicBezTo>
                      <a:cubicBezTo>
                        <a:pt x="232569" y="31460"/>
                        <a:pt x="273050" y="3678"/>
                        <a:pt x="304800" y="503"/>
                      </a:cubicBezTo>
                      <a:cubicBezTo>
                        <a:pt x="336550" y="-2672"/>
                        <a:pt x="363538" y="10029"/>
                        <a:pt x="390525" y="14791"/>
                      </a:cubicBezTo>
                      <a:cubicBezTo>
                        <a:pt x="417512" y="19553"/>
                        <a:pt x="438944" y="30665"/>
                        <a:pt x="466725" y="29078"/>
                      </a:cubicBezTo>
                      <a:cubicBezTo>
                        <a:pt x="494506" y="27491"/>
                        <a:pt x="530226" y="1297"/>
                        <a:pt x="557213" y="5266"/>
                      </a:cubicBezTo>
                      <a:cubicBezTo>
                        <a:pt x="584201" y="9235"/>
                        <a:pt x="604838" y="34635"/>
                        <a:pt x="628650" y="52891"/>
                      </a:cubicBezTo>
                      <a:cubicBezTo>
                        <a:pt x="652463" y="71147"/>
                        <a:pt x="678657" y="106866"/>
                        <a:pt x="700088" y="114803"/>
                      </a:cubicBezTo>
                      <a:cubicBezTo>
                        <a:pt x="721519" y="122740"/>
                        <a:pt x="728663" y="92578"/>
                        <a:pt x="757238" y="100516"/>
                      </a:cubicBezTo>
                      <a:cubicBezTo>
                        <a:pt x="785813" y="108454"/>
                        <a:pt x="793751" y="168778"/>
                        <a:pt x="871538" y="162428"/>
                      </a:cubicBezTo>
                      <a:cubicBezTo>
                        <a:pt x="949325" y="156078"/>
                        <a:pt x="1110457" y="77497"/>
                        <a:pt x="1223963" y="62416"/>
                      </a:cubicBezTo>
                      <a:cubicBezTo>
                        <a:pt x="1342232" y="71148"/>
                        <a:pt x="1471613" y="68766"/>
                        <a:pt x="1552575" y="71941"/>
                      </a:cubicBezTo>
                      <a:cubicBezTo>
                        <a:pt x="1662113" y="110042"/>
                        <a:pt x="1654970" y="131472"/>
                        <a:pt x="1728788" y="133853"/>
                      </a:cubicBezTo>
                      <a:cubicBezTo>
                        <a:pt x="1797844" y="184653"/>
                        <a:pt x="1934369" y="239422"/>
                        <a:pt x="2000250" y="238628"/>
                      </a:cubicBezTo>
                      <a:cubicBezTo>
                        <a:pt x="2052638" y="224341"/>
                        <a:pt x="2058988" y="209259"/>
                        <a:pt x="2128838" y="219578"/>
                      </a:cubicBezTo>
                      <a:cubicBezTo>
                        <a:pt x="2207418" y="266409"/>
                        <a:pt x="2293144" y="267203"/>
                        <a:pt x="2371725" y="271966"/>
                      </a:cubicBezTo>
                      <a:cubicBezTo>
                        <a:pt x="2450306" y="282285"/>
                        <a:pt x="2504280" y="273554"/>
                        <a:pt x="2600324" y="281491"/>
                      </a:cubicBezTo>
                      <a:cubicBezTo>
                        <a:pt x="2794793" y="325147"/>
                        <a:pt x="2759869" y="339435"/>
                        <a:pt x="2928938" y="310066"/>
                      </a:cubicBezTo>
                      <a:cubicBezTo>
                        <a:pt x="2986088" y="300541"/>
                        <a:pt x="3147219" y="332291"/>
                        <a:pt x="3186113" y="333878"/>
                      </a:cubicBezTo>
                    </a:path>
                  </a:pathLst>
                </a:custGeom>
                <a:noFill/>
                <a:ln w="15875" cmpd="sng">
                  <a:solidFill>
                    <a:schemeClr val="tx2"/>
                  </a:solidFill>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42" name="Freeform 41"/>
                <p:cNvSpPr/>
                <p:nvPr/>
              </p:nvSpPr>
              <p:spPr>
                <a:xfrm>
                  <a:off x="2640491" y="4202584"/>
                  <a:ext cx="1176645" cy="1145890"/>
                </a:xfrm>
                <a:custGeom>
                  <a:avLst/>
                  <a:gdLst>
                    <a:gd name="connsiteX0" fmla="*/ 1700212 w 2190864"/>
                    <a:gd name="connsiteY0" fmla="*/ 2133600 h 2133600"/>
                    <a:gd name="connsiteX1" fmla="*/ 1824037 w 2190864"/>
                    <a:gd name="connsiteY1" fmla="*/ 2071687 h 2133600"/>
                    <a:gd name="connsiteX2" fmla="*/ 1871662 w 2190864"/>
                    <a:gd name="connsiteY2" fmla="*/ 1976437 h 2133600"/>
                    <a:gd name="connsiteX3" fmla="*/ 1971675 w 2190864"/>
                    <a:gd name="connsiteY3" fmla="*/ 1966912 h 2133600"/>
                    <a:gd name="connsiteX4" fmla="*/ 2043112 w 2190864"/>
                    <a:gd name="connsiteY4" fmla="*/ 1852612 h 2133600"/>
                    <a:gd name="connsiteX5" fmla="*/ 2152650 w 2190864"/>
                    <a:gd name="connsiteY5" fmla="*/ 1795462 h 2133600"/>
                    <a:gd name="connsiteX6" fmla="*/ 2190750 w 2190864"/>
                    <a:gd name="connsiteY6" fmla="*/ 1762125 h 2133600"/>
                    <a:gd name="connsiteX7" fmla="*/ 2143125 w 2190864"/>
                    <a:gd name="connsiteY7" fmla="*/ 1666875 h 2133600"/>
                    <a:gd name="connsiteX8" fmla="*/ 2038350 w 2190864"/>
                    <a:gd name="connsiteY8" fmla="*/ 1604962 h 2133600"/>
                    <a:gd name="connsiteX9" fmla="*/ 1962150 w 2190864"/>
                    <a:gd name="connsiteY9" fmla="*/ 1519237 h 2133600"/>
                    <a:gd name="connsiteX10" fmla="*/ 1895475 w 2190864"/>
                    <a:gd name="connsiteY10" fmla="*/ 1443037 h 2133600"/>
                    <a:gd name="connsiteX11" fmla="*/ 1747837 w 2190864"/>
                    <a:gd name="connsiteY11" fmla="*/ 1385887 h 2133600"/>
                    <a:gd name="connsiteX12" fmla="*/ 1666875 w 2190864"/>
                    <a:gd name="connsiteY12" fmla="*/ 1309687 h 2133600"/>
                    <a:gd name="connsiteX13" fmla="*/ 1514475 w 2190864"/>
                    <a:gd name="connsiteY13" fmla="*/ 1262062 h 2133600"/>
                    <a:gd name="connsiteX14" fmla="*/ 1443037 w 2190864"/>
                    <a:gd name="connsiteY14" fmla="*/ 1247775 h 2133600"/>
                    <a:gd name="connsiteX15" fmla="*/ 1390650 w 2190864"/>
                    <a:gd name="connsiteY15" fmla="*/ 1214437 h 2133600"/>
                    <a:gd name="connsiteX16" fmla="*/ 1366837 w 2190864"/>
                    <a:gd name="connsiteY16" fmla="*/ 1090612 h 2133600"/>
                    <a:gd name="connsiteX17" fmla="*/ 1309687 w 2190864"/>
                    <a:gd name="connsiteY17" fmla="*/ 1033462 h 2133600"/>
                    <a:gd name="connsiteX18" fmla="*/ 1252537 w 2190864"/>
                    <a:gd name="connsiteY18" fmla="*/ 1023937 h 2133600"/>
                    <a:gd name="connsiteX19" fmla="*/ 1185862 w 2190864"/>
                    <a:gd name="connsiteY19" fmla="*/ 1066800 h 2133600"/>
                    <a:gd name="connsiteX20" fmla="*/ 1157287 w 2190864"/>
                    <a:gd name="connsiteY20" fmla="*/ 1085850 h 2133600"/>
                    <a:gd name="connsiteX21" fmla="*/ 1119187 w 2190864"/>
                    <a:gd name="connsiteY21" fmla="*/ 1052512 h 2133600"/>
                    <a:gd name="connsiteX22" fmla="*/ 1133475 w 2190864"/>
                    <a:gd name="connsiteY22" fmla="*/ 990600 h 2133600"/>
                    <a:gd name="connsiteX23" fmla="*/ 1085850 w 2190864"/>
                    <a:gd name="connsiteY23" fmla="*/ 942975 h 2133600"/>
                    <a:gd name="connsiteX24" fmla="*/ 1085850 w 2190864"/>
                    <a:gd name="connsiteY24" fmla="*/ 914400 h 2133600"/>
                    <a:gd name="connsiteX25" fmla="*/ 1038225 w 2190864"/>
                    <a:gd name="connsiteY25" fmla="*/ 909637 h 2133600"/>
                    <a:gd name="connsiteX26" fmla="*/ 1014412 w 2190864"/>
                    <a:gd name="connsiteY26" fmla="*/ 862012 h 2133600"/>
                    <a:gd name="connsiteX27" fmla="*/ 962025 w 2190864"/>
                    <a:gd name="connsiteY27" fmla="*/ 847725 h 2133600"/>
                    <a:gd name="connsiteX28" fmla="*/ 895350 w 2190864"/>
                    <a:gd name="connsiteY28" fmla="*/ 762000 h 2133600"/>
                    <a:gd name="connsiteX29" fmla="*/ 847725 w 2190864"/>
                    <a:gd name="connsiteY29" fmla="*/ 671512 h 2133600"/>
                    <a:gd name="connsiteX30" fmla="*/ 776287 w 2190864"/>
                    <a:gd name="connsiteY30" fmla="*/ 619125 h 2133600"/>
                    <a:gd name="connsiteX31" fmla="*/ 704850 w 2190864"/>
                    <a:gd name="connsiteY31" fmla="*/ 561975 h 2133600"/>
                    <a:gd name="connsiteX32" fmla="*/ 628650 w 2190864"/>
                    <a:gd name="connsiteY32" fmla="*/ 561975 h 2133600"/>
                    <a:gd name="connsiteX33" fmla="*/ 576262 w 2190864"/>
                    <a:gd name="connsiteY33" fmla="*/ 514350 h 2133600"/>
                    <a:gd name="connsiteX34" fmla="*/ 533400 w 2190864"/>
                    <a:gd name="connsiteY34" fmla="*/ 514350 h 2133600"/>
                    <a:gd name="connsiteX35" fmla="*/ 476250 w 2190864"/>
                    <a:gd name="connsiteY35" fmla="*/ 490537 h 2133600"/>
                    <a:gd name="connsiteX36" fmla="*/ 328612 w 2190864"/>
                    <a:gd name="connsiteY36" fmla="*/ 500062 h 2133600"/>
                    <a:gd name="connsiteX37" fmla="*/ 280987 w 2190864"/>
                    <a:gd name="connsiteY37" fmla="*/ 419100 h 2133600"/>
                    <a:gd name="connsiteX38" fmla="*/ 223837 w 2190864"/>
                    <a:gd name="connsiteY38" fmla="*/ 361950 h 2133600"/>
                    <a:gd name="connsiteX39" fmla="*/ 214312 w 2190864"/>
                    <a:gd name="connsiteY39" fmla="*/ 257175 h 2133600"/>
                    <a:gd name="connsiteX40" fmla="*/ 223837 w 2190864"/>
                    <a:gd name="connsiteY40" fmla="*/ 152400 h 2133600"/>
                    <a:gd name="connsiteX41" fmla="*/ 157162 w 2190864"/>
                    <a:gd name="connsiteY41" fmla="*/ 100012 h 2133600"/>
                    <a:gd name="connsiteX42" fmla="*/ 114300 w 2190864"/>
                    <a:gd name="connsiteY42" fmla="*/ 80962 h 2133600"/>
                    <a:gd name="connsiteX43" fmla="*/ 80962 w 2190864"/>
                    <a:gd name="connsiteY43" fmla="*/ 42862 h 2133600"/>
                    <a:gd name="connsiteX44" fmla="*/ 42862 w 2190864"/>
                    <a:gd name="connsiteY44" fmla="*/ 42862 h 2133600"/>
                    <a:gd name="connsiteX45" fmla="*/ 0 w 2190864"/>
                    <a:gd name="connsiteY45" fmla="*/ 0 h 213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2190864" h="2133600">
                      <a:moveTo>
                        <a:pt x="1700212" y="2133600"/>
                      </a:moveTo>
                      <a:cubicBezTo>
                        <a:pt x="1747837" y="2115740"/>
                        <a:pt x="1795462" y="2097881"/>
                        <a:pt x="1824037" y="2071687"/>
                      </a:cubicBezTo>
                      <a:cubicBezTo>
                        <a:pt x="1852612" y="2045493"/>
                        <a:pt x="1847056" y="1993899"/>
                        <a:pt x="1871662" y="1976437"/>
                      </a:cubicBezTo>
                      <a:cubicBezTo>
                        <a:pt x="1896268" y="1958975"/>
                        <a:pt x="1943100" y="1987549"/>
                        <a:pt x="1971675" y="1966912"/>
                      </a:cubicBezTo>
                      <a:cubicBezTo>
                        <a:pt x="2000250" y="1946275"/>
                        <a:pt x="2012950" y="1881187"/>
                        <a:pt x="2043112" y="1852612"/>
                      </a:cubicBezTo>
                      <a:cubicBezTo>
                        <a:pt x="2073274" y="1824037"/>
                        <a:pt x="2128044" y="1810543"/>
                        <a:pt x="2152650" y="1795462"/>
                      </a:cubicBezTo>
                      <a:cubicBezTo>
                        <a:pt x="2177256" y="1780381"/>
                        <a:pt x="2192338" y="1783556"/>
                        <a:pt x="2190750" y="1762125"/>
                      </a:cubicBezTo>
                      <a:cubicBezTo>
                        <a:pt x="2189162" y="1740694"/>
                        <a:pt x="2168525" y="1693069"/>
                        <a:pt x="2143125" y="1666875"/>
                      </a:cubicBezTo>
                      <a:cubicBezTo>
                        <a:pt x="2117725" y="1640681"/>
                        <a:pt x="2068512" y="1629568"/>
                        <a:pt x="2038350" y="1604962"/>
                      </a:cubicBezTo>
                      <a:cubicBezTo>
                        <a:pt x="2008188" y="1580356"/>
                        <a:pt x="1962150" y="1519237"/>
                        <a:pt x="1962150" y="1519237"/>
                      </a:cubicBezTo>
                      <a:cubicBezTo>
                        <a:pt x="1938338" y="1492250"/>
                        <a:pt x="1931194" y="1465262"/>
                        <a:pt x="1895475" y="1443037"/>
                      </a:cubicBezTo>
                      <a:cubicBezTo>
                        <a:pt x="1859756" y="1420812"/>
                        <a:pt x="1785937" y="1408112"/>
                        <a:pt x="1747837" y="1385887"/>
                      </a:cubicBezTo>
                      <a:cubicBezTo>
                        <a:pt x="1709737" y="1363662"/>
                        <a:pt x="1705769" y="1330324"/>
                        <a:pt x="1666875" y="1309687"/>
                      </a:cubicBezTo>
                      <a:cubicBezTo>
                        <a:pt x="1627981" y="1289050"/>
                        <a:pt x="1551781" y="1272381"/>
                        <a:pt x="1514475" y="1262062"/>
                      </a:cubicBezTo>
                      <a:cubicBezTo>
                        <a:pt x="1477169" y="1251743"/>
                        <a:pt x="1463674" y="1255712"/>
                        <a:pt x="1443037" y="1247775"/>
                      </a:cubicBezTo>
                      <a:cubicBezTo>
                        <a:pt x="1422399" y="1239837"/>
                        <a:pt x="1403350" y="1240631"/>
                        <a:pt x="1390650" y="1214437"/>
                      </a:cubicBezTo>
                      <a:cubicBezTo>
                        <a:pt x="1377950" y="1188243"/>
                        <a:pt x="1380331" y="1120774"/>
                        <a:pt x="1366837" y="1090612"/>
                      </a:cubicBezTo>
                      <a:cubicBezTo>
                        <a:pt x="1353343" y="1060449"/>
                        <a:pt x="1328737" y="1044574"/>
                        <a:pt x="1309687" y="1033462"/>
                      </a:cubicBezTo>
                      <a:cubicBezTo>
                        <a:pt x="1290637" y="1022350"/>
                        <a:pt x="1273174" y="1018381"/>
                        <a:pt x="1252537" y="1023937"/>
                      </a:cubicBezTo>
                      <a:cubicBezTo>
                        <a:pt x="1231900" y="1029493"/>
                        <a:pt x="1201737" y="1056481"/>
                        <a:pt x="1185862" y="1066800"/>
                      </a:cubicBezTo>
                      <a:cubicBezTo>
                        <a:pt x="1169987" y="1077119"/>
                        <a:pt x="1168399" y="1088231"/>
                        <a:pt x="1157287" y="1085850"/>
                      </a:cubicBezTo>
                      <a:cubicBezTo>
                        <a:pt x="1146175" y="1083469"/>
                        <a:pt x="1123156" y="1068387"/>
                        <a:pt x="1119187" y="1052512"/>
                      </a:cubicBezTo>
                      <a:cubicBezTo>
                        <a:pt x="1115218" y="1036637"/>
                        <a:pt x="1139031" y="1008856"/>
                        <a:pt x="1133475" y="990600"/>
                      </a:cubicBezTo>
                      <a:cubicBezTo>
                        <a:pt x="1127919" y="972344"/>
                        <a:pt x="1093787" y="955675"/>
                        <a:pt x="1085850" y="942975"/>
                      </a:cubicBezTo>
                      <a:cubicBezTo>
                        <a:pt x="1077913" y="930275"/>
                        <a:pt x="1093787" y="919956"/>
                        <a:pt x="1085850" y="914400"/>
                      </a:cubicBezTo>
                      <a:cubicBezTo>
                        <a:pt x="1077912" y="908844"/>
                        <a:pt x="1050131" y="918368"/>
                        <a:pt x="1038225" y="909637"/>
                      </a:cubicBezTo>
                      <a:cubicBezTo>
                        <a:pt x="1026319" y="900906"/>
                        <a:pt x="1027112" y="872331"/>
                        <a:pt x="1014412" y="862012"/>
                      </a:cubicBezTo>
                      <a:cubicBezTo>
                        <a:pt x="1001712" y="851693"/>
                        <a:pt x="981869" y="864394"/>
                        <a:pt x="962025" y="847725"/>
                      </a:cubicBezTo>
                      <a:cubicBezTo>
                        <a:pt x="942181" y="831056"/>
                        <a:pt x="914400" y="791369"/>
                        <a:pt x="895350" y="762000"/>
                      </a:cubicBezTo>
                      <a:cubicBezTo>
                        <a:pt x="876300" y="732631"/>
                        <a:pt x="867569" y="695325"/>
                        <a:pt x="847725" y="671512"/>
                      </a:cubicBezTo>
                      <a:cubicBezTo>
                        <a:pt x="827881" y="647699"/>
                        <a:pt x="800099" y="637381"/>
                        <a:pt x="776287" y="619125"/>
                      </a:cubicBezTo>
                      <a:cubicBezTo>
                        <a:pt x="752474" y="600869"/>
                        <a:pt x="729456" y="571500"/>
                        <a:pt x="704850" y="561975"/>
                      </a:cubicBezTo>
                      <a:cubicBezTo>
                        <a:pt x="680244" y="552450"/>
                        <a:pt x="650081" y="569912"/>
                        <a:pt x="628650" y="561975"/>
                      </a:cubicBezTo>
                      <a:cubicBezTo>
                        <a:pt x="607219" y="554038"/>
                        <a:pt x="592137" y="522287"/>
                        <a:pt x="576262" y="514350"/>
                      </a:cubicBezTo>
                      <a:cubicBezTo>
                        <a:pt x="560387" y="506413"/>
                        <a:pt x="550069" y="518319"/>
                        <a:pt x="533400" y="514350"/>
                      </a:cubicBezTo>
                      <a:cubicBezTo>
                        <a:pt x="516731" y="510381"/>
                        <a:pt x="510381" y="492918"/>
                        <a:pt x="476250" y="490537"/>
                      </a:cubicBezTo>
                      <a:cubicBezTo>
                        <a:pt x="442119" y="488156"/>
                        <a:pt x="361156" y="511968"/>
                        <a:pt x="328612" y="500062"/>
                      </a:cubicBezTo>
                      <a:cubicBezTo>
                        <a:pt x="296068" y="488156"/>
                        <a:pt x="298450" y="442119"/>
                        <a:pt x="280987" y="419100"/>
                      </a:cubicBezTo>
                      <a:cubicBezTo>
                        <a:pt x="263524" y="396081"/>
                        <a:pt x="234949" y="388937"/>
                        <a:pt x="223837" y="361950"/>
                      </a:cubicBezTo>
                      <a:cubicBezTo>
                        <a:pt x="212725" y="334963"/>
                        <a:pt x="214312" y="292100"/>
                        <a:pt x="214312" y="257175"/>
                      </a:cubicBezTo>
                      <a:cubicBezTo>
                        <a:pt x="214312" y="222250"/>
                        <a:pt x="233362" y="178594"/>
                        <a:pt x="223837" y="152400"/>
                      </a:cubicBezTo>
                      <a:cubicBezTo>
                        <a:pt x="214312" y="126206"/>
                        <a:pt x="175418" y="111918"/>
                        <a:pt x="157162" y="100012"/>
                      </a:cubicBezTo>
                      <a:cubicBezTo>
                        <a:pt x="138906" y="88106"/>
                        <a:pt x="127000" y="90487"/>
                        <a:pt x="114300" y="80962"/>
                      </a:cubicBezTo>
                      <a:cubicBezTo>
                        <a:pt x="101600" y="71437"/>
                        <a:pt x="92868" y="49212"/>
                        <a:pt x="80962" y="42862"/>
                      </a:cubicBezTo>
                      <a:cubicBezTo>
                        <a:pt x="69056" y="36512"/>
                        <a:pt x="56356" y="50006"/>
                        <a:pt x="42862" y="42862"/>
                      </a:cubicBezTo>
                      <a:cubicBezTo>
                        <a:pt x="29368" y="35718"/>
                        <a:pt x="0" y="0"/>
                        <a:pt x="0" y="0"/>
                      </a:cubicBezTo>
                    </a:path>
                  </a:pathLst>
                </a:custGeom>
                <a:noFill/>
                <a:ln w="15875" cmpd="sng">
                  <a:solidFill>
                    <a:schemeClr val="accent3"/>
                  </a:solidFill>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44" name="Freeform 43"/>
                <p:cNvSpPr/>
                <p:nvPr/>
              </p:nvSpPr>
              <p:spPr>
                <a:xfrm>
                  <a:off x="3190415" y="4261413"/>
                  <a:ext cx="630922" cy="585734"/>
                </a:xfrm>
                <a:custGeom>
                  <a:avLst/>
                  <a:gdLst>
                    <a:gd name="connsiteX0" fmla="*/ 0 w 935743"/>
                    <a:gd name="connsiteY0" fmla="*/ 0 h 1509713"/>
                    <a:gd name="connsiteX1" fmla="*/ 66675 w 935743"/>
                    <a:gd name="connsiteY1" fmla="*/ 176213 h 1509713"/>
                    <a:gd name="connsiteX2" fmla="*/ 109538 w 935743"/>
                    <a:gd name="connsiteY2" fmla="*/ 238125 h 1509713"/>
                    <a:gd name="connsiteX3" fmla="*/ 119063 w 935743"/>
                    <a:gd name="connsiteY3" fmla="*/ 290513 h 1509713"/>
                    <a:gd name="connsiteX4" fmla="*/ 190500 w 935743"/>
                    <a:gd name="connsiteY4" fmla="*/ 371475 h 1509713"/>
                    <a:gd name="connsiteX5" fmla="*/ 400050 w 935743"/>
                    <a:gd name="connsiteY5" fmla="*/ 442913 h 1509713"/>
                    <a:gd name="connsiteX6" fmla="*/ 485775 w 935743"/>
                    <a:gd name="connsiteY6" fmla="*/ 442913 h 1509713"/>
                    <a:gd name="connsiteX7" fmla="*/ 623888 w 935743"/>
                    <a:gd name="connsiteY7" fmla="*/ 542925 h 1509713"/>
                    <a:gd name="connsiteX8" fmla="*/ 695325 w 935743"/>
                    <a:gd name="connsiteY8" fmla="*/ 647700 h 1509713"/>
                    <a:gd name="connsiteX9" fmla="*/ 919163 w 935743"/>
                    <a:gd name="connsiteY9" fmla="*/ 976313 h 1509713"/>
                    <a:gd name="connsiteX10" fmla="*/ 919163 w 935743"/>
                    <a:gd name="connsiteY10" fmla="*/ 971550 h 1509713"/>
                    <a:gd name="connsiteX11" fmla="*/ 400050 w 935743"/>
                    <a:gd name="connsiteY11" fmla="*/ 1509713 h 1509713"/>
                    <a:gd name="connsiteX0" fmla="*/ 0 w 931980"/>
                    <a:gd name="connsiteY0" fmla="*/ 0 h 1509713"/>
                    <a:gd name="connsiteX1" fmla="*/ 66675 w 931980"/>
                    <a:gd name="connsiteY1" fmla="*/ 176213 h 1509713"/>
                    <a:gd name="connsiteX2" fmla="*/ 109538 w 931980"/>
                    <a:gd name="connsiteY2" fmla="*/ 238125 h 1509713"/>
                    <a:gd name="connsiteX3" fmla="*/ 119063 w 931980"/>
                    <a:gd name="connsiteY3" fmla="*/ 290513 h 1509713"/>
                    <a:gd name="connsiteX4" fmla="*/ 190500 w 931980"/>
                    <a:gd name="connsiteY4" fmla="*/ 371475 h 1509713"/>
                    <a:gd name="connsiteX5" fmla="*/ 400050 w 931980"/>
                    <a:gd name="connsiteY5" fmla="*/ 442913 h 1509713"/>
                    <a:gd name="connsiteX6" fmla="*/ 485775 w 931980"/>
                    <a:gd name="connsiteY6" fmla="*/ 442913 h 1509713"/>
                    <a:gd name="connsiteX7" fmla="*/ 623888 w 931980"/>
                    <a:gd name="connsiteY7" fmla="*/ 542925 h 1509713"/>
                    <a:gd name="connsiteX8" fmla="*/ 695325 w 931980"/>
                    <a:gd name="connsiteY8" fmla="*/ 647700 h 1509713"/>
                    <a:gd name="connsiteX9" fmla="*/ 746125 w 931980"/>
                    <a:gd name="connsiteY9" fmla="*/ 857250 h 1509713"/>
                    <a:gd name="connsiteX10" fmla="*/ 919163 w 931980"/>
                    <a:gd name="connsiteY10" fmla="*/ 976313 h 1509713"/>
                    <a:gd name="connsiteX11" fmla="*/ 919163 w 931980"/>
                    <a:gd name="connsiteY11" fmla="*/ 971550 h 1509713"/>
                    <a:gd name="connsiteX12" fmla="*/ 400050 w 931980"/>
                    <a:gd name="connsiteY12" fmla="*/ 1509713 h 1509713"/>
                    <a:gd name="connsiteX0" fmla="*/ 0 w 931980"/>
                    <a:gd name="connsiteY0" fmla="*/ 0 h 1509713"/>
                    <a:gd name="connsiteX1" fmla="*/ 66675 w 931980"/>
                    <a:gd name="connsiteY1" fmla="*/ 176213 h 1509713"/>
                    <a:gd name="connsiteX2" fmla="*/ 109538 w 931980"/>
                    <a:gd name="connsiteY2" fmla="*/ 238125 h 1509713"/>
                    <a:gd name="connsiteX3" fmla="*/ 119063 w 931980"/>
                    <a:gd name="connsiteY3" fmla="*/ 290513 h 1509713"/>
                    <a:gd name="connsiteX4" fmla="*/ 190500 w 931980"/>
                    <a:gd name="connsiteY4" fmla="*/ 371475 h 1509713"/>
                    <a:gd name="connsiteX5" fmla="*/ 400050 w 931980"/>
                    <a:gd name="connsiteY5" fmla="*/ 442913 h 1509713"/>
                    <a:gd name="connsiteX6" fmla="*/ 485775 w 931980"/>
                    <a:gd name="connsiteY6" fmla="*/ 442913 h 1509713"/>
                    <a:gd name="connsiteX7" fmla="*/ 623888 w 931980"/>
                    <a:gd name="connsiteY7" fmla="*/ 542925 h 1509713"/>
                    <a:gd name="connsiteX8" fmla="*/ 695325 w 931980"/>
                    <a:gd name="connsiteY8" fmla="*/ 647700 h 1509713"/>
                    <a:gd name="connsiteX9" fmla="*/ 746125 w 931980"/>
                    <a:gd name="connsiteY9" fmla="*/ 857250 h 1509713"/>
                    <a:gd name="connsiteX10" fmla="*/ 919163 w 931980"/>
                    <a:gd name="connsiteY10" fmla="*/ 976313 h 1509713"/>
                    <a:gd name="connsiteX11" fmla="*/ 919163 w 931980"/>
                    <a:gd name="connsiteY11" fmla="*/ 971550 h 1509713"/>
                    <a:gd name="connsiteX12" fmla="*/ 400050 w 931980"/>
                    <a:gd name="connsiteY12" fmla="*/ 1509713 h 1509713"/>
                    <a:gd name="connsiteX0" fmla="*/ 0 w 1174750"/>
                    <a:gd name="connsiteY0" fmla="*/ 0 h 1090613"/>
                    <a:gd name="connsiteX1" fmla="*/ 66675 w 1174750"/>
                    <a:gd name="connsiteY1" fmla="*/ 176213 h 1090613"/>
                    <a:gd name="connsiteX2" fmla="*/ 109538 w 1174750"/>
                    <a:gd name="connsiteY2" fmla="*/ 238125 h 1090613"/>
                    <a:gd name="connsiteX3" fmla="*/ 119063 w 1174750"/>
                    <a:gd name="connsiteY3" fmla="*/ 290513 h 1090613"/>
                    <a:gd name="connsiteX4" fmla="*/ 190500 w 1174750"/>
                    <a:gd name="connsiteY4" fmla="*/ 371475 h 1090613"/>
                    <a:gd name="connsiteX5" fmla="*/ 400050 w 1174750"/>
                    <a:gd name="connsiteY5" fmla="*/ 442913 h 1090613"/>
                    <a:gd name="connsiteX6" fmla="*/ 485775 w 1174750"/>
                    <a:gd name="connsiteY6" fmla="*/ 442913 h 1090613"/>
                    <a:gd name="connsiteX7" fmla="*/ 623888 w 1174750"/>
                    <a:gd name="connsiteY7" fmla="*/ 542925 h 1090613"/>
                    <a:gd name="connsiteX8" fmla="*/ 695325 w 1174750"/>
                    <a:gd name="connsiteY8" fmla="*/ 647700 h 1090613"/>
                    <a:gd name="connsiteX9" fmla="*/ 746125 w 1174750"/>
                    <a:gd name="connsiteY9" fmla="*/ 857250 h 1090613"/>
                    <a:gd name="connsiteX10" fmla="*/ 919163 w 1174750"/>
                    <a:gd name="connsiteY10" fmla="*/ 976313 h 1090613"/>
                    <a:gd name="connsiteX11" fmla="*/ 919163 w 1174750"/>
                    <a:gd name="connsiteY11" fmla="*/ 971550 h 1090613"/>
                    <a:gd name="connsiteX12" fmla="*/ 1174750 w 1174750"/>
                    <a:gd name="connsiteY12" fmla="*/ 1090613 h 1090613"/>
                    <a:gd name="connsiteX0" fmla="*/ 0 w 1174750"/>
                    <a:gd name="connsiteY0" fmla="*/ 0 h 1090613"/>
                    <a:gd name="connsiteX1" fmla="*/ 66675 w 1174750"/>
                    <a:gd name="connsiteY1" fmla="*/ 176213 h 1090613"/>
                    <a:gd name="connsiteX2" fmla="*/ 109538 w 1174750"/>
                    <a:gd name="connsiteY2" fmla="*/ 238125 h 1090613"/>
                    <a:gd name="connsiteX3" fmla="*/ 119063 w 1174750"/>
                    <a:gd name="connsiteY3" fmla="*/ 290513 h 1090613"/>
                    <a:gd name="connsiteX4" fmla="*/ 190500 w 1174750"/>
                    <a:gd name="connsiteY4" fmla="*/ 371475 h 1090613"/>
                    <a:gd name="connsiteX5" fmla="*/ 400050 w 1174750"/>
                    <a:gd name="connsiteY5" fmla="*/ 442913 h 1090613"/>
                    <a:gd name="connsiteX6" fmla="*/ 485775 w 1174750"/>
                    <a:gd name="connsiteY6" fmla="*/ 442913 h 1090613"/>
                    <a:gd name="connsiteX7" fmla="*/ 623888 w 1174750"/>
                    <a:gd name="connsiteY7" fmla="*/ 542925 h 1090613"/>
                    <a:gd name="connsiteX8" fmla="*/ 695325 w 1174750"/>
                    <a:gd name="connsiteY8" fmla="*/ 647700 h 1090613"/>
                    <a:gd name="connsiteX9" fmla="*/ 746125 w 1174750"/>
                    <a:gd name="connsiteY9" fmla="*/ 857250 h 1090613"/>
                    <a:gd name="connsiteX10" fmla="*/ 919163 w 1174750"/>
                    <a:gd name="connsiteY10" fmla="*/ 976313 h 1090613"/>
                    <a:gd name="connsiteX11" fmla="*/ 919163 w 1174750"/>
                    <a:gd name="connsiteY11" fmla="*/ 971550 h 1090613"/>
                    <a:gd name="connsiteX12" fmla="*/ 962025 w 1174750"/>
                    <a:gd name="connsiteY12" fmla="*/ 1028700 h 1090613"/>
                    <a:gd name="connsiteX13" fmla="*/ 1174750 w 1174750"/>
                    <a:gd name="connsiteY13" fmla="*/ 1090613 h 1090613"/>
                    <a:gd name="connsiteX0" fmla="*/ 0 w 1174750"/>
                    <a:gd name="connsiteY0" fmla="*/ 0 h 1090613"/>
                    <a:gd name="connsiteX1" fmla="*/ 66675 w 1174750"/>
                    <a:gd name="connsiteY1" fmla="*/ 176213 h 1090613"/>
                    <a:gd name="connsiteX2" fmla="*/ 109538 w 1174750"/>
                    <a:gd name="connsiteY2" fmla="*/ 238125 h 1090613"/>
                    <a:gd name="connsiteX3" fmla="*/ 119063 w 1174750"/>
                    <a:gd name="connsiteY3" fmla="*/ 290513 h 1090613"/>
                    <a:gd name="connsiteX4" fmla="*/ 190500 w 1174750"/>
                    <a:gd name="connsiteY4" fmla="*/ 371475 h 1090613"/>
                    <a:gd name="connsiteX5" fmla="*/ 400050 w 1174750"/>
                    <a:gd name="connsiteY5" fmla="*/ 442913 h 1090613"/>
                    <a:gd name="connsiteX6" fmla="*/ 485775 w 1174750"/>
                    <a:gd name="connsiteY6" fmla="*/ 442913 h 1090613"/>
                    <a:gd name="connsiteX7" fmla="*/ 623888 w 1174750"/>
                    <a:gd name="connsiteY7" fmla="*/ 542925 h 1090613"/>
                    <a:gd name="connsiteX8" fmla="*/ 695325 w 1174750"/>
                    <a:gd name="connsiteY8" fmla="*/ 647700 h 1090613"/>
                    <a:gd name="connsiteX9" fmla="*/ 746125 w 1174750"/>
                    <a:gd name="connsiteY9" fmla="*/ 857250 h 1090613"/>
                    <a:gd name="connsiteX10" fmla="*/ 919163 w 1174750"/>
                    <a:gd name="connsiteY10" fmla="*/ 976313 h 1090613"/>
                    <a:gd name="connsiteX11" fmla="*/ 900113 w 1174750"/>
                    <a:gd name="connsiteY11" fmla="*/ 952500 h 1090613"/>
                    <a:gd name="connsiteX12" fmla="*/ 962025 w 1174750"/>
                    <a:gd name="connsiteY12" fmla="*/ 1028700 h 1090613"/>
                    <a:gd name="connsiteX13" fmla="*/ 1174750 w 1174750"/>
                    <a:gd name="connsiteY13" fmla="*/ 1090613 h 1090613"/>
                    <a:gd name="connsiteX0" fmla="*/ 0 w 1174750"/>
                    <a:gd name="connsiteY0" fmla="*/ 0 h 1090613"/>
                    <a:gd name="connsiteX1" fmla="*/ 66675 w 1174750"/>
                    <a:gd name="connsiteY1" fmla="*/ 176213 h 1090613"/>
                    <a:gd name="connsiteX2" fmla="*/ 109538 w 1174750"/>
                    <a:gd name="connsiteY2" fmla="*/ 238125 h 1090613"/>
                    <a:gd name="connsiteX3" fmla="*/ 119063 w 1174750"/>
                    <a:gd name="connsiteY3" fmla="*/ 290513 h 1090613"/>
                    <a:gd name="connsiteX4" fmla="*/ 190500 w 1174750"/>
                    <a:gd name="connsiteY4" fmla="*/ 371475 h 1090613"/>
                    <a:gd name="connsiteX5" fmla="*/ 400050 w 1174750"/>
                    <a:gd name="connsiteY5" fmla="*/ 442913 h 1090613"/>
                    <a:gd name="connsiteX6" fmla="*/ 485775 w 1174750"/>
                    <a:gd name="connsiteY6" fmla="*/ 442913 h 1090613"/>
                    <a:gd name="connsiteX7" fmla="*/ 623888 w 1174750"/>
                    <a:gd name="connsiteY7" fmla="*/ 542925 h 1090613"/>
                    <a:gd name="connsiteX8" fmla="*/ 695325 w 1174750"/>
                    <a:gd name="connsiteY8" fmla="*/ 647700 h 1090613"/>
                    <a:gd name="connsiteX9" fmla="*/ 746125 w 1174750"/>
                    <a:gd name="connsiteY9" fmla="*/ 857250 h 1090613"/>
                    <a:gd name="connsiteX10" fmla="*/ 919163 w 1174750"/>
                    <a:gd name="connsiteY10" fmla="*/ 976313 h 1090613"/>
                    <a:gd name="connsiteX11" fmla="*/ 969963 w 1174750"/>
                    <a:gd name="connsiteY11" fmla="*/ 1035050 h 1090613"/>
                    <a:gd name="connsiteX12" fmla="*/ 962025 w 1174750"/>
                    <a:gd name="connsiteY12" fmla="*/ 1028700 h 1090613"/>
                    <a:gd name="connsiteX13" fmla="*/ 1174750 w 1174750"/>
                    <a:gd name="connsiteY13" fmla="*/ 1090613 h 1090613"/>
                    <a:gd name="connsiteX0" fmla="*/ 0 w 1174750"/>
                    <a:gd name="connsiteY0" fmla="*/ 0 h 1090613"/>
                    <a:gd name="connsiteX1" fmla="*/ 66675 w 1174750"/>
                    <a:gd name="connsiteY1" fmla="*/ 176213 h 1090613"/>
                    <a:gd name="connsiteX2" fmla="*/ 109538 w 1174750"/>
                    <a:gd name="connsiteY2" fmla="*/ 238125 h 1090613"/>
                    <a:gd name="connsiteX3" fmla="*/ 119063 w 1174750"/>
                    <a:gd name="connsiteY3" fmla="*/ 290513 h 1090613"/>
                    <a:gd name="connsiteX4" fmla="*/ 190500 w 1174750"/>
                    <a:gd name="connsiteY4" fmla="*/ 371475 h 1090613"/>
                    <a:gd name="connsiteX5" fmla="*/ 400050 w 1174750"/>
                    <a:gd name="connsiteY5" fmla="*/ 442913 h 1090613"/>
                    <a:gd name="connsiteX6" fmla="*/ 485775 w 1174750"/>
                    <a:gd name="connsiteY6" fmla="*/ 442913 h 1090613"/>
                    <a:gd name="connsiteX7" fmla="*/ 623888 w 1174750"/>
                    <a:gd name="connsiteY7" fmla="*/ 542925 h 1090613"/>
                    <a:gd name="connsiteX8" fmla="*/ 695325 w 1174750"/>
                    <a:gd name="connsiteY8" fmla="*/ 647700 h 1090613"/>
                    <a:gd name="connsiteX9" fmla="*/ 746125 w 1174750"/>
                    <a:gd name="connsiteY9" fmla="*/ 857250 h 1090613"/>
                    <a:gd name="connsiteX10" fmla="*/ 893763 w 1174750"/>
                    <a:gd name="connsiteY10" fmla="*/ 957263 h 1090613"/>
                    <a:gd name="connsiteX11" fmla="*/ 969963 w 1174750"/>
                    <a:gd name="connsiteY11" fmla="*/ 1035050 h 1090613"/>
                    <a:gd name="connsiteX12" fmla="*/ 962025 w 1174750"/>
                    <a:gd name="connsiteY12" fmla="*/ 1028700 h 1090613"/>
                    <a:gd name="connsiteX13" fmla="*/ 1174750 w 1174750"/>
                    <a:gd name="connsiteY13" fmla="*/ 1090613 h 1090613"/>
                    <a:gd name="connsiteX0" fmla="*/ 0 w 1174750"/>
                    <a:gd name="connsiteY0" fmla="*/ 0 h 1090613"/>
                    <a:gd name="connsiteX1" fmla="*/ 66675 w 1174750"/>
                    <a:gd name="connsiteY1" fmla="*/ 176213 h 1090613"/>
                    <a:gd name="connsiteX2" fmla="*/ 109538 w 1174750"/>
                    <a:gd name="connsiteY2" fmla="*/ 238125 h 1090613"/>
                    <a:gd name="connsiteX3" fmla="*/ 119063 w 1174750"/>
                    <a:gd name="connsiteY3" fmla="*/ 290513 h 1090613"/>
                    <a:gd name="connsiteX4" fmla="*/ 190500 w 1174750"/>
                    <a:gd name="connsiteY4" fmla="*/ 371475 h 1090613"/>
                    <a:gd name="connsiteX5" fmla="*/ 400050 w 1174750"/>
                    <a:gd name="connsiteY5" fmla="*/ 442913 h 1090613"/>
                    <a:gd name="connsiteX6" fmla="*/ 485775 w 1174750"/>
                    <a:gd name="connsiteY6" fmla="*/ 442913 h 1090613"/>
                    <a:gd name="connsiteX7" fmla="*/ 623888 w 1174750"/>
                    <a:gd name="connsiteY7" fmla="*/ 542925 h 1090613"/>
                    <a:gd name="connsiteX8" fmla="*/ 695325 w 1174750"/>
                    <a:gd name="connsiteY8" fmla="*/ 647700 h 1090613"/>
                    <a:gd name="connsiteX9" fmla="*/ 746125 w 1174750"/>
                    <a:gd name="connsiteY9" fmla="*/ 857250 h 1090613"/>
                    <a:gd name="connsiteX10" fmla="*/ 893763 w 1174750"/>
                    <a:gd name="connsiteY10" fmla="*/ 957263 h 1090613"/>
                    <a:gd name="connsiteX11" fmla="*/ 969963 w 1174750"/>
                    <a:gd name="connsiteY11" fmla="*/ 1035050 h 1090613"/>
                    <a:gd name="connsiteX12" fmla="*/ 1174750 w 1174750"/>
                    <a:gd name="connsiteY12" fmla="*/ 1090613 h 1090613"/>
                    <a:gd name="connsiteX0" fmla="*/ 0 w 1174750"/>
                    <a:gd name="connsiteY0" fmla="*/ 0 h 1090613"/>
                    <a:gd name="connsiteX1" fmla="*/ 66675 w 1174750"/>
                    <a:gd name="connsiteY1" fmla="*/ 176213 h 1090613"/>
                    <a:gd name="connsiteX2" fmla="*/ 109538 w 1174750"/>
                    <a:gd name="connsiteY2" fmla="*/ 238125 h 1090613"/>
                    <a:gd name="connsiteX3" fmla="*/ 119063 w 1174750"/>
                    <a:gd name="connsiteY3" fmla="*/ 290513 h 1090613"/>
                    <a:gd name="connsiteX4" fmla="*/ 190500 w 1174750"/>
                    <a:gd name="connsiteY4" fmla="*/ 371475 h 1090613"/>
                    <a:gd name="connsiteX5" fmla="*/ 400050 w 1174750"/>
                    <a:gd name="connsiteY5" fmla="*/ 442913 h 1090613"/>
                    <a:gd name="connsiteX6" fmla="*/ 485775 w 1174750"/>
                    <a:gd name="connsiteY6" fmla="*/ 442913 h 1090613"/>
                    <a:gd name="connsiteX7" fmla="*/ 623888 w 1174750"/>
                    <a:gd name="connsiteY7" fmla="*/ 542925 h 1090613"/>
                    <a:gd name="connsiteX8" fmla="*/ 695325 w 1174750"/>
                    <a:gd name="connsiteY8" fmla="*/ 647700 h 1090613"/>
                    <a:gd name="connsiteX9" fmla="*/ 746125 w 1174750"/>
                    <a:gd name="connsiteY9" fmla="*/ 857250 h 1090613"/>
                    <a:gd name="connsiteX10" fmla="*/ 893763 w 1174750"/>
                    <a:gd name="connsiteY10" fmla="*/ 957263 h 1090613"/>
                    <a:gd name="connsiteX11" fmla="*/ 950913 w 1174750"/>
                    <a:gd name="connsiteY11" fmla="*/ 1041400 h 1090613"/>
                    <a:gd name="connsiteX12" fmla="*/ 1174750 w 1174750"/>
                    <a:gd name="connsiteY12" fmla="*/ 1090613 h 1090613"/>
                    <a:gd name="connsiteX0" fmla="*/ 0 w 1174750"/>
                    <a:gd name="connsiteY0" fmla="*/ 0 h 1090613"/>
                    <a:gd name="connsiteX1" fmla="*/ 66675 w 1174750"/>
                    <a:gd name="connsiteY1" fmla="*/ 176213 h 1090613"/>
                    <a:gd name="connsiteX2" fmla="*/ 109538 w 1174750"/>
                    <a:gd name="connsiteY2" fmla="*/ 238125 h 1090613"/>
                    <a:gd name="connsiteX3" fmla="*/ 119063 w 1174750"/>
                    <a:gd name="connsiteY3" fmla="*/ 290513 h 1090613"/>
                    <a:gd name="connsiteX4" fmla="*/ 190500 w 1174750"/>
                    <a:gd name="connsiteY4" fmla="*/ 371475 h 1090613"/>
                    <a:gd name="connsiteX5" fmla="*/ 400050 w 1174750"/>
                    <a:gd name="connsiteY5" fmla="*/ 442913 h 1090613"/>
                    <a:gd name="connsiteX6" fmla="*/ 485775 w 1174750"/>
                    <a:gd name="connsiteY6" fmla="*/ 442913 h 1090613"/>
                    <a:gd name="connsiteX7" fmla="*/ 623888 w 1174750"/>
                    <a:gd name="connsiteY7" fmla="*/ 542925 h 1090613"/>
                    <a:gd name="connsiteX8" fmla="*/ 695325 w 1174750"/>
                    <a:gd name="connsiteY8" fmla="*/ 647700 h 1090613"/>
                    <a:gd name="connsiteX9" fmla="*/ 746125 w 1174750"/>
                    <a:gd name="connsiteY9" fmla="*/ 857250 h 1090613"/>
                    <a:gd name="connsiteX10" fmla="*/ 893763 w 1174750"/>
                    <a:gd name="connsiteY10" fmla="*/ 957263 h 1090613"/>
                    <a:gd name="connsiteX11" fmla="*/ 950913 w 1174750"/>
                    <a:gd name="connsiteY11" fmla="*/ 1041400 h 1090613"/>
                    <a:gd name="connsiteX12" fmla="*/ 1174750 w 1174750"/>
                    <a:gd name="connsiteY12" fmla="*/ 1090613 h 1090613"/>
                    <a:gd name="connsiteX0" fmla="*/ 0 w 1174750"/>
                    <a:gd name="connsiteY0" fmla="*/ 0 h 1090613"/>
                    <a:gd name="connsiteX1" fmla="*/ 66675 w 1174750"/>
                    <a:gd name="connsiteY1" fmla="*/ 176213 h 1090613"/>
                    <a:gd name="connsiteX2" fmla="*/ 109538 w 1174750"/>
                    <a:gd name="connsiteY2" fmla="*/ 238125 h 1090613"/>
                    <a:gd name="connsiteX3" fmla="*/ 119063 w 1174750"/>
                    <a:gd name="connsiteY3" fmla="*/ 290513 h 1090613"/>
                    <a:gd name="connsiteX4" fmla="*/ 190500 w 1174750"/>
                    <a:gd name="connsiteY4" fmla="*/ 371475 h 1090613"/>
                    <a:gd name="connsiteX5" fmla="*/ 400050 w 1174750"/>
                    <a:gd name="connsiteY5" fmla="*/ 442913 h 1090613"/>
                    <a:gd name="connsiteX6" fmla="*/ 485775 w 1174750"/>
                    <a:gd name="connsiteY6" fmla="*/ 442913 h 1090613"/>
                    <a:gd name="connsiteX7" fmla="*/ 623888 w 1174750"/>
                    <a:gd name="connsiteY7" fmla="*/ 542925 h 1090613"/>
                    <a:gd name="connsiteX8" fmla="*/ 695325 w 1174750"/>
                    <a:gd name="connsiteY8" fmla="*/ 647700 h 1090613"/>
                    <a:gd name="connsiteX9" fmla="*/ 746125 w 1174750"/>
                    <a:gd name="connsiteY9" fmla="*/ 857250 h 1090613"/>
                    <a:gd name="connsiteX10" fmla="*/ 893763 w 1174750"/>
                    <a:gd name="connsiteY10" fmla="*/ 957263 h 1090613"/>
                    <a:gd name="connsiteX11" fmla="*/ 950913 w 1174750"/>
                    <a:gd name="connsiteY11" fmla="*/ 1041400 h 1090613"/>
                    <a:gd name="connsiteX12" fmla="*/ 1174750 w 1174750"/>
                    <a:gd name="connsiteY12" fmla="*/ 1090613 h 10906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74750" h="1090613">
                      <a:moveTo>
                        <a:pt x="0" y="0"/>
                      </a:moveTo>
                      <a:cubicBezTo>
                        <a:pt x="24209" y="68263"/>
                        <a:pt x="48419" y="136526"/>
                        <a:pt x="66675" y="176213"/>
                      </a:cubicBezTo>
                      <a:cubicBezTo>
                        <a:pt x="84931" y="215900"/>
                        <a:pt x="100807" y="219075"/>
                        <a:pt x="109538" y="238125"/>
                      </a:cubicBezTo>
                      <a:cubicBezTo>
                        <a:pt x="118269" y="257175"/>
                        <a:pt x="105569" y="268288"/>
                        <a:pt x="119063" y="290513"/>
                      </a:cubicBezTo>
                      <a:cubicBezTo>
                        <a:pt x="132557" y="312738"/>
                        <a:pt x="143669" y="346075"/>
                        <a:pt x="190500" y="371475"/>
                      </a:cubicBezTo>
                      <a:cubicBezTo>
                        <a:pt x="237331" y="396875"/>
                        <a:pt x="350837" y="431007"/>
                        <a:pt x="400050" y="442913"/>
                      </a:cubicBezTo>
                      <a:cubicBezTo>
                        <a:pt x="449263" y="454819"/>
                        <a:pt x="448469" y="426244"/>
                        <a:pt x="485775" y="442913"/>
                      </a:cubicBezTo>
                      <a:cubicBezTo>
                        <a:pt x="523081" y="459582"/>
                        <a:pt x="588963" y="508794"/>
                        <a:pt x="623888" y="542925"/>
                      </a:cubicBezTo>
                      <a:cubicBezTo>
                        <a:pt x="658813" y="577056"/>
                        <a:pt x="674952" y="595313"/>
                        <a:pt x="695325" y="647700"/>
                      </a:cubicBezTo>
                      <a:cubicBezTo>
                        <a:pt x="715698" y="700087"/>
                        <a:pt x="716492" y="812800"/>
                        <a:pt x="746125" y="857250"/>
                      </a:cubicBezTo>
                      <a:cubicBezTo>
                        <a:pt x="829204" y="877888"/>
                        <a:pt x="859632" y="926571"/>
                        <a:pt x="893763" y="957263"/>
                      </a:cubicBezTo>
                      <a:cubicBezTo>
                        <a:pt x="927894" y="987955"/>
                        <a:pt x="899609" y="1033983"/>
                        <a:pt x="950913" y="1041400"/>
                      </a:cubicBezTo>
                      <a:cubicBezTo>
                        <a:pt x="1016794" y="1050925"/>
                        <a:pt x="1132086" y="1053638"/>
                        <a:pt x="1174750" y="1090613"/>
                      </a:cubicBezTo>
                    </a:path>
                  </a:pathLst>
                </a:custGeom>
                <a:noFill/>
                <a:ln w="15875" cmpd="sng">
                  <a:solidFill>
                    <a:schemeClr val="tx2"/>
                  </a:solidFill>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45" name="Freeform 44"/>
                <p:cNvSpPr/>
                <p:nvPr/>
              </p:nvSpPr>
              <p:spPr>
                <a:xfrm>
                  <a:off x="2915879" y="2607375"/>
                  <a:ext cx="903753" cy="1289127"/>
                </a:xfrm>
                <a:custGeom>
                  <a:avLst/>
                  <a:gdLst>
                    <a:gd name="connsiteX0" fmla="*/ 0 w 1682750"/>
                    <a:gd name="connsiteY0" fmla="*/ 0 h 2400300"/>
                    <a:gd name="connsiteX1" fmla="*/ 63500 w 1682750"/>
                    <a:gd name="connsiteY1" fmla="*/ 69850 h 2400300"/>
                    <a:gd name="connsiteX2" fmla="*/ 158750 w 1682750"/>
                    <a:gd name="connsiteY2" fmla="*/ 120650 h 2400300"/>
                    <a:gd name="connsiteX3" fmla="*/ 171450 w 1682750"/>
                    <a:gd name="connsiteY3" fmla="*/ 177800 h 2400300"/>
                    <a:gd name="connsiteX4" fmla="*/ 165100 w 1682750"/>
                    <a:gd name="connsiteY4" fmla="*/ 241300 h 2400300"/>
                    <a:gd name="connsiteX5" fmla="*/ 171450 w 1682750"/>
                    <a:gd name="connsiteY5" fmla="*/ 311150 h 2400300"/>
                    <a:gd name="connsiteX6" fmla="*/ 146050 w 1682750"/>
                    <a:gd name="connsiteY6" fmla="*/ 342900 h 2400300"/>
                    <a:gd name="connsiteX7" fmla="*/ 165100 w 1682750"/>
                    <a:gd name="connsiteY7" fmla="*/ 419100 h 2400300"/>
                    <a:gd name="connsiteX8" fmla="*/ 196850 w 1682750"/>
                    <a:gd name="connsiteY8" fmla="*/ 476250 h 2400300"/>
                    <a:gd name="connsiteX9" fmla="*/ 234950 w 1682750"/>
                    <a:gd name="connsiteY9" fmla="*/ 501650 h 2400300"/>
                    <a:gd name="connsiteX10" fmla="*/ 209550 w 1682750"/>
                    <a:gd name="connsiteY10" fmla="*/ 584200 h 2400300"/>
                    <a:gd name="connsiteX11" fmla="*/ 222250 w 1682750"/>
                    <a:gd name="connsiteY11" fmla="*/ 628650 h 2400300"/>
                    <a:gd name="connsiteX12" fmla="*/ 266700 w 1682750"/>
                    <a:gd name="connsiteY12" fmla="*/ 698500 h 2400300"/>
                    <a:gd name="connsiteX13" fmla="*/ 298450 w 1682750"/>
                    <a:gd name="connsiteY13" fmla="*/ 800100 h 2400300"/>
                    <a:gd name="connsiteX14" fmla="*/ 247650 w 1682750"/>
                    <a:gd name="connsiteY14" fmla="*/ 838200 h 2400300"/>
                    <a:gd name="connsiteX15" fmla="*/ 241300 w 1682750"/>
                    <a:gd name="connsiteY15" fmla="*/ 914400 h 2400300"/>
                    <a:gd name="connsiteX16" fmla="*/ 266700 w 1682750"/>
                    <a:gd name="connsiteY16" fmla="*/ 965200 h 2400300"/>
                    <a:gd name="connsiteX17" fmla="*/ 266700 w 1682750"/>
                    <a:gd name="connsiteY17" fmla="*/ 1085850 h 2400300"/>
                    <a:gd name="connsiteX18" fmla="*/ 292100 w 1682750"/>
                    <a:gd name="connsiteY18" fmla="*/ 1123950 h 2400300"/>
                    <a:gd name="connsiteX19" fmla="*/ 400050 w 1682750"/>
                    <a:gd name="connsiteY19" fmla="*/ 1098550 h 2400300"/>
                    <a:gd name="connsiteX20" fmla="*/ 495300 w 1682750"/>
                    <a:gd name="connsiteY20" fmla="*/ 977900 h 2400300"/>
                    <a:gd name="connsiteX21" fmla="*/ 590550 w 1682750"/>
                    <a:gd name="connsiteY21" fmla="*/ 908050 h 2400300"/>
                    <a:gd name="connsiteX22" fmla="*/ 698500 w 1682750"/>
                    <a:gd name="connsiteY22" fmla="*/ 952500 h 2400300"/>
                    <a:gd name="connsiteX23" fmla="*/ 762000 w 1682750"/>
                    <a:gd name="connsiteY23" fmla="*/ 933450 h 2400300"/>
                    <a:gd name="connsiteX24" fmla="*/ 876300 w 1682750"/>
                    <a:gd name="connsiteY24" fmla="*/ 1041400 h 2400300"/>
                    <a:gd name="connsiteX25" fmla="*/ 946150 w 1682750"/>
                    <a:gd name="connsiteY25" fmla="*/ 1149350 h 2400300"/>
                    <a:gd name="connsiteX26" fmla="*/ 1066800 w 1682750"/>
                    <a:gd name="connsiteY26" fmla="*/ 1238250 h 2400300"/>
                    <a:gd name="connsiteX27" fmla="*/ 1231900 w 1682750"/>
                    <a:gd name="connsiteY27" fmla="*/ 1314450 h 2400300"/>
                    <a:gd name="connsiteX28" fmla="*/ 1282700 w 1682750"/>
                    <a:gd name="connsiteY28" fmla="*/ 1384300 h 2400300"/>
                    <a:gd name="connsiteX29" fmla="*/ 1301750 w 1682750"/>
                    <a:gd name="connsiteY29" fmla="*/ 1511300 h 2400300"/>
                    <a:gd name="connsiteX30" fmla="*/ 1244600 w 1682750"/>
                    <a:gd name="connsiteY30" fmla="*/ 1606550 h 2400300"/>
                    <a:gd name="connsiteX31" fmla="*/ 1250950 w 1682750"/>
                    <a:gd name="connsiteY31" fmla="*/ 1746250 h 2400300"/>
                    <a:gd name="connsiteX32" fmla="*/ 1333500 w 1682750"/>
                    <a:gd name="connsiteY32" fmla="*/ 1879600 h 2400300"/>
                    <a:gd name="connsiteX33" fmla="*/ 1460500 w 1682750"/>
                    <a:gd name="connsiteY33" fmla="*/ 2006600 h 2400300"/>
                    <a:gd name="connsiteX34" fmla="*/ 1485900 w 1682750"/>
                    <a:gd name="connsiteY34" fmla="*/ 2089150 h 2400300"/>
                    <a:gd name="connsiteX35" fmla="*/ 1543050 w 1682750"/>
                    <a:gd name="connsiteY35" fmla="*/ 2146300 h 2400300"/>
                    <a:gd name="connsiteX36" fmla="*/ 1562100 w 1682750"/>
                    <a:gd name="connsiteY36" fmla="*/ 2222500 h 2400300"/>
                    <a:gd name="connsiteX37" fmla="*/ 1549400 w 1682750"/>
                    <a:gd name="connsiteY37" fmla="*/ 2298700 h 2400300"/>
                    <a:gd name="connsiteX38" fmla="*/ 1600200 w 1682750"/>
                    <a:gd name="connsiteY38" fmla="*/ 2368550 h 2400300"/>
                    <a:gd name="connsiteX39" fmla="*/ 1682750 w 1682750"/>
                    <a:gd name="connsiteY39" fmla="*/ 2400300 h 2400300"/>
                    <a:gd name="connsiteX0" fmla="*/ 0 w 1682750"/>
                    <a:gd name="connsiteY0" fmla="*/ 0 h 2400300"/>
                    <a:gd name="connsiteX1" fmla="*/ 63500 w 1682750"/>
                    <a:gd name="connsiteY1" fmla="*/ 69850 h 2400300"/>
                    <a:gd name="connsiteX2" fmla="*/ 158750 w 1682750"/>
                    <a:gd name="connsiteY2" fmla="*/ 120650 h 2400300"/>
                    <a:gd name="connsiteX3" fmla="*/ 171450 w 1682750"/>
                    <a:gd name="connsiteY3" fmla="*/ 177800 h 2400300"/>
                    <a:gd name="connsiteX4" fmla="*/ 165100 w 1682750"/>
                    <a:gd name="connsiteY4" fmla="*/ 241300 h 2400300"/>
                    <a:gd name="connsiteX5" fmla="*/ 171450 w 1682750"/>
                    <a:gd name="connsiteY5" fmla="*/ 311150 h 2400300"/>
                    <a:gd name="connsiteX6" fmla="*/ 146050 w 1682750"/>
                    <a:gd name="connsiteY6" fmla="*/ 342900 h 2400300"/>
                    <a:gd name="connsiteX7" fmla="*/ 165100 w 1682750"/>
                    <a:gd name="connsiteY7" fmla="*/ 419100 h 2400300"/>
                    <a:gd name="connsiteX8" fmla="*/ 196850 w 1682750"/>
                    <a:gd name="connsiteY8" fmla="*/ 476250 h 2400300"/>
                    <a:gd name="connsiteX9" fmla="*/ 234950 w 1682750"/>
                    <a:gd name="connsiteY9" fmla="*/ 501650 h 2400300"/>
                    <a:gd name="connsiteX10" fmla="*/ 209550 w 1682750"/>
                    <a:gd name="connsiteY10" fmla="*/ 584200 h 2400300"/>
                    <a:gd name="connsiteX11" fmla="*/ 222250 w 1682750"/>
                    <a:gd name="connsiteY11" fmla="*/ 628650 h 2400300"/>
                    <a:gd name="connsiteX12" fmla="*/ 266700 w 1682750"/>
                    <a:gd name="connsiteY12" fmla="*/ 698500 h 2400300"/>
                    <a:gd name="connsiteX13" fmla="*/ 298450 w 1682750"/>
                    <a:gd name="connsiteY13" fmla="*/ 800100 h 2400300"/>
                    <a:gd name="connsiteX14" fmla="*/ 247650 w 1682750"/>
                    <a:gd name="connsiteY14" fmla="*/ 838200 h 2400300"/>
                    <a:gd name="connsiteX15" fmla="*/ 241300 w 1682750"/>
                    <a:gd name="connsiteY15" fmla="*/ 914400 h 2400300"/>
                    <a:gd name="connsiteX16" fmla="*/ 266700 w 1682750"/>
                    <a:gd name="connsiteY16" fmla="*/ 965200 h 2400300"/>
                    <a:gd name="connsiteX17" fmla="*/ 266700 w 1682750"/>
                    <a:gd name="connsiteY17" fmla="*/ 1085850 h 2400300"/>
                    <a:gd name="connsiteX18" fmla="*/ 292100 w 1682750"/>
                    <a:gd name="connsiteY18" fmla="*/ 1123950 h 2400300"/>
                    <a:gd name="connsiteX19" fmla="*/ 400050 w 1682750"/>
                    <a:gd name="connsiteY19" fmla="*/ 1098550 h 2400300"/>
                    <a:gd name="connsiteX20" fmla="*/ 495300 w 1682750"/>
                    <a:gd name="connsiteY20" fmla="*/ 977900 h 2400300"/>
                    <a:gd name="connsiteX21" fmla="*/ 590550 w 1682750"/>
                    <a:gd name="connsiteY21" fmla="*/ 908050 h 2400300"/>
                    <a:gd name="connsiteX22" fmla="*/ 698500 w 1682750"/>
                    <a:gd name="connsiteY22" fmla="*/ 952500 h 2400300"/>
                    <a:gd name="connsiteX23" fmla="*/ 762000 w 1682750"/>
                    <a:gd name="connsiteY23" fmla="*/ 933450 h 2400300"/>
                    <a:gd name="connsiteX24" fmla="*/ 876300 w 1682750"/>
                    <a:gd name="connsiteY24" fmla="*/ 1041400 h 2400300"/>
                    <a:gd name="connsiteX25" fmla="*/ 946150 w 1682750"/>
                    <a:gd name="connsiteY25" fmla="*/ 1149350 h 2400300"/>
                    <a:gd name="connsiteX26" fmla="*/ 1066800 w 1682750"/>
                    <a:gd name="connsiteY26" fmla="*/ 1238250 h 2400300"/>
                    <a:gd name="connsiteX27" fmla="*/ 1231900 w 1682750"/>
                    <a:gd name="connsiteY27" fmla="*/ 1314450 h 2400300"/>
                    <a:gd name="connsiteX28" fmla="*/ 1282700 w 1682750"/>
                    <a:gd name="connsiteY28" fmla="*/ 1384300 h 2400300"/>
                    <a:gd name="connsiteX29" fmla="*/ 1301750 w 1682750"/>
                    <a:gd name="connsiteY29" fmla="*/ 1511300 h 2400300"/>
                    <a:gd name="connsiteX30" fmla="*/ 1244600 w 1682750"/>
                    <a:gd name="connsiteY30" fmla="*/ 1606550 h 2400300"/>
                    <a:gd name="connsiteX31" fmla="*/ 1250950 w 1682750"/>
                    <a:gd name="connsiteY31" fmla="*/ 1746250 h 2400300"/>
                    <a:gd name="connsiteX32" fmla="*/ 1327150 w 1682750"/>
                    <a:gd name="connsiteY32" fmla="*/ 1898650 h 2400300"/>
                    <a:gd name="connsiteX33" fmla="*/ 1460500 w 1682750"/>
                    <a:gd name="connsiteY33" fmla="*/ 2006600 h 2400300"/>
                    <a:gd name="connsiteX34" fmla="*/ 1485900 w 1682750"/>
                    <a:gd name="connsiteY34" fmla="*/ 2089150 h 2400300"/>
                    <a:gd name="connsiteX35" fmla="*/ 1543050 w 1682750"/>
                    <a:gd name="connsiteY35" fmla="*/ 2146300 h 2400300"/>
                    <a:gd name="connsiteX36" fmla="*/ 1562100 w 1682750"/>
                    <a:gd name="connsiteY36" fmla="*/ 2222500 h 2400300"/>
                    <a:gd name="connsiteX37" fmla="*/ 1549400 w 1682750"/>
                    <a:gd name="connsiteY37" fmla="*/ 2298700 h 2400300"/>
                    <a:gd name="connsiteX38" fmla="*/ 1600200 w 1682750"/>
                    <a:gd name="connsiteY38" fmla="*/ 2368550 h 2400300"/>
                    <a:gd name="connsiteX39" fmla="*/ 1682750 w 1682750"/>
                    <a:gd name="connsiteY39" fmla="*/ 2400300 h 2400300"/>
                    <a:gd name="connsiteX0" fmla="*/ 0 w 1682750"/>
                    <a:gd name="connsiteY0" fmla="*/ 0 h 2400300"/>
                    <a:gd name="connsiteX1" fmla="*/ 63500 w 1682750"/>
                    <a:gd name="connsiteY1" fmla="*/ 69850 h 2400300"/>
                    <a:gd name="connsiteX2" fmla="*/ 158750 w 1682750"/>
                    <a:gd name="connsiteY2" fmla="*/ 120650 h 2400300"/>
                    <a:gd name="connsiteX3" fmla="*/ 171450 w 1682750"/>
                    <a:gd name="connsiteY3" fmla="*/ 177800 h 2400300"/>
                    <a:gd name="connsiteX4" fmla="*/ 165100 w 1682750"/>
                    <a:gd name="connsiteY4" fmla="*/ 241300 h 2400300"/>
                    <a:gd name="connsiteX5" fmla="*/ 171450 w 1682750"/>
                    <a:gd name="connsiteY5" fmla="*/ 311150 h 2400300"/>
                    <a:gd name="connsiteX6" fmla="*/ 146050 w 1682750"/>
                    <a:gd name="connsiteY6" fmla="*/ 342900 h 2400300"/>
                    <a:gd name="connsiteX7" fmla="*/ 165100 w 1682750"/>
                    <a:gd name="connsiteY7" fmla="*/ 419100 h 2400300"/>
                    <a:gd name="connsiteX8" fmla="*/ 196850 w 1682750"/>
                    <a:gd name="connsiteY8" fmla="*/ 476250 h 2400300"/>
                    <a:gd name="connsiteX9" fmla="*/ 234950 w 1682750"/>
                    <a:gd name="connsiteY9" fmla="*/ 501650 h 2400300"/>
                    <a:gd name="connsiteX10" fmla="*/ 209550 w 1682750"/>
                    <a:gd name="connsiteY10" fmla="*/ 584200 h 2400300"/>
                    <a:gd name="connsiteX11" fmla="*/ 222250 w 1682750"/>
                    <a:gd name="connsiteY11" fmla="*/ 628650 h 2400300"/>
                    <a:gd name="connsiteX12" fmla="*/ 266700 w 1682750"/>
                    <a:gd name="connsiteY12" fmla="*/ 698500 h 2400300"/>
                    <a:gd name="connsiteX13" fmla="*/ 298450 w 1682750"/>
                    <a:gd name="connsiteY13" fmla="*/ 800100 h 2400300"/>
                    <a:gd name="connsiteX14" fmla="*/ 247650 w 1682750"/>
                    <a:gd name="connsiteY14" fmla="*/ 838200 h 2400300"/>
                    <a:gd name="connsiteX15" fmla="*/ 241300 w 1682750"/>
                    <a:gd name="connsiteY15" fmla="*/ 914400 h 2400300"/>
                    <a:gd name="connsiteX16" fmla="*/ 266700 w 1682750"/>
                    <a:gd name="connsiteY16" fmla="*/ 965200 h 2400300"/>
                    <a:gd name="connsiteX17" fmla="*/ 266700 w 1682750"/>
                    <a:gd name="connsiteY17" fmla="*/ 1085850 h 2400300"/>
                    <a:gd name="connsiteX18" fmla="*/ 292100 w 1682750"/>
                    <a:gd name="connsiteY18" fmla="*/ 1123950 h 2400300"/>
                    <a:gd name="connsiteX19" fmla="*/ 400050 w 1682750"/>
                    <a:gd name="connsiteY19" fmla="*/ 1098550 h 2400300"/>
                    <a:gd name="connsiteX20" fmla="*/ 495300 w 1682750"/>
                    <a:gd name="connsiteY20" fmla="*/ 977900 h 2400300"/>
                    <a:gd name="connsiteX21" fmla="*/ 590550 w 1682750"/>
                    <a:gd name="connsiteY21" fmla="*/ 908050 h 2400300"/>
                    <a:gd name="connsiteX22" fmla="*/ 698500 w 1682750"/>
                    <a:gd name="connsiteY22" fmla="*/ 952500 h 2400300"/>
                    <a:gd name="connsiteX23" fmla="*/ 762000 w 1682750"/>
                    <a:gd name="connsiteY23" fmla="*/ 933450 h 2400300"/>
                    <a:gd name="connsiteX24" fmla="*/ 928688 w 1682750"/>
                    <a:gd name="connsiteY24" fmla="*/ 1012825 h 2400300"/>
                    <a:gd name="connsiteX25" fmla="*/ 946150 w 1682750"/>
                    <a:gd name="connsiteY25" fmla="*/ 1149350 h 2400300"/>
                    <a:gd name="connsiteX26" fmla="*/ 1066800 w 1682750"/>
                    <a:gd name="connsiteY26" fmla="*/ 1238250 h 2400300"/>
                    <a:gd name="connsiteX27" fmla="*/ 1231900 w 1682750"/>
                    <a:gd name="connsiteY27" fmla="*/ 1314450 h 2400300"/>
                    <a:gd name="connsiteX28" fmla="*/ 1282700 w 1682750"/>
                    <a:gd name="connsiteY28" fmla="*/ 1384300 h 2400300"/>
                    <a:gd name="connsiteX29" fmla="*/ 1301750 w 1682750"/>
                    <a:gd name="connsiteY29" fmla="*/ 1511300 h 2400300"/>
                    <a:gd name="connsiteX30" fmla="*/ 1244600 w 1682750"/>
                    <a:gd name="connsiteY30" fmla="*/ 1606550 h 2400300"/>
                    <a:gd name="connsiteX31" fmla="*/ 1250950 w 1682750"/>
                    <a:gd name="connsiteY31" fmla="*/ 1746250 h 2400300"/>
                    <a:gd name="connsiteX32" fmla="*/ 1327150 w 1682750"/>
                    <a:gd name="connsiteY32" fmla="*/ 1898650 h 2400300"/>
                    <a:gd name="connsiteX33" fmla="*/ 1460500 w 1682750"/>
                    <a:gd name="connsiteY33" fmla="*/ 2006600 h 2400300"/>
                    <a:gd name="connsiteX34" fmla="*/ 1485900 w 1682750"/>
                    <a:gd name="connsiteY34" fmla="*/ 2089150 h 2400300"/>
                    <a:gd name="connsiteX35" fmla="*/ 1543050 w 1682750"/>
                    <a:gd name="connsiteY35" fmla="*/ 2146300 h 2400300"/>
                    <a:gd name="connsiteX36" fmla="*/ 1562100 w 1682750"/>
                    <a:gd name="connsiteY36" fmla="*/ 2222500 h 2400300"/>
                    <a:gd name="connsiteX37" fmla="*/ 1549400 w 1682750"/>
                    <a:gd name="connsiteY37" fmla="*/ 2298700 h 2400300"/>
                    <a:gd name="connsiteX38" fmla="*/ 1600200 w 1682750"/>
                    <a:gd name="connsiteY38" fmla="*/ 2368550 h 2400300"/>
                    <a:gd name="connsiteX39" fmla="*/ 1682750 w 1682750"/>
                    <a:gd name="connsiteY39" fmla="*/ 2400300 h 2400300"/>
                    <a:gd name="connsiteX0" fmla="*/ 0 w 1682750"/>
                    <a:gd name="connsiteY0" fmla="*/ 0 h 2400300"/>
                    <a:gd name="connsiteX1" fmla="*/ 63500 w 1682750"/>
                    <a:gd name="connsiteY1" fmla="*/ 69850 h 2400300"/>
                    <a:gd name="connsiteX2" fmla="*/ 158750 w 1682750"/>
                    <a:gd name="connsiteY2" fmla="*/ 120650 h 2400300"/>
                    <a:gd name="connsiteX3" fmla="*/ 171450 w 1682750"/>
                    <a:gd name="connsiteY3" fmla="*/ 177800 h 2400300"/>
                    <a:gd name="connsiteX4" fmla="*/ 165100 w 1682750"/>
                    <a:gd name="connsiteY4" fmla="*/ 241300 h 2400300"/>
                    <a:gd name="connsiteX5" fmla="*/ 171450 w 1682750"/>
                    <a:gd name="connsiteY5" fmla="*/ 311150 h 2400300"/>
                    <a:gd name="connsiteX6" fmla="*/ 146050 w 1682750"/>
                    <a:gd name="connsiteY6" fmla="*/ 342900 h 2400300"/>
                    <a:gd name="connsiteX7" fmla="*/ 165100 w 1682750"/>
                    <a:gd name="connsiteY7" fmla="*/ 419100 h 2400300"/>
                    <a:gd name="connsiteX8" fmla="*/ 196850 w 1682750"/>
                    <a:gd name="connsiteY8" fmla="*/ 476250 h 2400300"/>
                    <a:gd name="connsiteX9" fmla="*/ 234950 w 1682750"/>
                    <a:gd name="connsiteY9" fmla="*/ 501650 h 2400300"/>
                    <a:gd name="connsiteX10" fmla="*/ 209550 w 1682750"/>
                    <a:gd name="connsiteY10" fmla="*/ 584200 h 2400300"/>
                    <a:gd name="connsiteX11" fmla="*/ 222250 w 1682750"/>
                    <a:gd name="connsiteY11" fmla="*/ 628650 h 2400300"/>
                    <a:gd name="connsiteX12" fmla="*/ 266700 w 1682750"/>
                    <a:gd name="connsiteY12" fmla="*/ 698500 h 2400300"/>
                    <a:gd name="connsiteX13" fmla="*/ 298450 w 1682750"/>
                    <a:gd name="connsiteY13" fmla="*/ 800100 h 2400300"/>
                    <a:gd name="connsiteX14" fmla="*/ 247650 w 1682750"/>
                    <a:gd name="connsiteY14" fmla="*/ 838200 h 2400300"/>
                    <a:gd name="connsiteX15" fmla="*/ 241300 w 1682750"/>
                    <a:gd name="connsiteY15" fmla="*/ 914400 h 2400300"/>
                    <a:gd name="connsiteX16" fmla="*/ 266700 w 1682750"/>
                    <a:gd name="connsiteY16" fmla="*/ 965200 h 2400300"/>
                    <a:gd name="connsiteX17" fmla="*/ 266700 w 1682750"/>
                    <a:gd name="connsiteY17" fmla="*/ 1085850 h 2400300"/>
                    <a:gd name="connsiteX18" fmla="*/ 292100 w 1682750"/>
                    <a:gd name="connsiteY18" fmla="*/ 1123950 h 2400300"/>
                    <a:gd name="connsiteX19" fmla="*/ 400050 w 1682750"/>
                    <a:gd name="connsiteY19" fmla="*/ 1098550 h 2400300"/>
                    <a:gd name="connsiteX20" fmla="*/ 495300 w 1682750"/>
                    <a:gd name="connsiteY20" fmla="*/ 977900 h 2400300"/>
                    <a:gd name="connsiteX21" fmla="*/ 590550 w 1682750"/>
                    <a:gd name="connsiteY21" fmla="*/ 908050 h 2400300"/>
                    <a:gd name="connsiteX22" fmla="*/ 698500 w 1682750"/>
                    <a:gd name="connsiteY22" fmla="*/ 952500 h 2400300"/>
                    <a:gd name="connsiteX23" fmla="*/ 762000 w 1682750"/>
                    <a:gd name="connsiteY23" fmla="*/ 933450 h 2400300"/>
                    <a:gd name="connsiteX24" fmla="*/ 928688 w 1682750"/>
                    <a:gd name="connsiteY24" fmla="*/ 1012825 h 2400300"/>
                    <a:gd name="connsiteX25" fmla="*/ 1003300 w 1682750"/>
                    <a:gd name="connsiteY25" fmla="*/ 1149350 h 2400300"/>
                    <a:gd name="connsiteX26" fmla="*/ 1066800 w 1682750"/>
                    <a:gd name="connsiteY26" fmla="*/ 1238250 h 2400300"/>
                    <a:gd name="connsiteX27" fmla="*/ 1231900 w 1682750"/>
                    <a:gd name="connsiteY27" fmla="*/ 1314450 h 2400300"/>
                    <a:gd name="connsiteX28" fmla="*/ 1282700 w 1682750"/>
                    <a:gd name="connsiteY28" fmla="*/ 1384300 h 2400300"/>
                    <a:gd name="connsiteX29" fmla="*/ 1301750 w 1682750"/>
                    <a:gd name="connsiteY29" fmla="*/ 1511300 h 2400300"/>
                    <a:gd name="connsiteX30" fmla="*/ 1244600 w 1682750"/>
                    <a:gd name="connsiteY30" fmla="*/ 1606550 h 2400300"/>
                    <a:gd name="connsiteX31" fmla="*/ 1250950 w 1682750"/>
                    <a:gd name="connsiteY31" fmla="*/ 1746250 h 2400300"/>
                    <a:gd name="connsiteX32" fmla="*/ 1327150 w 1682750"/>
                    <a:gd name="connsiteY32" fmla="*/ 1898650 h 2400300"/>
                    <a:gd name="connsiteX33" fmla="*/ 1460500 w 1682750"/>
                    <a:gd name="connsiteY33" fmla="*/ 2006600 h 2400300"/>
                    <a:gd name="connsiteX34" fmla="*/ 1485900 w 1682750"/>
                    <a:gd name="connsiteY34" fmla="*/ 2089150 h 2400300"/>
                    <a:gd name="connsiteX35" fmla="*/ 1543050 w 1682750"/>
                    <a:gd name="connsiteY35" fmla="*/ 2146300 h 2400300"/>
                    <a:gd name="connsiteX36" fmla="*/ 1562100 w 1682750"/>
                    <a:gd name="connsiteY36" fmla="*/ 2222500 h 2400300"/>
                    <a:gd name="connsiteX37" fmla="*/ 1549400 w 1682750"/>
                    <a:gd name="connsiteY37" fmla="*/ 2298700 h 2400300"/>
                    <a:gd name="connsiteX38" fmla="*/ 1600200 w 1682750"/>
                    <a:gd name="connsiteY38" fmla="*/ 2368550 h 2400300"/>
                    <a:gd name="connsiteX39" fmla="*/ 1682750 w 1682750"/>
                    <a:gd name="connsiteY39" fmla="*/ 2400300 h 2400300"/>
                    <a:gd name="connsiteX0" fmla="*/ 0 w 1682750"/>
                    <a:gd name="connsiteY0" fmla="*/ 0 h 2400300"/>
                    <a:gd name="connsiteX1" fmla="*/ 63500 w 1682750"/>
                    <a:gd name="connsiteY1" fmla="*/ 69850 h 2400300"/>
                    <a:gd name="connsiteX2" fmla="*/ 158750 w 1682750"/>
                    <a:gd name="connsiteY2" fmla="*/ 120650 h 2400300"/>
                    <a:gd name="connsiteX3" fmla="*/ 171450 w 1682750"/>
                    <a:gd name="connsiteY3" fmla="*/ 177800 h 2400300"/>
                    <a:gd name="connsiteX4" fmla="*/ 165100 w 1682750"/>
                    <a:gd name="connsiteY4" fmla="*/ 241300 h 2400300"/>
                    <a:gd name="connsiteX5" fmla="*/ 171450 w 1682750"/>
                    <a:gd name="connsiteY5" fmla="*/ 311150 h 2400300"/>
                    <a:gd name="connsiteX6" fmla="*/ 146050 w 1682750"/>
                    <a:gd name="connsiteY6" fmla="*/ 342900 h 2400300"/>
                    <a:gd name="connsiteX7" fmla="*/ 165100 w 1682750"/>
                    <a:gd name="connsiteY7" fmla="*/ 419100 h 2400300"/>
                    <a:gd name="connsiteX8" fmla="*/ 196850 w 1682750"/>
                    <a:gd name="connsiteY8" fmla="*/ 476250 h 2400300"/>
                    <a:gd name="connsiteX9" fmla="*/ 234950 w 1682750"/>
                    <a:gd name="connsiteY9" fmla="*/ 501650 h 2400300"/>
                    <a:gd name="connsiteX10" fmla="*/ 209550 w 1682750"/>
                    <a:gd name="connsiteY10" fmla="*/ 584200 h 2400300"/>
                    <a:gd name="connsiteX11" fmla="*/ 222250 w 1682750"/>
                    <a:gd name="connsiteY11" fmla="*/ 628650 h 2400300"/>
                    <a:gd name="connsiteX12" fmla="*/ 266700 w 1682750"/>
                    <a:gd name="connsiteY12" fmla="*/ 698500 h 2400300"/>
                    <a:gd name="connsiteX13" fmla="*/ 298450 w 1682750"/>
                    <a:gd name="connsiteY13" fmla="*/ 800100 h 2400300"/>
                    <a:gd name="connsiteX14" fmla="*/ 247650 w 1682750"/>
                    <a:gd name="connsiteY14" fmla="*/ 838200 h 2400300"/>
                    <a:gd name="connsiteX15" fmla="*/ 241300 w 1682750"/>
                    <a:gd name="connsiteY15" fmla="*/ 914400 h 2400300"/>
                    <a:gd name="connsiteX16" fmla="*/ 266700 w 1682750"/>
                    <a:gd name="connsiteY16" fmla="*/ 965200 h 2400300"/>
                    <a:gd name="connsiteX17" fmla="*/ 266700 w 1682750"/>
                    <a:gd name="connsiteY17" fmla="*/ 1085850 h 2400300"/>
                    <a:gd name="connsiteX18" fmla="*/ 292100 w 1682750"/>
                    <a:gd name="connsiteY18" fmla="*/ 1123950 h 2400300"/>
                    <a:gd name="connsiteX19" fmla="*/ 400050 w 1682750"/>
                    <a:gd name="connsiteY19" fmla="*/ 1098550 h 2400300"/>
                    <a:gd name="connsiteX20" fmla="*/ 495300 w 1682750"/>
                    <a:gd name="connsiteY20" fmla="*/ 977900 h 2400300"/>
                    <a:gd name="connsiteX21" fmla="*/ 590550 w 1682750"/>
                    <a:gd name="connsiteY21" fmla="*/ 908050 h 2400300"/>
                    <a:gd name="connsiteX22" fmla="*/ 698500 w 1682750"/>
                    <a:gd name="connsiteY22" fmla="*/ 952500 h 2400300"/>
                    <a:gd name="connsiteX23" fmla="*/ 762000 w 1682750"/>
                    <a:gd name="connsiteY23" fmla="*/ 933450 h 2400300"/>
                    <a:gd name="connsiteX24" fmla="*/ 928688 w 1682750"/>
                    <a:gd name="connsiteY24" fmla="*/ 1012825 h 2400300"/>
                    <a:gd name="connsiteX25" fmla="*/ 1027113 w 1682750"/>
                    <a:gd name="connsiteY25" fmla="*/ 1144588 h 2400300"/>
                    <a:gd name="connsiteX26" fmla="*/ 1066800 w 1682750"/>
                    <a:gd name="connsiteY26" fmla="*/ 1238250 h 2400300"/>
                    <a:gd name="connsiteX27" fmla="*/ 1231900 w 1682750"/>
                    <a:gd name="connsiteY27" fmla="*/ 1314450 h 2400300"/>
                    <a:gd name="connsiteX28" fmla="*/ 1282700 w 1682750"/>
                    <a:gd name="connsiteY28" fmla="*/ 1384300 h 2400300"/>
                    <a:gd name="connsiteX29" fmla="*/ 1301750 w 1682750"/>
                    <a:gd name="connsiteY29" fmla="*/ 1511300 h 2400300"/>
                    <a:gd name="connsiteX30" fmla="*/ 1244600 w 1682750"/>
                    <a:gd name="connsiteY30" fmla="*/ 1606550 h 2400300"/>
                    <a:gd name="connsiteX31" fmla="*/ 1250950 w 1682750"/>
                    <a:gd name="connsiteY31" fmla="*/ 1746250 h 2400300"/>
                    <a:gd name="connsiteX32" fmla="*/ 1327150 w 1682750"/>
                    <a:gd name="connsiteY32" fmla="*/ 1898650 h 2400300"/>
                    <a:gd name="connsiteX33" fmla="*/ 1460500 w 1682750"/>
                    <a:gd name="connsiteY33" fmla="*/ 2006600 h 2400300"/>
                    <a:gd name="connsiteX34" fmla="*/ 1485900 w 1682750"/>
                    <a:gd name="connsiteY34" fmla="*/ 2089150 h 2400300"/>
                    <a:gd name="connsiteX35" fmla="*/ 1543050 w 1682750"/>
                    <a:gd name="connsiteY35" fmla="*/ 2146300 h 2400300"/>
                    <a:gd name="connsiteX36" fmla="*/ 1562100 w 1682750"/>
                    <a:gd name="connsiteY36" fmla="*/ 2222500 h 2400300"/>
                    <a:gd name="connsiteX37" fmla="*/ 1549400 w 1682750"/>
                    <a:gd name="connsiteY37" fmla="*/ 2298700 h 2400300"/>
                    <a:gd name="connsiteX38" fmla="*/ 1600200 w 1682750"/>
                    <a:gd name="connsiteY38" fmla="*/ 2368550 h 2400300"/>
                    <a:gd name="connsiteX39" fmla="*/ 1682750 w 1682750"/>
                    <a:gd name="connsiteY39" fmla="*/ 2400300 h 2400300"/>
                    <a:gd name="connsiteX0" fmla="*/ 0 w 1682750"/>
                    <a:gd name="connsiteY0" fmla="*/ 0 h 2400300"/>
                    <a:gd name="connsiteX1" fmla="*/ 63500 w 1682750"/>
                    <a:gd name="connsiteY1" fmla="*/ 69850 h 2400300"/>
                    <a:gd name="connsiteX2" fmla="*/ 158750 w 1682750"/>
                    <a:gd name="connsiteY2" fmla="*/ 120650 h 2400300"/>
                    <a:gd name="connsiteX3" fmla="*/ 171450 w 1682750"/>
                    <a:gd name="connsiteY3" fmla="*/ 177800 h 2400300"/>
                    <a:gd name="connsiteX4" fmla="*/ 165100 w 1682750"/>
                    <a:gd name="connsiteY4" fmla="*/ 241300 h 2400300"/>
                    <a:gd name="connsiteX5" fmla="*/ 171450 w 1682750"/>
                    <a:gd name="connsiteY5" fmla="*/ 311150 h 2400300"/>
                    <a:gd name="connsiteX6" fmla="*/ 146050 w 1682750"/>
                    <a:gd name="connsiteY6" fmla="*/ 342900 h 2400300"/>
                    <a:gd name="connsiteX7" fmla="*/ 165100 w 1682750"/>
                    <a:gd name="connsiteY7" fmla="*/ 419100 h 2400300"/>
                    <a:gd name="connsiteX8" fmla="*/ 196850 w 1682750"/>
                    <a:gd name="connsiteY8" fmla="*/ 476250 h 2400300"/>
                    <a:gd name="connsiteX9" fmla="*/ 234950 w 1682750"/>
                    <a:gd name="connsiteY9" fmla="*/ 501650 h 2400300"/>
                    <a:gd name="connsiteX10" fmla="*/ 209550 w 1682750"/>
                    <a:gd name="connsiteY10" fmla="*/ 584200 h 2400300"/>
                    <a:gd name="connsiteX11" fmla="*/ 222250 w 1682750"/>
                    <a:gd name="connsiteY11" fmla="*/ 628650 h 2400300"/>
                    <a:gd name="connsiteX12" fmla="*/ 266700 w 1682750"/>
                    <a:gd name="connsiteY12" fmla="*/ 698500 h 2400300"/>
                    <a:gd name="connsiteX13" fmla="*/ 298450 w 1682750"/>
                    <a:gd name="connsiteY13" fmla="*/ 800100 h 2400300"/>
                    <a:gd name="connsiteX14" fmla="*/ 247650 w 1682750"/>
                    <a:gd name="connsiteY14" fmla="*/ 838200 h 2400300"/>
                    <a:gd name="connsiteX15" fmla="*/ 241300 w 1682750"/>
                    <a:gd name="connsiteY15" fmla="*/ 914400 h 2400300"/>
                    <a:gd name="connsiteX16" fmla="*/ 266700 w 1682750"/>
                    <a:gd name="connsiteY16" fmla="*/ 965200 h 2400300"/>
                    <a:gd name="connsiteX17" fmla="*/ 266700 w 1682750"/>
                    <a:gd name="connsiteY17" fmla="*/ 1085850 h 2400300"/>
                    <a:gd name="connsiteX18" fmla="*/ 292100 w 1682750"/>
                    <a:gd name="connsiteY18" fmla="*/ 1123950 h 2400300"/>
                    <a:gd name="connsiteX19" fmla="*/ 400050 w 1682750"/>
                    <a:gd name="connsiteY19" fmla="*/ 1098550 h 2400300"/>
                    <a:gd name="connsiteX20" fmla="*/ 495300 w 1682750"/>
                    <a:gd name="connsiteY20" fmla="*/ 977900 h 2400300"/>
                    <a:gd name="connsiteX21" fmla="*/ 590550 w 1682750"/>
                    <a:gd name="connsiteY21" fmla="*/ 908050 h 2400300"/>
                    <a:gd name="connsiteX22" fmla="*/ 698500 w 1682750"/>
                    <a:gd name="connsiteY22" fmla="*/ 952500 h 2400300"/>
                    <a:gd name="connsiteX23" fmla="*/ 814388 w 1682750"/>
                    <a:gd name="connsiteY23" fmla="*/ 985838 h 2400300"/>
                    <a:gd name="connsiteX24" fmla="*/ 928688 w 1682750"/>
                    <a:gd name="connsiteY24" fmla="*/ 1012825 h 2400300"/>
                    <a:gd name="connsiteX25" fmla="*/ 1027113 w 1682750"/>
                    <a:gd name="connsiteY25" fmla="*/ 1144588 h 2400300"/>
                    <a:gd name="connsiteX26" fmla="*/ 1066800 w 1682750"/>
                    <a:gd name="connsiteY26" fmla="*/ 1238250 h 2400300"/>
                    <a:gd name="connsiteX27" fmla="*/ 1231900 w 1682750"/>
                    <a:gd name="connsiteY27" fmla="*/ 1314450 h 2400300"/>
                    <a:gd name="connsiteX28" fmla="*/ 1282700 w 1682750"/>
                    <a:gd name="connsiteY28" fmla="*/ 1384300 h 2400300"/>
                    <a:gd name="connsiteX29" fmla="*/ 1301750 w 1682750"/>
                    <a:gd name="connsiteY29" fmla="*/ 1511300 h 2400300"/>
                    <a:gd name="connsiteX30" fmla="*/ 1244600 w 1682750"/>
                    <a:gd name="connsiteY30" fmla="*/ 1606550 h 2400300"/>
                    <a:gd name="connsiteX31" fmla="*/ 1250950 w 1682750"/>
                    <a:gd name="connsiteY31" fmla="*/ 1746250 h 2400300"/>
                    <a:gd name="connsiteX32" fmla="*/ 1327150 w 1682750"/>
                    <a:gd name="connsiteY32" fmla="*/ 1898650 h 2400300"/>
                    <a:gd name="connsiteX33" fmla="*/ 1460500 w 1682750"/>
                    <a:gd name="connsiteY33" fmla="*/ 2006600 h 2400300"/>
                    <a:gd name="connsiteX34" fmla="*/ 1485900 w 1682750"/>
                    <a:gd name="connsiteY34" fmla="*/ 2089150 h 2400300"/>
                    <a:gd name="connsiteX35" fmla="*/ 1543050 w 1682750"/>
                    <a:gd name="connsiteY35" fmla="*/ 2146300 h 2400300"/>
                    <a:gd name="connsiteX36" fmla="*/ 1562100 w 1682750"/>
                    <a:gd name="connsiteY36" fmla="*/ 2222500 h 2400300"/>
                    <a:gd name="connsiteX37" fmla="*/ 1549400 w 1682750"/>
                    <a:gd name="connsiteY37" fmla="*/ 2298700 h 2400300"/>
                    <a:gd name="connsiteX38" fmla="*/ 1600200 w 1682750"/>
                    <a:gd name="connsiteY38" fmla="*/ 2368550 h 2400300"/>
                    <a:gd name="connsiteX39" fmla="*/ 1682750 w 1682750"/>
                    <a:gd name="connsiteY39" fmla="*/ 2400300 h 2400300"/>
                    <a:gd name="connsiteX0" fmla="*/ 0 w 1682750"/>
                    <a:gd name="connsiteY0" fmla="*/ 0 h 2400300"/>
                    <a:gd name="connsiteX1" fmla="*/ 63500 w 1682750"/>
                    <a:gd name="connsiteY1" fmla="*/ 69850 h 2400300"/>
                    <a:gd name="connsiteX2" fmla="*/ 158750 w 1682750"/>
                    <a:gd name="connsiteY2" fmla="*/ 120650 h 2400300"/>
                    <a:gd name="connsiteX3" fmla="*/ 171450 w 1682750"/>
                    <a:gd name="connsiteY3" fmla="*/ 177800 h 2400300"/>
                    <a:gd name="connsiteX4" fmla="*/ 165100 w 1682750"/>
                    <a:gd name="connsiteY4" fmla="*/ 241300 h 2400300"/>
                    <a:gd name="connsiteX5" fmla="*/ 171450 w 1682750"/>
                    <a:gd name="connsiteY5" fmla="*/ 311150 h 2400300"/>
                    <a:gd name="connsiteX6" fmla="*/ 146050 w 1682750"/>
                    <a:gd name="connsiteY6" fmla="*/ 342900 h 2400300"/>
                    <a:gd name="connsiteX7" fmla="*/ 165100 w 1682750"/>
                    <a:gd name="connsiteY7" fmla="*/ 419100 h 2400300"/>
                    <a:gd name="connsiteX8" fmla="*/ 196850 w 1682750"/>
                    <a:gd name="connsiteY8" fmla="*/ 476250 h 2400300"/>
                    <a:gd name="connsiteX9" fmla="*/ 234950 w 1682750"/>
                    <a:gd name="connsiteY9" fmla="*/ 501650 h 2400300"/>
                    <a:gd name="connsiteX10" fmla="*/ 209550 w 1682750"/>
                    <a:gd name="connsiteY10" fmla="*/ 584200 h 2400300"/>
                    <a:gd name="connsiteX11" fmla="*/ 222250 w 1682750"/>
                    <a:gd name="connsiteY11" fmla="*/ 628650 h 2400300"/>
                    <a:gd name="connsiteX12" fmla="*/ 266700 w 1682750"/>
                    <a:gd name="connsiteY12" fmla="*/ 698500 h 2400300"/>
                    <a:gd name="connsiteX13" fmla="*/ 298450 w 1682750"/>
                    <a:gd name="connsiteY13" fmla="*/ 800100 h 2400300"/>
                    <a:gd name="connsiteX14" fmla="*/ 247650 w 1682750"/>
                    <a:gd name="connsiteY14" fmla="*/ 838200 h 2400300"/>
                    <a:gd name="connsiteX15" fmla="*/ 241300 w 1682750"/>
                    <a:gd name="connsiteY15" fmla="*/ 914400 h 2400300"/>
                    <a:gd name="connsiteX16" fmla="*/ 266700 w 1682750"/>
                    <a:gd name="connsiteY16" fmla="*/ 965200 h 2400300"/>
                    <a:gd name="connsiteX17" fmla="*/ 266700 w 1682750"/>
                    <a:gd name="connsiteY17" fmla="*/ 1085850 h 2400300"/>
                    <a:gd name="connsiteX18" fmla="*/ 292100 w 1682750"/>
                    <a:gd name="connsiteY18" fmla="*/ 1123950 h 2400300"/>
                    <a:gd name="connsiteX19" fmla="*/ 400050 w 1682750"/>
                    <a:gd name="connsiteY19" fmla="*/ 1098550 h 2400300"/>
                    <a:gd name="connsiteX20" fmla="*/ 495300 w 1682750"/>
                    <a:gd name="connsiteY20" fmla="*/ 977900 h 2400300"/>
                    <a:gd name="connsiteX21" fmla="*/ 628650 w 1682750"/>
                    <a:gd name="connsiteY21" fmla="*/ 931863 h 2400300"/>
                    <a:gd name="connsiteX22" fmla="*/ 698500 w 1682750"/>
                    <a:gd name="connsiteY22" fmla="*/ 952500 h 2400300"/>
                    <a:gd name="connsiteX23" fmla="*/ 814388 w 1682750"/>
                    <a:gd name="connsiteY23" fmla="*/ 985838 h 2400300"/>
                    <a:gd name="connsiteX24" fmla="*/ 928688 w 1682750"/>
                    <a:gd name="connsiteY24" fmla="*/ 1012825 h 2400300"/>
                    <a:gd name="connsiteX25" fmla="*/ 1027113 w 1682750"/>
                    <a:gd name="connsiteY25" fmla="*/ 1144588 h 2400300"/>
                    <a:gd name="connsiteX26" fmla="*/ 1066800 w 1682750"/>
                    <a:gd name="connsiteY26" fmla="*/ 1238250 h 2400300"/>
                    <a:gd name="connsiteX27" fmla="*/ 1231900 w 1682750"/>
                    <a:gd name="connsiteY27" fmla="*/ 1314450 h 2400300"/>
                    <a:gd name="connsiteX28" fmla="*/ 1282700 w 1682750"/>
                    <a:gd name="connsiteY28" fmla="*/ 1384300 h 2400300"/>
                    <a:gd name="connsiteX29" fmla="*/ 1301750 w 1682750"/>
                    <a:gd name="connsiteY29" fmla="*/ 1511300 h 2400300"/>
                    <a:gd name="connsiteX30" fmla="*/ 1244600 w 1682750"/>
                    <a:gd name="connsiteY30" fmla="*/ 1606550 h 2400300"/>
                    <a:gd name="connsiteX31" fmla="*/ 1250950 w 1682750"/>
                    <a:gd name="connsiteY31" fmla="*/ 1746250 h 2400300"/>
                    <a:gd name="connsiteX32" fmla="*/ 1327150 w 1682750"/>
                    <a:gd name="connsiteY32" fmla="*/ 1898650 h 2400300"/>
                    <a:gd name="connsiteX33" fmla="*/ 1460500 w 1682750"/>
                    <a:gd name="connsiteY33" fmla="*/ 2006600 h 2400300"/>
                    <a:gd name="connsiteX34" fmla="*/ 1485900 w 1682750"/>
                    <a:gd name="connsiteY34" fmla="*/ 2089150 h 2400300"/>
                    <a:gd name="connsiteX35" fmla="*/ 1543050 w 1682750"/>
                    <a:gd name="connsiteY35" fmla="*/ 2146300 h 2400300"/>
                    <a:gd name="connsiteX36" fmla="*/ 1562100 w 1682750"/>
                    <a:gd name="connsiteY36" fmla="*/ 2222500 h 2400300"/>
                    <a:gd name="connsiteX37" fmla="*/ 1549400 w 1682750"/>
                    <a:gd name="connsiteY37" fmla="*/ 2298700 h 2400300"/>
                    <a:gd name="connsiteX38" fmla="*/ 1600200 w 1682750"/>
                    <a:gd name="connsiteY38" fmla="*/ 2368550 h 2400300"/>
                    <a:gd name="connsiteX39" fmla="*/ 1682750 w 1682750"/>
                    <a:gd name="connsiteY39" fmla="*/ 2400300 h 2400300"/>
                    <a:gd name="connsiteX0" fmla="*/ 0 w 1682750"/>
                    <a:gd name="connsiteY0" fmla="*/ 0 h 2400300"/>
                    <a:gd name="connsiteX1" fmla="*/ 63500 w 1682750"/>
                    <a:gd name="connsiteY1" fmla="*/ 69850 h 2400300"/>
                    <a:gd name="connsiteX2" fmla="*/ 158750 w 1682750"/>
                    <a:gd name="connsiteY2" fmla="*/ 120650 h 2400300"/>
                    <a:gd name="connsiteX3" fmla="*/ 171450 w 1682750"/>
                    <a:gd name="connsiteY3" fmla="*/ 177800 h 2400300"/>
                    <a:gd name="connsiteX4" fmla="*/ 165100 w 1682750"/>
                    <a:gd name="connsiteY4" fmla="*/ 241300 h 2400300"/>
                    <a:gd name="connsiteX5" fmla="*/ 171450 w 1682750"/>
                    <a:gd name="connsiteY5" fmla="*/ 311150 h 2400300"/>
                    <a:gd name="connsiteX6" fmla="*/ 146050 w 1682750"/>
                    <a:gd name="connsiteY6" fmla="*/ 342900 h 2400300"/>
                    <a:gd name="connsiteX7" fmla="*/ 165100 w 1682750"/>
                    <a:gd name="connsiteY7" fmla="*/ 419100 h 2400300"/>
                    <a:gd name="connsiteX8" fmla="*/ 196850 w 1682750"/>
                    <a:gd name="connsiteY8" fmla="*/ 476250 h 2400300"/>
                    <a:gd name="connsiteX9" fmla="*/ 234950 w 1682750"/>
                    <a:gd name="connsiteY9" fmla="*/ 501650 h 2400300"/>
                    <a:gd name="connsiteX10" fmla="*/ 209550 w 1682750"/>
                    <a:gd name="connsiteY10" fmla="*/ 584200 h 2400300"/>
                    <a:gd name="connsiteX11" fmla="*/ 222250 w 1682750"/>
                    <a:gd name="connsiteY11" fmla="*/ 628650 h 2400300"/>
                    <a:gd name="connsiteX12" fmla="*/ 266700 w 1682750"/>
                    <a:gd name="connsiteY12" fmla="*/ 698500 h 2400300"/>
                    <a:gd name="connsiteX13" fmla="*/ 298450 w 1682750"/>
                    <a:gd name="connsiteY13" fmla="*/ 800100 h 2400300"/>
                    <a:gd name="connsiteX14" fmla="*/ 247650 w 1682750"/>
                    <a:gd name="connsiteY14" fmla="*/ 838200 h 2400300"/>
                    <a:gd name="connsiteX15" fmla="*/ 241300 w 1682750"/>
                    <a:gd name="connsiteY15" fmla="*/ 914400 h 2400300"/>
                    <a:gd name="connsiteX16" fmla="*/ 266700 w 1682750"/>
                    <a:gd name="connsiteY16" fmla="*/ 965200 h 2400300"/>
                    <a:gd name="connsiteX17" fmla="*/ 266700 w 1682750"/>
                    <a:gd name="connsiteY17" fmla="*/ 1085850 h 2400300"/>
                    <a:gd name="connsiteX18" fmla="*/ 292100 w 1682750"/>
                    <a:gd name="connsiteY18" fmla="*/ 1123950 h 2400300"/>
                    <a:gd name="connsiteX19" fmla="*/ 400050 w 1682750"/>
                    <a:gd name="connsiteY19" fmla="*/ 1098550 h 2400300"/>
                    <a:gd name="connsiteX20" fmla="*/ 542925 w 1682750"/>
                    <a:gd name="connsiteY20" fmla="*/ 1016000 h 2400300"/>
                    <a:gd name="connsiteX21" fmla="*/ 628650 w 1682750"/>
                    <a:gd name="connsiteY21" fmla="*/ 931863 h 2400300"/>
                    <a:gd name="connsiteX22" fmla="*/ 698500 w 1682750"/>
                    <a:gd name="connsiteY22" fmla="*/ 952500 h 2400300"/>
                    <a:gd name="connsiteX23" fmla="*/ 814388 w 1682750"/>
                    <a:gd name="connsiteY23" fmla="*/ 985838 h 2400300"/>
                    <a:gd name="connsiteX24" fmla="*/ 928688 w 1682750"/>
                    <a:gd name="connsiteY24" fmla="*/ 1012825 h 2400300"/>
                    <a:gd name="connsiteX25" fmla="*/ 1027113 w 1682750"/>
                    <a:gd name="connsiteY25" fmla="*/ 1144588 h 2400300"/>
                    <a:gd name="connsiteX26" fmla="*/ 1066800 w 1682750"/>
                    <a:gd name="connsiteY26" fmla="*/ 1238250 h 2400300"/>
                    <a:gd name="connsiteX27" fmla="*/ 1231900 w 1682750"/>
                    <a:gd name="connsiteY27" fmla="*/ 1314450 h 2400300"/>
                    <a:gd name="connsiteX28" fmla="*/ 1282700 w 1682750"/>
                    <a:gd name="connsiteY28" fmla="*/ 1384300 h 2400300"/>
                    <a:gd name="connsiteX29" fmla="*/ 1301750 w 1682750"/>
                    <a:gd name="connsiteY29" fmla="*/ 1511300 h 2400300"/>
                    <a:gd name="connsiteX30" fmla="*/ 1244600 w 1682750"/>
                    <a:gd name="connsiteY30" fmla="*/ 1606550 h 2400300"/>
                    <a:gd name="connsiteX31" fmla="*/ 1250950 w 1682750"/>
                    <a:gd name="connsiteY31" fmla="*/ 1746250 h 2400300"/>
                    <a:gd name="connsiteX32" fmla="*/ 1327150 w 1682750"/>
                    <a:gd name="connsiteY32" fmla="*/ 1898650 h 2400300"/>
                    <a:gd name="connsiteX33" fmla="*/ 1460500 w 1682750"/>
                    <a:gd name="connsiteY33" fmla="*/ 2006600 h 2400300"/>
                    <a:gd name="connsiteX34" fmla="*/ 1485900 w 1682750"/>
                    <a:gd name="connsiteY34" fmla="*/ 2089150 h 2400300"/>
                    <a:gd name="connsiteX35" fmla="*/ 1543050 w 1682750"/>
                    <a:gd name="connsiteY35" fmla="*/ 2146300 h 2400300"/>
                    <a:gd name="connsiteX36" fmla="*/ 1562100 w 1682750"/>
                    <a:gd name="connsiteY36" fmla="*/ 2222500 h 2400300"/>
                    <a:gd name="connsiteX37" fmla="*/ 1549400 w 1682750"/>
                    <a:gd name="connsiteY37" fmla="*/ 2298700 h 2400300"/>
                    <a:gd name="connsiteX38" fmla="*/ 1600200 w 1682750"/>
                    <a:gd name="connsiteY38" fmla="*/ 2368550 h 2400300"/>
                    <a:gd name="connsiteX39" fmla="*/ 1682750 w 1682750"/>
                    <a:gd name="connsiteY39" fmla="*/ 2400300 h 2400300"/>
                    <a:gd name="connsiteX0" fmla="*/ 0 w 1682750"/>
                    <a:gd name="connsiteY0" fmla="*/ 0 h 2400300"/>
                    <a:gd name="connsiteX1" fmla="*/ 63500 w 1682750"/>
                    <a:gd name="connsiteY1" fmla="*/ 69850 h 2400300"/>
                    <a:gd name="connsiteX2" fmla="*/ 158750 w 1682750"/>
                    <a:gd name="connsiteY2" fmla="*/ 120650 h 2400300"/>
                    <a:gd name="connsiteX3" fmla="*/ 171450 w 1682750"/>
                    <a:gd name="connsiteY3" fmla="*/ 177800 h 2400300"/>
                    <a:gd name="connsiteX4" fmla="*/ 165100 w 1682750"/>
                    <a:gd name="connsiteY4" fmla="*/ 241300 h 2400300"/>
                    <a:gd name="connsiteX5" fmla="*/ 171450 w 1682750"/>
                    <a:gd name="connsiteY5" fmla="*/ 311150 h 2400300"/>
                    <a:gd name="connsiteX6" fmla="*/ 146050 w 1682750"/>
                    <a:gd name="connsiteY6" fmla="*/ 342900 h 2400300"/>
                    <a:gd name="connsiteX7" fmla="*/ 165100 w 1682750"/>
                    <a:gd name="connsiteY7" fmla="*/ 419100 h 2400300"/>
                    <a:gd name="connsiteX8" fmla="*/ 196850 w 1682750"/>
                    <a:gd name="connsiteY8" fmla="*/ 476250 h 2400300"/>
                    <a:gd name="connsiteX9" fmla="*/ 234950 w 1682750"/>
                    <a:gd name="connsiteY9" fmla="*/ 501650 h 2400300"/>
                    <a:gd name="connsiteX10" fmla="*/ 209550 w 1682750"/>
                    <a:gd name="connsiteY10" fmla="*/ 584200 h 2400300"/>
                    <a:gd name="connsiteX11" fmla="*/ 222250 w 1682750"/>
                    <a:gd name="connsiteY11" fmla="*/ 628650 h 2400300"/>
                    <a:gd name="connsiteX12" fmla="*/ 266700 w 1682750"/>
                    <a:gd name="connsiteY12" fmla="*/ 698500 h 2400300"/>
                    <a:gd name="connsiteX13" fmla="*/ 298450 w 1682750"/>
                    <a:gd name="connsiteY13" fmla="*/ 800100 h 2400300"/>
                    <a:gd name="connsiteX14" fmla="*/ 247650 w 1682750"/>
                    <a:gd name="connsiteY14" fmla="*/ 838200 h 2400300"/>
                    <a:gd name="connsiteX15" fmla="*/ 241300 w 1682750"/>
                    <a:gd name="connsiteY15" fmla="*/ 914400 h 2400300"/>
                    <a:gd name="connsiteX16" fmla="*/ 266700 w 1682750"/>
                    <a:gd name="connsiteY16" fmla="*/ 965200 h 2400300"/>
                    <a:gd name="connsiteX17" fmla="*/ 266700 w 1682750"/>
                    <a:gd name="connsiteY17" fmla="*/ 1085850 h 2400300"/>
                    <a:gd name="connsiteX18" fmla="*/ 292100 w 1682750"/>
                    <a:gd name="connsiteY18" fmla="*/ 1123950 h 2400300"/>
                    <a:gd name="connsiteX19" fmla="*/ 414338 w 1682750"/>
                    <a:gd name="connsiteY19" fmla="*/ 1131887 h 2400300"/>
                    <a:gd name="connsiteX20" fmla="*/ 542925 w 1682750"/>
                    <a:gd name="connsiteY20" fmla="*/ 1016000 h 2400300"/>
                    <a:gd name="connsiteX21" fmla="*/ 628650 w 1682750"/>
                    <a:gd name="connsiteY21" fmla="*/ 931863 h 2400300"/>
                    <a:gd name="connsiteX22" fmla="*/ 698500 w 1682750"/>
                    <a:gd name="connsiteY22" fmla="*/ 952500 h 2400300"/>
                    <a:gd name="connsiteX23" fmla="*/ 814388 w 1682750"/>
                    <a:gd name="connsiteY23" fmla="*/ 985838 h 2400300"/>
                    <a:gd name="connsiteX24" fmla="*/ 928688 w 1682750"/>
                    <a:gd name="connsiteY24" fmla="*/ 1012825 h 2400300"/>
                    <a:gd name="connsiteX25" fmla="*/ 1027113 w 1682750"/>
                    <a:gd name="connsiteY25" fmla="*/ 1144588 h 2400300"/>
                    <a:gd name="connsiteX26" fmla="*/ 1066800 w 1682750"/>
                    <a:gd name="connsiteY26" fmla="*/ 1238250 h 2400300"/>
                    <a:gd name="connsiteX27" fmla="*/ 1231900 w 1682750"/>
                    <a:gd name="connsiteY27" fmla="*/ 1314450 h 2400300"/>
                    <a:gd name="connsiteX28" fmla="*/ 1282700 w 1682750"/>
                    <a:gd name="connsiteY28" fmla="*/ 1384300 h 2400300"/>
                    <a:gd name="connsiteX29" fmla="*/ 1301750 w 1682750"/>
                    <a:gd name="connsiteY29" fmla="*/ 1511300 h 2400300"/>
                    <a:gd name="connsiteX30" fmla="*/ 1244600 w 1682750"/>
                    <a:gd name="connsiteY30" fmla="*/ 1606550 h 2400300"/>
                    <a:gd name="connsiteX31" fmla="*/ 1250950 w 1682750"/>
                    <a:gd name="connsiteY31" fmla="*/ 1746250 h 2400300"/>
                    <a:gd name="connsiteX32" fmla="*/ 1327150 w 1682750"/>
                    <a:gd name="connsiteY32" fmla="*/ 1898650 h 2400300"/>
                    <a:gd name="connsiteX33" fmla="*/ 1460500 w 1682750"/>
                    <a:gd name="connsiteY33" fmla="*/ 2006600 h 2400300"/>
                    <a:gd name="connsiteX34" fmla="*/ 1485900 w 1682750"/>
                    <a:gd name="connsiteY34" fmla="*/ 2089150 h 2400300"/>
                    <a:gd name="connsiteX35" fmla="*/ 1543050 w 1682750"/>
                    <a:gd name="connsiteY35" fmla="*/ 2146300 h 2400300"/>
                    <a:gd name="connsiteX36" fmla="*/ 1562100 w 1682750"/>
                    <a:gd name="connsiteY36" fmla="*/ 2222500 h 2400300"/>
                    <a:gd name="connsiteX37" fmla="*/ 1549400 w 1682750"/>
                    <a:gd name="connsiteY37" fmla="*/ 2298700 h 2400300"/>
                    <a:gd name="connsiteX38" fmla="*/ 1600200 w 1682750"/>
                    <a:gd name="connsiteY38" fmla="*/ 2368550 h 2400300"/>
                    <a:gd name="connsiteX39" fmla="*/ 1682750 w 1682750"/>
                    <a:gd name="connsiteY39" fmla="*/ 2400300 h 2400300"/>
                    <a:gd name="connsiteX0" fmla="*/ 0 w 1682750"/>
                    <a:gd name="connsiteY0" fmla="*/ 0 h 2400300"/>
                    <a:gd name="connsiteX1" fmla="*/ 63500 w 1682750"/>
                    <a:gd name="connsiteY1" fmla="*/ 69850 h 2400300"/>
                    <a:gd name="connsiteX2" fmla="*/ 158750 w 1682750"/>
                    <a:gd name="connsiteY2" fmla="*/ 120650 h 2400300"/>
                    <a:gd name="connsiteX3" fmla="*/ 171450 w 1682750"/>
                    <a:gd name="connsiteY3" fmla="*/ 177800 h 2400300"/>
                    <a:gd name="connsiteX4" fmla="*/ 165100 w 1682750"/>
                    <a:gd name="connsiteY4" fmla="*/ 241300 h 2400300"/>
                    <a:gd name="connsiteX5" fmla="*/ 171450 w 1682750"/>
                    <a:gd name="connsiteY5" fmla="*/ 311150 h 2400300"/>
                    <a:gd name="connsiteX6" fmla="*/ 146050 w 1682750"/>
                    <a:gd name="connsiteY6" fmla="*/ 342900 h 2400300"/>
                    <a:gd name="connsiteX7" fmla="*/ 165100 w 1682750"/>
                    <a:gd name="connsiteY7" fmla="*/ 419100 h 2400300"/>
                    <a:gd name="connsiteX8" fmla="*/ 196850 w 1682750"/>
                    <a:gd name="connsiteY8" fmla="*/ 476250 h 2400300"/>
                    <a:gd name="connsiteX9" fmla="*/ 234950 w 1682750"/>
                    <a:gd name="connsiteY9" fmla="*/ 501650 h 2400300"/>
                    <a:gd name="connsiteX10" fmla="*/ 209550 w 1682750"/>
                    <a:gd name="connsiteY10" fmla="*/ 584200 h 2400300"/>
                    <a:gd name="connsiteX11" fmla="*/ 222250 w 1682750"/>
                    <a:gd name="connsiteY11" fmla="*/ 628650 h 2400300"/>
                    <a:gd name="connsiteX12" fmla="*/ 266700 w 1682750"/>
                    <a:gd name="connsiteY12" fmla="*/ 698500 h 2400300"/>
                    <a:gd name="connsiteX13" fmla="*/ 298450 w 1682750"/>
                    <a:gd name="connsiteY13" fmla="*/ 800100 h 2400300"/>
                    <a:gd name="connsiteX14" fmla="*/ 247650 w 1682750"/>
                    <a:gd name="connsiteY14" fmla="*/ 838200 h 2400300"/>
                    <a:gd name="connsiteX15" fmla="*/ 241300 w 1682750"/>
                    <a:gd name="connsiteY15" fmla="*/ 914400 h 2400300"/>
                    <a:gd name="connsiteX16" fmla="*/ 266700 w 1682750"/>
                    <a:gd name="connsiteY16" fmla="*/ 965200 h 2400300"/>
                    <a:gd name="connsiteX17" fmla="*/ 266700 w 1682750"/>
                    <a:gd name="connsiteY17" fmla="*/ 1085850 h 2400300"/>
                    <a:gd name="connsiteX18" fmla="*/ 330200 w 1682750"/>
                    <a:gd name="connsiteY18" fmla="*/ 1162050 h 2400300"/>
                    <a:gd name="connsiteX19" fmla="*/ 414338 w 1682750"/>
                    <a:gd name="connsiteY19" fmla="*/ 1131887 h 2400300"/>
                    <a:gd name="connsiteX20" fmla="*/ 542925 w 1682750"/>
                    <a:gd name="connsiteY20" fmla="*/ 1016000 h 2400300"/>
                    <a:gd name="connsiteX21" fmla="*/ 628650 w 1682750"/>
                    <a:gd name="connsiteY21" fmla="*/ 931863 h 2400300"/>
                    <a:gd name="connsiteX22" fmla="*/ 698500 w 1682750"/>
                    <a:gd name="connsiteY22" fmla="*/ 952500 h 2400300"/>
                    <a:gd name="connsiteX23" fmla="*/ 814388 w 1682750"/>
                    <a:gd name="connsiteY23" fmla="*/ 985838 h 2400300"/>
                    <a:gd name="connsiteX24" fmla="*/ 928688 w 1682750"/>
                    <a:gd name="connsiteY24" fmla="*/ 1012825 h 2400300"/>
                    <a:gd name="connsiteX25" fmla="*/ 1027113 w 1682750"/>
                    <a:gd name="connsiteY25" fmla="*/ 1144588 h 2400300"/>
                    <a:gd name="connsiteX26" fmla="*/ 1066800 w 1682750"/>
                    <a:gd name="connsiteY26" fmla="*/ 1238250 h 2400300"/>
                    <a:gd name="connsiteX27" fmla="*/ 1231900 w 1682750"/>
                    <a:gd name="connsiteY27" fmla="*/ 1314450 h 2400300"/>
                    <a:gd name="connsiteX28" fmla="*/ 1282700 w 1682750"/>
                    <a:gd name="connsiteY28" fmla="*/ 1384300 h 2400300"/>
                    <a:gd name="connsiteX29" fmla="*/ 1301750 w 1682750"/>
                    <a:gd name="connsiteY29" fmla="*/ 1511300 h 2400300"/>
                    <a:gd name="connsiteX30" fmla="*/ 1244600 w 1682750"/>
                    <a:gd name="connsiteY30" fmla="*/ 1606550 h 2400300"/>
                    <a:gd name="connsiteX31" fmla="*/ 1250950 w 1682750"/>
                    <a:gd name="connsiteY31" fmla="*/ 1746250 h 2400300"/>
                    <a:gd name="connsiteX32" fmla="*/ 1327150 w 1682750"/>
                    <a:gd name="connsiteY32" fmla="*/ 1898650 h 2400300"/>
                    <a:gd name="connsiteX33" fmla="*/ 1460500 w 1682750"/>
                    <a:gd name="connsiteY33" fmla="*/ 2006600 h 2400300"/>
                    <a:gd name="connsiteX34" fmla="*/ 1485900 w 1682750"/>
                    <a:gd name="connsiteY34" fmla="*/ 2089150 h 2400300"/>
                    <a:gd name="connsiteX35" fmla="*/ 1543050 w 1682750"/>
                    <a:gd name="connsiteY35" fmla="*/ 2146300 h 2400300"/>
                    <a:gd name="connsiteX36" fmla="*/ 1562100 w 1682750"/>
                    <a:gd name="connsiteY36" fmla="*/ 2222500 h 2400300"/>
                    <a:gd name="connsiteX37" fmla="*/ 1549400 w 1682750"/>
                    <a:gd name="connsiteY37" fmla="*/ 2298700 h 2400300"/>
                    <a:gd name="connsiteX38" fmla="*/ 1600200 w 1682750"/>
                    <a:gd name="connsiteY38" fmla="*/ 2368550 h 2400300"/>
                    <a:gd name="connsiteX39" fmla="*/ 1682750 w 1682750"/>
                    <a:gd name="connsiteY39" fmla="*/ 2400300 h 2400300"/>
                    <a:gd name="connsiteX0" fmla="*/ 0 w 1682750"/>
                    <a:gd name="connsiteY0" fmla="*/ 0 h 2400300"/>
                    <a:gd name="connsiteX1" fmla="*/ 63500 w 1682750"/>
                    <a:gd name="connsiteY1" fmla="*/ 69850 h 2400300"/>
                    <a:gd name="connsiteX2" fmla="*/ 158750 w 1682750"/>
                    <a:gd name="connsiteY2" fmla="*/ 120650 h 2400300"/>
                    <a:gd name="connsiteX3" fmla="*/ 171450 w 1682750"/>
                    <a:gd name="connsiteY3" fmla="*/ 177800 h 2400300"/>
                    <a:gd name="connsiteX4" fmla="*/ 165100 w 1682750"/>
                    <a:gd name="connsiteY4" fmla="*/ 241300 h 2400300"/>
                    <a:gd name="connsiteX5" fmla="*/ 171450 w 1682750"/>
                    <a:gd name="connsiteY5" fmla="*/ 311150 h 2400300"/>
                    <a:gd name="connsiteX6" fmla="*/ 146050 w 1682750"/>
                    <a:gd name="connsiteY6" fmla="*/ 342900 h 2400300"/>
                    <a:gd name="connsiteX7" fmla="*/ 165100 w 1682750"/>
                    <a:gd name="connsiteY7" fmla="*/ 419100 h 2400300"/>
                    <a:gd name="connsiteX8" fmla="*/ 196850 w 1682750"/>
                    <a:gd name="connsiteY8" fmla="*/ 476250 h 2400300"/>
                    <a:gd name="connsiteX9" fmla="*/ 234950 w 1682750"/>
                    <a:gd name="connsiteY9" fmla="*/ 501650 h 2400300"/>
                    <a:gd name="connsiteX10" fmla="*/ 209550 w 1682750"/>
                    <a:gd name="connsiteY10" fmla="*/ 584200 h 2400300"/>
                    <a:gd name="connsiteX11" fmla="*/ 222250 w 1682750"/>
                    <a:gd name="connsiteY11" fmla="*/ 628650 h 2400300"/>
                    <a:gd name="connsiteX12" fmla="*/ 266700 w 1682750"/>
                    <a:gd name="connsiteY12" fmla="*/ 698500 h 2400300"/>
                    <a:gd name="connsiteX13" fmla="*/ 298450 w 1682750"/>
                    <a:gd name="connsiteY13" fmla="*/ 800100 h 2400300"/>
                    <a:gd name="connsiteX14" fmla="*/ 247650 w 1682750"/>
                    <a:gd name="connsiteY14" fmla="*/ 838200 h 2400300"/>
                    <a:gd name="connsiteX15" fmla="*/ 241300 w 1682750"/>
                    <a:gd name="connsiteY15" fmla="*/ 914400 h 2400300"/>
                    <a:gd name="connsiteX16" fmla="*/ 266700 w 1682750"/>
                    <a:gd name="connsiteY16" fmla="*/ 965200 h 2400300"/>
                    <a:gd name="connsiteX17" fmla="*/ 266700 w 1682750"/>
                    <a:gd name="connsiteY17" fmla="*/ 1085850 h 2400300"/>
                    <a:gd name="connsiteX18" fmla="*/ 330200 w 1682750"/>
                    <a:gd name="connsiteY18" fmla="*/ 1162050 h 2400300"/>
                    <a:gd name="connsiteX19" fmla="*/ 414338 w 1682750"/>
                    <a:gd name="connsiteY19" fmla="*/ 1131887 h 2400300"/>
                    <a:gd name="connsiteX20" fmla="*/ 542925 w 1682750"/>
                    <a:gd name="connsiteY20" fmla="*/ 1016000 h 2400300"/>
                    <a:gd name="connsiteX21" fmla="*/ 628650 w 1682750"/>
                    <a:gd name="connsiteY21" fmla="*/ 931863 h 2400300"/>
                    <a:gd name="connsiteX22" fmla="*/ 698500 w 1682750"/>
                    <a:gd name="connsiteY22" fmla="*/ 952500 h 2400300"/>
                    <a:gd name="connsiteX23" fmla="*/ 814388 w 1682750"/>
                    <a:gd name="connsiteY23" fmla="*/ 985838 h 2400300"/>
                    <a:gd name="connsiteX24" fmla="*/ 928688 w 1682750"/>
                    <a:gd name="connsiteY24" fmla="*/ 1012825 h 2400300"/>
                    <a:gd name="connsiteX25" fmla="*/ 1027113 w 1682750"/>
                    <a:gd name="connsiteY25" fmla="*/ 1144588 h 2400300"/>
                    <a:gd name="connsiteX26" fmla="*/ 1090613 w 1682750"/>
                    <a:gd name="connsiteY26" fmla="*/ 1238250 h 2400300"/>
                    <a:gd name="connsiteX27" fmla="*/ 1231900 w 1682750"/>
                    <a:gd name="connsiteY27" fmla="*/ 1314450 h 2400300"/>
                    <a:gd name="connsiteX28" fmla="*/ 1282700 w 1682750"/>
                    <a:gd name="connsiteY28" fmla="*/ 1384300 h 2400300"/>
                    <a:gd name="connsiteX29" fmla="*/ 1301750 w 1682750"/>
                    <a:gd name="connsiteY29" fmla="*/ 1511300 h 2400300"/>
                    <a:gd name="connsiteX30" fmla="*/ 1244600 w 1682750"/>
                    <a:gd name="connsiteY30" fmla="*/ 1606550 h 2400300"/>
                    <a:gd name="connsiteX31" fmla="*/ 1250950 w 1682750"/>
                    <a:gd name="connsiteY31" fmla="*/ 1746250 h 2400300"/>
                    <a:gd name="connsiteX32" fmla="*/ 1327150 w 1682750"/>
                    <a:gd name="connsiteY32" fmla="*/ 1898650 h 2400300"/>
                    <a:gd name="connsiteX33" fmla="*/ 1460500 w 1682750"/>
                    <a:gd name="connsiteY33" fmla="*/ 2006600 h 2400300"/>
                    <a:gd name="connsiteX34" fmla="*/ 1485900 w 1682750"/>
                    <a:gd name="connsiteY34" fmla="*/ 2089150 h 2400300"/>
                    <a:gd name="connsiteX35" fmla="*/ 1543050 w 1682750"/>
                    <a:gd name="connsiteY35" fmla="*/ 2146300 h 2400300"/>
                    <a:gd name="connsiteX36" fmla="*/ 1562100 w 1682750"/>
                    <a:gd name="connsiteY36" fmla="*/ 2222500 h 2400300"/>
                    <a:gd name="connsiteX37" fmla="*/ 1549400 w 1682750"/>
                    <a:gd name="connsiteY37" fmla="*/ 2298700 h 2400300"/>
                    <a:gd name="connsiteX38" fmla="*/ 1600200 w 1682750"/>
                    <a:gd name="connsiteY38" fmla="*/ 2368550 h 2400300"/>
                    <a:gd name="connsiteX39" fmla="*/ 1682750 w 1682750"/>
                    <a:gd name="connsiteY39" fmla="*/ 2400300 h 2400300"/>
                    <a:gd name="connsiteX0" fmla="*/ 0 w 1682750"/>
                    <a:gd name="connsiteY0" fmla="*/ 0 h 2400300"/>
                    <a:gd name="connsiteX1" fmla="*/ 63500 w 1682750"/>
                    <a:gd name="connsiteY1" fmla="*/ 69850 h 2400300"/>
                    <a:gd name="connsiteX2" fmla="*/ 158750 w 1682750"/>
                    <a:gd name="connsiteY2" fmla="*/ 120650 h 2400300"/>
                    <a:gd name="connsiteX3" fmla="*/ 171450 w 1682750"/>
                    <a:gd name="connsiteY3" fmla="*/ 177800 h 2400300"/>
                    <a:gd name="connsiteX4" fmla="*/ 165100 w 1682750"/>
                    <a:gd name="connsiteY4" fmla="*/ 241300 h 2400300"/>
                    <a:gd name="connsiteX5" fmla="*/ 171450 w 1682750"/>
                    <a:gd name="connsiteY5" fmla="*/ 311150 h 2400300"/>
                    <a:gd name="connsiteX6" fmla="*/ 146050 w 1682750"/>
                    <a:gd name="connsiteY6" fmla="*/ 342900 h 2400300"/>
                    <a:gd name="connsiteX7" fmla="*/ 165100 w 1682750"/>
                    <a:gd name="connsiteY7" fmla="*/ 419100 h 2400300"/>
                    <a:gd name="connsiteX8" fmla="*/ 196850 w 1682750"/>
                    <a:gd name="connsiteY8" fmla="*/ 476250 h 2400300"/>
                    <a:gd name="connsiteX9" fmla="*/ 234950 w 1682750"/>
                    <a:gd name="connsiteY9" fmla="*/ 501650 h 2400300"/>
                    <a:gd name="connsiteX10" fmla="*/ 209550 w 1682750"/>
                    <a:gd name="connsiteY10" fmla="*/ 584200 h 2400300"/>
                    <a:gd name="connsiteX11" fmla="*/ 222250 w 1682750"/>
                    <a:gd name="connsiteY11" fmla="*/ 628650 h 2400300"/>
                    <a:gd name="connsiteX12" fmla="*/ 266700 w 1682750"/>
                    <a:gd name="connsiteY12" fmla="*/ 698500 h 2400300"/>
                    <a:gd name="connsiteX13" fmla="*/ 298450 w 1682750"/>
                    <a:gd name="connsiteY13" fmla="*/ 800100 h 2400300"/>
                    <a:gd name="connsiteX14" fmla="*/ 247650 w 1682750"/>
                    <a:gd name="connsiteY14" fmla="*/ 838200 h 2400300"/>
                    <a:gd name="connsiteX15" fmla="*/ 241300 w 1682750"/>
                    <a:gd name="connsiteY15" fmla="*/ 914400 h 2400300"/>
                    <a:gd name="connsiteX16" fmla="*/ 266700 w 1682750"/>
                    <a:gd name="connsiteY16" fmla="*/ 965200 h 2400300"/>
                    <a:gd name="connsiteX17" fmla="*/ 266700 w 1682750"/>
                    <a:gd name="connsiteY17" fmla="*/ 1085850 h 2400300"/>
                    <a:gd name="connsiteX18" fmla="*/ 330200 w 1682750"/>
                    <a:gd name="connsiteY18" fmla="*/ 1162050 h 2400300"/>
                    <a:gd name="connsiteX19" fmla="*/ 414338 w 1682750"/>
                    <a:gd name="connsiteY19" fmla="*/ 1131887 h 2400300"/>
                    <a:gd name="connsiteX20" fmla="*/ 542925 w 1682750"/>
                    <a:gd name="connsiteY20" fmla="*/ 1016000 h 2400300"/>
                    <a:gd name="connsiteX21" fmla="*/ 628650 w 1682750"/>
                    <a:gd name="connsiteY21" fmla="*/ 931863 h 2400300"/>
                    <a:gd name="connsiteX22" fmla="*/ 698500 w 1682750"/>
                    <a:gd name="connsiteY22" fmla="*/ 952500 h 2400300"/>
                    <a:gd name="connsiteX23" fmla="*/ 814388 w 1682750"/>
                    <a:gd name="connsiteY23" fmla="*/ 985838 h 2400300"/>
                    <a:gd name="connsiteX24" fmla="*/ 928688 w 1682750"/>
                    <a:gd name="connsiteY24" fmla="*/ 1012825 h 2400300"/>
                    <a:gd name="connsiteX25" fmla="*/ 989013 w 1682750"/>
                    <a:gd name="connsiteY25" fmla="*/ 1120775 h 2400300"/>
                    <a:gd name="connsiteX26" fmla="*/ 1090613 w 1682750"/>
                    <a:gd name="connsiteY26" fmla="*/ 1238250 h 2400300"/>
                    <a:gd name="connsiteX27" fmla="*/ 1231900 w 1682750"/>
                    <a:gd name="connsiteY27" fmla="*/ 1314450 h 2400300"/>
                    <a:gd name="connsiteX28" fmla="*/ 1282700 w 1682750"/>
                    <a:gd name="connsiteY28" fmla="*/ 1384300 h 2400300"/>
                    <a:gd name="connsiteX29" fmla="*/ 1301750 w 1682750"/>
                    <a:gd name="connsiteY29" fmla="*/ 1511300 h 2400300"/>
                    <a:gd name="connsiteX30" fmla="*/ 1244600 w 1682750"/>
                    <a:gd name="connsiteY30" fmla="*/ 1606550 h 2400300"/>
                    <a:gd name="connsiteX31" fmla="*/ 1250950 w 1682750"/>
                    <a:gd name="connsiteY31" fmla="*/ 1746250 h 2400300"/>
                    <a:gd name="connsiteX32" fmla="*/ 1327150 w 1682750"/>
                    <a:gd name="connsiteY32" fmla="*/ 1898650 h 2400300"/>
                    <a:gd name="connsiteX33" fmla="*/ 1460500 w 1682750"/>
                    <a:gd name="connsiteY33" fmla="*/ 2006600 h 2400300"/>
                    <a:gd name="connsiteX34" fmla="*/ 1485900 w 1682750"/>
                    <a:gd name="connsiteY34" fmla="*/ 2089150 h 2400300"/>
                    <a:gd name="connsiteX35" fmla="*/ 1543050 w 1682750"/>
                    <a:gd name="connsiteY35" fmla="*/ 2146300 h 2400300"/>
                    <a:gd name="connsiteX36" fmla="*/ 1562100 w 1682750"/>
                    <a:gd name="connsiteY36" fmla="*/ 2222500 h 2400300"/>
                    <a:gd name="connsiteX37" fmla="*/ 1549400 w 1682750"/>
                    <a:gd name="connsiteY37" fmla="*/ 2298700 h 2400300"/>
                    <a:gd name="connsiteX38" fmla="*/ 1600200 w 1682750"/>
                    <a:gd name="connsiteY38" fmla="*/ 2368550 h 2400300"/>
                    <a:gd name="connsiteX39" fmla="*/ 1682750 w 1682750"/>
                    <a:gd name="connsiteY39" fmla="*/ 2400300 h 2400300"/>
                    <a:gd name="connsiteX0" fmla="*/ 0 w 1682750"/>
                    <a:gd name="connsiteY0" fmla="*/ 0 h 2400300"/>
                    <a:gd name="connsiteX1" fmla="*/ 63500 w 1682750"/>
                    <a:gd name="connsiteY1" fmla="*/ 69850 h 2400300"/>
                    <a:gd name="connsiteX2" fmla="*/ 158750 w 1682750"/>
                    <a:gd name="connsiteY2" fmla="*/ 120650 h 2400300"/>
                    <a:gd name="connsiteX3" fmla="*/ 171450 w 1682750"/>
                    <a:gd name="connsiteY3" fmla="*/ 177800 h 2400300"/>
                    <a:gd name="connsiteX4" fmla="*/ 165100 w 1682750"/>
                    <a:gd name="connsiteY4" fmla="*/ 241300 h 2400300"/>
                    <a:gd name="connsiteX5" fmla="*/ 171450 w 1682750"/>
                    <a:gd name="connsiteY5" fmla="*/ 311150 h 2400300"/>
                    <a:gd name="connsiteX6" fmla="*/ 146050 w 1682750"/>
                    <a:gd name="connsiteY6" fmla="*/ 342900 h 2400300"/>
                    <a:gd name="connsiteX7" fmla="*/ 165100 w 1682750"/>
                    <a:gd name="connsiteY7" fmla="*/ 419100 h 2400300"/>
                    <a:gd name="connsiteX8" fmla="*/ 196850 w 1682750"/>
                    <a:gd name="connsiteY8" fmla="*/ 476250 h 2400300"/>
                    <a:gd name="connsiteX9" fmla="*/ 234950 w 1682750"/>
                    <a:gd name="connsiteY9" fmla="*/ 501650 h 2400300"/>
                    <a:gd name="connsiteX10" fmla="*/ 209550 w 1682750"/>
                    <a:gd name="connsiteY10" fmla="*/ 584200 h 2400300"/>
                    <a:gd name="connsiteX11" fmla="*/ 222250 w 1682750"/>
                    <a:gd name="connsiteY11" fmla="*/ 628650 h 2400300"/>
                    <a:gd name="connsiteX12" fmla="*/ 266700 w 1682750"/>
                    <a:gd name="connsiteY12" fmla="*/ 698500 h 2400300"/>
                    <a:gd name="connsiteX13" fmla="*/ 298450 w 1682750"/>
                    <a:gd name="connsiteY13" fmla="*/ 800100 h 2400300"/>
                    <a:gd name="connsiteX14" fmla="*/ 247650 w 1682750"/>
                    <a:gd name="connsiteY14" fmla="*/ 838200 h 2400300"/>
                    <a:gd name="connsiteX15" fmla="*/ 241300 w 1682750"/>
                    <a:gd name="connsiteY15" fmla="*/ 914400 h 2400300"/>
                    <a:gd name="connsiteX16" fmla="*/ 266700 w 1682750"/>
                    <a:gd name="connsiteY16" fmla="*/ 965200 h 2400300"/>
                    <a:gd name="connsiteX17" fmla="*/ 266700 w 1682750"/>
                    <a:gd name="connsiteY17" fmla="*/ 1085850 h 2400300"/>
                    <a:gd name="connsiteX18" fmla="*/ 330200 w 1682750"/>
                    <a:gd name="connsiteY18" fmla="*/ 1162050 h 2400300"/>
                    <a:gd name="connsiteX19" fmla="*/ 414338 w 1682750"/>
                    <a:gd name="connsiteY19" fmla="*/ 1131887 h 2400300"/>
                    <a:gd name="connsiteX20" fmla="*/ 542925 w 1682750"/>
                    <a:gd name="connsiteY20" fmla="*/ 1016000 h 2400300"/>
                    <a:gd name="connsiteX21" fmla="*/ 628650 w 1682750"/>
                    <a:gd name="connsiteY21" fmla="*/ 931863 h 2400300"/>
                    <a:gd name="connsiteX22" fmla="*/ 698500 w 1682750"/>
                    <a:gd name="connsiteY22" fmla="*/ 952500 h 2400300"/>
                    <a:gd name="connsiteX23" fmla="*/ 814388 w 1682750"/>
                    <a:gd name="connsiteY23" fmla="*/ 985838 h 2400300"/>
                    <a:gd name="connsiteX24" fmla="*/ 928688 w 1682750"/>
                    <a:gd name="connsiteY24" fmla="*/ 1012825 h 2400300"/>
                    <a:gd name="connsiteX25" fmla="*/ 989013 w 1682750"/>
                    <a:gd name="connsiteY25" fmla="*/ 1120775 h 2400300"/>
                    <a:gd name="connsiteX26" fmla="*/ 1090613 w 1682750"/>
                    <a:gd name="connsiteY26" fmla="*/ 1238250 h 2400300"/>
                    <a:gd name="connsiteX27" fmla="*/ 1212850 w 1682750"/>
                    <a:gd name="connsiteY27" fmla="*/ 1323975 h 2400300"/>
                    <a:gd name="connsiteX28" fmla="*/ 1282700 w 1682750"/>
                    <a:gd name="connsiteY28" fmla="*/ 1384300 h 2400300"/>
                    <a:gd name="connsiteX29" fmla="*/ 1301750 w 1682750"/>
                    <a:gd name="connsiteY29" fmla="*/ 1511300 h 2400300"/>
                    <a:gd name="connsiteX30" fmla="*/ 1244600 w 1682750"/>
                    <a:gd name="connsiteY30" fmla="*/ 1606550 h 2400300"/>
                    <a:gd name="connsiteX31" fmla="*/ 1250950 w 1682750"/>
                    <a:gd name="connsiteY31" fmla="*/ 1746250 h 2400300"/>
                    <a:gd name="connsiteX32" fmla="*/ 1327150 w 1682750"/>
                    <a:gd name="connsiteY32" fmla="*/ 1898650 h 2400300"/>
                    <a:gd name="connsiteX33" fmla="*/ 1460500 w 1682750"/>
                    <a:gd name="connsiteY33" fmla="*/ 2006600 h 2400300"/>
                    <a:gd name="connsiteX34" fmla="*/ 1485900 w 1682750"/>
                    <a:gd name="connsiteY34" fmla="*/ 2089150 h 2400300"/>
                    <a:gd name="connsiteX35" fmla="*/ 1543050 w 1682750"/>
                    <a:gd name="connsiteY35" fmla="*/ 2146300 h 2400300"/>
                    <a:gd name="connsiteX36" fmla="*/ 1562100 w 1682750"/>
                    <a:gd name="connsiteY36" fmla="*/ 2222500 h 2400300"/>
                    <a:gd name="connsiteX37" fmla="*/ 1549400 w 1682750"/>
                    <a:gd name="connsiteY37" fmla="*/ 2298700 h 2400300"/>
                    <a:gd name="connsiteX38" fmla="*/ 1600200 w 1682750"/>
                    <a:gd name="connsiteY38" fmla="*/ 2368550 h 2400300"/>
                    <a:gd name="connsiteX39" fmla="*/ 1682750 w 1682750"/>
                    <a:gd name="connsiteY39" fmla="*/ 2400300 h 2400300"/>
                    <a:gd name="connsiteX0" fmla="*/ 0 w 1682750"/>
                    <a:gd name="connsiteY0" fmla="*/ 0 h 2400300"/>
                    <a:gd name="connsiteX1" fmla="*/ 63500 w 1682750"/>
                    <a:gd name="connsiteY1" fmla="*/ 69850 h 2400300"/>
                    <a:gd name="connsiteX2" fmla="*/ 158750 w 1682750"/>
                    <a:gd name="connsiteY2" fmla="*/ 120650 h 2400300"/>
                    <a:gd name="connsiteX3" fmla="*/ 171450 w 1682750"/>
                    <a:gd name="connsiteY3" fmla="*/ 177800 h 2400300"/>
                    <a:gd name="connsiteX4" fmla="*/ 165100 w 1682750"/>
                    <a:gd name="connsiteY4" fmla="*/ 241300 h 2400300"/>
                    <a:gd name="connsiteX5" fmla="*/ 171450 w 1682750"/>
                    <a:gd name="connsiteY5" fmla="*/ 311150 h 2400300"/>
                    <a:gd name="connsiteX6" fmla="*/ 146050 w 1682750"/>
                    <a:gd name="connsiteY6" fmla="*/ 342900 h 2400300"/>
                    <a:gd name="connsiteX7" fmla="*/ 165100 w 1682750"/>
                    <a:gd name="connsiteY7" fmla="*/ 419100 h 2400300"/>
                    <a:gd name="connsiteX8" fmla="*/ 196850 w 1682750"/>
                    <a:gd name="connsiteY8" fmla="*/ 476250 h 2400300"/>
                    <a:gd name="connsiteX9" fmla="*/ 234950 w 1682750"/>
                    <a:gd name="connsiteY9" fmla="*/ 501650 h 2400300"/>
                    <a:gd name="connsiteX10" fmla="*/ 209550 w 1682750"/>
                    <a:gd name="connsiteY10" fmla="*/ 584200 h 2400300"/>
                    <a:gd name="connsiteX11" fmla="*/ 222250 w 1682750"/>
                    <a:gd name="connsiteY11" fmla="*/ 628650 h 2400300"/>
                    <a:gd name="connsiteX12" fmla="*/ 266700 w 1682750"/>
                    <a:gd name="connsiteY12" fmla="*/ 698500 h 2400300"/>
                    <a:gd name="connsiteX13" fmla="*/ 298450 w 1682750"/>
                    <a:gd name="connsiteY13" fmla="*/ 800100 h 2400300"/>
                    <a:gd name="connsiteX14" fmla="*/ 247650 w 1682750"/>
                    <a:gd name="connsiteY14" fmla="*/ 838200 h 2400300"/>
                    <a:gd name="connsiteX15" fmla="*/ 241300 w 1682750"/>
                    <a:gd name="connsiteY15" fmla="*/ 914400 h 2400300"/>
                    <a:gd name="connsiteX16" fmla="*/ 266700 w 1682750"/>
                    <a:gd name="connsiteY16" fmla="*/ 965200 h 2400300"/>
                    <a:gd name="connsiteX17" fmla="*/ 266700 w 1682750"/>
                    <a:gd name="connsiteY17" fmla="*/ 1085850 h 2400300"/>
                    <a:gd name="connsiteX18" fmla="*/ 330200 w 1682750"/>
                    <a:gd name="connsiteY18" fmla="*/ 1162050 h 2400300"/>
                    <a:gd name="connsiteX19" fmla="*/ 414338 w 1682750"/>
                    <a:gd name="connsiteY19" fmla="*/ 1131887 h 2400300"/>
                    <a:gd name="connsiteX20" fmla="*/ 542925 w 1682750"/>
                    <a:gd name="connsiteY20" fmla="*/ 1016000 h 2400300"/>
                    <a:gd name="connsiteX21" fmla="*/ 628650 w 1682750"/>
                    <a:gd name="connsiteY21" fmla="*/ 931863 h 2400300"/>
                    <a:gd name="connsiteX22" fmla="*/ 698500 w 1682750"/>
                    <a:gd name="connsiteY22" fmla="*/ 952500 h 2400300"/>
                    <a:gd name="connsiteX23" fmla="*/ 814388 w 1682750"/>
                    <a:gd name="connsiteY23" fmla="*/ 985838 h 2400300"/>
                    <a:gd name="connsiteX24" fmla="*/ 928688 w 1682750"/>
                    <a:gd name="connsiteY24" fmla="*/ 1012825 h 2400300"/>
                    <a:gd name="connsiteX25" fmla="*/ 989013 w 1682750"/>
                    <a:gd name="connsiteY25" fmla="*/ 1120775 h 2400300"/>
                    <a:gd name="connsiteX26" fmla="*/ 1090613 w 1682750"/>
                    <a:gd name="connsiteY26" fmla="*/ 1238250 h 2400300"/>
                    <a:gd name="connsiteX27" fmla="*/ 1212850 w 1682750"/>
                    <a:gd name="connsiteY27" fmla="*/ 1323975 h 2400300"/>
                    <a:gd name="connsiteX28" fmla="*/ 1268412 w 1682750"/>
                    <a:gd name="connsiteY28" fmla="*/ 1417637 h 2400300"/>
                    <a:gd name="connsiteX29" fmla="*/ 1301750 w 1682750"/>
                    <a:gd name="connsiteY29" fmla="*/ 1511300 h 2400300"/>
                    <a:gd name="connsiteX30" fmla="*/ 1244600 w 1682750"/>
                    <a:gd name="connsiteY30" fmla="*/ 1606550 h 2400300"/>
                    <a:gd name="connsiteX31" fmla="*/ 1250950 w 1682750"/>
                    <a:gd name="connsiteY31" fmla="*/ 1746250 h 2400300"/>
                    <a:gd name="connsiteX32" fmla="*/ 1327150 w 1682750"/>
                    <a:gd name="connsiteY32" fmla="*/ 1898650 h 2400300"/>
                    <a:gd name="connsiteX33" fmla="*/ 1460500 w 1682750"/>
                    <a:gd name="connsiteY33" fmla="*/ 2006600 h 2400300"/>
                    <a:gd name="connsiteX34" fmla="*/ 1485900 w 1682750"/>
                    <a:gd name="connsiteY34" fmla="*/ 2089150 h 2400300"/>
                    <a:gd name="connsiteX35" fmla="*/ 1543050 w 1682750"/>
                    <a:gd name="connsiteY35" fmla="*/ 2146300 h 2400300"/>
                    <a:gd name="connsiteX36" fmla="*/ 1562100 w 1682750"/>
                    <a:gd name="connsiteY36" fmla="*/ 2222500 h 2400300"/>
                    <a:gd name="connsiteX37" fmla="*/ 1549400 w 1682750"/>
                    <a:gd name="connsiteY37" fmla="*/ 2298700 h 2400300"/>
                    <a:gd name="connsiteX38" fmla="*/ 1600200 w 1682750"/>
                    <a:gd name="connsiteY38" fmla="*/ 2368550 h 2400300"/>
                    <a:gd name="connsiteX39" fmla="*/ 1682750 w 1682750"/>
                    <a:gd name="connsiteY39" fmla="*/ 2400300 h 2400300"/>
                    <a:gd name="connsiteX0" fmla="*/ 0 w 1682750"/>
                    <a:gd name="connsiteY0" fmla="*/ 0 h 2400300"/>
                    <a:gd name="connsiteX1" fmla="*/ 63500 w 1682750"/>
                    <a:gd name="connsiteY1" fmla="*/ 69850 h 2400300"/>
                    <a:gd name="connsiteX2" fmla="*/ 158750 w 1682750"/>
                    <a:gd name="connsiteY2" fmla="*/ 120650 h 2400300"/>
                    <a:gd name="connsiteX3" fmla="*/ 171450 w 1682750"/>
                    <a:gd name="connsiteY3" fmla="*/ 177800 h 2400300"/>
                    <a:gd name="connsiteX4" fmla="*/ 165100 w 1682750"/>
                    <a:gd name="connsiteY4" fmla="*/ 241300 h 2400300"/>
                    <a:gd name="connsiteX5" fmla="*/ 171450 w 1682750"/>
                    <a:gd name="connsiteY5" fmla="*/ 311150 h 2400300"/>
                    <a:gd name="connsiteX6" fmla="*/ 146050 w 1682750"/>
                    <a:gd name="connsiteY6" fmla="*/ 342900 h 2400300"/>
                    <a:gd name="connsiteX7" fmla="*/ 165100 w 1682750"/>
                    <a:gd name="connsiteY7" fmla="*/ 419100 h 2400300"/>
                    <a:gd name="connsiteX8" fmla="*/ 196850 w 1682750"/>
                    <a:gd name="connsiteY8" fmla="*/ 476250 h 2400300"/>
                    <a:gd name="connsiteX9" fmla="*/ 234950 w 1682750"/>
                    <a:gd name="connsiteY9" fmla="*/ 501650 h 2400300"/>
                    <a:gd name="connsiteX10" fmla="*/ 209550 w 1682750"/>
                    <a:gd name="connsiteY10" fmla="*/ 584200 h 2400300"/>
                    <a:gd name="connsiteX11" fmla="*/ 222250 w 1682750"/>
                    <a:gd name="connsiteY11" fmla="*/ 628650 h 2400300"/>
                    <a:gd name="connsiteX12" fmla="*/ 266700 w 1682750"/>
                    <a:gd name="connsiteY12" fmla="*/ 698500 h 2400300"/>
                    <a:gd name="connsiteX13" fmla="*/ 298450 w 1682750"/>
                    <a:gd name="connsiteY13" fmla="*/ 800100 h 2400300"/>
                    <a:gd name="connsiteX14" fmla="*/ 247650 w 1682750"/>
                    <a:gd name="connsiteY14" fmla="*/ 838200 h 2400300"/>
                    <a:gd name="connsiteX15" fmla="*/ 241300 w 1682750"/>
                    <a:gd name="connsiteY15" fmla="*/ 914400 h 2400300"/>
                    <a:gd name="connsiteX16" fmla="*/ 266700 w 1682750"/>
                    <a:gd name="connsiteY16" fmla="*/ 965200 h 2400300"/>
                    <a:gd name="connsiteX17" fmla="*/ 266700 w 1682750"/>
                    <a:gd name="connsiteY17" fmla="*/ 1085850 h 2400300"/>
                    <a:gd name="connsiteX18" fmla="*/ 330200 w 1682750"/>
                    <a:gd name="connsiteY18" fmla="*/ 1162050 h 2400300"/>
                    <a:gd name="connsiteX19" fmla="*/ 414338 w 1682750"/>
                    <a:gd name="connsiteY19" fmla="*/ 1131887 h 2400300"/>
                    <a:gd name="connsiteX20" fmla="*/ 542925 w 1682750"/>
                    <a:gd name="connsiteY20" fmla="*/ 1016000 h 2400300"/>
                    <a:gd name="connsiteX21" fmla="*/ 628650 w 1682750"/>
                    <a:gd name="connsiteY21" fmla="*/ 931863 h 2400300"/>
                    <a:gd name="connsiteX22" fmla="*/ 698500 w 1682750"/>
                    <a:gd name="connsiteY22" fmla="*/ 952500 h 2400300"/>
                    <a:gd name="connsiteX23" fmla="*/ 814388 w 1682750"/>
                    <a:gd name="connsiteY23" fmla="*/ 985838 h 2400300"/>
                    <a:gd name="connsiteX24" fmla="*/ 928688 w 1682750"/>
                    <a:gd name="connsiteY24" fmla="*/ 1012825 h 2400300"/>
                    <a:gd name="connsiteX25" fmla="*/ 989013 w 1682750"/>
                    <a:gd name="connsiteY25" fmla="*/ 1120775 h 2400300"/>
                    <a:gd name="connsiteX26" fmla="*/ 1090613 w 1682750"/>
                    <a:gd name="connsiteY26" fmla="*/ 1238250 h 2400300"/>
                    <a:gd name="connsiteX27" fmla="*/ 1212850 w 1682750"/>
                    <a:gd name="connsiteY27" fmla="*/ 1323975 h 2400300"/>
                    <a:gd name="connsiteX28" fmla="*/ 1268412 w 1682750"/>
                    <a:gd name="connsiteY28" fmla="*/ 1417637 h 2400300"/>
                    <a:gd name="connsiteX29" fmla="*/ 1273175 w 1682750"/>
                    <a:gd name="connsiteY29" fmla="*/ 1516062 h 2400300"/>
                    <a:gd name="connsiteX30" fmla="*/ 1244600 w 1682750"/>
                    <a:gd name="connsiteY30" fmla="*/ 1606550 h 2400300"/>
                    <a:gd name="connsiteX31" fmla="*/ 1250950 w 1682750"/>
                    <a:gd name="connsiteY31" fmla="*/ 1746250 h 2400300"/>
                    <a:gd name="connsiteX32" fmla="*/ 1327150 w 1682750"/>
                    <a:gd name="connsiteY32" fmla="*/ 1898650 h 2400300"/>
                    <a:gd name="connsiteX33" fmla="*/ 1460500 w 1682750"/>
                    <a:gd name="connsiteY33" fmla="*/ 2006600 h 2400300"/>
                    <a:gd name="connsiteX34" fmla="*/ 1485900 w 1682750"/>
                    <a:gd name="connsiteY34" fmla="*/ 2089150 h 2400300"/>
                    <a:gd name="connsiteX35" fmla="*/ 1543050 w 1682750"/>
                    <a:gd name="connsiteY35" fmla="*/ 2146300 h 2400300"/>
                    <a:gd name="connsiteX36" fmla="*/ 1562100 w 1682750"/>
                    <a:gd name="connsiteY36" fmla="*/ 2222500 h 2400300"/>
                    <a:gd name="connsiteX37" fmla="*/ 1549400 w 1682750"/>
                    <a:gd name="connsiteY37" fmla="*/ 2298700 h 2400300"/>
                    <a:gd name="connsiteX38" fmla="*/ 1600200 w 1682750"/>
                    <a:gd name="connsiteY38" fmla="*/ 2368550 h 2400300"/>
                    <a:gd name="connsiteX39" fmla="*/ 1682750 w 1682750"/>
                    <a:gd name="connsiteY39" fmla="*/ 2400300 h 2400300"/>
                    <a:gd name="connsiteX0" fmla="*/ 0 w 1682750"/>
                    <a:gd name="connsiteY0" fmla="*/ 0 h 2400300"/>
                    <a:gd name="connsiteX1" fmla="*/ 63500 w 1682750"/>
                    <a:gd name="connsiteY1" fmla="*/ 69850 h 2400300"/>
                    <a:gd name="connsiteX2" fmla="*/ 158750 w 1682750"/>
                    <a:gd name="connsiteY2" fmla="*/ 120650 h 2400300"/>
                    <a:gd name="connsiteX3" fmla="*/ 171450 w 1682750"/>
                    <a:gd name="connsiteY3" fmla="*/ 177800 h 2400300"/>
                    <a:gd name="connsiteX4" fmla="*/ 165100 w 1682750"/>
                    <a:gd name="connsiteY4" fmla="*/ 241300 h 2400300"/>
                    <a:gd name="connsiteX5" fmla="*/ 171450 w 1682750"/>
                    <a:gd name="connsiteY5" fmla="*/ 311150 h 2400300"/>
                    <a:gd name="connsiteX6" fmla="*/ 146050 w 1682750"/>
                    <a:gd name="connsiteY6" fmla="*/ 342900 h 2400300"/>
                    <a:gd name="connsiteX7" fmla="*/ 165100 w 1682750"/>
                    <a:gd name="connsiteY7" fmla="*/ 419100 h 2400300"/>
                    <a:gd name="connsiteX8" fmla="*/ 196850 w 1682750"/>
                    <a:gd name="connsiteY8" fmla="*/ 476250 h 2400300"/>
                    <a:gd name="connsiteX9" fmla="*/ 234950 w 1682750"/>
                    <a:gd name="connsiteY9" fmla="*/ 501650 h 2400300"/>
                    <a:gd name="connsiteX10" fmla="*/ 209550 w 1682750"/>
                    <a:gd name="connsiteY10" fmla="*/ 584200 h 2400300"/>
                    <a:gd name="connsiteX11" fmla="*/ 222250 w 1682750"/>
                    <a:gd name="connsiteY11" fmla="*/ 628650 h 2400300"/>
                    <a:gd name="connsiteX12" fmla="*/ 266700 w 1682750"/>
                    <a:gd name="connsiteY12" fmla="*/ 698500 h 2400300"/>
                    <a:gd name="connsiteX13" fmla="*/ 298450 w 1682750"/>
                    <a:gd name="connsiteY13" fmla="*/ 800100 h 2400300"/>
                    <a:gd name="connsiteX14" fmla="*/ 247650 w 1682750"/>
                    <a:gd name="connsiteY14" fmla="*/ 838200 h 2400300"/>
                    <a:gd name="connsiteX15" fmla="*/ 241300 w 1682750"/>
                    <a:gd name="connsiteY15" fmla="*/ 914400 h 2400300"/>
                    <a:gd name="connsiteX16" fmla="*/ 266700 w 1682750"/>
                    <a:gd name="connsiteY16" fmla="*/ 965200 h 2400300"/>
                    <a:gd name="connsiteX17" fmla="*/ 266700 w 1682750"/>
                    <a:gd name="connsiteY17" fmla="*/ 1085850 h 2400300"/>
                    <a:gd name="connsiteX18" fmla="*/ 330200 w 1682750"/>
                    <a:gd name="connsiteY18" fmla="*/ 1162050 h 2400300"/>
                    <a:gd name="connsiteX19" fmla="*/ 414338 w 1682750"/>
                    <a:gd name="connsiteY19" fmla="*/ 1131887 h 2400300"/>
                    <a:gd name="connsiteX20" fmla="*/ 542925 w 1682750"/>
                    <a:gd name="connsiteY20" fmla="*/ 1016000 h 2400300"/>
                    <a:gd name="connsiteX21" fmla="*/ 628650 w 1682750"/>
                    <a:gd name="connsiteY21" fmla="*/ 931863 h 2400300"/>
                    <a:gd name="connsiteX22" fmla="*/ 698500 w 1682750"/>
                    <a:gd name="connsiteY22" fmla="*/ 952500 h 2400300"/>
                    <a:gd name="connsiteX23" fmla="*/ 814388 w 1682750"/>
                    <a:gd name="connsiteY23" fmla="*/ 985838 h 2400300"/>
                    <a:gd name="connsiteX24" fmla="*/ 928688 w 1682750"/>
                    <a:gd name="connsiteY24" fmla="*/ 1012825 h 2400300"/>
                    <a:gd name="connsiteX25" fmla="*/ 989013 w 1682750"/>
                    <a:gd name="connsiteY25" fmla="*/ 1120775 h 2400300"/>
                    <a:gd name="connsiteX26" fmla="*/ 1090613 w 1682750"/>
                    <a:gd name="connsiteY26" fmla="*/ 1238250 h 2400300"/>
                    <a:gd name="connsiteX27" fmla="*/ 1212850 w 1682750"/>
                    <a:gd name="connsiteY27" fmla="*/ 1323975 h 2400300"/>
                    <a:gd name="connsiteX28" fmla="*/ 1268412 w 1682750"/>
                    <a:gd name="connsiteY28" fmla="*/ 1417637 h 2400300"/>
                    <a:gd name="connsiteX29" fmla="*/ 1273175 w 1682750"/>
                    <a:gd name="connsiteY29" fmla="*/ 1516062 h 2400300"/>
                    <a:gd name="connsiteX30" fmla="*/ 1244600 w 1682750"/>
                    <a:gd name="connsiteY30" fmla="*/ 1606550 h 2400300"/>
                    <a:gd name="connsiteX31" fmla="*/ 1250950 w 1682750"/>
                    <a:gd name="connsiteY31" fmla="*/ 1746250 h 2400300"/>
                    <a:gd name="connsiteX32" fmla="*/ 1327150 w 1682750"/>
                    <a:gd name="connsiteY32" fmla="*/ 1898650 h 2400300"/>
                    <a:gd name="connsiteX33" fmla="*/ 1349375 w 1682750"/>
                    <a:gd name="connsiteY33" fmla="*/ 1893888 h 2400300"/>
                    <a:gd name="connsiteX34" fmla="*/ 1460500 w 1682750"/>
                    <a:gd name="connsiteY34" fmla="*/ 2006600 h 2400300"/>
                    <a:gd name="connsiteX35" fmla="*/ 1485900 w 1682750"/>
                    <a:gd name="connsiteY35" fmla="*/ 2089150 h 2400300"/>
                    <a:gd name="connsiteX36" fmla="*/ 1543050 w 1682750"/>
                    <a:gd name="connsiteY36" fmla="*/ 2146300 h 2400300"/>
                    <a:gd name="connsiteX37" fmla="*/ 1562100 w 1682750"/>
                    <a:gd name="connsiteY37" fmla="*/ 2222500 h 2400300"/>
                    <a:gd name="connsiteX38" fmla="*/ 1549400 w 1682750"/>
                    <a:gd name="connsiteY38" fmla="*/ 2298700 h 2400300"/>
                    <a:gd name="connsiteX39" fmla="*/ 1600200 w 1682750"/>
                    <a:gd name="connsiteY39" fmla="*/ 2368550 h 2400300"/>
                    <a:gd name="connsiteX40" fmla="*/ 1682750 w 1682750"/>
                    <a:gd name="connsiteY40" fmla="*/ 2400300 h 2400300"/>
                    <a:gd name="connsiteX0" fmla="*/ 0 w 1682750"/>
                    <a:gd name="connsiteY0" fmla="*/ 0 h 2400300"/>
                    <a:gd name="connsiteX1" fmla="*/ 63500 w 1682750"/>
                    <a:gd name="connsiteY1" fmla="*/ 69850 h 2400300"/>
                    <a:gd name="connsiteX2" fmla="*/ 158750 w 1682750"/>
                    <a:gd name="connsiteY2" fmla="*/ 120650 h 2400300"/>
                    <a:gd name="connsiteX3" fmla="*/ 171450 w 1682750"/>
                    <a:gd name="connsiteY3" fmla="*/ 177800 h 2400300"/>
                    <a:gd name="connsiteX4" fmla="*/ 165100 w 1682750"/>
                    <a:gd name="connsiteY4" fmla="*/ 241300 h 2400300"/>
                    <a:gd name="connsiteX5" fmla="*/ 171450 w 1682750"/>
                    <a:gd name="connsiteY5" fmla="*/ 311150 h 2400300"/>
                    <a:gd name="connsiteX6" fmla="*/ 146050 w 1682750"/>
                    <a:gd name="connsiteY6" fmla="*/ 342900 h 2400300"/>
                    <a:gd name="connsiteX7" fmla="*/ 165100 w 1682750"/>
                    <a:gd name="connsiteY7" fmla="*/ 419100 h 2400300"/>
                    <a:gd name="connsiteX8" fmla="*/ 196850 w 1682750"/>
                    <a:gd name="connsiteY8" fmla="*/ 476250 h 2400300"/>
                    <a:gd name="connsiteX9" fmla="*/ 234950 w 1682750"/>
                    <a:gd name="connsiteY9" fmla="*/ 501650 h 2400300"/>
                    <a:gd name="connsiteX10" fmla="*/ 209550 w 1682750"/>
                    <a:gd name="connsiteY10" fmla="*/ 584200 h 2400300"/>
                    <a:gd name="connsiteX11" fmla="*/ 222250 w 1682750"/>
                    <a:gd name="connsiteY11" fmla="*/ 628650 h 2400300"/>
                    <a:gd name="connsiteX12" fmla="*/ 266700 w 1682750"/>
                    <a:gd name="connsiteY12" fmla="*/ 698500 h 2400300"/>
                    <a:gd name="connsiteX13" fmla="*/ 298450 w 1682750"/>
                    <a:gd name="connsiteY13" fmla="*/ 800100 h 2400300"/>
                    <a:gd name="connsiteX14" fmla="*/ 247650 w 1682750"/>
                    <a:gd name="connsiteY14" fmla="*/ 838200 h 2400300"/>
                    <a:gd name="connsiteX15" fmla="*/ 241300 w 1682750"/>
                    <a:gd name="connsiteY15" fmla="*/ 914400 h 2400300"/>
                    <a:gd name="connsiteX16" fmla="*/ 266700 w 1682750"/>
                    <a:gd name="connsiteY16" fmla="*/ 965200 h 2400300"/>
                    <a:gd name="connsiteX17" fmla="*/ 266700 w 1682750"/>
                    <a:gd name="connsiteY17" fmla="*/ 1085850 h 2400300"/>
                    <a:gd name="connsiteX18" fmla="*/ 330200 w 1682750"/>
                    <a:gd name="connsiteY18" fmla="*/ 1162050 h 2400300"/>
                    <a:gd name="connsiteX19" fmla="*/ 414338 w 1682750"/>
                    <a:gd name="connsiteY19" fmla="*/ 1131887 h 2400300"/>
                    <a:gd name="connsiteX20" fmla="*/ 542925 w 1682750"/>
                    <a:gd name="connsiteY20" fmla="*/ 1016000 h 2400300"/>
                    <a:gd name="connsiteX21" fmla="*/ 628650 w 1682750"/>
                    <a:gd name="connsiteY21" fmla="*/ 931863 h 2400300"/>
                    <a:gd name="connsiteX22" fmla="*/ 698500 w 1682750"/>
                    <a:gd name="connsiteY22" fmla="*/ 952500 h 2400300"/>
                    <a:gd name="connsiteX23" fmla="*/ 814388 w 1682750"/>
                    <a:gd name="connsiteY23" fmla="*/ 985838 h 2400300"/>
                    <a:gd name="connsiteX24" fmla="*/ 928688 w 1682750"/>
                    <a:gd name="connsiteY24" fmla="*/ 1012825 h 2400300"/>
                    <a:gd name="connsiteX25" fmla="*/ 989013 w 1682750"/>
                    <a:gd name="connsiteY25" fmla="*/ 1120775 h 2400300"/>
                    <a:gd name="connsiteX26" fmla="*/ 1090613 w 1682750"/>
                    <a:gd name="connsiteY26" fmla="*/ 1238250 h 2400300"/>
                    <a:gd name="connsiteX27" fmla="*/ 1212850 w 1682750"/>
                    <a:gd name="connsiteY27" fmla="*/ 1323975 h 2400300"/>
                    <a:gd name="connsiteX28" fmla="*/ 1268412 w 1682750"/>
                    <a:gd name="connsiteY28" fmla="*/ 1417637 h 2400300"/>
                    <a:gd name="connsiteX29" fmla="*/ 1273175 w 1682750"/>
                    <a:gd name="connsiteY29" fmla="*/ 1516062 h 2400300"/>
                    <a:gd name="connsiteX30" fmla="*/ 1244600 w 1682750"/>
                    <a:gd name="connsiteY30" fmla="*/ 1606550 h 2400300"/>
                    <a:gd name="connsiteX31" fmla="*/ 1250950 w 1682750"/>
                    <a:gd name="connsiteY31" fmla="*/ 1746250 h 2400300"/>
                    <a:gd name="connsiteX32" fmla="*/ 1349375 w 1682750"/>
                    <a:gd name="connsiteY32" fmla="*/ 1893888 h 2400300"/>
                    <a:gd name="connsiteX33" fmla="*/ 1460500 w 1682750"/>
                    <a:gd name="connsiteY33" fmla="*/ 2006600 h 2400300"/>
                    <a:gd name="connsiteX34" fmla="*/ 1485900 w 1682750"/>
                    <a:gd name="connsiteY34" fmla="*/ 2089150 h 2400300"/>
                    <a:gd name="connsiteX35" fmla="*/ 1543050 w 1682750"/>
                    <a:gd name="connsiteY35" fmla="*/ 2146300 h 2400300"/>
                    <a:gd name="connsiteX36" fmla="*/ 1562100 w 1682750"/>
                    <a:gd name="connsiteY36" fmla="*/ 2222500 h 2400300"/>
                    <a:gd name="connsiteX37" fmla="*/ 1549400 w 1682750"/>
                    <a:gd name="connsiteY37" fmla="*/ 2298700 h 2400300"/>
                    <a:gd name="connsiteX38" fmla="*/ 1600200 w 1682750"/>
                    <a:gd name="connsiteY38" fmla="*/ 2368550 h 2400300"/>
                    <a:gd name="connsiteX39" fmla="*/ 1682750 w 1682750"/>
                    <a:gd name="connsiteY39" fmla="*/ 2400300 h 2400300"/>
                    <a:gd name="connsiteX0" fmla="*/ 0 w 1682750"/>
                    <a:gd name="connsiteY0" fmla="*/ 0 h 2400300"/>
                    <a:gd name="connsiteX1" fmla="*/ 63500 w 1682750"/>
                    <a:gd name="connsiteY1" fmla="*/ 69850 h 2400300"/>
                    <a:gd name="connsiteX2" fmla="*/ 158750 w 1682750"/>
                    <a:gd name="connsiteY2" fmla="*/ 120650 h 2400300"/>
                    <a:gd name="connsiteX3" fmla="*/ 171450 w 1682750"/>
                    <a:gd name="connsiteY3" fmla="*/ 177800 h 2400300"/>
                    <a:gd name="connsiteX4" fmla="*/ 165100 w 1682750"/>
                    <a:gd name="connsiteY4" fmla="*/ 241300 h 2400300"/>
                    <a:gd name="connsiteX5" fmla="*/ 171450 w 1682750"/>
                    <a:gd name="connsiteY5" fmla="*/ 311150 h 2400300"/>
                    <a:gd name="connsiteX6" fmla="*/ 146050 w 1682750"/>
                    <a:gd name="connsiteY6" fmla="*/ 342900 h 2400300"/>
                    <a:gd name="connsiteX7" fmla="*/ 165100 w 1682750"/>
                    <a:gd name="connsiteY7" fmla="*/ 419100 h 2400300"/>
                    <a:gd name="connsiteX8" fmla="*/ 196850 w 1682750"/>
                    <a:gd name="connsiteY8" fmla="*/ 476250 h 2400300"/>
                    <a:gd name="connsiteX9" fmla="*/ 234950 w 1682750"/>
                    <a:gd name="connsiteY9" fmla="*/ 501650 h 2400300"/>
                    <a:gd name="connsiteX10" fmla="*/ 209550 w 1682750"/>
                    <a:gd name="connsiteY10" fmla="*/ 584200 h 2400300"/>
                    <a:gd name="connsiteX11" fmla="*/ 222250 w 1682750"/>
                    <a:gd name="connsiteY11" fmla="*/ 628650 h 2400300"/>
                    <a:gd name="connsiteX12" fmla="*/ 266700 w 1682750"/>
                    <a:gd name="connsiteY12" fmla="*/ 698500 h 2400300"/>
                    <a:gd name="connsiteX13" fmla="*/ 298450 w 1682750"/>
                    <a:gd name="connsiteY13" fmla="*/ 800100 h 2400300"/>
                    <a:gd name="connsiteX14" fmla="*/ 247650 w 1682750"/>
                    <a:gd name="connsiteY14" fmla="*/ 838200 h 2400300"/>
                    <a:gd name="connsiteX15" fmla="*/ 241300 w 1682750"/>
                    <a:gd name="connsiteY15" fmla="*/ 914400 h 2400300"/>
                    <a:gd name="connsiteX16" fmla="*/ 266700 w 1682750"/>
                    <a:gd name="connsiteY16" fmla="*/ 965200 h 2400300"/>
                    <a:gd name="connsiteX17" fmla="*/ 266700 w 1682750"/>
                    <a:gd name="connsiteY17" fmla="*/ 1085850 h 2400300"/>
                    <a:gd name="connsiteX18" fmla="*/ 330200 w 1682750"/>
                    <a:gd name="connsiteY18" fmla="*/ 1162050 h 2400300"/>
                    <a:gd name="connsiteX19" fmla="*/ 414338 w 1682750"/>
                    <a:gd name="connsiteY19" fmla="*/ 1131887 h 2400300"/>
                    <a:gd name="connsiteX20" fmla="*/ 542925 w 1682750"/>
                    <a:gd name="connsiteY20" fmla="*/ 1016000 h 2400300"/>
                    <a:gd name="connsiteX21" fmla="*/ 628650 w 1682750"/>
                    <a:gd name="connsiteY21" fmla="*/ 931863 h 2400300"/>
                    <a:gd name="connsiteX22" fmla="*/ 698500 w 1682750"/>
                    <a:gd name="connsiteY22" fmla="*/ 952500 h 2400300"/>
                    <a:gd name="connsiteX23" fmla="*/ 814388 w 1682750"/>
                    <a:gd name="connsiteY23" fmla="*/ 985838 h 2400300"/>
                    <a:gd name="connsiteX24" fmla="*/ 928688 w 1682750"/>
                    <a:gd name="connsiteY24" fmla="*/ 1012825 h 2400300"/>
                    <a:gd name="connsiteX25" fmla="*/ 989013 w 1682750"/>
                    <a:gd name="connsiteY25" fmla="*/ 1120775 h 2400300"/>
                    <a:gd name="connsiteX26" fmla="*/ 1090613 w 1682750"/>
                    <a:gd name="connsiteY26" fmla="*/ 1238250 h 2400300"/>
                    <a:gd name="connsiteX27" fmla="*/ 1212850 w 1682750"/>
                    <a:gd name="connsiteY27" fmla="*/ 1323975 h 2400300"/>
                    <a:gd name="connsiteX28" fmla="*/ 1268412 w 1682750"/>
                    <a:gd name="connsiteY28" fmla="*/ 1417637 h 2400300"/>
                    <a:gd name="connsiteX29" fmla="*/ 1273175 w 1682750"/>
                    <a:gd name="connsiteY29" fmla="*/ 1516062 h 2400300"/>
                    <a:gd name="connsiteX30" fmla="*/ 1244600 w 1682750"/>
                    <a:gd name="connsiteY30" fmla="*/ 1606550 h 2400300"/>
                    <a:gd name="connsiteX31" fmla="*/ 1270000 w 1682750"/>
                    <a:gd name="connsiteY31" fmla="*/ 1746250 h 2400300"/>
                    <a:gd name="connsiteX32" fmla="*/ 1349375 w 1682750"/>
                    <a:gd name="connsiteY32" fmla="*/ 1893888 h 2400300"/>
                    <a:gd name="connsiteX33" fmla="*/ 1460500 w 1682750"/>
                    <a:gd name="connsiteY33" fmla="*/ 2006600 h 2400300"/>
                    <a:gd name="connsiteX34" fmla="*/ 1485900 w 1682750"/>
                    <a:gd name="connsiteY34" fmla="*/ 2089150 h 2400300"/>
                    <a:gd name="connsiteX35" fmla="*/ 1543050 w 1682750"/>
                    <a:gd name="connsiteY35" fmla="*/ 2146300 h 2400300"/>
                    <a:gd name="connsiteX36" fmla="*/ 1562100 w 1682750"/>
                    <a:gd name="connsiteY36" fmla="*/ 2222500 h 2400300"/>
                    <a:gd name="connsiteX37" fmla="*/ 1549400 w 1682750"/>
                    <a:gd name="connsiteY37" fmla="*/ 2298700 h 2400300"/>
                    <a:gd name="connsiteX38" fmla="*/ 1600200 w 1682750"/>
                    <a:gd name="connsiteY38" fmla="*/ 2368550 h 2400300"/>
                    <a:gd name="connsiteX39" fmla="*/ 1682750 w 1682750"/>
                    <a:gd name="connsiteY39" fmla="*/ 2400300 h 2400300"/>
                    <a:gd name="connsiteX0" fmla="*/ 0 w 1682750"/>
                    <a:gd name="connsiteY0" fmla="*/ 0 h 2400300"/>
                    <a:gd name="connsiteX1" fmla="*/ 63500 w 1682750"/>
                    <a:gd name="connsiteY1" fmla="*/ 69850 h 2400300"/>
                    <a:gd name="connsiteX2" fmla="*/ 158750 w 1682750"/>
                    <a:gd name="connsiteY2" fmla="*/ 120650 h 2400300"/>
                    <a:gd name="connsiteX3" fmla="*/ 171450 w 1682750"/>
                    <a:gd name="connsiteY3" fmla="*/ 177800 h 2400300"/>
                    <a:gd name="connsiteX4" fmla="*/ 165100 w 1682750"/>
                    <a:gd name="connsiteY4" fmla="*/ 241300 h 2400300"/>
                    <a:gd name="connsiteX5" fmla="*/ 171450 w 1682750"/>
                    <a:gd name="connsiteY5" fmla="*/ 311150 h 2400300"/>
                    <a:gd name="connsiteX6" fmla="*/ 146050 w 1682750"/>
                    <a:gd name="connsiteY6" fmla="*/ 342900 h 2400300"/>
                    <a:gd name="connsiteX7" fmla="*/ 165100 w 1682750"/>
                    <a:gd name="connsiteY7" fmla="*/ 419100 h 2400300"/>
                    <a:gd name="connsiteX8" fmla="*/ 196850 w 1682750"/>
                    <a:gd name="connsiteY8" fmla="*/ 476250 h 2400300"/>
                    <a:gd name="connsiteX9" fmla="*/ 234950 w 1682750"/>
                    <a:gd name="connsiteY9" fmla="*/ 501650 h 2400300"/>
                    <a:gd name="connsiteX10" fmla="*/ 209550 w 1682750"/>
                    <a:gd name="connsiteY10" fmla="*/ 584200 h 2400300"/>
                    <a:gd name="connsiteX11" fmla="*/ 222250 w 1682750"/>
                    <a:gd name="connsiteY11" fmla="*/ 628650 h 2400300"/>
                    <a:gd name="connsiteX12" fmla="*/ 266700 w 1682750"/>
                    <a:gd name="connsiteY12" fmla="*/ 698500 h 2400300"/>
                    <a:gd name="connsiteX13" fmla="*/ 298450 w 1682750"/>
                    <a:gd name="connsiteY13" fmla="*/ 800100 h 2400300"/>
                    <a:gd name="connsiteX14" fmla="*/ 247650 w 1682750"/>
                    <a:gd name="connsiteY14" fmla="*/ 838200 h 2400300"/>
                    <a:gd name="connsiteX15" fmla="*/ 241300 w 1682750"/>
                    <a:gd name="connsiteY15" fmla="*/ 914400 h 2400300"/>
                    <a:gd name="connsiteX16" fmla="*/ 266700 w 1682750"/>
                    <a:gd name="connsiteY16" fmla="*/ 965200 h 2400300"/>
                    <a:gd name="connsiteX17" fmla="*/ 266700 w 1682750"/>
                    <a:gd name="connsiteY17" fmla="*/ 1085850 h 2400300"/>
                    <a:gd name="connsiteX18" fmla="*/ 330200 w 1682750"/>
                    <a:gd name="connsiteY18" fmla="*/ 1162050 h 2400300"/>
                    <a:gd name="connsiteX19" fmla="*/ 414338 w 1682750"/>
                    <a:gd name="connsiteY19" fmla="*/ 1131887 h 2400300"/>
                    <a:gd name="connsiteX20" fmla="*/ 542925 w 1682750"/>
                    <a:gd name="connsiteY20" fmla="*/ 1016000 h 2400300"/>
                    <a:gd name="connsiteX21" fmla="*/ 628650 w 1682750"/>
                    <a:gd name="connsiteY21" fmla="*/ 931863 h 2400300"/>
                    <a:gd name="connsiteX22" fmla="*/ 698500 w 1682750"/>
                    <a:gd name="connsiteY22" fmla="*/ 952500 h 2400300"/>
                    <a:gd name="connsiteX23" fmla="*/ 814388 w 1682750"/>
                    <a:gd name="connsiteY23" fmla="*/ 985838 h 2400300"/>
                    <a:gd name="connsiteX24" fmla="*/ 928688 w 1682750"/>
                    <a:gd name="connsiteY24" fmla="*/ 1012825 h 2400300"/>
                    <a:gd name="connsiteX25" fmla="*/ 989013 w 1682750"/>
                    <a:gd name="connsiteY25" fmla="*/ 1120775 h 2400300"/>
                    <a:gd name="connsiteX26" fmla="*/ 1090613 w 1682750"/>
                    <a:gd name="connsiteY26" fmla="*/ 1238250 h 2400300"/>
                    <a:gd name="connsiteX27" fmla="*/ 1212850 w 1682750"/>
                    <a:gd name="connsiteY27" fmla="*/ 1323975 h 2400300"/>
                    <a:gd name="connsiteX28" fmla="*/ 1268412 w 1682750"/>
                    <a:gd name="connsiteY28" fmla="*/ 1417637 h 2400300"/>
                    <a:gd name="connsiteX29" fmla="*/ 1273175 w 1682750"/>
                    <a:gd name="connsiteY29" fmla="*/ 1516062 h 2400300"/>
                    <a:gd name="connsiteX30" fmla="*/ 1263650 w 1682750"/>
                    <a:gd name="connsiteY30" fmla="*/ 1611313 h 2400300"/>
                    <a:gd name="connsiteX31" fmla="*/ 1270000 w 1682750"/>
                    <a:gd name="connsiteY31" fmla="*/ 1746250 h 2400300"/>
                    <a:gd name="connsiteX32" fmla="*/ 1349375 w 1682750"/>
                    <a:gd name="connsiteY32" fmla="*/ 1893888 h 2400300"/>
                    <a:gd name="connsiteX33" fmla="*/ 1460500 w 1682750"/>
                    <a:gd name="connsiteY33" fmla="*/ 2006600 h 2400300"/>
                    <a:gd name="connsiteX34" fmla="*/ 1485900 w 1682750"/>
                    <a:gd name="connsiteY34" fmla="*/ 2089150 h 2400300"/>
                    <a:gd name="connsiteX35" fmla="*/ 1543050 w 1682750"/>
                    <a:gd name="connsiteY35" fmla="*/ 2146300 h 2400300"/>
                    <a:gd name="connsiteX36" fmla="*/ 1562100 w 1682750"/>
                    <a:gd name="connsiteY36" fmla="*/ 2222500 h 2400300"/>
                    <a:gd name="connsiteX37" fmla="*/ 1549400 w 1682750"/>
                    <a:gd name="connsiteY37" fmla="*/ 2298700 h 2400300"/>
                    <a:gd name="connsiteX38" fmla="*/ 1600200 w 1682750"/>
                    <a:gd name="connsiteY38" fmla="*/ 2368550 h 2400300"/>
                    <a:gd name="connsiteX39" fmla="*/ 1682750 w 1682750"/>
                    <a:gd name="connsiteY39" fmla="*/ 2400300 h 2400300"/>
                    <a:gd name="connsiteX0" fmla="*/ 0 w 1682750"/>
                    <a:gd name="connsiteY0" fmla="*/ 0 h 2400300"/>
                    <a:gd name="connsiteX1" fmla="*/ 63500 w 1682750"/>
                    <a:gd name="connsiteY1" fmla="*/ 69850 h 2400300"/>
                    <a:gd name="connsiteX2" fmla="*/ 158750 w 1682750"/>
                    <a:gd name="connsiteY2" fmla="*/ 120650 h 2400300"/>
                    <a:gd name="connsiteX3" fmla="*/ 171450 w 1682750"/>
                    <a:gd name="connsiteY3" fmla="*/ 177800 h 2400300"/>
                    <a:gd name="connsiteX4" fmla="*/ 165100 w 1682750"/>
                    <a:gd name="connsiteY4" fmla="*/ 241300 h 2400300"/>
                    <a:gd name="connsiteX5" fmla="*/ 171450 w 1682750"/>
                    <a:gd name="connsiteY5" fmla="*/ 311150 h 2400300"/>
                    <a:gd name="connsiteX6" fmla="*/ 146050 w 1682750"/>
                    <a:gd name="connsiteY6" fmla="*/ 342900 h 2400300"/>
                    <a:gd name="connsiteX7" fmla="*/ 165100 w 1682750"/>
                    <a:gd name="connsiteY7" fmla="*/ 419100 h 2400300"/>
                    <a:gd name="connsiteX8" fmla="*/ 196850 w 1682750"/>
                    <a:gd name="connsiteY8" fmla="*/ 476250 h 2400300"/>
                    <a:gd name="connsiteX9" fmla="*/ 234950 w 1682750"/>
                    <a:gd name="connsiteY9" fmla="*/ 501650 h 2400300"/>
                    <a:gd name="connsiteX10" fmla="*/ 209550 w 1682750"/>
                    <a:gd name="connsiteY10" fmla="*/ 584200 h 2400300"/>
                    <a:gd name="connsiteX11" fmla="*/ 222250 w 1682750"/>
                    <a:gd name="connsiteY11" fmla="*/ 628650 h 2400300"/>
                    <a:gd name="connsiteX12" fmla="*/ 266700 w 1682750"/>
                    <a:gd name="connsiteY12" fmla="*/ 698500 h 2400300"/>
                    <a:gd name="connsiteX13" fmla="*/ 298450 w 1682750"/>
                    <a:gd name="connsiteY13" fmla="*/ 800100 h 2400300"/>
                    <a:gd name="connsiteX14" fmla="*/ 247650 w 1682750"/>
                    <a:gd name="connsiteY14" fmla="*/ 838200 h 2400300"/>
                    <a:gd name="connsiteX15" fmla="*/ 241300 w 1682750"/>
                    <a:gd name="connsiteY15" fmla="*/ 914400 h 2400300"/>
                    <a:gd name="connsiteX16" fmla="*/ 266700 w 1682750"/>
                    <a:gd name="connsiteY16" fmla="*/ 965200 h 2400300"/>
                    <a:gd name="connsiteX17" fmla="*/ 266700 w 1682750"/>
                    <a:gd name="connsiteY17" fmla="*/ 1085850 h 2400300"/>
                    <a:gd name="connsiteX18" fmla="*/ 330200 w 1682750"/>
                    <a:gd name="connsiteY18" fmla="*/ 1162050 h 2400300"/>
                    <a:gd name="connsiteX19" fmla="*/ 414338 w 1682750"/>
                    <a:gd name="connsiteY19" fmla="*/ 1131887 h 2400300"/>
                    <a:gd name="connsiteX20" fmla="*/ 542925 w 1682750"/>
                    <a:gd name="connsiteY20" fmla="*/ 1016000 h 2400300"/>
                    <a:gd name="connsiteX21" fmla="*/ 628650 w 1682750"/>
                    <a:gd name="connsiteY21" fmla="*/ 931863 h 2400300"/>
                    <a:gd name="connsiteX22" fmla="*/ 698500 w 1682750"/>
                    <a:gd name="connsiteY22" fmla="*/ 952500 h 2400300"/>
                    <a:gd name="connsiteX23" fmla="*/ 814388 w 1682750"/>
                    <a:gd name="connsiteY23" fmla="*/ 985838 h 2400300"/>
                    <a:gd name="connsiteX24" fmla="*/ 928688 w 1682750"/>
                    <a:gd name="connsiteY24" fmla="*/ 1012825 h 2400300"/>
                    <a:gd name="connsiteX25" fmla="*/ 989013 w 1682750"/>
                    <a:gd name="connsiteY25" fmla="*/ 1120775 h 2400300"/>
                    <a:gd name="connsiteX26" fmla="*/ 1090613 w 1682750"/>
                    <a:gd name="connsiteY26" fmla="*/ 1238250 h 2400300"/>
                    <a:gd name="connsiteX27" fmla="*/ 1212850 w 1682750"/>
                    <a:gd name="connsiteY27" fmla="*/ 1323975 h 2400300"/>
                    <a:gd name="connsiteX28" fmla="*/ 1268412 w 1682750"/>
                    <a:gd name="connsiteY28" fmla="*/ 1417637 h 2400300"/>
                    <a:gd name="connsiteX29" fmla="*/ 1273175 w 1682750"/>
                    <a:gd name="connsiteY29" fmla="*/ 1516062 h 2400300"/>
                    <a:gd name="connsiteX30" fmla="*/ 1263650 w 1682750"/>
                    <a:gd name="connsiteY30" fmla="*/ 1611313 h 2400300"/>
                    <a:gd name="connsiteX31" fmla="*/ 1270000 w 1682750"/>
                    <a:gd name="connsiteY31" fmla="*/ 1746250 h 2400300"/>
                    <a:gd name="connsiteX32" fmla="*/ 1349375 w 1682750"/>
                    <a:gd name="connsiteY32" fmla="*/ 1893888 h 2400300"/>
                    <a:gd name="connsiteX33" fmla="*/ 1489075 w 1682750"/>
                    <a:gd name="connsiteY33" fmla="*/ 1987550 h 2400300"/>
                    <a:gd name="connsiteX34" fmla="*/ 1485900 w 1682750"/>
                    <a:gd name="connsiteY34" fmla="*/ 2089150 h 2400300"/>
                    <a:gd name="connsiteX35" fmla="*/ 1543050 w 1682750"/>
                    <a:gd name="connsiteY35" fmla="*/ 2146300 h 2400300"/>
                    <a:gd name="connsiteX36" fmla="*/ 1562100 w 1682750"/>
                    <a:gd name="connsiteY36" fmla="*/ 2222500 h 2400300"/>
                    <a:gd name="connsiteX37" fmla="*/ 1549400 w 1682750"/>
                    <a:gd name="connsiteY37" fmla="*/ 2298700 h 2400300"/>
                    <a:gd name="connsiteX38" fmla="*/ 1600200 w 1682750"/>
                    <a:gd name="connsiteY38" fmla="*/ 2368550 h 2400300"/>
                    <a:gd name="connsiteX39" fmla="*/ 1682750 w 1682750"/>
                    <a:gd name="connsiteY39" fmla="*/ 2400300 h 2400300"/>
                    <a:gd name="connsiteX0" fmla="*/ 0 w 1682750"/>
                    <a:gd name="connsiteY0" fmla="*/ 0 h 2400300"/>
                    <a:gd name="connsiteX1" fmla="*/ 63500 w 1682750"/>
                    <a:gd name="connsiteY1" fmla="*/ 69850 h 2400300"/>
                    <a:gd name="connsiteX2" fmla="*/ 158750 w 1682750"/>
                    <a:gd name="connsiteY2" fmla="*/ 120650 h 2400300"/>
                    <a:gd name="connsiteX3" fmla="*/ 171450 w 1682750"/>
                    <a:gd name="connsiteY3" fmla="*/ 177800 h 2400300"/>
                    <a:gd name="connsiteX4" fmla="*/ 165100 w 1682750"/>
                    <a:gd name="connsiteY4" fmla="*/ 241300 h 2400300"/>
                    <a:gd name="connsiteX5" fmla="*/ 171450 w 1682750"/>
                    <a:gd name="connsiteY5" fmla="*/ 311150 h 2400300"/>
                    <a:gd name="connsiteX6" fmla="*/ 146050 w 1682750"/>
                    <a:gd name="connsiteY6" fmla="*/ 342900 h 2400300"/>
                    <a:gd name="connsiteX7" fmla="*/ 165100 w 1682750"/>
                    <a:gd name="connsiteY7" fmla="*/ 419100 h 2400300"/>
                    <a:gd name="connsiteX8" fmla="*/ 196850 w 1682750"/>
                    <a:gd name="connsiteY8" fmla="*/ 476250 h 2400300"/>
                    <a:gd name="connsiteX9" fmla="*/ 234950 w 1682750"/>
                    <a:gd name="connsiteY9" fmla="*/ 501650 h 2400300"/>
                    <a:gd name="connsiteX10" fmla="*/ 209550 w 1682750"/>
                    <a:gd name="connsiteY10" fmla="*/ 584200 h 2400300"/>
                    <a:gd name="connsiteX11" fmla="*/ 222250 w 1682750"/>
                    <a:gd name="connsiteY11" fmla="*/ 628650 h 2400300"/>
                    <a:gd name="connsiteX12" fmla="*/ 266700 w 1682750"/>
                    <a:gd name="connsiteY12" fmla="*/ 698500 h 2400300"/>
                    <a:gd name="connsiteX13" fmla="*/ 298450 w 1682750"/>
                    <a:gd name="connsiteY13" fmla="*/ 800100 h 2400300"/>
                    <a:gd name="connsiteX14" fmla="*/ 247650 w 1682750"/>
                    <a:gd name="connsiteY14" fmla="*/ 838200 h 2400300"/>
                    <a:gd name="connsiteX15" fmla="*/ 241300 w 1682750"/>
                    <a:gd name="connsiteY15" fmla="*/ 914400 h 2400300"/>
                    <a:gd name="connsiteX16" fmla="*/ 266700 w 1682750"/>
                    <a:gd name="connsiteY16" fmla="*/ 965200 h 2400300"/>
                    <a:gd name="connsiteX17" fmla="*/ 266700 w 1682750"/>
                    <a:gd name="connsiteY17" fmla="*/ 1085850 h 2400300"/>
                    <a:gd name="connsiteX18" fmla="*/ 330200 w 1682750"/>
                    <a:gd name="connsiteY18" fmla="*/ 1162050 h 2400300"/>
                    <a:gd name="connsiteX19" fmla="*/ 414338 w 1682750"/>
                    <a:gd name="connsiteY19" fmla="*/ 1131887 h 2400300"/>
                    <a:gd name="connsiteX20" fmla="*/ 542925 w 1682750"/>
                    <a:gd name="connsiteY20" fmla="*/ 1016000 h 2400300"/>
                    <a:gd name="connsiteX21" fmla="*/ 628650 w 1682750"/>
                    <a:gd name="connsiteY21" fmla="*/ 931863 h 2400300"/>
                    <a:gd name="connsiteX22" fmla="*/ 698500 w 1682750"/>
                    <a:gd name="connsiteY22" fmla="*/ 952500 h 2400300"/>
                    <a:gd name="connsiteX23" fmla="*/ 814388 w 1682750"/>
                    <a:gd name="connsiteY23" fmla="*/ 985838 h 2400300"/>
                    <a:gd name="connsiteX24" fmla="*/ 928688 w 1682750"/>
                    <a:gd name="connsiteY24" fmla="*/ 1012825 h 2400300"/>
                    <a:gd name="connsiteX25" fmla="*/ 989013 w 1682750"/>
                    <a:gd name="connsiteY25" fmla="*/ 1120775 h 2400300"/>
                    <a:gd name="connsiteX26" fmla="*/ 1090613 w 1682750"/>
                    <a:gd name="connsiteY26" fmla="*/ 1238250 h 2400300"/>
                    <a:gd name="connsiteX27" fmla="*/ 1212850 w 1682750"/>
                    <a:gd name="connsiteY27" fmla="*/ 1323975 h 2400300"/>
                    <a:gd name="connsiteX28" fmla="*/ 1268412 w 1682750"/>
                    <a:gd name="connsiteY28" fmla="*/ 1417637 h 2400300"/>
                    <a:gd name="connsiteX29" fmla="*/ 1273175 w 1682750"/>
                    <a:gd name="connsiteY29" fmla="*/ 1516062 h 2400300"/>
                    <a:gd name="connsiteX30" fmla="*/ 1263650 w 1682750"/>
                    <a:gd name="connsiteY30" fmla="*/ 1611313 h 2400300"/>
                    <a:gd name="connsiteX31" fmla="*/ 1270000 w 1682750"/>
                    <a:gd name="connsiteY31" fmla="*/ 1746250 h 2400300"/>
                    <a:gd name="connsiteX32" fmla="*/ 1349375 w 1682750"/>
                    <a:gd name="connsiteY32" fmla="*/ 1893888 h 2400300"/>
                    <a:gd name="connsiteX33" fmla="*/ 1489075 w 1682750"/>
                    <a:gd name="connsiteY33" fmla="*/ 1987550 h 2400300"/>
                    <a:gd name="connsiteX34" fmla="*/ 1538287 w 1682750"/>
                    <a:gd name="connsiteY34" fmla="*/ 2074862 h 2400300"/>
                    <a:gd name="connsiteX35" fmla="*/ 1543050 w 1682750"/>
                    <a:gd name="connsiteY35" fmla="*/ 2146300 h 2400300"/>
                    <a:gd name="connsiteX36" fmla="*/ 1562100 w 1682750"/>
                    <a:gd name="connsiteY36" fmla="*/ 2222500 h 2400300"/>
                    <a:gd name="connsiteX37" fmla="*/ 1549400 w 1682750"/>
                    <a:gd name="connsiteY37" fmla="*/ 2298700 h 2400300"/>
                    <a:gd name="connsiteX38" fmla="*/ 1600200 w 1682750"/>
                    <a:gd name="connsiteY38" fmla="*/ 2368550 h 2400300"/>
                    <a:gd name="connsiteX39" fmla="*/ 1682750 w 1682750"/>
                    <a:gd name="connsiteY39" fmla="*/ 2400300 h 2400300"/>
                    <a:gd name="connsiteX0" fmla="*/ 0 w 1682750"/>
                    <a:gd name="connsiteY0" fmla="*/ 0 h 2400300"/>
                    <a:gd name="connsiteX1" fmla="*/ 63500 w 1682750"/>
                    <a:gd name="connsiteY1" fmla="*/ 69850 h 2400300"/>
                    <a:gd name="connsiteX2" fmla="*/ 158750 w 1682750"/>
                    <a:gd name="connsiteY2" fmla="*/ 120650 h 2400300"/>
                    <a:gd name="connsiteX3" fmla="*/ 171450 w 1682750"/>
                    <a:gd name="connsiteY3" fmla="*/ 177800 h 2400300"/>
                    <a:gd name="connsiteX4" fmla="*/ 165100 w 1682750"/>
                    <a:gd name="connsiteY4" fmla="*/ 241300 h 2400300"/>
                    <a:gd name="connsiteX5" fmla="*/ 171450 w 1682750"/>
                    <a:gd name="connsiteY5" fmla="*/ 311150 h 2400300"/>
                    <a:gd name="connsiteX6" fmla="*/ 146050 w 1682750"/>
                    <a:gd name="connsiteY6" fmla="*/ 342900 h 2400300"/>
                    <a:gd name="connsiteX7" fmla="*/ 165100 w 1682750"/>
                    <a:gd name="connsiteY7" fmla="*/ 419100 h 2400300"/>
                    <a:gd name="connsiteX8" fmla="*/ 196850 w 1682750"/>
                    <a:gd name="connsiteY8" fmla="*/ 476250 h 2400300"/>
                    <a:gd name="connsiteX9" fmla="*/ 234950 w 1682750"/>
                    <a:gd name="connsiteY9" fmla="*/ 501650 h 2400300"/>
                    <a:gd name="connsiteX10" fmla="*/ 209550 w 1682750"/>
                    <a:gd name="connsiteY10" fmla="*/ 584200 h 2400300"/>
                    <a:gd name="connsiteX11" fmla="*/ 222250 w 1682750"/>
                    <a:gd name="connsiteY11" fmla="*/ 628650 h 2400300"/>
                    <a:gd name="connsiteX12" fmla="*/ 266700 w 1682750"/>
                    <a:gd name="connsiteY12" fmla="*/ 698500 h 2400300"/>
                    <a:gd name="connsiteX13" fmla="*/ 298450 w 1682750"/>
                    <a:gd name="connsiteY13" fmla="*/ 800100 h 2400300"/>
                    <a:gd name="connsiteX14" fmla="*/ 247650 w 1682750"/>
                    <a:gd name="connsiteY14" fmla="*/ 838200 h 2400300"/>
                    <a:gd name="connsiteX15" fmla="*/ 241300 w 1682750"/>
                    <a:gd name="connsiteY15" fmla="*/ 914400 h 2400300"/>
                    <a:gd name="connsiteX16" fmla="*/ 266700 w 1682750"/>
                    <a:gd name="connsiteY16" fmla="*/ 965200 h 2400300"/>
                    <a:gd name="connsiteX17" fmla="*/ 266700 w 1682750"/>
                    <a:gd name="connsiteY17" fmla="*/ 1085850 h 2400300"/>
                    <a:gd name="connsiteX18" fmla="*/ 330200 w 1682750"/>
                    <a:gd name="connsiteY18" fmla="*/ 1162050 h 2400300"/>
                    <a:gd name="connsiteX19" fmla="*/ 414338 w 1682750"/>
                    <a:gd name="connsiteY19" fmla="*/ 1131887 h 2400300"/>
                    <a:gd name="connsiteX20" fmla="*/ 542925 w 1682750"/>
                    <a:gd name="connsiteY20" fmla="*/ 1016000 h 2400300"/>
                    <a:gd name="connsiteX21" fmla="*/ 628650 w 1682750"/>
                    <a:gd name="connsiteY21" fmla="*/ 931863 h 2400300"/>
                    <a:gd name="connsiteX22" fmla="*/ 698500 w 1682750"/>
                    <a:gd name="connsiteY22" fmla="*/ 952500 h 2400300"/>
                    <a:gd name="connsiteX23" fmla="*/ 814388 w 1682750"/>
                    <a:gd name="connsiteY23" fmla="*/ 985838 h 2400300"/>
                    <a:gd name="connsiteX24" fmla="*/ 919163 w 1682750"/>
                    <a:gd name="connsiteY24" fmla="*/ 1003300 h 2400300"/>
                    <a:gd name="connsiteX25" fmla="*/ 989013 w 1682750"/>
                    <a:gd name="connsiteY25" fmla="*/ 1120775 h 2400300"/>
                    <a:gd name="connsiteX26" fmla="*/ 1090613 w 1682750"/>
                    <a:gd name="connsiteY26" fmla="*/ 1238250 h 2400300"/>
                    <a:gd name="connsiteX27" fmla="*/ 1212850 w 1682750"/>
                    <a:gd name="connsiteY27" fmla="*/ 1323975 h 2400300"/>
                    <a:gd name="connsiteX28" fmla="*/ 1268412 w 1682750"/>
                    <a:gd name="connsiteY28" fmla="*/ 1417637 h 2400300"/>
                    <a:gd name="connsiteX29" fmla="*/ 1273175 w 1682750"/>
                    <a:gd name="connsiteY29" fmla="*/ 1516062 h 2400300"/>
                    <a:gd name="connsiteX30" fmla="*/ 1263650 w 1682750"/>
                    <a:gd name="connsiteY30" fmla="*/ 1611313 h 2400300"/>
                    <a:gd name="connsiteX31" fmla="*/ 1270000 w 1682750"/>
                    <a:gd name="connsiteY31" fmla="*/ 1746250 h 2400300"/>
                    <a:gd name="connsiteX32" fmla="*/ 1349375 w 1682750"/>
                    <a:gd name="connsiteY32" fmla="*/ 1893888 h 2400300"/>
                    <a:gd name="connsiteX33" fmla="*/ 1489075 w 1682750"/>
                    <a:gd name="connsiteY33" fmla="*/ 1987550 h 2400300"/>
                    <a:gd name="connsiteX34" fmla="*/ 1538287 w 1682750"/>
                    <a:gd name="connsiteY34" fmla="*/ 2074862 h 2400300"/>
                    <a:gd name="connsiteX35" fmla="*/ 1543050 w 1682750"/>
                    <a:gd name="connsiteY35" fmla="*/ 2146300 h 2400300"/>
                    <a:gd name="connsiteX36" fmla="*/ 1562100 w 1682750"/>
                    <a:gd name="connsiteY36" fmla="*/ 2222500 h 2400300"/>
                    <a:gd name="connsiteX37" fmla="*/ 1549400 w 1682750"/>
                    <a:gd name="connsiteY37" fmla="*/ 2298700 h 2400300"/>
                    <a:gd name="connsiteX38" fmla="*/ 1600200 w 1682750"/>
                    <a:gd name="connsiteY38" fmla="*/ 2368550 h 2400300"/>
                    <a:gd name="connsiteX39" fmla="*/ 1682750 w 1682750"/>
                    <a:gd name="connsiteY39" fmla="*/ 2400300 h 2400300"/>
                    <a:gd name="connsiteX0" fmla="*/ 0 w 1682750"/>
                    <a:gd name="connsiteY0" fmla="*/ 0 h 2400300"/>
                    <a:gd name="connsiteX1" fmla="*/ 63500 w 1682750"/>
                    <a:gd name="connsiteY1" fmla="*/ 69850 h 2400300"/>
                    <a:gd name="connsiteX2" fmla="*/ 158750 w 1682750"/>
                    <a:gd name="connsiteY2" fmla="*/ 120650 h 2400300"/>
                    <a:gd name="connsiteX3" fmla="*/ 171450 w 1682750"/>
                    <a:gd name="connsiteY3" fmla="*/ 177800 h 2400300"/>
                    <a:gd name="connsiteX4" fmla="*/ 165100 w 1682750"/>
                    <a:gd name="connsiteY4" fmla="*/ 241300 h 2400300"/>
                    <a:gd name="connsiteX5" fmla="*/ 171450 w 1682750"/>
                    <a:gd name="connsiteY5" fmla="*/ 311150 h 2400300"/>
                    <a:gd name="connsiteX6" fmla="*/ 146050 w 1682750"/>
                    <a:gd name="connsiteY6" fmla="*/ 342900 h 2400300"/>
                    <a:gd name="connsiteX7" fmla="*/ 165100 w 1682750"/>
                    <a:gd name="connsiteY7" fmla="*/ 419100 h 2400300"/>
                    <a:gd name="connsiteX8" fmla="*/ 196850 w 1682750"/>
                    <a:gd name="connsiteY8" fmla="*/ 476250 h 2400300"/>
                    <a:gd name="connsiteX9" fmla="*/ 234950 w 1682750"/>
                    <a:gd name="connsiteY9" fmla="*/ 501650 h 2400300"/>
                    <a:gd name="connsiteX10" fmla="*/ 209550 w 1682750"/>
                    <a:gd name="connsiteY10" fmla="*/ 584200 h 2400300"/>
                    <a:gd name="connsiteX11" fmla="*/ 222250 w 1682750"/>
                    <a:gd name="connsiteY11" fmla="*/ 628650 h 2400300"/>
                    <a:gd name="connsiteX12" fmla="*/ 266700 w 1682750"/>
                    <a:gd name="connsiteY12" fmla="*/ 698500 h 2400300"/>
                    <a:gd name="connsiteX13" fmla="*/ 298450 w 1682750"/>
                    <a:gd name="connsiteY13" fmla="*/ 800100 h 2400300"/>
                    <a:gd name="connsiteX14" fmla="*/ 247650 w 1682750"/>
                    <a:gd name="connsiteY14" fmla="*/ 838200 h 2400300"/>
                    <a:gd name="connsiteX15" fmla="*/ 241300 w 1682750"/>
                    <a:gd name="connsiteY15" fmla="*/ 914400 h 2400300"/>
                    <a:gd name="connsiteX16" fmla="*/ 266700 w 1682750"/>
                    <a:gd name="connsiteY16" fmla="*/ 965200 h 2400300"/>
                    <a:gd name="connsiteX17" fmla="*/ 266700 w 1682750"/>
                    <a:gd name="connsiteY17" fmla="*/ 1085850 h 2400300"/>
                    <a:gd name="connsiteX18" fmla="*/ 330200 w 1682750"/>
                    <a:gd name="connsiteY18" fmla="*/ 1162050 h 2400300"/>
                    <a:gd name="connsiteX19" fmla="*/ 414338 w 1682750"/>
                    <a:gd name="connsiteY19" fmla="*/ 1131887 h 2400300"/>
                    <a:gd name="connsiteX20" fmla="*/ 542925 w 1682750"/>
                    <a:gd name="connsiteY20" fmla="*/ 1016000 h 2400300"/>
                    <a:gd name="connsiteX21" fmla="*/ 628650 w 1682750"/>
                    <a:gd name="connsiteY21" fmla="*/ 931863 h 2400300"/>
                    <a:gd name="connsiteX22" fmla="*/ 698500 w 1682750"/>
                    <a:gd name="connsiteY22" fmla="*/ 952500 h 2400300"/>
                    <a:gd name="connsiteX23" fmla="*/ 814388 w 1682750"/>
                    <a:gd name="connsiteY23" fmla="*/ 985838 h 2400300"/>
                    <a:gd name="connsiteX24" fmla="*/ 919163 w 1682750"/>
                    <a:gd name="connsiteY24" fmla="*/ 1003300 h 2400300"/>
                    <a:gd name="connsiteX25" fmla="*/ 989013 w 1682750"/>
                    <a:gd name="connsiteY25" fmla="*/ 1120775 h 2400300"/>
                    <a:gd name="connsiteX26" fmla="*/ 1090613 w 1682750"/>
                    <a:gd name="connsiteY26" fmla="*/ 1238250 h 2400300"/>
                    <a:gd name="connsiteX27" fmla="*/ 1212850 w 1682750"/>
                    <a:gd name="connsiteY27" fmla="*/ 1323975 h 2400300"/>
                    <a:gd name="connsiteX28" fmla="*/ 1268412 w 1682750"/>
                    <a:gd name="connsiteY28" fmla="*/ 1417637 h 2400300"/>
                    <a:gd name="connsiteX29" fmla="*/ 1273175 w 1682750"/>
                    <a:gd name="connsiteY29" fmla="*/ 1516062 h 2400300"/>
                    <a:gd name="connsiteX30" fmla="*/ 1263650 w 1682750"/>
                    <a:gd name="connsiteY30" fmla="*/ 1611313 h 2400300"/>
                    <a:gd name="connsiteX31" fmla="*/ 1270000 w 1682750"/>
                    <a:gd name="connsiteY31" fmla="*/ 1746250 h 2400300"/>
                    <a:gd name="connsiteX32" fmla="*/ 1349375 w 1682750"/>
                    <a:gd name="connsiteY32" fmla="*/ 1893888 h 2400300"/>
                    <a:gd name="connsiteX33" fmla="*/ 1503363 w 1682750"/>
                    <a:gd name="connsiteY33" fmla="*/ 1973262 h 2400300"/>
                    <a:gd name="connsiteX34" fmla="*/ 1538287 w 1682750"/>
                    <a:gd name="connsiteY34" fmla="*/ 2074862 h 2400300"/>
                    <a:gd name="connsiteX35" fmla="*/ 1543050 w 1682750"/>
                    <a:gd name="connsiteY35" fmla="*/ 2146300 h 2400300"/>
                    <a:gd name="connsiteX36" fmla="*/ 1562100 w 1682750"/>
                    <a:gd name="connsiteY36" fmla="*/ 2222500 h 2400300"/>
                    <a:gd name="connsiteX37" fmla="*/ 1549400 w 1682750"/>
                    <a:gd name="connsiteY37" fmla="*/ 2298700 h 2400300"/>
                    <a:gd name="connsiteX38" fmla="*/ 1600200 w 1682750"/>
                    <a:gd name="connsiteY38" fmla="*/ 2368550 h 2400300"/>
                    <a:gd name="connsiteX39" fmla="*/ 1682750 w 1682750"/>
                    <a:gd name="connsiteY39" fmla="*/ 2400300 h 2400300"/>
                    <a:gd name="connsiteX0" fmla="*/ 0 w 1682750"/>
                    <a:gd name="connsiteY0" fmla="*/ 0 h 2400300"/>
                    <a:gd name="connsiteX1" fmla="*/ 63500 w 1682750"/>
                    <a:gd name="connsiteY1" fmla="*/ 69850 h 2400300"/>
                    <a:gd name="connsiteX2" fmla="*/ 158750 w 1682750"/>
                    <a:gd name="connsiteY2" fmla="*/ 120650 h 2400300"/>
                    <a:gd name="connsiteX3" fmla="*/ 171450 w 1682750"/>
                    <a:gd name="connsiteY3" fmla="*/ 177800 h 2400300"/>
                    <a:gd name="connsiteX4" fmla="*/ 165100 w 1682750"/>
                    <a:gd name="connsiteY4" fmla="*/ 241300 h 2400300"/>
                    <a:gd name="connsiteX5" fmla="*/ 171450 w 1682750"/>
                    <a:gd name="connsiteY5" fmla="*/ 311150 h 2400300"/>
                    <a:gd name="connsiteX6" fmla="*/ 146050 w 1682750"/>
                    <a:gd name="connsiteY6" fmla="*/ 342900 h 2400300"/>
                    <a:gd name="connsiteX7" fmla="*/ 165100 w 1682750"/>
                    <a:gd name="connsiteY7" fmla="*/ 419100 h 2400300"/>
                    <a:gd name="connsiteX8" fmla="*/ 196850 w 1682750"/>
                    <a:gd name="connsiteY8" fmla="*/ 476250 h 2400300"/>
                    <a:gd name="connsiteX9" fmla="*/ 234950 w 1682750"/>
                    <a:gd name="connsiteY9" fmla="*/ 501650 h 2400300"/>
                    <a:gd name="connsiteX10" fmla="*/ 209550 w 1682750"/>
                    <a:gd name="connsiteY10" fmla="*/ 584200 h 2400300"/>
                    <a:gd name="connsiteX11" fmla="*/ 222250 w 1682750"/>
                    <a:gd name="connsiteY11" fmla="*/ 628650 h 2400300"/>
                    <a:gd name="connsiteX12" fmla="*/ 266700 w 1682750"/>
                    <a:gd name="connsiteY12" fmla="*/ 698500 h 2400300"/>
                    <a:gd name="connsiteX13" fmla="*/ 298450 w 1682750"/>
                    <a:gd name="connsiteY13" fmla="*/ 800100 h 2400300"/>
                    <a:gd name="connsiteX14" fmla="*/ 247650 w 1682750"/>
                    <a:gd name="connsiteY14" fmla="*/ 838200 h 2400300"/>
                    <a:gd name="connsiteX15" fmla="*/ 241300 w 1682750"/>
                    <a:gd name="connsiteY15" fmla="*/ 914400 h 2400300"/>
                    <a:gd name="connsiteX16" fmla="*/ 266700 w 1682750"/>
                    <a:gd name="connsiteY16" fmla="*/ 965200 h 2400300"/>
                    <a:gd name="connsiteX17" fmla="*/ 266700 w 1682750"/>
                    <a:gd name="connsiteY17" fmla="*/ 1085850 h 2400300"/>
                    <a:gd name="connsiteX18" fmla="*/ 330200 w 1682750"/>
                    <a:gd name="connsiteY18" fmla="*/ 1162050 h 2400300"/>
                    <a:gd name="connsiteX19" fmla="*/ 414338 w 1682750"/>
                    <a:gd name="connsiteY19" fmla="*/ 1131887 h 2400300"/>
                    <a:gd name="connsiteX20" fmla="*/ 542925 w 1682750"/>
                    <a:gd name="connsiteY20" fmla="*/ 1016000 h 2400300"/>
                    <a:gd name="connsiteX21" fmla="*/ 628650 w 1682750"/>
                    <a:gd name="connsiteY21" fmla="*/ 931863 h 2400300"/>
                    <a:gd name="connsiteX22" fmla="*/ 698500 w 1682750"/>
                    <a:gd name="connsiteY22" fmla="*/ 952500 h 2400300"/>
                    <a:gd name="connsiteX23" fmla="*/ 814388 w 1682750"/>
                    <a:gd name="connsiteY23" fmla="*/ 985838 h 2400300"/>
                    <a:gd name="connsiteX24" fmla="*/ 919163 w 1682750"/>
                    <a:gd name="connsiteY24" fmla="*/ 1003300 h 2400300"/>
                    <a:gd name="connsiteX25" fmla="*/ 989013 w 1682750"/>
                    <a:gd name="connsiteY25" fmla="*/ 1120775 h 2400300"/>
                    <a:gd name="connsiteX26" fmla="*/ 1090613 w 1682750"/>
                    <a:gd name="connsiteY26" fmla="*/ 1238250 h 2400300"/>
                    <a:gd name="connsiteX27" fmla="*/ 1212850 w 1682750"/>
                    <a:gd name="connsiteY27" fmla="*/ 1323975 h 2400300"/>
                    <a:gd name="connsiteX28" fmla="*/ 1268412 w 1682750"/>
                    <a:gd name="connsiteY28" fmla="*/ 1417637 h 2400300"/>
                    <a:gd name="connsiteX29" fmla="*/ 1273175 w 1682750"/>
                    <a:gd name="connsiteY29" fmla="*/ 1516062 h 2400300"/>
                    <a:gd name="connsiteX30" fmla="*/ 1263650 w 1682750"/>
                    <a:gd name="connsiteY30" fmla="*/ 1611313 h 2400300"/>
                    <a:gd name="connsiteX31" fmla="*/ 1270000 w 1682750"/>
                    <a:gd name="connsiteY31" fmla="*/ 1746250 h 2400300"/>
                    <a:gd name="connsiteX32" fmla="*/ 1349375 w 1682750"/>
                    <a:gd name="connsiteY32" fmla="*/ 1893888 h 2400300"/>
                    <a:gd name="connsiteX33" fmla="*/ 1503363 w 1682750"/>
                    <a:gd name="connsiteY33" fmla="*/ 1973262 h 2400300"/>
                    <a:gd name="connsiteX34" fmla="*/ 1538287 w 1682750"/>
                    <a:gd name="connsiteY34" fmla="*/ 2074862 h 2400300"/>
                    <a:gd name="connsiteX35" fmla="*/ 1585913 w 1682750"/>
                    <a:gd name="connsiteY35" fmla="*/ 2141538 h 2400300"/>
                    <a:gd name="connsiteX36" fmla="*/ 1562100 w 1682750"/>
                    <a:gd name="connsiteY36" fmla="*/ 2222500 h 2400300"/>
                    <a:gd name="connsiteX37" fmla="*/ 1549400 w 1682750"/>
                    <a:gd name="connsiteY37" fmla="*/ 2298700 h 2400300"/>
                    <a:gd name="connsiteX38" fmla="*/ 1600200 w 1682750"/>
                    <a:gd name="connsiteY38" fmla="*/ 2368550 h 2400300"/>
                    <a:gd name="connsiteX39" fmla="*/ 1682750 w 1682750"/>
                    <a:gd name="connsiteY39" fmla="*/ 2400300 h 2400300"/>
                    <a:gd name="connsiteX0" fmla="*/ 0 w 1682750"/>
                    <a:gd name="connsiteY0" fmla="*/ 0 h 2400300"/>
                    <a:gd name="connsiteX1" fmla="*/ 63500 w 1682750"/>
                    <a:gd name="connsiteY1" fmla="*/ 69850 h 2400300"/>
                    <a:gd name="connsiteX2" fmla="*/ 158750 w 1682750"/>
                    <a:gd name="connsiteY2" fmla="*/ 120650 h 2400300"/>
                    <a:gd name="connsiteX3" fmla="*/ 171450 w 1682750"/>
                    <a:gd name="connsiteY3" fmla="*/ 177800 h 2400300"/>
                    <a:gd name="connsiteX4" fmla="*/ 165100 w 1682750"/>
                    <a:gd name="connsiteY4" fmla="*/ 241300 h 2400300"/>
                    <a:gd name="connsiteX5" fmla="*/ 171450 w 1682750"/>
                    <a:gd name="connsiteY5" fmla="*/ 311150 h 2400300"/>
                    <a:gd name="connsiteX6" fmla="*/ 146050 w 1682750"/>
                    <a:gd name="connsiteY6" fmla="*/ 342900 h 2400300"/>
                    <a:gd name="connsiteX7" fmla="*/ 165100 w 1682750"/>
                    <a:gd name="connsiteY7" fmla="*/ 419100 h 2400300"/>
                    <a:gd name="connsiteX8" fmla="*/ 196850 w 1682750"/>
                    <a:gd name="connsiteY8" fmla="*/ 476250 h 2400300"/>
                    <a:gd name="connsiteX9" fmla="*/ 234950 w 1682750"/>
                    <a:gd name="connsiteY9" fmla="*/ 501650 h 2400300"/>
                    <a:gd name="connsiteX10" fmla="*/ 209550 w 1682750"/>
                    <a:gd name="connsiteY10" fmla="*/ 584200 h 2400300"/>
                    <a:gd name="connsiteX11" fmla="*/ 222250 w 1682750"/>
                    <a:gd name="connsiteY11" fmla="*/ 628650 h 2400300"/>
                    <a:gd name="connsiteX12" fmla="*/ 266700 w 1682750"/>
                    <a:gd name="connsiteY12" fmla="*/ 698500 h 2400300"/>
                    <a:gd name="connsiteX13" fmla="*/ 298450 w 1682750"/>
                    <a:gd name="connsiteY13" fmla="*/ 800100 h 2400300"/>
                    <a:gd name="connsiteX14" fmla="*/ 247650 w 1682750"/>
                    <a:gd name="connsiteY14" fmla="*/ 838200 h 2400300"/>
                    <a:gd name="connsiteX15" fmla="*/ 241300 w 1682750"/>
                    <a:gd name="connsiteY15" fmla="*/ 914400 h 2400300"/>
                    <a:gd name="connsiteX16" fmla="*/ 266700 w 1682750"/>
                    <a:gd name="connsiteY16" fmla="*/ 965200 h 2400300"/>
                    <a:gd name="connsiteX17" fmla="*/ 266700 w 1682750"/>
                    <a:gd name="connsiteY17" fmla="*/ 1085850 h 2400300"/>
                    <a:gd name="connsiteX18" fmla="*/ 330200 w 1682750"/>
                    <a:gd name="connsiteY18" fmla="*/ 1162050 h 2400300"/>
                    <a:gd name="connsiteX19" fmla="*/ 414338 w 1682750"/>
                    <a:gd name="connsiteY19" fmla="*/ 1131887 h 2400300"/>
                    <a:gd name="connsiteX20" fmla="*/ 542925 w 1682750"/>
                    <a:gd name="connsiteY20" fmla="*/ 1016000 h 2400300"/>
                    <a:gd name="connsiteX21" fmla="*/ 628650 w 1682750"/>
                    <a:gd name="connsiteY21" fmla="*/ 931863 h 2400300"/>
                    <a:gd name="connsiteX22" fmla="*/ 698500 w 1682750"/>
                    <a:gd name="connsiteY22" fmla="*/ 952500 h 2400300"/>
                    <a:gd name="connsiteX23" fmla="*/ 814388 w 1682750"/>
                    <a:gd name="connsiteY23" fmla="*/ 985838 h 2400300"/>
                    <a:gd name="connsiteX24" fmla="*/ 919163 w 1682750"/>
                    <a:gd name="connsiteY24" fmla="*/ 1003300 h 2400300"/>
                    <a:gd name="connsiteX25" fmla="*/ 989013 w 1682750"/>
                    <a:gd name="connsiteY25" fmla="*/ 1120775 h 2400300"/>
                    <a:gd name="connsiteX26" fmla="*/ 1090613 w 1682750"/>
                    <a:gd name="connsiteY26" fmla="*/ 1238250 h 2400300"/>
                    <a:gd name="connsiteX27" fmla="*/ 1212850 w 1682750"/>
                    <a:gd name="connsiteY27" fmla="*/ 1323975 h 2400300"/>
                    <a:gd name="connsiteX28" fmla="*/ 1268412 w 1682750"/>
                    <a:gd name="connsiteY28" fmla="*/ 1417637 h 2400300"/>
                    <a:gd name="connsiteX29" fmla="*/ 1273175 w 1682750"/>
                    <a:gd name="connsiteY29" fmla="*/ 1516062 h 2400300"/>
                    <a:gd name="connsiteX30" fmla="*/ 1263650 w 1682750"/>
                    <a:gd name="connsiteY30" fmla="*/ 1611313 h 2400300"/>
                    <a:gd name="connsiteX31" fmla="*/ 1270000 w 1682750"/>
                    <a:gd name="connsiteY31" fmla="*/ 1746250 h 2400300"/>
                    <a:gd name="connsiteX32" fmla="*/ 1349375 w 1682750"/>
                    <a:gd name="connsiteY32" fmla="*/ 1893888 h 2400300"/>
                    <a:gd name="connsiteX33" fmla="*/ 1503363 w 1682750"/>
                    <a:gd name="connsiteY33" fmla="*/ 1973262 h 2400300"/>
                    <a:gd name="connsiteX34" fmla="*/ 1538287 w 1682750"/>
                    <a:gd name="connsiteY34" fmla="*/ 2074862 h 2400300"/>
                    <a:gd name="connsiteX35" fmla="*/ 1585913 w 1682750"/>
                    <a:gd name="connsiteY35" fmla="*/ 2141538 h 2400300"/>
                    <a:gd name="connsiteX36" fmla="*/ 1590675 w 1682750"/>
                    <a:gd name="connsiteY36" fmla="*/ 2232025 h 2400300"/>
                    <a:gd name="connsiteX37" fmla="*/ 1549400 w 1682750"/>
                    <a:gd name="connsiteY37" fmla="*/ 2298700 h 2400300"/>
                    <a:gd name="connsiteX38" fmla="*/ 1600200 w 1682750"/>
                    <a:gd name="connsiteY38" fmla="*/ 2368550 h 2400300"/>
                    <a:gd name="connsiteX39" fmla="*/ 1682750 w 1682750"/>
                    <a:gd name="connsiteY39" fmla="*/ 2400300 h 2400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1682750" h="2400300">
                      <a:moveTo>
                        <a:pt x="0" y="0"/>
                      </a:moveTo>
                      <a:cubicBezTo>
                        <a:pt x="18521" y="24871"/>
                        <a:pt x="37042" y="49742"/>
                        <a:pt x="63500" y="69850"/>
                      </a:cubicBezTo>
                      <a:cubicBezTo>
                        <a:pt x="89958" y="89958"/>
                        <a:pt x="140758" y="102658"/>
                        <a:pt x="158750" y="120650"/>
                      </a:cubicBezTo>
                      <a:cubicBezTo>
                        <a:pt x="176742" y="138642"/>
                        <a:pt x="170392" y="157692"/>
                        <a:pt x="171450" y="177800"/>
                      </a:cubicBezTo>
                      <a:cubicBezTo>
                        <a:pt x="172508" y="197908"/>
                        <a:pt x="165100" y="219075"/>
                        <a:pt x="165100" y="241300"/>
                      </a:cubicBezTo>
                      <a:cubicBezTo>
                        <a:pt x="165100" y="263525"/>
                        <a:pt x="174625" y="294217"/>
                        <a:pt x="171450" y="311150"/>
                      </a:cubicBezTo>
                      <a:cubicBezTo>
                        <a:pt x="168275" y="328083"/>
                        <a:pt x="147108" y="324909"/>
                        <a:pt x="146050" y="342900"/>
                      </a:cubicBezTo>
                      <a:cubicBezTo>
                        <a:pt x="144992" y="360891"/>
                        <a:pt x="156633" y="396875"/>
                        <a:pt x="165100" y="419100"/>
                      </a:cubicBezTo>
                      <a:cubicBezTo>
                        <a:pt x="173567" y="441325"/>
                        <a:pt x="185208" y="462492"/>
                        <a:pt x="196850" y="476250"/>
                      </a:cubicBezTo>
                      <a:cubicBezTo>
                        <a:pt x="208492" y="490008"/>
                        <a:pt x="232833" y="483658"/>
                        <a:pt x="234950" y="501650"/>
                      </a:cubicBezTo>
                      <a:cubicBezTo>
                        <a:pt x="237067" y="519642"/>
                        <a:pt x="211667" y="563033"/>
                        <a:pt x="209550" y="584200"/>
                      </a:cubicBezTo>
                      <a:cubicBezTo>
                        <a:pt x="207433" y="605367"/>
                        <a:pt x="212725" y="609600"/>
                        <a:pt x="222250" y="628650"/>
                      </a:cubicBezTo>
                      <a:cubicBezTo>
                        <a:pt x="231775" y="647700"/>
                        <a:pt x="254000" y="669925"/>
                        <a:pt x="266700" y="698500"/>
                      </a:cubicBezTo>
                      <a:cubicBezTo>
                        <a:pt x="279400" y="727075"/>
                        <a:pt x="301625" y="776817"/>
                        <a:pt x="298450" y="800100"/>
                      </a:cubicBezTo>
                      <a:cubicBezTo>
                        <a:pt x="295275" y="823383"/>
                        <a:pt x="257175" y="819150"/>
                        <a:pt x="247650" y="838200"/>
                      </a:cubicBezTo>
                      <a:cubicBezTo>
                        <a:pt x="238125" y="857250"/>
                        <a:pt x="238125" y="893233"/>
                        <a:pt x="241300" y="914400"/>
                      </a:cubicBezTo>
                      <a:cubicBezTo>
                        <a:pt x="244475" y="935567"/>
                        <a:pt x="262467" y="936625"/>
                        <a:pt x="266700" y="965200"/>
                      </a:cubicBezTo>
                      <a:cubicBezTo>
                        <a:pt x="270933" y="993775"/>
                        <a:pt x="256117" y="1053042"/>
                        <a:pt x="266700" y="1085850"/>
                      </a:cubicBezTo>
                      <a:cubicBezTo>
                        <a:pt x="277283" y="1118658"/>
                        <a:pt x="305594" y="1154377"/>
                        <a:pt x="330200" y="1162050"/>
                      </a:cubicBezTo>
                      <a:cubicBezTo>
                        <a:pt x="354806" y="1169723"/>
                        <a:pt x="378884" y="1156229"/>
                        <a:pt x="414338" y="1131887"/>
                      </a:cubicBezTo>
                      <a:cubicBezTo>
                        <a:pt x="449792" y="1107545"/>
                        <a:pt x="507206" y="1049337"/>
                        <a:pt x="542925" y="1016000"/>
                      </a:cubicBezTo>
                      <a:cubicBezTo>
                        <a:pt x="578644" y="982663"/>
                        <a:pt x="602721" y="942446"/>
                        <a:pt x="628650" y="931863"/>
                      </a:cubicBezTo>
                      <a:cubicBezTo>
                        <a:pt x="654579" y="921280"/>
                        <a:pt x="667544" y="943504"/>
                        <a:pt x="698500" y="952500"/>
                      </a:cubicBezTo>
                      <a:cubicBezTo>
                        <a:pt x="729456" y="961496"/>
                        <a:pt x="777611" y="977371"/>
                        <a:pt x="814388" y="985838"/>
                      </a:cubicBezTo>
                      <a:cubicBezTo>
                        <a:pt x="851165" y="994305"/>
                        <a:pt x="890059" y="980811"/>
                        <a:pt x="919163" y="1003300"/>
                      </a:cubicBezTo>
                      <a:cubicBezTo>
                        <a:pt x="948267" y="1025790"/>
                        <a:pt x="960438" y="1081617"/>
                        <a:pt x="989013" y="1120775"/>
                      </a:cubicBezTo>
                      <a:cubicBezTo>
                        <a:pt x="1017588" y="1159933"/>
                        <a:pt x="1053307" y="1204383"/>
                        <a:pt x="1090613" y="1238250"/>
                      </a:cubicBezTo>
                      <a:cubicBezTo>
                        <a:pt x="1127919" y="1272117"/>
                        <a:pt x="1183217" y="1294077"/>
                        <a:pt x="1212850" y="1323975"/>
                      </a:cubicBezTo>
                      <a:cubicBezTo>
                        <a:pt x="1242483" y="1353873"/>
                        <a:pt x="1258358" y="1385623"/>
                        <a:pt x="1268412" y="1417637"/>
                      </a:cubicBezTo>
                      <a:cubicBezTo>
                        <a:pt x="1278466" y="1449652"/>
                        <a:pt x="1273969" y="1483783"/>
                        <a:pt x="1273175" y="1516062"/>
                      </a:cubicBezTo>
                      <a:cubicBezTo>
                        <a:pt x="1272381" y="1548341"/>
                        <a:pt x="1264179" y="1572948"/>
                        <a:pt x="1263650" y="1611313"/>
                      </a:cubicBezTo>
                      <a:cubicBezTo>
                        <a:pt x="1263121" y="1649678"/>
                        <a:pt x="1255713" y="1699154"/>
                        <a:pt x="1270000" y="1746250"/>
                      </a:cubicBezTo>
                      <a:cubicBezTo>
                        <a:pt x="1284287" y="1793346"/>
                        <a:pt x="1314450" y="1850496"/>
                        <a:pt x="1349375" y="1893888"/>
                      </a:cubicBezTo>
                      <a:cubicBezTo>
                        <a:pt x="1384300" y="1937280"/>
                        <a:pt x="1471878" y="1943100"/>
                        <a:pt x="1503363" y="1973262"/>
                      </a:cubicBezTo>
                      <a:cubicBezTo>
                        <a:pt x="1534848" y="2003424"/>
                        <a:pt x="1524529" y="2046816"/>
                        <a:pt x="1538287" y="2074862"/>
                      </a:cubicBezTo>
                      <a:cubicBezTo>
                        <a:pt x="1552045" y="2102908"/>
                        <a:pt x="1577182" y="2115344"/>
                        <a:pt x="1585913" y="2141538"/>
                      </a:cubicBezTo>
                      <a:cubicBezTo>
                        <a:pt x="1594644" y="2167732"/>
                        <a:pt x="1596760" y="2205831"/>
                        <a:pt x="1590675" y="2232025"/>
                      </a:cubicBezTo>
                      <a:cubicBezTo>
                        <a:pt x="1584590" y="2258219"/>
                        <a:pt x="1547813" y="2275946"/>
                        <a:pt x="1549400" y="2298700"/>
                      </a:cubicBezTo>
                      <a:cubicBezTo>
                        <a:pt x="1550987" y="2321454"/>
                        <a:pt x="1577975" y="2351617"/>
                        <a:pt x="1600200" y="2368550"/>
                      </a:cubicBezTo>
                      <a:cubicBezTo>
                        <a:pt x="1622425" y="2385483"/>
                        <a:pt x="1682750" y="2400300"/>
                        <a:pt x="1682750" y="2400300"/>
                      </a:cubicBezTo>
                    </a:path>
                  </a:pathLst>
                </a:custGeom>
                <a:noFill/>
                <a:ln w="15875" cmpd="sng">
                  <a:solidFill>
                    <a:srgbClr val="00B050"/>
                  </a:solidFill>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47" name="Freeform 46"/>
                <p:cNvSpPr/>
                <p:nvPr/>
              </p:nvSpPr>
              <p:spPr>
                <a:xfrm>
                  <a:off x="3267149" y="4557350"/>
                  <a:ext cx="542252" cy="341806"/>
                </a:xfrm>
                <a:custGeom>
                  <a:avLst/>
                  <a:gdLst>
                    <a:gd name="connsiteX0" fmla="*/ 1009650 w 1009650"/>
                    <a:gd name="connsiteY0" fmla="*/ 45878 h 636428"/>
                    <a:gd name="connsiteX1" fmla="*/ 908050 w 1009650"/>
                    <a:gd name="connsiteY1" fmla="*/ 45878 h 636428"/>
                    <a:gd name="connsiteX2" fmla="*/ 819150 w 1009650"/>
                    <a:gd name="connsiteY2" fmla="*/ 7778 h 636428"/>
                    <a:gd name="connsiteX3" fmla="*/ 755650 w 1009650"/>
                    <a:gd name="connsiteY3" fmla="*/ 1428 h 636428"/>
                    <a:gd name="connsiteX4" fmla="*/ 723900 w 1009650"/>
                    <a:gd name="connsiteY4" fmla="*/ 26828 h 636428"/>
                    <a:gd name="connsiteX5" fmla="*/ 717550 w 1009650"/>
                    <a:gd name="connsiteY5" fmla="*/ 71278 h 636428"/>
                    <a:gd name="connsiteX6" fmla="*/ 679450 w 1009650"/>
                    <a:gd name="connsiteY6" fmla="*/ 122078 h 636428"/>
                    <a:gd name="connsiteX7" fmla="*/ 628650 w 1009650"/>
                    <a:gd name="connsiteY7" fmla="*/ 210978 h 636428"/>
                    <a:gd name="connsiteX8" fmla="*/ 596900 w 1009650"/>
                    <a:gd name="connsiteY8" fmla="*/ 312578 h 636428"/>
                    <a:gd name="connsiteX9" fmla="*/ 539750 w 1009650"/>
                    <a:gd name="connsiteY9" fmla="*/ 357028 h 636428"/>
                    <a:gd name="connsiteX10" fmla="*/ 469900 w 1009650"/>
                    <a:gd name="connsiteY10" fmla="*/ 376078 h 636428"/>
                    <a:gd name="connsiteX11" fmla="*/ 400050 w 1009650"/>
                    <a:gd name="connsiteY11" fmla="*/ 445928 h 636428"/>
                    <a:gd name="connsiteX12" fmla="*/ 298450 w 1009650"/>
                    <a:gd name="connsiteY12" fmla="*/ 484028 h 636428"/>
                    <a:gd name="connsiteX13" fmla="*/ 222250 w 1009650"/>
                    <a:gd name="connsiteY13" fmla="*/ 515778 h 636428"/>
                    <a:gd name="connsiteX14" fmla="*/ 139700 w 1009650"/>
                    <a:gd name="connsiteY14" fmla="*/ 585628 h 636428"/>
                    <a:gd name="connsiteX15" fmla="*/ 0 w 1009650"/>
                    <a:gd name="connsiteY15" fmla="*/ 636428 h 6364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009650" h="636428">
                      <a:moveTo>
                        <a:pt x="1009650" y="45878"/>
                      </a:moveTo>
                      <a:cubicBezTo>
                        <a:pt x="974725" y="49053"/>
                        <a:pt x="939800" y="52228"/>
                        <a:pt x="908050" y="45878"/>
                      </a:cubicBezTo>
                      <a:cubicBezTo>
                        <a:pt x="876300" y="39528"/>
                        <a:pt x="844550" y="15186"/>
                        <a:pt x="819150" y="7778"/>
                      </a:cubicBezTo>
                      <a:cubicBezTo>
                        <a:pt x="793750" y="370"/>
                        <a:pt x="771525" y="-1747"/>
                        <a:pt x="755650" y="1428"/>
                      </a:cubicBezTo>
                      <a:cubicBezTo>
                        <a:pt x="739775" y="4603"/>
                        <a:pt x="730250" y="15186"/>
                        <a:pt x="723900" y="26828"/>
                      </a:cubicBezTo>
                      <a:cubicBezTo>
                        <a:pt x="717550" y="38470"/>
                        <a:pt x="724958" y="55403"/>
                        <a:pt x="717550" y="71278"/>
                      </a:cubicBezTo>
                      <a:cubicBezTo>
                        <a:pt x="710142" y="87153"/>
                        <a:pt x="694267" y="98795"/>
                        <a:pt x="679450" y="122078"/>
                      </a:cubicBezTo>
                      <a:cubicBezTo>
                        <a:pt x="664633" y="145361"/>
                        <a:pt x="642408" y="179228"/>
                        <a:pt x="628650" y="210978"/>
                      </a:cubicBezTo>
                      <a:cubicBezTo>
                        <a:pt x="614892" y="242728"/>
                        <a:pt x="611717" y="288236"/>
                        <a:pt x="596900" y="312578"/>
                      </a:cubicBezTo>
                      <a:cubicBezTo>
                        <a:pt x="582083" y="336920"/>
                        <a:pt x="560917" y="346445"/>
                        <a:pt x="539750" y="357028"/>
                      </a:cubicBezTo>
                      <a:cubicBezTo>
                        <a:pt x="518583" y="367611"/>
                        <a:pt x="493183" y="361261"/>
                        <a:pt x="469900" y="376078"/>
                      </a:cubicBezTo>
                      <a:cubicBezTo>
                        <a:pt x="446617" y="390895"/>
                        <a:pt x="428625" y="427936"/>
                        <a:pt x="400050" y="445928"/>
                      </a:cubicBezTo>
                      <a:cubicBezTo>
                        <a:pt x="371475" y="463920"/>
                        <a:pt x="328083" y="472386"/>
                        <a:pt x="298450" y="484028"/>
                      </a:cubicBezTo>
                      <a:cubicBezTo>
                        <a:pt x="268817" y="495670"/>
                        <a:pt x="248708" y="498845"/>
                        <a:pt x="222250" y="515778"/>
                      </a:cubicBezTo>
                      <a:cubicBezTo>
                        <a:pt x="195792" y="532711"/>
                        <a:pt x="176742" y="565520"/>
                        <a:pt x="139700" y="585628"/>
                      </a:cubicBezTo>
                      <a:cubicBezTo>
                        <a:pt x="102658" y="605736"/>
                        <a:pt x="51329" y="621082"/>
                        <a:pt x="0" y="636428"/>
                      </a:cubicBezTo>
                    </a:path>
                  </a:pathLst>
                </a:custGeom>
                <a:noFill/>
                <a:ln w="15875" cmpd="sng">
                  <a:solidFill>
                    <a:srgbClr val="00B050"/>
                  </a:solidFill>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48" name="TextBox 47"/>
                <p:cNvSpPr txBox="1"/>
                <p:nvPr/>
              </p:nvSpPr>
              <p:spPr>
                <a:xfrm>
                  <a:off x="1714602" y="3419874"/>
                  <a:ext cx="1145979" cy="188335"/>
                </a:xfrm>
                <a:prstGeom prst="rect">
                  <a:avLst/>
                </a:prstGeom>
                <a:noFill/>
                <a:ln w="9525">
                  <a:noFill/>
                </a:ln>
              </p:spPr>
              <p:txBody>
                <a:bodyPr vert="horz" wrap="square" lIns="0" tIns="0" rIns="0" bIns="0" rtlCol="0">
                  <a:spAutoFit/>
                </a:bodyPr>
                <a:lstStyle/>
                <a:p>
                  <a:pPr marL="113641" indent="-113641">
                    <a:lnSpc>
                      <a:spcPct val="90000"/>
                    </a:lnSpc>
                    <a:spcBef>
                      <a:spcPts val="341"/>
                    </a:spcBef>
                    <a:buClr>
                      <a:srgbClr val="000000"/>
                    </a:buClr>
                    <a:buSzPct val="100000"/>
                  </a:pPr>
                  <a:r>
                    <a:rPr lang="th-TH" sz="1200" dirty="0" smtClean="0">
                      <a:solidFill>
                        <a:schemeClr val="accent3"/>
                      </a:solidFill>
                      <a:latin typeface="+mn-lt"/>
                      <a:cs typeface="Arial Narrow" pitchFamily="34" charset="0"/>
                    </a:rPr>
                    <a:t>ตาก</a:t>
                  </a:r>
                  <a:endParaRPr lang="en-US" sz="1200" b="0" dirty="0">
                    <a:solidFill>
                      <a:schemeClr val="accent3"/>
                    </a:solidFill>
                    <a:latin typeface="+mn-lt"/>
                    <a:cs typeface="Arial Narrow" pitchFamily="34" charset="0"/>
                  </a:endParaRPr>
                </a:p>
              </p:txBody>
            </p:sp>
            <p:sp>
              <p:nvSpPr>
                <p:cNvPr id="49" name="TextBox 48"/>
                <p:cNvSpPr txBox="1"/>
                <p:nvPr/>
              </p:nvSpPr>
              <p:spPr>
                <a:xfrm>
                  <a:off x="3300229" y="4351060"/>
                  <a:ext cx="357782" cy="141252"/>
                </a:xfrm>
                <a:prstGeom prst="rect">
                  <a:avLst/>
                </a:prstGeom>
                <a:noFill/>
                <a:ln w="9525">
                  <a:noFill/>
                </a:ln>
              </p:spPr>
              <p:txBody>
                <a:bodyPr vert="horz" wrap="none" lIns="0" tIns="0" rIns="0" bIns="0" rtlCol="0">
                  <a:spAutoFit/>
                </a:bodyPr>
                <a:lstStyle/>
                <a:p>
                  <a:pPr>
                    <a:lnSpc>
                      <a:spcPct val="90000"/>
                    </a:lnSpc>
                    <a:spcBef>
                      <a:spcPts val="341"/>
                    </a:spcBef>
                    <a:buClr>
                      <a:srgbClr val="000000"/>
                    </a:buClr>
                    <a:buSzPct val="100000"/>
                  </a:pPr>
                  <a:r>
                    <a:rPr lang="en-US" sz="900" b="0" dirty="0">
                      <a:solidFill>
                        <a:schemeClr val="tx2"/>
                      </a:solidFill>
                      <a:latin typeface="+mn-lt"/>
                      <a:cs typeface="Arial Narrow" pitchFamily="34" charset="0"/>
                    </a:rPr>
                    <a:t>Cambodia</a:t>
                  </a:r>
                </a:p>
              </p:txBody>
            </p:sp>
            <p:sp>
              <p:nvSpPr>
                <p:cNvPr id="51" name="TextBox 50"/>
                <p:cNvSpPr txBox="1"/>
                <p:nvPr/>
              </p:nvSpPr>
              <p:spPr>
                <a:xfrm>
                  <a:off x="2820482" y="2740986"/>
                  <a:ext cx="170941" cy="141252"/>
                </a:xfrm>
                <a:prstGeom prst="rect">
                  <a:avLst/>
                </a:prstGeom>
                <a:noFill/>
                <a:ln w="9525">
                  <a:noFill/>
                </a:ln>
              </p:spPr>
              <p:txBody>
                <a:bodyPr vert="horz" wrap="none" lIns="0" tIns="0" rIns="0" bIns="0" rtlCol="0">
                  <a:spAutoFit/>
                </a:bodyPr>
                <a:lstStyle/>
                <a:p>
                  <a:pPr>
                    <a:lnSpc>
                      <a:spcPct val="90000"/>
                    </a:lnSpc>
                    <a:spcBef>
                      <a:spcPts val="341"/>
                    </a:spcBef>
                    <a:buClr>
                      <a:srgbClr val="000000"/>
                    </a:buClr>
                    <a:buSzPct val="100000"/>
                  </a:pPr>
                  <a:r>
                    <a:rPr lang="en-US" sz="900" b="0" dirty="0">
                      <a:solidFill>
                        <a:schemeClr val="tx2"/>
                      </a:solidFill>
                      <a:latin typeface="+mn-lt"/>
                      <a:cs typeface="Arial Narrow" pitchFamily="34" charset="0"/>
                    </a:rPr>
                    <a:t>Laos</a:t>
                  </a:r>
                </a:p>
              </p:txBody>
            </p:sp>
            <p:sp>
              <p:nvSpPr>
                <p:cNvPr id="52" name="TextBox 51"/>
                <p:cNvSpPr txBox="1"/>
                <p:nvPr/>
              </p:nvSpPr>
              <p:spPr>
                <a:xfrm>
                  <a:off x="2644670" y="3748358"/>
                  <a:ext cx="331279" cy="156946"/>
                </a:xfrm>
                <a:prstGeom prst="rect">
                  <a:avLst/>
                </a:prstGeom>
                <a:noFill/>
                <a:ln w="9525">
                  <a:noFill/>
                </a:ln>
              </p:spPr>
              <p:txBody>
                <a:bodyPr vert="horz" wrap="none" lIns="0" tIns="0" rIns="0" bIns="0" rtlCol="0">
                  <a:spAutoFit/>
                </a:bodyPr>
                <a:lstStyle/>
                <a:p>
                  <a:pPr algn="ctr">
                    <a:lnSpc>
                      <a:spcPct val="90000"/>
                    </a:lnSpc>
                    <a:spcBef>
                      <a:spcPts val="341"/>
                    </a:spcBef>
                    <a:buClr>
                      <a:srgbClr val="000000"/>
                    </a:buClr>
                    <a:buSzPct val="100000"/>
                  </a:pPr>
                  <a:r>
                    <a:rPr lang="en-US" sz="1000" b="0" dirty="0">
                      <a:solidFill>
                        <a:schemeClr val="tx1">
                          <a:lumMod val="50000"/>
                          <a:lumOff val="50000"/>
                        </a:schemeClr>
                      </a:solidFill>
                      <a:latin typeface="+mn-lt"/>
                      <a:cs typeface="Arial Narrow" pitchFamily="34" charset="0"/>
                    </a:rPr>
                    <a:t>Thailand</a:t>
                  </a:r>
                </a:p>
              </p:txBody>
            </p:sp>
            <p:sp>
              <p:nvSpPr>
                <p:cNvPr id="61" name="TextBox 60"/>
                <p:cNvSpPr txBox="1"/>
                <p:nvPr/>
              </p:nvSpPr>
              <p:spPr>
                <a:xfrm>
                  <a:off x="1796314" y="2593976"/>
                  <a:ext cx="1145979" cy="188335"/>
                </a:xfrm>
                <a:prstGeom prst="rect">
                  <a:avLst/>
                </a:prstGeom>
                <a:noFill/>
                <a:ln w="9525">
                  <a:noFill/>
                </a:ln>
              </p:spPr>
              <p:txBody>
                <a:bodyPr vert="horz" wrap="square" lIns="0" tIns="0" rIns="0" bIns="0" rtlCol="0">
                  <a:spAutoFit/>
                </a:bodyPr>
                <a:lstStyle/>
                <a:p>
                  <a:pPr marL="113641" indent="-113641">
                    <a:lnSpc>
                      <a:spcPct val="90000"/>
                    </a:lnSpc>
                    <a:spcBef>
                      <a:spcPts val="341"/>
                    </a:spcBef>
                    <a:buClr>
                      <a:srgbClr val="000000"/>
                    </a:buClr>
                    <a:buSzPct val="100000"/>
                  </a:pPr>
                  <a:r>
                    <a:rPr lang="th-TH" sz="1200" b="0" dirty="0" smtClean="0">
                      <a:solidFill>
                        <a:schemeClr val="accent6"/>
                      </a:solidFill>
                      <a:cs typeface="Arial Narrow" pitchFamily="34" charset="0"/>
                    </a:rPr>
                    <a:t>เชียงราย</a:t>
                  </a:r>
                  <a:endParaRPr lang="en-US" sz="1200" b="0" dirty="0">
                    <a:latin typeface="+mn-lt"/>
                    <a:cs typeface="Arial Narrow" pitchFamily="34" charset="0"/>
                  </a:endParaRPr>
                </a:p>
              </p:txBody>
            </p:sp>
            <p:sp>
              <p:nvSpPr>
                <p:cNvPr id="63" name="TextBox 62"/>
                <p:cNvSpPr txBox="1"/>
                <p:nvPr/>
              </p:nvSpPr>
              <p:spPr>
                <a:xfrm>
                  <a:off x="3094378" y="2946864"/>
                  <a:ext cx="1145979" cy="188335"/>
                </a:xfrm>
                <a:prstGeom prst="rect">
                  <a:avLst/>
                </a:prstGeom>
                <a:noFill/>
                <a:ln w="9525">
                  <a:noFill/>
                </a:ln>
              </p:spPr>
              <p:txBody>
                <a:bodyPr vert="horz" wrap="square" lIns="0" tIns="0" rIns="0" bIns="0" rtlCol="0">
                  <a:spAutoFit/>
                </a:bodyPr>
                <a:lstStyle/>
                <a:p>
                  <a:pPr marL="113641" indent="-113641">
                    <a:lnSpc>
                      <a:spcPct val="90000"/>
                    </a:lnSpc>
                    <a:spcBef>
                      <a:spcPts val="341"/>
                    </a:spcBef>
                    <a:buClr>
                      <a:srgbClr val="000000"/>
                    </a:buClr>
                    <a:buSzPct val="100000"/>
                  </a:pPr>
                  <a:r>
                    <a:rPr lang="th-TH" sz="1200" b="0" dirty="0" smtClean="0">
                      <a:solidFill>
                        <a:schemeClr val="accent6"/>
                      </a:solidFill>
                      <a:cs typeface="Arial Narrow" pitchFamily="34" charset="0"/>
                    </a:rPr>
                    <a:t>หนองคาย</a:t>
                  </a:r>
                  <a:endParaRPr lang="en-US" sz="1200" b="0" dirty="0">
                    <a:latin typeface="+mn-lt"/>
                    <a:cs typeface="Arial Narrow" pitchFamily="34" charset="0"/>
                  </a:endParaRPr>
                </a:p>
              </p:txBody>
            </p:sp>
            <p:sp>
              <p:nvSpPr>
                <p:cNvPr id="67" name="TextBox 66"/>
                <p:cNvSpPr txBox="1"/>
                <p:nvPr/>
              </p:nvSpPr>
              <p:spPr>
                <a:xfrm>
                  <a:off x="3639813" y="3181376"/>
                  <a:ext cx="1145979" cy="188335"/>
                </a:xfrm>
                <a:prstGeom prst="rect">
                  <a:avLst/>
                </a:prstGeom>
                <a:noFill/>
                <a:ln w="9525">
                  <a:noFill/>
                </a:ln>
              </p:spPr>
              <p:txBody>
                <a:bodyPr vert="horz" wrap="square" lIns="0" tIns="0" rIns="0" bIns="0" rtlCol="0">
                  <a:spAutoFit/>
                </a:bodyPr>
                <a:lstStyle/>
                <a:p>
                  <a:pPr marL="113641" indent="-113641">
                    <a:lnSpc>
                      <a:spcPct val="90000"/>
                    </a:lnSpc>
                    <a:spcBef>
                      <a:spcPts val="341"/>
                    </a:spcBef>
                    <a:buClr>
                      <a:srgbClr val="000000"/>
                    </a:buClr>
                    <a:buSzPct val="100000"/>
                  </a:pPr>
                  <a:r>
                    <a:rPr lang="th-TH" sz="1200" b="0" dirty="0" smtClean="0">
                      <a:solidFill>
                        <a:schemeClr val="accent6"/>
                      </a:solidFill>
                      <a:cs typeface="Arial Narrow" pitchFamily="34" charset="0"/>
                    </a:rPr>
                    <a:t>นครพนม</a:t>
                  </a:r>
                  <a:endParaRPr lang="en-US" sz="1200" b="0" dirty="0">
                    <a:latin typeface="+mn-lt"/>
                    <a:cs typeface="Arial Narrow" pitchFamily="34" charset="0"/>
                  </a:endParaRPr>
                </a:p>
              </p:txBody>
            </p:sp>
            <p:sp>
              <p:nvSpPr>
                <p:cNvPr id="68" name="TextBox 67"/>
                <p:cNvSpPr txBox="1"/>
                <p:nvPr/>
              </p:nvSpPr>
              <p:spPr>
                <a:xfrm>
                  <a:off x="3784862" y="3465332"/>
                  <a:ext cx="644382" cy="188335"/>
                </a:xfrm>
                <a:prstGeom prst="rect">
                  <a:avLst/>
                </a:prstGeom>
                <a:noFill/>
                <a:ln w="9525">
                  <a:noFill/>
                </a:ln>
              </p:spPr>
              <p:txBody>
                <a:bodyPr vert="horz" wrap="square" lIns="0" tIns="0" rIns="0" bIns="0" rtlCol="0">
                  <a:spAutoFit/>
                </a:bodyPr>
                <a:lstStyle/>
                <a:p>
                  <a:pPr marL="113641" indent="-113641">
                    <a:lnSpc>
                      <a:spcPct val="90000"/>
                    </a:lnSpc>
                    <a:spcBef>
                      <a:spcPts val="341"/>
                    </a:spcBef>
                    <a:buClr>
                      <a:srgbClr val="000000"/>
                    </a:buClr>
                    <a:buSzPct val="100000"/>
                  </a:pPr>
                  <a:r>
                    <a:rPr lang="en-US" sz="1200" dirty="0" smtClean="0">
                      <a:solidFill>
                        <a:schemeClr val="accent3"/>
                      </a:solidFill>
                      <a:latin typeface="+mn-lt"/>
                      <a:cs typeface="Arial Narrow" pitchFamily="34" charset="0"/>
                    </a:rPr>
                    <a:t>,</a:t>
                  </a:r>
                  <a:r>
                    <a:rPr lang="th-TH" sz="1200" dirty="0" smtClean="0">
                      <a:solidFill>
                        <a:schemeClr val="accent3"/>
                      </a:solidFill>
                      <a:latin typeface="+mn-lt"/>
                      <a:cs typeface="Arial Narrow" pitchFamily="34" charset="0"/>
                    </a:rPr>
                    <a:t>มุกดาหาร</a:t>
                  </a:r>
                  <a:endParaRPr lang="en-US" sz="1200" b="0" dirty="0">
                    <a:solidFill>
                      <a:schemeClr val="accent3"/>
                    </a:solidFill>
                    <a:latin typeface="+mn-lt"/>
                    <a:cs typeface="Arial Narrow" pitchFamily="34" charset="0"/>
                  </a:endParaRPr>
                </a:p>
              </p:txBody>
            </p:sp>
            <p:sp>
              <p:nvSpPr>
                <p:cNvPr id="69" name="TextBox 68"/>
                <p:cNvSpPr txBox="1"/>
                <p:nvPr/>
              </p:nvSpPr>
              <p:spPr>
                <a:xfrm>
                  <a:off x="3205955" y="4071004"/>
                  <a:ext cx="1145979" cy="188335"/>
                </a:xfrm>
                <a:prstGeom prst="rect">
                  <a:avLst/>
                </a:prstGeom>
                <a:noFill/>
                <a:ln w="9525">
                  <a:noFill/>
                </a:ln>
              </p:spPr>
              <p:txBody>
                <a:bodyPr vert="horz" wrap="square" lIns="0" tIns="0" rIns="0" bIns="0" rtlCol="0">
                  <a:spAutoFit/>
                </a:bodyPr>
                <a:lstStyle/>
                <a:p>
                  <a:pPr marL="113641" indent="-113641">
                    <a:lnSpc>
                      <a:spcPct val="90000"/>
                    </a:lnSpc>
                    <a:spcBef>
                      <a:spcPts val="341"/>
                    </a:spcBef>
                    <a:buClr>
                      <a:srgbClr val="000000"/>
                    </a:buClr>
                    <a:buSzPct val="100000"/>
                  </a:pPr>
                  <a:r>
                    <a:rPr lang="th-TH" sz="1200" dirty="0" smtClean="0">
                      <a:solidFill>
                        <a:schemeClr val="accent3"/>
                      </a:solidFill>
                      <a:latin typeface="+mn-lt"/>
                      <a:cs typeface="Arial Narrow" pitchFamily="34" charset="0"/>
                    </a:rPr>
                    <a:t>สระแก้ว</a:t>
                  </a:r>
                  <a:endParaRPr lang="en-US" sz="1200" b="0" dirty="0">
                    <a:solidFill>
                      <a:schemeClr val="accent3"/>
                    </a:solidFill>
                    <a:latin typeface="+mn-lt"/>
                    <a:cs typeface="Arial Narrow" pitchFamily="34" charset="0"/>
                  </a:endParaRPr>
                </a:p>
              </p:txBody>
            </p:sp>
            <p:sp>
              <p:nvSpPr>
                <p:cNvPr id="70" name="TextBox 69"/>
                <p:cNvSpPr txBox="1"/>
                <p:nvPr/>
              </p:nvSpPr>
              <p:spPr>
                <a:xfrm>
                  <a:off x="2865784" y="4651981"/>
                  <a:ext cx="1145979" cy="188335"/>
                </a:xfrm>
                <a:prstGeom prst="rect">
                  <a:avLst/>
                </a:prstGeom>
                <a:noFill/>
                <a:ln w="9525">
                  <a:noFill/>
                </a:ln>
              </p:spPr>
              <p:txBody>
                <a:bodyPr vert="horz" wrap="square" lIns="0" tIns="0" rIns="0" bIns="0" rtlCol="0">
                  <a:spAutoFit/>
                </a:bodyPr>
                <a:lstStyle/>
                <a:p>
                  <a:pPr marL="113641" indent="-113641">
                    <a:lnSpc>
                      <a:spcPct val="90000"/>
                    </a:lnSpc>
                    <a:spcBef>
                      <a:spcPts val="341"/>
                    </a:spcBef>
                    <a:buClr>
                      <a:srgbClr val="000000"/>
                    </a:buClr>
                    <a:buSzPct val="100000"/>
                  </a:pPr>
                  <a:r>
                    <a:rPr lang="th-TH" sz="1200" b="0" dirty="0" smtClean="0">
                      <a:solidFill>
                        <a:schemeClr val="accent3"/>
                      </a:solidFill>
                      <a:cs typeface="Arial Narrow" pitchFamily="34" charset="0"/>
                    </a:rPr>
                    <a:t>ตราด</a:t>
                  </a:r>
                  <a:endParaRPr lang="en-US" sz="1200" b="0" dirty="0">
                    <a:solidFill>
                      <a:schemeClr val="accent3"/>
                    </a:solidFill>
                    <a:latin typeface="+mn-lt"/>
                    <a:cs typeface="Arial Narrow" pitchFamily="34" charset="0"/>
                  </a:endParaRPr>
                </a:p>
              </p:txBody>
            </p:sp>
            <p:sp>
              <p:nvSpPr>
                <p:cNvPr id="72" name="TextBox 71"/>
                <p:cNvSpPr txBox="1"/>
                <p:nvPr/>
              </p:nvSpPr>
              <p:spPr>
                <a:xfrm>
                  <a:off x="1409046" y="3975765"/>
                  <a:ext cx="1145979" cy="188335"/>
                </a:xfrm>
                <a:prstGeom prst="rect">
                  <a:avLst/>
                </a:prstGeom>
                <a:noFill/>
                <a:ln w="9525">
                  <a:noFill/>
                </a:ln>
              </p:spPr>
              <p:txBody>
                <a:bodyPr vert="horz" wrap="square" lIns="0" tIns="0" rIns="0" bIns="0" rtlCol="0">
                  <a:spAutoFit/>
                </a:bodyPr>
                <a:lstStyle/>
                <a:p>
                  <a:pPr marL="113641" indent="-113641">
                    <a:lnSpc>
                      <a:spcPct val="90000"/>
                    </a:lnSpc>
                    <a:spcBef>
                      <a:spcPts val="341"/>
                    </a:spcBef>
                    <a:buClr>
                      <a:srgbClr val="000000"/>
                    </a:buClr>
                    <a:buSzPct val="100000"/>
                  </a:pPr>
                  <a:r>
                    <a:rPr lang="th-TH" sz="1200" dirty="0" smtClean="0">
                      <a:solidFill>
                        <a:schemeClr val="accent6"/>
                      </a:solidFill>
                      <a:cs typeface="Arial Narrow" pitchFamily="34" charset="0"/>
                    </a:rPr>
                    <a:t>กาญจนบุรี</a:t>
                  </a:r>
                  <a:endParaRPr lang="en-US" sz="1200" b="0" dirty="0">
                    <a:latin typeface="+mn-lt"/>
                    <a:cs typeface="Arial Narrow" pitchFamily="34" charset="0"/>
                  </a:endParaRPr>
                </a:p>
              </p:txBody>
            </p:sp>
            <p:sp>
              <p:nvSpPr>
                <p:cNvPr id="73" name="TextBox 72"/>
                <p:cNvSpPr txBox="1"/>
                <p:nvPr/>
              </p:nvSpPr>
              <p:spPr>
                <a:xfrm>
                  <a:off x="2674571" y="5510663"/>
                  <a:ext cx="1145979" cy="188335"/>
                </a:xfrm>
                <a:prstGeom prst="rect">
                  <a:avLst/>
                </a:prstGeom>
                <a:noFill/>
                <a:ln w="9525">
                  <a:noFill/>
                </a:ln>
              </p:spPr>
              <p:txBody>
                <a:bodyPr vert="horz" wrap="square" lIns="0" tIns="0" rIns="0" bIns="0" rtlCol="0">
                  <a:spAutoFit/>
                </a:bodyPr>
                <a:lstStyle/>
                <a:p>
                  <a:pPr marL="113641" indent="-113641">
                    <a:lnSpc>
                      <a:spcPct val="90000"/>
                    </a:lnSpc>
                    <a:spcBef>
                      <a:spcPts val="341"/>
                    </a:spcBef>
                    <a:buClr>
                      <a:srgbClr val="000000"/>
                    </a:buClr>
                    <a:buSzPct val="100000"/>
                  </a:pPr>
                  <a:r>
                    <a:rPr lang="th-TH" sz="1200" b="0" dirty="0" smtClean="0">
                      <a:solidFill>
                        <a:schemeClr val="accent3"/>
                      </a:solidFill>
                      <a:cs typeface="Arial Narrow" pitchFamily="34" charset="0"/>
                    </a:rPr>
                    <a:t>สงขลา</a:t>
                  </a:r>
                  <a:endParaRPr lang="en-US" sz="1200" b="0" dirty="0">
                    <a:solidFill>
                      <a:schemeClr val="accent3"/>
                    </a:solidFill>
                    <a:latin typeface="+mn-lt"/>
                    <a:cs typeface="Arial Narrow" pitchFamily="34" charset="0"/>
                  </a:endParaRPr>
                </a:p>
              </p:txBody>
            </p:sp>
            <p:sp>
              <p:nvSpPr>
                <p:cNvPr id="74" name="TextBox 73"/>
                <p:cNvSpPr txBox="1"/>
                <p:nvPr/>
              </p:nvSpPr>
              <p:spPr>
                <a:xfrm>
                  <a:off x="3025201" y="5767477"/>
                  <a:ext cx="1145979" cy="188335"/>
                </a:xfrm>
                <a:prstGeom prst="rect">
                  <a:avLst/>
                </a:prstGeom>
                <a:noFill/>
                <a:ln w="9525">
                  <a:noFill/>
                </a:ln>
              </p:spPr>
              <p:txBody>
                <a:bodyPr vert="horz" wrap="square" lIns="0" tIns="0" rIns="0" bIns="0" rtlCol="0">
                  <a:spAutoFit/>
                </a:bodyPr>
                <a:lstStyle/>
                <a:p>
                  <a:pPr marL="113641" indent="-113641">
                    <a:lnSpc>
                      <a:spcPct val="90000"/>
                    </a:lnSpc>
                    <a:spcBef>
                      <a:spcPts val="341"/>
                    </a:spcBef>
                    <a:buClr>
                      <a:srgbClr val="000000"/>
                    </a:buClr>
                    <a:buSzPct val="100000"/>
                  </a:pPr>
                  <a:r>
                    <a:rPr lang="th-TH" sz="1200" dirty="0" smtClean="0">
                      <a:solidFill>
                        <a:schemeClr val="accent6"/>
                      </a:solidFill>
                      <a:cs typeface="Arial Narrow" pitchFamily="34" charset="0"/>
                    </a:rPr>
                    <a:t>นราธิวาส</a:t>
                  </a:r>
                  <a:endParaRPr lang="en-US" sz="1200" dirty="0">
                    <a:solidFill>
                      <a:schemeClr val="accent6"/>
                    </a:solidFill>
                    <a:cs typeface="Arial Narrow" pitchFamily="34" charset="0"/>
                  </a:endParaRPr>
                </a:p>
              </p:txBody>
            </p:sp>
          </p:grpSp>
          <p:sp>
            <p:nvSpPr>
              <p:cNvPr id="75" name="Oval 74"/>
              <p:cNvSpPr/>
              <p:nvPr/>
            </p:nvSpPr>
            <p:spPr>
              <a:xfrm>
                <a:off x="2221121" y="2264135"/>
                <a:ext cx="162000" cy="162000"/>
              </a:xfrm>
              <a:prstGeom prst="ellipse">
                <a:avLst/>
              </a:prstGeom>
              <a:solidFill>
                <a:srgbClr val="C00000"/>
              </a:solidFill>
              <a:ln w="9525">
                <a:noFill/>
              </a:ln>
              <a:effectLst/>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p>
                <a:pPr>
                  <a:lnSpc>
                    <a:spcPct val="90000"/>
                  </a:lnSpc>
                  <a:spcBef>
                    <a:spcPts val="341"/>
                  </a:spcBef>
                </a:pPr>
                <a:endParaRPr lang="th-TH" sz="1300" b="0" dirty="0"/>
              </a:p>
            </p:txBody>
          </p:sp>
          <p:sp>
            <p:nvSpPr>
              <p:cNvPr id="76" name="Oval 75"/>
              <p:cNvSpPr/>
              <p:nvPr/>
            </p:nvSpPr>
            <p:spPr>
              <a:xfrm>
                <a:off x="1886780" y="3195785"/>
                <a:ext cx="162000" cy="162000"/>
              </a:xfrm>
              <a:prstGeom prst="ellipse">
                <a:avLst/>
              </a:prstGeom>
              <a:solidFill>
                <a:srgbClr val="C00000"/>
              </a:solidFill>
              <a:ln w="9525">
                <a:noFill/>
              </a:ln>
              <a:effectLst/>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p>
                <a:pPr>
                  <a:lnSpc>
                    <a:spcPct val="90000"/>
                  </a:lnSpc>
                  <a:spcBef>
                    <a:spcPts val="341"/>
                  </a:spcBef>
                </a:pPr>
                <a:endParaRPr lang="th-TH" sz="1300" b="0" dirty="0"/>
              </a:p>
            </p:txBody>
          </p:sp>
          <p:sp>
            <p:nvSpPr>
              <p:cNvPr id="77" name="Oval 76"/>
              <p:cNvSpPr/>
              <p:nvPr/>
            </p:nvSpPr>
            <p:spPr>
              <a:xfrm>
                <a:off x="3668261" y="3001532"/>
                <a:ext cx="162000" cy="162000"/>
              </a:xfrm>
              <a:prstGeom prst="ellipse">
                <a:avLst/>
              </a:prstGeom>
              <a:solidFill>
                <a:srgbClr val="C00000"/>
              </a:solidFill>
              <a:ln w="9525">
                <a:noFill/>
              </a:ln>
              <a:effectLst/>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p>
                <a:pPr>
                  <a:lnSpc>
                    <a:spcPct val="90000"/>
                  </a:lnSpc>
                  <a:spcBef>
                    <a:spcPts val="341"/>
                  </a:spcBef>
                </a:pPr>
                <a:endParaRPr lang="th-TH" sz="1300" b="0" dirty="0"/>
              </a:p>
            </p:txBody>
          </p:sp>
          <p:sp>
            <p:nvSpPr>
              <p:cNvPr id="78" name="Oval 77"/>
              <p:cNvSpPr/>
              <p:nvPr/>
            </p:nvSpPr>
            <p:spPr>
              <a:xfrm>
                <a:off x="3048883" y="2926976"/>
                <a:ext cx="162000" cy="162000"/>
              </a:xfrm>
              <a:prstGeom prst="ellipse">
                <a:avLst/>
              </a:prstGeom>
              <a:solidFill>
                <a:srgbClr val="C00000"/>
              </a:solidFill>
              <a:ln w="9525">
                <a:noFill/>
              </a:ln>
              <a:effectLst/>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p>
                <a:pPr>
                  <a:lnSpc>
                    <a:spcPct val="90000"/>
                  </a:lnSpc>
                  <a:spcBef>
                    <a:spcPts val="341"/>
                  </a:spcBef>
                </a:pPr>
                <a:endParaRPr lang="th-TH" sz="1300" b="0" dirty="0"/>
              </a:p>
            </p:txBody>
          </p:sp>
          <p:sp>
            <p:nvSpPr>
              <p:cNvPr id="79" name="Oval 78"/>
              <p:cNvSpPr/>
              <p:nvPr/>
            </p:nvSpPr>
            <p:spPr>
              <a:xfrm>
                <a:off x="3033204" y="4453811"/>
                <a:ext cx="162000" cy="162000"/>
              </a:xfrm>
              <a:prstGeom prst="ellipse">
                <a:avLst/>
              </a:prstGeom>
              <a:solidFill>
                <a:srgbClr val="C00000"/>
              </a:solidFill>
              <a:ln w="9525">
                <a:noFill/>
              </a:ln>
              <a:effectLst/>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p>
                <a:pPr>
                  <a:lnSpc>
                    <a:spcPct val="90000"/>
                  </a:lnSpc>
                  <a:spcBef>
                    <a:spcPts val="341"/>
                  </a:spcBef>
                </a:pPr>
                <a:endParaRPr lang="th-TH" sz="1300" b="0" dirty="0"/>
              </a:p>
            </p:txBody>
          </p:sp>
          <p:sp>
            <p:nvSpPr>
              <p:cNvPr id="80" name="Oval 79"/>
              <p:cNvSpPr/>
              <p:nvPr/>
            </p:nvSpPr>
            <p:spPr>
              <a:xfrm>
                <a:off x="2967388" y="4105400"/>
                <a:ext cx="162000" cy="162000"/>
              </a:xfrm>
              <a:prstGeom prst="ellipse">
                <a:avLst/>
              </a:prstGeom>
              <a:solidFill>
                <a:srgbClr val="C00000"/>
              </a:solidFill>
              <a:ln w="9525">
                <a:noFill/>
              </a:ln>
              <a:effectLst/>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p>
                <a:pPr>
                  <a:lnSpc>
                    <a:spcPct val="90000"/>
                  </a:lnSpc>
                  <a:spcBef>
                    <a:spcPts val="341"/>
                  </a:spcBef>
                </a:pPr>
                <a:endParaRPr lang="th-TH" sz="1300" b="0" dirty="0"/>
              </a:p>
            </p:txBody>
          </p:sp>
          <p:sp>
            <p:nvSpPr>
              <p:cNvPr id="81" name="Oval 80"/>
              <p:cNvSpPr/>
              <p:nvPr/>
            </p:nvSpPr>
            <p:spPr>
              <a:xfrm>
                <a:off x="3717862" y="3259166"/>
                <a:ext cx="162000" cy="162000"/>
              </a:xfrm>
              <a:prstGeom prst="ellipse">
                <a:avLst/>
              </a:prstGeom>
              <a:solidFill>
                <a:srgbClr val="C00000"/>
              </a:solidFill>
              <a:ln w="9525">
                <a:noFill/>
              </a:ln>
              <a:effectLst/>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p>
                <a:pPr>
                  <a:lnSpc>
                    <a:spcPct val="90000"/>
                  </a:lnSpc>
                  <a:spcBef>
                    <a:spcPts val="341"/>
                  </a:spcBef>
                </a:pPr>
                <a:endParaRPr lang="th-TH" sz="1300" b="0" dirty="0"/>
              </a:p>
            </p:txBody>
          </p:sp>
          <p:sp>
            <p:nvSpPr>
              <p:cNvPr id="82" name="Oval 81"/>
              <p:cNvSpPr/>
              <p:nvPr/>
            </p:nvSpPr>
            <p:spPr>
              <a:xfrm>
                <a:off x="2408669" y="6090163"/>
                <a:ext cx="162000" cy="162000"/>
              </a:xfrm>
              <a:prstGeom prst="ellipse">
                <a:avLst/>
              </a:prstGeom>
              <a:solidFill>
                <a:srgbClr val="C00000"/>
              </a:solidFill>
              <a:ln w="9525">
                <a:noFill/>
              </a:ln>
              <a:effectLst/>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p>
                <a:pPr>
                  <a:lnSpc>
                    <a:spcPct val="90000"/>
                  </a:lnSpc>
                  <a:spcBef>
                    <a:spcPts val="341"/>
                  </a:spcBef>
                </a:pPr>
                <a:endParaRPr lang="th-TH" sz="1300" b="0" dirty="0"/>
              </a:p>
            </p:txBody>
          </p:sp>
          <p:sp>
            <p:nvSpPr>
              <p:cNvPr id="83" name="Oval 82"/>
              <p:cNvSpPr/>
              <p:nvPr/>
            </p:nvSpPr>
            <p:spPr>
              <a:xfrm>
                <a:off x="2034234" y="4002604"/>
                <a:ext cx="162000" cy="162000"/>
              </a:xfrm>
              <a:prstGeom prst="ellipse">
                <a:avLst/>
              </a:prstGeom>
              <a:solidFill>
                <a:srgbClr val="C00000"/>
              </a:solidFill>
              <a:ln w="9525">
                <a:noFill/>
              </a:ln>
              <a:effectLst/>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p>
                <a:pPr>
                  <a:lnSpc>
                    <a:spcPct val="90000"/>
                  </a:lnSpc>
                  <a:spcBef>
                    <a:spcPts val="341"/>
                  </a:spcBef>
                </a:pPr>
                <a:endParaRPr lang="th-TH" sz="1300" b="0" dirty="0"/>
              </a:p>
            </p:txBody>
          </p:sp>
          <p:sp>
            <p:nvSpPr>
              <p:cNvPr id="84" name="Oval 83"/>
              <p:cNvSpPr/>
              <p:nvPr/>
            </p:nvSpPr>
            <p:spPr>
              <a:xfrm>
                <a:off x="2770411" y="6272693"/>
                <a:ext cx="162000" cy="162000"/>
              </a:xfrm>
              <a:prstGeom prst="ellipse">
                <a:avLst/>
              </a:prstGeom>
              <a:solidFill>
                <a:srgbClr val="C00000"/>
              </a:solidFill>
              <a:ln w="9525">
                <a:noFill/>
              </a:ln>
              <a:effectLst/>
            </p:spPr>
            <p:style>
              <a:lnRef idx="1">
                <a:schemeClr val="accent1"/>
              </a:lnRef>
              <a:fillRef idx="0">
                <a:schemeClr val="accent1"/>
              </a:fillRef>
              <a:effectRef idx="0">
                <a:schemeClr val="accent1"/>
              </a:effectRef>
              <a:fontRef idx="minor">
                <a:schemeClr val="tx1"/>
              </a:fontRef>
            </p:style>
            <p:txBody>
              <a:bodyPr lIns="72000" tIns="72000" rIns="72000" bIns="108000" rtlCol="0" anchor="t" anchorCtr="0">
                <a:noAutofit/>
              </a:bodyPr>
              <a:lstStyle/>
              <a:p>
                <a:pPr>
                  <a:lnSpc>
                    <a:spcPct val="90000"/>
                  </a:lnSpc>
                  <a:spcBef>
                    <a:spcPts val="341"/>
                  </a:spcBef>
                </a:pPr>
                <a:endParaRPr lang="th-TH" sz="1300" b="0" dirty="0"/>
              </a:p>
            </p:txBody>
          </p:sp>
        </p:grpSp>
        <p:sp>
          <p:nvSpPr>
            <p:cNvPr id="50" name="TextBox 49"/>
            <p:cNvSpPr txBox="1"/>
            <p:nvPr/>
          </p:nvSpPr>
          <p:spPr>
            <a:xfrm>
              <a:off x="7368789" y="2815854"/>
              <a:ext cx="979269" cy="207749"/>
            </a:xfrm>
            <a:prstGeom prst="rect">
              <a:avLst/>
            </a:prstGeom>
            <a:solidFill>
              <a:schemeClr val="accent4">
                <a:lumMod val="25000"/>
              </a:schemeClr>
            </a:solidFill>
            <a:ln w="9525">
              <a:noFill/>
            </a:ln>
          </p:spPr>
          <p:txBody>
            <a:bodyPr vert="horz" wrap="square" lIns="0" tIns="0" rIns="0" bIns="0" rtlCol="0">
              <a:spAutoFit/>
            </a:bodyPr>
            <a:lstStyle>
              <a:defPPr>
                <a:defRPr lang="th-TH"/>
              </a:defPPr>
              <a:lvl1pPr>
                <a:lnSpc>
                  <a:spcPct val="90000"/>
                </a:lnSpc>
                <a:spcBef>
                  <a:spcPts val="400"/>
                </a:spcBef>
                <a:buClr>
                  <a:srgbClr val="000000"/>
                </a:buClr>
                <a:buSzPct val="100000"/>
                <a:defRPr sz="1500" b="1">
                  <a:solidFill>
                    <a:schemeClr val="bg1"/>
                  </a:solidFill>
                  <a:latin typeface="TH SarabunPSK" pitchFamily="34" charset="-34"/>
                  <a:cs typeface="TH SarabunPSK" pitchFamily="34" charset="-34"/>
                </a:defRPr>
              </a:lvl1pPr>
            </a:lstStyle>
            <a:p>
              <a:pPr algn="ctr"/>
              <a:r>
                <a:rPr lang="th-TH" dirty="0"/>
                <a:t>สะหวัน-เซโน</a:t>
              </a:r>
              <a:endParaRPr lang="en-US" dirty="0"/>
            </a:p>
          </p:txBody>
        </p:sp>
        <p:sp>
          <p:nvSpPr>
            <p:cNvPr id="54" name="TextBox 53"/>
            <p:cNvSpPr txBox="1"/>
            <p:nvPr/>
          </p:nvSpPr>
          <p:spPr>
            <a:xfrm>
              <a:off x="7335585" y="1842422"/>
              <a:ext cx="1041874" cy="207749"/>
            </a:xfrm>
            <a:prstGeom prst="rect">
              <a:avLst/>
            </a:prstGeom>
            <a:solidFill>
              <a:schemeClr val="accent4">
                <a:lumMod val="25000"/>
              </a:schemeClr>
            </a:solidFill>
            <a:ln w="9525">
              <a:noFill/>
            </a:ln>
          </p:spPr>
          <p:txBody>
            <a:bodyPr vert="horz" wrap="square" lIns="0" tIns="0" rIns="0" bIns="0" rtlCol="0">
              <a:spAutoFit/>
            </a:bodyPr>
            <a:lstStyle>
              <a:defPPr>
                <a:defRPr lang="th-TH"/>
              </a:defPPr>
              <a:lvl1pPr>
                <a:lnSpc>
                  <a:spcPct val="90000"/>
                </a:lnSpc>
                <a:spcBef>
                  <a:spcPts val="400"/>
                </a:spcBef>
                <a:buClr>
                  <a:srgbClr val="000000"/>
                </a:buClr>
                <a:buSzPct val="100000"/>
                <a:defRPr sz="1500" b="1">
                  <a:solidFill>
                    <a:schemeClr val="bg1"/>
                  </a:solidFill>
                  <a:latin typeface="TH SarabunPSK" pitchFamily="34" charset="-34"/>
                  <a:cs typeface="TH SarabunPSK" pitchFamily="34" charset="-34"/>
                </a:defRPr>
              </a:lvl1pPr>
            </a:lstStyle>
            <a:p>
              <a:pPr algn="ctr"/>
              <a:r>
                <a:rPr lang="th-TH" dirty="0"/>
                <a:t>ท่าแขก/ภูเขียว</a:t>
              </a:r>
              <a:endParaRPr lang="en-US" dirty="0"/>
            </a:p>
          </p:txBody>
        </p:sp>
        <p:sp>
          <p:nvSpPr>
            <p:cNvPr id="55" name="TextBox 54"/>
            <p:cNvSpPr txBox="1"/>
            <p:nvPr/>
          </p:nvSpPr>
          <p:spPr>
            <a:xfrm>
              <a:off x="689194" y="1791668"/>
              <a:ext cx="1037821" cy="207749"/>
            </a:xfrm>
            <a:prstGeom prst="rect">
              <a:avLst/>
            </a:prstGeom>
            <a:solidFill>
              <a:schemeClr val="accent4">
                <a:lumMod val="25000"/>
              </a:schemeClr>
            </a:solidFill>
            <a:ln w="9525">
              <a:noFill/>
            </a:ln>
          </p:spPr>
          <p:txBody>
            <a:bodyPr vert="horz" wrap="square" lIns="0" tIns="0" rIns="0" bIns="0" rtlCol="0">
              <a:spAutoFit/>
            </a:bodyPr>
            <a:lstStyle>
              <a:defPPr>
                <a:defRPr lang="th-TH"/>
              </a:defPPr>
              <a:lvl1pPr>
                <a:lnSpc>
                  <a:spcPct val="90000"/>
                </a:lnSpc>
                <a:spcBef>
                  <a:spcPts val="400"/>
                </a:spcBef>
                <a:buClr>
                  <a:srgbClr val="000000"/>
                </a:buClr>
                <a:buSzPct val="100000"/>
                <a:defRPr sz="1500" b="1">
                  <a:solidFill>
                    <a:schemeClr val="bg1"/>
                  </a:solidFill>
                  <a:latin typeface="TH SarabunPSK" pitchFamily="34" charset="-34"/>
                  <a:cs typeface="TH SarabunPSK" pitchFamily="34" charset="-34"/>
                </a:defRPr>
              </a:lvl1pPr>
            </a:lstStyle>
            <a:p>
              <a:pPr algn="ctr"/>
              <a:r>
                <a:rPr lang="th-TH" dirty="0"/>
                <a:t>บ่อเต็น/บ่อหาน</a:t>
              </a:r>
              <a:endParaRPr lang="en-US" dirty="0"/>
            </a:p>
          </p:txBody>
        </p:sp>
        <p:sp>
          <p:nvSpPr>
            <p:cNvPr id="56" name="TextBox 55"/>
            <p:cNvSpPr txBox="1"/>
            <p:nvPr/>
          </p:nvSpPr>
          <p:spPr>
            <a:xfrm>
              <a:off x="7350285" y="4694143"/>
              <a:ext cx="1012473" cy="207749"/>
            </a:xfrm>
            <a:prstGeom prst="rect">
              <a:avLst/>
            </a:prstGeom>
            <a:solidFill>
              <a:schemeClr val="accent4">
                <a:lumMod val="25000"/>
              </a:schemeClr>
            </a:solidFill>
            <a:ln w="9525">
              <a:noFill/>
            </a:ln>
          </p:spPr>
          <p:txBody>
            <a:bodyPr vert="horz" wrap="square" lIns="0" tIns="0" rIns="0" bIns="0" rtlCol="0">
              <a:spAutoFit/>
            </a:bodyPr>
            <a:lstStyle>
              <a:defPPr>
                <a:defRPr lang="th-TH"/>
              </a:defPPr>
              <a:lvl1pPr>
                <a:lnSpc>
                  <a:spcPct val="90000"/>
                </a:lnSpc>
                <a:spcBef>
                  <a:spcPts val="400"/>
                </a:spcBef>
                <a:buClr>
                  <a:srgbClr val="000000"/>
                </a:buClr>
                <a:buSzPct val="100000"/>
                <a:defRPr sz="1500" b="1">
                  <a:solidFill>
                    <a:schemeClr val="bg1"/>
                  </a:solidFill>
                  <a:latin typeface="TH SarabunPSK" pitchFamily="34" charset="-34"/>
                  <a:cs typeface="TH SarabunPSK" pitchFamily="34" charset="-34"/>
                </a:defRPr>
              </a:lvl1pPr>
            </a:lstStyle>
            <a:p>
              <a:pPr algn="ctr"/>
              <a:r>
                <a:rPr lang="th-TH" dirty="0"/>
                <a:t>เกาะกง</a:t>
              </a:r>
              <a:endParaRPr lang="en-US" dirty="0"/>
            </a:p>
          </p:txBody>
        </p:sp>
        <p:sp>
          <p:nvSpPr>
            <p:cNvPr id="57" name="TextBox 56"/>
            <p:cNvSpPr txBox="1"/>
            <p:nvPr/>
          </p:nvSpPr>
          <p:spPr>
            <a:xfrm>
              <a:off x="683568" y="4587974"/>
              <a:ext cx="1043446" cy="207749"/>
            </a:xfrm>
            <a:prstGeom prst="rect">
              <a:avLst/>
            </a:prstGeom>
            <a:solidFill>
              <a:schemeClr val="accent4">
                <a:lumMod val="25000"/>
              </a:schemeClr>
            </a:solidFill>
            <a:ln w="9525">
              <a:noFill/>
            </a:ln>
          </p:spPr>
          <p:txBody>
            <a:bodyPr vert="horz" wrap="square" lIns="0" tIns="0" rIns="0" bIns="0" rtlCol="0">
              <a:spAutoFit/>
            </a:bodyPr>
            <a:lstStyle>
              <a:defPPr>
                <a:defRPr lang="th-TH"/>
              </a:defPPr>
              <a:lvl1pPr>
                <a:lnSpc>
                  <a:spcPct val="90000"/>
                </a:lnSpc>
                <a:spcBef>
                  <a:spcPts val="400"/>
                </a:spcBef>
                <a:buClr>
                  <a:srgbClr val="000000"/>
                </a:buClr>
                <a:buSzPct val="100000"/>
                <a:defRPr sz="1500" b="1">
                  <a:solidFill>
                    <a:schemeClr val="bg1"/>
                  </a:solidFill>
                  <a:latin typeface="TH SarabunPSK" pitchFamily="34" charset="-34"/>
                  <a:cs typeface="TH SarabunPSK" pitchFamily="34" charset="-34"/>
                </a:defRPr>
              </a:lvl1pPr>
            </a:lstStyle>
            <a:p>
              <a:pPr algn="ctr"/>
              <a:r>
                <a:rPr lang="th-TH" dirty="0"/>
                <a:t>โกตาเปอร์ดานา</a:t>
              </a:r>
              <a:endParaRPr lang="en-US" dirty="0"/>
            </a:p>
          </p:txBody>
        </p:sp>
        <p:sp>
          <p:nvSpPr>
            <p:cNvPr id="59" name="TextBox 58"/>
            <p:cNvSpPr txBox="1"/>
            <p:nvPr/>
          </p:nvSpPr>
          <p:spPr>
            <a:xfrm>
              <a:off x="689193" y="2753294"/>
              <a:ext cx="1037821" cy="207749"/>
            </a:xfrm>
            <a:prstGeom prst="rect">
              <a:avLst/>
            </a:prstGeom>
            <a:solidFill>
              <a:schemeClr val="accent4">
                <a:lumMod val="25000"/>
              </a:schemeClr>
            </a:solidFill>
            <a:ln w="9525">
              <a:noFill/>
            </a:ln>
          </p:spPr>
          <p:txBody>
            <a:bodyPr vert="horz" wrap="square" lIns="0" tIns="0" rIns="0" bIns="0" rtlCol="0">
              <a:spAutoFit/>
            </a:bodyPr>
            <a:lstStyle/>
            <a:p>
              <a:pPr algn="ctr">
                <a:lnSpc>
                  <a:spcPct val="90000"/>
                </a:lnSpc>
                <a:spcBef>
                  <a:spcPts val="400"/>
                </a:spcBef>
                <a:buClr>
                  <a:srgbClr val="000000"/>
                </a:buClr>
                <a:buSzPct val="100000"/>
              </a:pPr>
              <a:r>
                <a:rPr lang="th-TH" sz="1500" b="1" noProof="0" dirty="0" smtClean="0">
                  <a:solidFill>
                    <a:schemeClr val="bg1"/>
                  </a:solidFill>
                  <a:latin typeface="TH SarabunPSK" pitchFamily="34" charset="-34"/>
                  <a:cs typeface="TH SarabunPSK" pitchFamily="34" charset="-34"/>
                </a:rPr>
                <a:t> เขตการค้าเมียวดี</a:t>
              </a:r>
              <a:endParaRPr lang="en-US" sz="1500" b="1" noProof="0" dirty="0" smtClean="0">
                <a:solidFill>
                  <a:schemeClr val="bg1"/>
                </a:solidFill>
                <a:latin typeface="TH SarabunPSK" pitchFamily="34" charset="-34"/>
                <a:cs typeface="TH SarabunPSK" pitchFamily="34" charset="-34"/>
              </a:endParaRPr>
            </a:p>
          </p:txBody>
        </p:sp>
        <p:pic>
          <p:nvPicPr>
            <p:cNvPr id="11266" name="Picture 2"/>
            <p:cNvPicPr>
              <a:picLocks noChangeAspect="1" noChangeArrowheads="1"/>
            </p:cNvPicPr>
            <p:nvPr/>
          </p:nvPicPr>
          <p:blipFill>
            <a:blip r:embed="rId3" cstate="print">
              <a:extLst>
                <a:ext uri="{28A0092B-C50C-407E-A947-70E740481C1C}">
                  <a14:useLocalDpi xmlns:a14="http://schemas.microsoft.com/office/drawing/2010/main" xmlns="" val="0"/>
                </a:ext>
              </a:extLst>
            </a:blip>
            <a:srcRect/>
            <a:stretch>
              <a:fillRect/>
            </a:stretch>
          </p:blipFill>
          <p:spPr bwMode="auto">
            <a:xfrm>
              <a:off x="689194" y="2070002"/>
              <a:ext cx="1037823" cy="66646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pic>
          <p:nvPicPr>
            <p:cNvPr id="11267" name="Picture 3"/>
            <p:cNvPicPr>
              <a:picLocks noChangeAspect="1" noChangeArrowheads="1"/>
            </p:cNvPicPr>
            <p:nvPr/>
          </p:nvPicPr>
          <p:blipFill>
            <a:blip r:embed="rId4" cstate="print">
              <a:extLst>
                <a:ext uri="{28A0092B-C50C-407E-A947-70E740481C1C}">
                  <a14:useLocalDpi xmlns:a14="http://schemas.microsoft.com/office/drawing/2010/main" xmlns="" val="0"/>
                </a:ext>
              </a:extLst>
            </a:blip>
            <a:srcRect/>
            <a:stretch>
              <a:fillRect/>
            </a:stretch>
          </p:blipFill>
          <p:spPr bwMode="auto">
            <a:xfrm>
              <a:off x="7364986" y="2164392"/>
              <a:ext cx="983072" cy="61817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pic>
          <p:nvPicPr>
            <p:cNvPr id="11268" name="Picture 4"/>
            <p:cNvPicPr>
              <a:picLocks noChangeAspect="1" noChangeArrowheads="1"/>
            </p:cNvPicPr>
            <p:nvPr/>
          </p:nvPicPr>
          <p:blipFill>
            <a:blip r:embed="rId5" cstate="print">
              <a:extLst>
                <a:ext uri="{28A0092B-C50C-407E-A947-70E740481C1C}">
                  <a14:useLocalDpi xmlns:a14="http://schemas.microsoft.com/office/drawing/2010/main" xmlns="" val="0"/>
                </a:ext>
              </a:extLst>
            </a:blip>
            <a:srcRect/>
            <a:stretch>
              <a:fillRect/>
            </a:stretch>
          </p:blipFill>
          <p:spPr bwMode="auto">
            <a:xfrm>
              <a:off x="7335585" y="1123057"/>
              <a:ext cx="1041874" cy="68427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pic>
          <p:nvPicPr>
            <p:cNvPr id="11269" name="Picture 5"/>
            <p:cNvPicPr>
              <a:picLocks noChangeAspect="1" noChangeArrowheads="1"/>
            </p:cNvPicPr>
            <p:nvPr/>
          </p:nvPicPr>
          <p:blipFill>
            <a:blip r:embed="rId6" cstate="print">
              <a:extLst>
                <a:ext uri="{28A0092B-C50C-407E-A947-70E740481C1C}">
                  <a14:useLocalDpi xmlns:a14="http://schemas.microsoft.com/office/drawing/2010/main" xmlns="" val="0"/>
                </a:ext>
              </a:extLst>
            </a:blip>
            <a:srcRect/>
            <a:stretch>
              <a:fillRect/>
            </a:stretch>
          </p:blipFill>
          <p:spPr bwMode="auto">
            <a:xfrm>
              <a:off x="7364986" y="3071815"/>
              <a:ext cx="983072" cy="60848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43" name="TextBox 42"/>
            <p:cNvSpPr txBox="1"/>
            <p:nvPr/>
          </p:nvSpPr>
          <p:spPr>
            <a:xfrm>
              <a:off x="7364986" y="3709749"/>
              <a:ext cx="983072" cy="207749"/>
            </a:xfrm>
            <a:prstGeom prst="rect">
              <a:avLst/>
            </a:prstGeom>
            <a:solidFill>
              <a:schemeClr val="accent4">
                <a:lumMod val="25000"/>
              </a:schemeClr>
            </a:solidFill>
            <a:ln w="9525">
              <a:noFill/>
            </a:ln>
          </p:spPr>
          <p:txBody>
            <a:bodyPr vert="horz" wrap="square" lIns="0" tIns="0" rIns="0" bIns="0" rtlCol="0">
              <a:spAutoFit/>
            </a:bodyPr>
            <a:lstStyle>
              <a:defPPr>
                <a:defRPr lang="th-TH"/>
              </a:defPPr>
              <a:lvl1pPr>
                <a:lnSpc>
                  <a:spcPct val="90000"/>
                </a:lnSpc>
                <a:spcBef>
                  <a:spcPts val="400"/>
                </a:spcBef>
                <a:buClr>
                  <a:srgbClr val="000000"/>
                </a:buClr>
                <a:buSzPct val="100000"/>
                <a:defRPr sz="1500" b="1">
                  <a:solidFill>
                    <a:schemeClr val="bg1"/>
                  </a:solidFill>
                  <a:latin typeface="TH SarabunPSK" pitchFamily="34" charset="-34"/>
                  <a:cs typeface="TH SarabunPSK" pitchFamily="34" charset="-34"/>
                </a:defRPr>
              </a:lvl1pPr>
            </a:lstStyle>
            <a:p>
              <a:pPr algn="ctr"/>
              <a:r>
                <a:rPr lang="th-TH" dirty="0"/>
                <a:t>ปอยเปต-โอ</a:t>
              </a:r>
              <a:r>
                <a:rPr lang="th-TH" dirty="0" smtClean="0"/>
                <a:t>เนียง</a:t>
              </a:r>
              <a:endParaRPr lang="en-US" dirty="0"/>
            </a:p>
          </p:txBody>
        </p:sp>
        <p:pic>
          <p:nvPicPr>
            <p:cNvPr id="11272" name="Picture 8"/>
            <p:cNvPicPr>
              <a:picLocks noChangeAspect="1" noChangeArrowheads="1"/>
            </p:cNvPicPr>
            <p:nvPr/>
          </p:nvPicPr>
          <p:blipFill>
            <a:blip r:embed="rId7" cstate="print">
              <a:extLst>
                <a:ext uri="{28A0092B-C50C-407E-A947-70E740481C1C}">
                  <a14:useLocalDpi xmlns:a14="http://schemas.microsoft.com/office/drawing/2010/main" xmlns="" val="0"/>
                </a:ext>
              </a:extLst>
            </a:blip>
            <a:srcRect/>
            <a:stretch>
              <a:fillRect/>
            </a:stretch>
          </p:blipFill>
          <p:spPr bwMode="auto">
            <a:xfrm>
              <a:off x="7335586" y="4363384"/>
              <a:ext cx="1041874" cy="313424"/>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pic>
          <p:nvPicPr>
            <p:cNvPr id="11273" name="Picture 9"/>
            <p:cNvPicPr>
              <a:picLocks noChangeAspect="1" noChangeArrowheads="1"/>
            </p:cNvPicPr>
            <p:nvPr/>
          </p:nvPicPr>
          <p:blipFill>
            <a:blip r:embed="rId8" cstate="print">
              <a:extLst>
                <a:ext uri="{28A0092B-C50C-407E-A947-70E740481C1C}">
                  <a14:useLocalDpi xmlns:a14="http://schemas.microsoft.com/office/drawing/2010/main" xmlns="" val="0"/>
                </a:ext>
              </a:extLst>
            </a:blip>
            <a:srcRect/>
            <a:stretch>
              <a:fillRect/>
            </a:stretch>
          </p:blipFill>
          <p:spPr bwMode="auto">
            <a:xfrm>
              <a:off x="7350284" y="4035618"/>
              <a:ext cx="1012473" cy="336332"/>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pic>
          <p:nvPicPr>
            <p:cNvPr id="60" name="Picture 6" descr="http://www.freightmaxad.com/magazine/wp-content/uploads/2011/01/101.jpg"/>
            <p:cNvPicPr>
              <a:picLocks noChangeAspect="1" noChangeArrowheads="1"/>
            </p:cNvPicPr>
            <p:nvPr/>
          </p:nvPicPr>
          <p:blipFill>
            <a:blip r:embed="rId9" cstate="email"/>
            <a:srcRect/>
            <a:stretch>
              <a:fillRect/>
            </a:stretch>
          </p:blipFill>
          <p:spPr bwMode="auto">
            <a:xfrm>
              <a:off x="685112" y="3008452"/>
              <a:ext cx="1041903" cy="648456"/>
            </a:xfrm>
            <a:prstGeom prst="rect">
              <a:avLst/>
            </a:prstGeom>
            <a:noFill/>
            <a:ln>
              <a:noFill/>
            </a:ln>
            <a:effectLst/>
          </p:spPr>
        </p:pic>
        <p:pic>
          <p:nvPicPr>
            <p:cNvPr id="11275" name="Picture 11" descr="http://www.cutikelantan.com/wp-content/uploads/2012/03/grv.jpg">
              <a:hlinkClick r:id="rId10"/>
            </p:cNvPr>
            <p:cNvPicPr>
              <a:picLocks noChangeAspect="1" noChangeArrowheads="1"/>
            </p:cNvPicPr>
            <p:nvPr/>
          </p:nvPicPr>
          <p:blipFill>
            <a:blip r:embed="rId11" cstate="print">
              <a:extLst>
                <a:ext uri="{28A0092B-C50C-407E-A947-70E740481C1C}">
                  <a14:useLocalDpi xmlns:a14="http://schemas.microsoft.com/office/drawing/2010/main" xmlns="" val="0"/>
                </a:ext>
              </a:extLst>
            </a:blip>
            <a:srcRect/>
            <a:stretch>
              <a:fillRect/>
            </a:stretch>
          </p:blipFill>
          <p:spPr bwMode="auto">
            <a:xfrm>
              <a:off x="700748" y="3930675"/>
              <a:ext cx="1032825" cy="638923"/>
            </a:xfrm>
            <a:prstGeom prst="rect">
              <a:avLst/>
            </a:prstGeom>
            <a:noFill/>
            <a:extLst>
              <a:ext uri="{909E8E84-426E-40DD-AFC4-6F175D3DCCD1}">
                <a14:hiddenFill xmlns:a14="http://schemas.microsoft.com/office/drawing/2010/main" xmlns="">
                  <a:solidFill>
                    <a:srgbClr val="FFFFFF"/>
                  </a:solidFill>
                </a14:hiddenFill>
              </a:ext>
            </a:extLst>
          </p:spPr>
        </p:pic>
        <p:pic>
          <p:nvPicPr>
            <p:cNvPr id="62" name="Picture 4" descr="http://sv6.postjung.com/picpost/data/215/215928-51073aff797a4.jpg">
              <a:hlinkClick r:id="rId12"/>
            </p:cNvPr>
            <p:cNvPicPr>
              <a:picLocks noChangeAspect="1" noChangeArrowheads="1"/>
            </p:cNvPicPr>
            <p:nvPr/>
          </p:nvPicPr>
          <p:blipFill>
            <a:blip r:embed="rId13" cstate="print">
              <a:extLst>
                <a:ext uri="{28A0092B-C50C-407E-A947-70E740481C1C}">
                  <a14:useLocalDpi xmlns:a14="http://schemas.microsoft.com/office/drawing/2010/main" xmlns="" val="0"/>
                </a:ext>
              </a:extLst>
            </a:blip>
            <a:srcRect/>
            <a:stretch>
              <a:fillRect/>
            </a:stretch>
          </p:blipFill>
          <p:spPr bwMode="auto">
            <a:xfrm>
              <a:off x="689194" y="1093116"/>
              <a:ext cx="1040792" cy="666460"/>
            </a:xfrm>
            <a:prstGeom prst="rect">
              <a:avLst/>
            </a:prstGeom>
            <a:noFill/>
            <a:extLst>
              <a:ext uri="{909E8E84-426E-40DD-AFC4-6F175D3DCCD1}">
                <a14:hiddenFill xmlns:a14="http://schemas.microsoft.com/office/drawing/2010/main" xmlns="">
                  <a:solidFill>
                    <a:srgbClr val="FFFFFF"/>
                  </a:solidFill>
                </a14:hiddenFill>
              </a:ext>
            </a:extLst>
          </p:spPr>
        </p:pic>
        <p:cxnSp>
          <p:nvCxnSpPr>
            <p:cNvPr id="5" name="Elbow Connector 4"/>
            <p:cNvCxnSpPr/>
            <p:nvPr/>
          </p:nvCxnSpPr>
          <p:spPr>
            <a:xfrm>
              <a:off x="1733573" y="1193021"/>
              <a:ext cx="1119828" cy="457200"/>
            </a:xfrm>
            <a:prstGeom prst="bentConnector3">
              <a:avLst/>
            </a:prstGeom>
            <a:ln w="6350">
              <a:solidFill>
                <a:schemeClr val="bg1">
                  <a:lumMod val="50000"/>
                </a:schemeClr>
              </a:solidFill>
            </a:ln>
            <a:effectLst/>
          </p:spPr>
          <p:style>
            <a:lnRef idx="1">
              <a:schemeClr val="accent1"/>
            </a:lnRef>
            <a:fillRef idx="0">
              <a:schemeClr val="accent1"/>
            </a:fillRef>
            <a:effectRef idx="0">
              <a:schemeClr val="accent1"/>
            </a:effectRef>
            <a:fontRef idx="minor">
              <a:schemeClr val="tx1"/>
            </a:fontRef>
          </p:style>
        </p:cxnSp>
        <p:cxnSp>
          <p:nvCxnSpPr>
            <p:cNvPr id="64" name="Elbow Connector 63"/>
            <p:cNvCxnSpPr/>
            <p:nvPr/>
          </p:nvCxnSpPr>
          <p:spPr>
            <a:xfrm>
              <a:off x="4561246" y="3582434"/>
              <a:ext cx="2696440" cy="1242699"/>
            </a:xfrm>
            <a:prstGeom prst="bentConnector3">
              <a:avLst/>
            </a:prstGeom>
            <a:ln w="6350">
              <a:solidFill>
                <a:schemeClr val="bg1">
                  <a:lumMod val="50000"/>
                </a:schemeClr>
              </a:solidFill>
            </a:ln>
            <a:effectLst/>
          </p:spPr>
          <p:style>
            <a:lnRef idx="1">
              <a:schemeClr val="accent1"/>
            </a:lnRef>
            <a:fillRef idx="0">
              <a:schemeClr val="accent1"/>
            </a:fillRef>
            <a:effectRef idx="0">
              <a:schemeClr val="accent1"/>
            </a:effectRef>
            <a:fontRef idx="minor">
              <a:schemeClr val="tx1"/>
            </a:fontRef>
          </p:style>
        </p:cxnSp>
        <p:cxnSp>
          <p:nvCxnSpPr>
            <p:cNvPr id="71" name="Elbow Connector 70"/>
            <p:cNvCxnSpPr/>
            <p:nvPr/>
          </p:nvCxnSpPr>
          <p:spPr>
            <a:xfrm>
              <a:off x="5215674" y="3002816"/>
              <a:ext cx="2119911" cy="781359"/>
            </a:xfrm>
            <a:prstGeom prst="bentConnector3">
              <a:avLst/>
            </a:prstGeom>
            <a:ln w="6350">
              <a:solidFill>
                <a:schemeClr val="bg1">
                  <a:lumMod val="50000"/>
                </a:schemeClr>
              </a:solidFill>
            </a:ln>
            <a:effectLst/>
          </p:spPr>
          <p:style>
            <a:lnRef idx="1">
              <a:schemeClr val="accent1"/>
            </a:lnRef>
            <a:fillRef idx="0">
              <a:schemeClr val="accent1"/>
            </a:fillRef>
            <a:effectRef idx="0">
              <a:schemeClr val="accent1"/>
            </a:effectRef>
            <a:fontRef idx="minor">
              <a:schemeClr val="tx1"/>
            </a:fontRef>
          </p:style>
        </p:cxnSp>
        <p:cxnSp>
          <p:nvCxnSpPr>
            <p:cNvPr id="14" name="Elbow Connector 13"/>
            <p:cNvCxnSpPr/>
            <p:nvPr/>
          </p:nvCxnSpPr>
          <p:spPr>
            <a:xfrm>
              <a:off x="1714480" y="2214559"/>
              <a:ext cx="987598" cy="253877"/>
            </a:xfrm>
            <a:prstGeom prst="bentConnector3">
              <a:avLst>
                <a:gd name="adj1" fmla="val 50000"/>
              </a:avLst>
            </a:prstGeom>
            <a:ln w="6350">
              <a:solidFill>
                <a:schemeClr val="bg1">
                  <a:lumMod val="50000"/>
                </a:schemeClr>
              </a:solidFill>
            </a:ln>
            <a:effectLst/>
          </p:spPr>
          <p:style>
            <a:lnRef idx="1">
              <a:schemeClr val="accent1"/>
            </a:lnRef>
            <a:fillRef idx="0">
              <a:schemeClr val="accent1"/>
            </a:fillRef>
            <a:effectRef idx="0">
              <a:schemeClr val="accent1"/>
            </a:effectRef>
            <a:fontRef idx="minor">
              <a:schemeClr val="tx1"/>
            </a:fontRef>
          </p:style>
        </p:cxnSp>
        <p:cxnSp>
          <p:nvCxnSpPr>
            <p:cNvPr id="17" name="Elbow Connector 16"/>
            <p:cNvCxnSpPr/>
            <p:nvPr/>
          </p:nvCxnSpPr>
          <p:spPr>
            <a:xfrm flipV="1">
              <a:off x="6072198" y="1650222"/>
              <a:ext cx="1164098" cy="564337"/>
            </a:xfrm>
            <a:prstGeom prst="bentConnector3">
              <a:avLst>
                <a:gd name="adj1" fmla="val 50000"/>
              </a:avLst>
            </a:prstGeom>
            <a:ln w="6350">
              <a:solidFill>
                <a:schemeClr val="bg1">
                  <a:lumMod val="50000"/>
                </a:schemeClr>
              </a:solidFill>
            </a:ln>
            <a:effectLst/>
          </p:spPr>
          <p:style>
            <a:lnRef idx="1">
              <a:schemeClr val="accent1"/>
            </a:lnRef>
            <a:fillRef idx="0">
              <a:schemeClr val="accent1"/>
            </a:fillRef>
            <a:effectRef idx="0">
              <a:schemeClr val="accent1"/>
            </a:effectRef>
            <a:fontRef idx="minor">
              <a:schemeClr val="tx1"/>
            </a:fontRef>
          </p:style>
        </p:cxnSp>
        <p:cxnSp>
          <p:nvCxnSpPr>
            <p:cNvPr id="20" name="Elbow Connector 19"/>
            <p:cNvCxnSpPr>
              <a:stCxn id="68" idx="3"/>
            </p:cNvCxnSpPr>
            <p:nvPr/>
          </p:nvCxnSpPr>
          <p:spPr>
            <a:xfrm>
              <a:off x="6137321" y="2487685"/>
              <a:ext cx="1168128" cy="369740"/>
            </a:xfrm>
            <a:prstGeom prst="bentConnector3">
              <a:avLst>
                <a:gd name="adj1" fmla="val 50000"/>
              </a:avLst>
            </a:prstGeom>
            <a:ln w="6350">
              <a:solidFill>
                <a:schemeClr val="bg1">
                  <a:lumMod val="50000"/>
                </a:schemeClr>
              </a:solidFill>
            </a:ln>
            <a:effectLst/>
          </p:spPr>
          <p:style>
            <a:lnRef idx="1">
              <a:schemeClr val="accent1"/>
            </a:lnRef>
            <a:fillRef idx="0">
              <a:schemeClr val="accent1"/>
            </a:fillRef>
            <a:effectRef idx="0">
              <a:schemeClr val="accent1"/>
            </a:effectRef>
            <a:fontRef idx="minor">
              <a:schemeClr val="tx1"/>
            </a:fontRef>
          </p:style>
        </p:cxnSp>
        <p:cxnSp>
          <p:nvCxnSpPr>
            <p:cNvPr id="24" name="Elbow Connector 23"/>
            <p:cNvCxnSpPr/>
            <p:nvPr/>
          </p:nvCxnSpPr>
          <p:spPr>
            <a:xfrm flipV="1">
              <a:off x="1714480" y="4442855"/>
              <a:ext cx="1638846" cy="251288"/>
            </a:xfrm>
            <a:prstGeom prst="bentConnector3">
              <a:avLst/>
            </a:prstGeom>
            <a:ln w="6350">
              <a:solidFill>
                <a:schemeClr val="bg1">
                  <a:lumMod val="50000"/>
                </a:schemeClr>
              </a:solidFill>
            </a:ln>
            <a:effectLst/>
          </p:spPr>
          <p:style>
            <a:lnRef idx="1">
              <a:schemeClr val="accent1"/>
            </a:lnRef>
            <a:fillRef idx="0">
              <a:schemeClr val="accent1"/>
            </a:fillRef>
            <a:effectRef idx="0">
              <a:schemeClr val="accent1"/>
            </a:effectRef>
            <a:fontRef idx="minor">
              <a:schemeClr val="tx1"/>
            </a:fontRef>
          </p:style>
        </p:cxnSp>
      </p:grpSp>
      <p:cxnSp>
        <p:nvCxnSpPr>
          <p:cNvPr id="92" name="Elbow Connector 91"/>
          <p:cNvCxnSpPr/>
          <p:nvPr/>
        </p:nvCxnSpPr>
        <p:spPr>
          <a:xfrm rot="10800000" flipV="1">
            <a:off x="1714482" y="3071815"/>
            <a:ext cx="785817" cy="689493"/>
          </a:xfrm>
          <a:prstGeom prst="bentConnector3">
            <a:avLst>
              <a:gd name="adj1" fmla="val 50000"/>
            </a:avLst>
          </a:prstGeom>
          <a:ln w="9525">
            <a:solidFill>
              <a:schemeClr val="accent3"/>
            </a:solidFill>
          </a:ln>
          <a:effectLst/>
        </p:spPr>
        <p:style>
          <a:lnRef idx="1">
            <a:schemeClr val="accent1"/>
          </a:lnRef>
          <a:fillRef idx="0">
            <a:schemeClr val="accent1"/>
          </a:fillRef>
          <a:effectRef idx="0">
            <a:schemeClr val="accent1"/>
          </a:effectRef>
          <a:fontRef idx="minor">
            <a:schemeClr val="tx1"/>
          </a:fontRef>
        </p:style>
      </p:cxnSp>
      <p:sp>
        <p:nvSpPr>
          <p:cNvPr id="95" name="TextBox 94"/>
          <p:cNvSpPr txBox="1"/>
          <p:nvPr/>
        </p:nvSpPr>
        <p:spPr>
          <a:xfrm>
            <a:off x="676659" y="3714758"/>
            <a:ext cx="1037821" cy="207749"/>
          </a:xfrm>
          <a:prstGeom prst="rect">
            <a:avLst/>
          </a:prstGeom>
          <a:solidFill>
            <a:schemeClr val="accent4">
              <a:lumMod val="25000"/>
            </a:schemeClr>
          </a:solidFill>
          <a:ln w="9525">
            <a:noFill/>
          </a:ln>
        </p:spPr>
        <p:txBody>
          <a:bodyPr vert="horz" wrap="square" lIns="0" tIns="0" rIns="0" bIns="0" rtlCol="0">
            <a:spAutoFit/>
          </a:bodyPr>
          <a:lstStyle/>
          <a:p>
            <a:pPr algn="ctr">
              <a:lnSpc>
                <a:spcPct val="90000"/>
              </a:lnSpc>
              <a:spcBef>
                <a:spcPts val="400"/>
              </a:spcBef>
              <a:buClr>
                <a:srgbClr val="000000"/>
              </a:buClr>
              <a:buSzPct val="100000"/>
            </a:pPr>
            <a:r>
              <a:rPr lang="th-TH" sz="1500" b="1" noProof="0" dirty="0" smtClean="0">
                <a:solidFill>
                  <a:schemeClr val="bg1"/>
                </a:solidFill>
                <a:latin typeface="TH SarabunPSK" pitchFamily="34" charset="-34"/>
                <a:cs typeface="TH SarabunPSK" pitchFamily="34" charset="-34"/>
              </a:rPr>
              <a:t> ทวาย</a:t>
            </a:r>
            <a:endParaRPr lang="en-US" sz="1500" b="1" noProof="0" dirty="0" smtClean="0">
              <a:solidFill>
                <a:schemeClr val="bg1"/>
              </a:solidFill>
              <a:latin typeface="TH SarabunPSK" pitchFamily="34" charset="-34"/>
              <a:cs typeface="TH SarabunPSK" pitchFamily="34" charset="-34"/>
            </a:endParaRPr>
          </a:p>
        </p:txBody>
      </p:sp>
    </p:spTree>
    <p:extLst>
      <p:ext uri="{BB962C8B-B14F-4D97-AF65-F5344CB8AC3E}">
        <p14:creationId xmlns:p14="http://schemas.microsoft.com/office/powerpoint/2010/main" xmlns="" val="4057649686"/>
      </p:ext>
    </p:extLst>
  </p:cSld>
  <p:clrMapOvr>
    <a:masterClrMapping/>
  </p:clrMapOvr>
  <p:transition spd="med">
    <p:fade thruBlk="1"/>
  </p:transition>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a:xfrm>
            <a:off x="681231" y="363917"/>
            <a:ext cx="7879374" cy="560923"/>
          </a:xfrm>
        </p:spPr>
        <p:txBody>
          <a:bodyPr/>
          <a:lstStyle/>
          <a:p>
            <a:r>
              <a:rPr lang="th-TH" sz="3400" b="1" dirty="0">
                <a:latin typeface="TH SarabunPSK" pitchFamily="34" charset="-34"/>
                <a:cs typeface="TH SarabunPSK" pitchFamily="34" charset="-34"/>
              </a:rPr>
              <a:t>ประเด็นการบรรยาย </a:t>
            </a:r>
            <a:endParaRPr lang="en-US" sz="3400" b="1" dirty="0">
              <a:latin typeface="TH SarabunPSK" pitchFamily="34" charset="-34"/>
              <a:cs typeface="TH SarabunPSK" pitchFamily="34" charset="-34"/>
            </a:endParaRPr>
          </a:p>
        </p:txBody>
      </p:sp>
      <p:sp>
        <p:nvSpPr>
          <p:cNvPr id="8" name="Rectangle 7"/>
          <p:cNvSpPr/>
          <p:nvPr/>
        </p:nvSpPr>
        <p:spPr>
          <a:xfrm>
            <a:off x="619698" y="1582288"/>
            <a:ext cx="7861110" cy="542498"/>
          </a:xfrm>
          <a:prstGeom prst="rect">
            <a:avLst/>
          </a:prstGeom>
          <a:solidFill>
            <a:schemeClr val="accent4"/>
          </a:solidFill>
          <a:ln w="9525">
            <a:noFill/>
          </a:ln>
          <a:effectLst/>
        </p:spPr>
        <p:style>
          <a:lnRef idx="1">
            <a:schemeClr val="accent1"/>
          </a:lnRef>
          <a:fillRef idx="0">
            <a:schemeClr val="accent1"/>
          </a:fillRef>
          <a:effectRef idx="0">
            <a:schemeClr val="accent1"/>
          </a:effectRef>
          <a:fontRef idx="minor">
            <a:schemeClr val="tx1"/>
          </a:fontRef>
        </p:style>
        <p:txBody>
          <a:bodyPr lIns="61358" tIns="61358" rIns="61358" bIns="92038" rtlCol="0" anchor="t" anchorCtr="0">
            <a:noAutofit/>
          </a:bodyPr>
          <a:lstStyle/>
          <a:p>
            <a:pPr fontAlgn="base">
              <a:lnSpc>
                <a:spcPct val="90000"/>
              </a:lnSpc>
              <a:spcBef>
                <a:spcPts val="341"/>
              </a:spcBef>
              <a:spcAft>
                <a:spcPct val="0"/>
              </a:spcAft>
            </a:pPr>
            <a:endParaRPr lang="en-US" sz="1300" dirty="0">
              <a:solidFill>
                <a:srgbClr val="000000"/>
              </a:solidFill>
            </a:endParaRPr>
          </a:p>
        </p:txBody>
      </p:sp>
      <p:sp>
        <p:nvSpPr>
          <p:cNvPr id="9" name="Rectangle 8"/>
          <p:cNvSpPr/>
          <p:nvPr/>
        </p:nvSpPr>
        <p:spPr>
          <a:xfrm>
            <a:off x="619698" y="2304286"/>
            <a:ext cx="7861110" cy="542498"/>
          </a:xfrm>
          <a:prstGeom prst="rect">
            <a:avLst/>
          </a:prstGeom>
          <a:solidFill>
            <a:schemeClr val="accent4"/>
          </a:solidFill>
          <a:ln w="9525">
            <a:noFill/>
          </a:ln>
          <a:effectLst/>
        </p:spPr>
        <p:style>
          <a:lnRef idx="1">
            <a:schemeClr val="accent1"/>
          </a:lnRef>
          <a:fillRef idx="0">
            <a:schemeClr val="accent1"/>
          </a:fillRef>
          <a:effectRef idx="0">
            <a:schemeClr val="accent1"/>
          </a:effectRef>
          <a:fontRef idx="minor">
            <a:schemeClr val="tx1"/>
          </a:fontRef>
        </p:style>
        <p:txBody>
          <a:bodyPr lIns="61358" tIns="61358" rIns="61358" bIns="92038" rtlCol="0" anchor="t" anchorCtr="0">
            <a:noAutofit/>
          </a:bodyPr>
          <a:lstStyle/>
          <a:p>
            <a:pPr fontAlgn="base">
              <a:lnSpc>
                <a:spcPct val="90000"/>
              </a:lnSpc>
              <a:spcBef>
                <a:spcPts val="341"/>
              </a:spcBef>
              <a:spcAft>
                <a:spcPct val="0"/>
              </a:spcAft>
            </a:pPr>
            <a:endParaRPr lang="en-US" sz="1300" dirty="0">
              <a:solidFill>
                <a:srgbClr val="000000"/>
              </a:solidFill>
            </a:endParaRPr>
          </a:p>
        </p:txBody>
      </p:sp>
      <p:sp>
        <p:nvSpPr>
          <p:cNvPr id="10" name="Rectangle 9"/>
          <p:cNvSpPr/>
          <p:nvPr/>
        </p:nvSpPr>
        <p:spPr>
          <a:xfrm>
            <a:off x="619698" y="3054034"/>
            <a:ext cx="7861110" cy="542498"/>
          </a:xfrm>
          <a:prstGeom prst="rect">
            <a:avLst/>
          </a:prstGeom>
          <a:solidFill>
            <a:schemeClr val="accent4"/>
          </a:solidFill>
          <a:ln w="28575">
            <a:solidFill>
              <a:srgbClr val="0000FF"/>
            </a:solidFill>
          </a:ln>
          <a:effectLst/>
        </p:spPr>
        <p:style>
          <a:lnRef idx="1">
            <a:schemeClr val="accent1"/>
          </a:lnRef>
          <a:fillRef idx="0">
            <a:schemeClr val="accent1"/>
          </a:fillRef>
          <a:effectRef idx="0">
            <a:schemeClr val="accent1"/>
          </a:effectRef>
          <a:fontRef idx="minor">
            <a:schemeClr val="tx1"/>
          </a:fontRef>
        </p:style>
        <p:txBody>
          <a:bodyPr lIns="61358" tIns="61358" rIns="61358" bIns="92038" rtlCol="0" anchor="t" anchorCtr="0">
            <a:noAutofit/>
          </a:bodyPr>
          <a:lstStyle/>
          <a:p>
            <a:pPr fontAlgn="base">
              <a:lnSpc>
                <a:spcPct val="90000"/>
              </a:lnSpc>
              <a:spcBef>
                <a:spcPts val="341"/>
              </a:spcBef>
              <a:spcAft>
                <a:spcPct val="0"/>
              </a:spcAft>
            </a:pPr>
            <a:endParaRPr lang="en-US" sz="1300" dirty="0">
              <a:solidFill>
                <a:srgbClr val="000000"/>
              </a:solidFill>
            </a:endParaRPr>
          </a:p>
        </p:txBody>
      </p:sp>
      <p:sp>
        <p:nvSpPr>
          <p:cNvPr id="12" name="Textframe 12"/>
          <p:cNvSpPr txBox="1"/>
          <p:nvPr/>
        </p:nvSpPr>
        <p:spPr>
          <a:xfrm>
            <a:off x="1025978" y="2388564"/>
            <a:ext cx="7306801" cy="373949"/>
          </a:xfrm>
          <a:prstGeom prst="rect">
            <a:avLst/>
          </a:prstGeom>
          <a:noFill/>
          <a:ln w="9525">
            <a:noFill/>
          </a:ln>
        </p:spPr>
        <p:txBody>
          <a:bodyPr vert="horz" wrap="square" lIns="0" tIns="0" rIns="0" bIns="0" rtlCol="0">
            <a:spAutoFit/>
          </a:bodyPr>
          <a:lstStyle/>
          <a:p>
            <a:pPr fontAlgn="base">
              <a:lnSpc>
                <a:spcPct val="90000"/>
              </a:lnSpc>
              <a:spcBef>
                <a:spcPts val="341"/>
              </a:spcBef>
              <a:spcAft>
                <a:spcPct val="0"/>
              </a:spcAft>
              <a:buSzPct val="100000"/>
            </a:pPr>
            <a:r>
              <a:rPr lang="th-TH" sz="2700" b="1" dirty="0" smtClean="0">
                <a:solidFill>
                  <a:srgbClr val="003F56"/>
                </a:solidFill>
                <a:latin typeface="TH SarabunPSK" pitchFamily="34" charset="-34"/>
                <a:cs typeface="TH SarabunPSK" pitchFamily="34" charset="-34"/>
              </a:rPr>
              <a:t>การพัฒนาเขตเศรษฐกิจ</a:t>
            </a:r>
            <a:r>
              <a:rPr lang="th-TH" sz="2700" b="1" dirty="0">
                <a:solidFill>
                  <a:srgbClr val="003F56"/>
                </a:solidFill>
                <a:latin typeface="TH SarabunPSK" pitchFamily="34" charset="-34"/>
                <a:cs typeface="TH SarabunPSK" pitchFamily="34" charset="-34"/>
              </a:rPr>
              <a:t>พิเศษ</a:t>
            </a:r>
            <a:endParaRPr lang="en-US" sz="2700" b="1" dirty="0">
              <a:solidFill>
                <a:srgbClr val="003F56"/>
              </a:solidFill>
              <a:latin typeface="TH SarabunPSK" pitchFamily="34" charset="-34"/>
              <a:cs typeface="TH SarabunPSK" pitchFamily="34" charset="-34"/>
            </a:endParaRPr>
          </a:p>
        </p:txBody>
      </p:sp>
      <p:sp>
        <p:nvSpPr>
          <p:cNvPr id="13" name="RbNavigator"/>
          <p:cNvSpPr txBox="1"/>
          <p:nvPr/>
        </p:nvSpPr>
        <p:spPr>
          <a:xfrm>
            <a:off x="619702" y="1582288"/>
            <a:ext cx="341056" cy="542498"/>
          </a:xfrm>
          <a:prstGeom prst="rect">
            <a:avLst/>
          </a:prstGeom>
          <a:solidFill>
            <a:schemeClr val="accent3"/>
          </a:solidFill>
          <a:ln w="9525">
            <a:noFill/>
          </a:ln>
        </p:spPr>
        <p:txBody>
          <a:bodyPr vert="horz" wrap="none" lIns="0" tIns="0" rIns="0" bIns="0" rtlCol="0" anchor="ctr">
            <a:noAutofit/>
          </a:bodyPr>
          <a:lstStyle/>
          <a:p>
            <a:pPr algn="ctr" fontAlgn="base">
              <a:lnSpc>
                <a:spcPct val="90000"/>
              </a:lnSpc>
              <a:spcBef>
                <a:spcPts val="341"/>
              </a:spcBef>
              <a:spcAft>
                <a:spcPct val="0"/>
              </a:spcAft>
              <a:buClr>
                <a:srgbClr val="000000"/>
              </a:buClr>
              <a:buSzPct val="100000"/>
            </a:pPr>
            <a:r>
              <a:rPr kumimoji="1" lang="th-TH" sz="2100" b="1" dirty="0">
                <a:solidFill>
                  <a:srgbClr val="FFFFFF"/>
                </a:solidFill>
                <a:cs typeface="Arial Narrow" pitchFamily="34" charset="0"/>
              </a:rPr>
              <a:t>2</a:t>
            </a:r>
            <a:endParaRPr kumimoji="1" lang="en-US" sz="2100" b="1" dirty="0">
              <a:solidFill>
                <a:srgbClr val="FFFFFF"/>
              </a:solidFill>
              <a:cs typeface="Arial Narrow" pitchFamily="34" charset="0"/>
            </a:endParaRPr>
          </a:p>
        </p:txBody>
      </p:sp>
      <p:sp>
        <p:nvSpPr>
          <p:cNvPr id="15" name="RbNavigator"/>
          <p:cNvSpPr txBox="1"/>
          <p:nvPr/>
        </p:nvSpPr>
        <p:spPr>
          <a:xfrm>
            <a:off x="619702" y="2304286"/>
            <a:ext cx="341056" cy="542498"/>
          </a:xfrm>
          <a:prstGeom prst="rect">
            <a:avLst/>
          </a:prstGeom>
          <a:solidFill>
            <a:schemeClr val="accent3"/>
          </a:solidFill>
          <a:ln w="9525">
            <a:noFill/>
          </a:ln>
        </p:spPr>
        <p:txBody>
          <a:bodyPr vert="horz" wrap="none" lIns="0" tIns="0" rIns="0" bIns="0" rtlCol="0" anchor="ctr">
            <a:noAutofit/>
          </a:bodyPr>
          <a:lstStyle/>
          <a:p>
            <a:pPr algn="ctr" fontAlgn="base">
              <a:lnSpc>
                <a:spcPct val="90000"/>
              </a:lnSpc>
              <a:spcBef>
                <a:spcPts val="341"/>
              </a:spcBef>
              <a:spcAft>
                <a:spcPct val="0"/>
              </a:spcAft>
              <a:buClr>
                <a:srgbClr val="000000"/>
              </a:buClr>
              <a:buSzPct val="100000"/>
            </a:pPr>
            <a:r>
              <a:rPr kumimoji="1" lang="th-TH" sz="2100" b="1" dirty="0">
                <a:solidFill>
                  <a:srgbClr val="FFFFFF"/>
                </a:solidFill>
                <a:cs typeface="Arial Narrow" pitchFamily="34" charset="0"/>
              </a:rPr>
              <a:t>3</a:t>
            </a:r>
            <a:endParaRPr kumimoji="1" lang="en-US" sz="2100" b="1" dirty="0">
              <a:solidFill>
                <a:srgbClr val="FFFFFF"/>
              </a:solidFill>
              <a:cs typeface="Arial Narrow" pitchFamily="34" charset="0"/>
            </a:endParaRPr>
          </a:p>
        </p:txBody>
      </p:sp>
      <p:sp>
        <p:nvSpPr>
          <p:cNvPr id="16" name="Textframe 12"/>
          <p:cNvSpPr txBox="1"/>
          <p:nvPr/>
        </p:nvSpPr>
        <p:spPr>
          <a:xfrm>
            <a:off x="1043608" y="3167901"/>
            <a:ext cx="7306801" cy="373949"/>
          </a:xfrm>
          <a:prstGeom prst="rect">
            <a:avLst/>
          </a:prstGeom>
          <a:noFill/>
          <a:ln w="9525">
            <a:noFill/>
          </a:ln>
        </p:spPr>
        <p:txBody>
          <a:bodyPr vert="horz" wrap="square" lIns="0" tIns="0" rIns="0" bIns="0" rtlCol="0">
            <a:spAutoFit/>
          </a:bodyPr>
          <a:lstStyle/>
          <a:p>
            <a:pPr fontAlgn="base">
              <a:lnSpc>
                <a:spcPct val="90000"/>
              </a:lnSpc>
              <a:spcBef>
                <a:spcPts val="341"/>
              </a:spcBef>
              <a:spcAft>
                <a:spcPct val="0"/>
              </a:spcAft>
              <a:buSzPct val="100000"/>
            </a:pPr>
            <a:r>
              <a:rPr lang="th-TH" sz="2700" b="1" dirty="0">
                <a:solidFill>
                  <a:srgbClr val="003F56"/>
                </a:solidFill>
                <a:latin typeface="TH SarabunPSK" pitchFamily="34" charset="-34"/>
                <a:cs typeface="TH SarabunPSK" pitchFamily="34" charset="-34"/>
              </a:rPr>
              <a:t>การเชื่อมโยงประเทศในภูมิภาค</a:t>
            </a:r>
            <a:endParaRPr lang="en-US" sz="2700" b="1" dirty="0">
              <a:solidFill>
                <a:srgbClr val="003F56"/>
              </a:solidFill>
              <a:latin typeface="TH SarabunPSK" pitchFamily="34" charset="-34"/>
              <a:cs typeface="TH SarabunPSK" pitchFamily="34" charset="-34"/>
            </a:endParaRPr>
          </a:p>
        </p:txBody>
      </p:sp>
      <p:sp>
        <p:nvSpPr>
          <p:cNvPr id="17" name="RbNavigator"/>
          <p:cNvSpPr txBox="1"/>
          <p:nvPr/>
        </p:nvSpPr>
        <p:spPr>
          <a:xfrm>
            <a:off x="619702" y="3054034"/>
            <a:ext cx="341056" cy="542498"/>
          </a:xfrm>
          <a:prstGeom prst="rect">
            <a:avLst/>
          </a:prstGeom>
          <a:solidFill>
            <a:schemeClr val="accent3"/>
          </a:solidFill>
          <a:ln w="9525">
            <a:noFill/>
          </a:ln>
        </p:spPr>
        <p:txBody>
          <a:bodyPr vert="horz" wrap="none" lIns="0" tIns="0" rIns="0" bIns="0" rtlCol="0" anchor="ctr">
            <a:noAutofit/>
          </a:bodyPr>
          <a:lstStyle/>
          <a:p>
            <a:pPr algn="ctr" fontAlgn="base">
              <a:lnSpc>
                <a:spcPct val="90000"/>
              </a:lnSpc>
              <a:spcBef>
                <a:spcPts val="341"/>
              </a:spcBef>
              <a:spcAft>
                <a:spcPct val="0"/>
              </a:spcAft>
              <a:buClr>
                <a:srgbClr val="000000"/>
              </a:buClr>
              <a:buSzPct val="100000"/>
            </a:pPr>
            <a:r>
              <a:rPr kumimoji="1" lang="th-TH" sz="2100" b="1" dirty="0">
                <a:solidFill>
                  <a:srgbClr val="FFFFFF"/>
                </a:solidFill>
                <a:cs typeface="Arial Narrow" pitchFamily="34" charset="0"/>
              </a:rPr>
              <a:t>4</a:t>
            </a:r>
            <a:endParaRPr kumimoji="1" lang="en-US" sz="2100" b="1" dirty="0">
              <a:solidFill>
                <a:srgbClr val="FFFFFF"/>
              </a:solidFill>
              <a:cs typeface="Arial Narrow" pitchFamily="34" charset="0"/>
            </a:endParaRPr>
          </a:p>
        </p:txBody>
      </p:sp>
      <p:sp>
        <p:nvSpPr>
          <p:cNvPr id="18" name="Rectangle 17"/>
          <p:cNvSpPr/>
          <p:nvPr/>
        </p:nvSpPr>
        <p:spPr>
          <a:xfrm>
            <a:off x="619697" y="3779992"/>
            <a:ext cx="7861110" cy="542498"/>
          </a:xfrm>
          <a:prstGeom prst="rect">
            <a:avLst/>
          </a:prstGeom>
          <a:solidFill>
            <a:schemeClr val="accent4"/>
          </a:solidFill>
          <a:ln w="9525">
            <a:noFill/>
          </a:ln>
          <a:effectLst/>
        </p:spPr>
        <p:style>
          <a:lnRef idx="1">
            <a:schemeClr val="accent1"/>
          </a:lnRef>
          <a:fillRef idx="0">
            <a:schemeClr val="accent1"/>
          </a:fillRef>
          <a:effectRef idx="0">
            <a:schemeClr val="accent1"/>
          </a:effectRef>
          <a:fontRef idx="minor">
            <a:schemeClr val="tx1"/>
          </a:fontRef>
        </p:style>
        <p:txBody>
          <a:bodyPr lIns="61358" tIns="61358" rIns="61358" bIns="92038" rtlCol="0" anchor="t" anchorCtr="0">
            <a:noAutofit/>
          </a:bodyPr>
          <a:lstStyle/>
          <a:p>
            <a:pPr fontAlgn="base">
              <a:lnSpc>
                <a:spcPct val="90000"/>
              </a:lnSpc>
              <a:spcBef>
                <a:spcPts val="341"/>
              </a:spcBef>
              <a:spcAft>
                <a:spcPct val="0"/>
              </a:spcAft>
            </a:pPr>
            <a:endParaRPr lang="en-US" sz="1300" dirty="0">
              <a:solidFill>
                <a:srgbClr val="000000"/>
              </a:solidFill>
            </a:endParaRPr>
          </a:p>
        </p:txBody>
      </p:sp>
      <p:sp>
        <p:nvSpPr>
          <p:cNvPr id="19" name="Textframe 12"/>
          <p:cNvSpPr txBox="1"/>
          <p:nvPr/>
        </p:nvSpPr>
        <p:spPr>
          <a:xfrm>
            <a:off x="1025978" y="1666567"/>
            <a:ext cx="7306801" cy="373949"/>
          </a:xfrm>
          <a:prstGeom prst="rect">
            <a:avLst/>
          </a:prstGeom>
          <a:noFill/>
          <a:ln w="9525">
            <a:noFill/>
          </a:ln>
        </p:spPr>
        <p:txBody>
          <a:bodyPr vert="horz" wrap="square" lIns="0" tIns="0" rIns="0" bIns="0" rtlCol="0">
            <a:spAutoFit/>
          </a:bodyPr>
          <a:lstStyle/>
          <a:p>
            <a:pPr fontAlgn="base">
              <a:lnSpc>
                <a:spcPct val="90000"/>
              </a:lnSpc>
              <a:spcBef>
                <a:spcPts val="341"/>
              </a:spcBef>
              <a:spcAft>
                <a:spcPct val="0"/>
              </a:spcAft>
              <a:buSzPct val="100000"/>
            </a:pPr>
            <a:r>
              <a:rPr lang="th-TH" sz="2700" b="1" dirty="0">
                <a:solidFill>
                  <a:srgbClr val="003F56"/>
                </a:solidFill>
                <a:latin typeface="TH SarabunPSK" pitchFamily="34" charset="-34"/>
                <a:cs typeface="TH SarabunPSK" pitchFamily="34" charset="-34"/>
              </a:rPr>
              <a:t>การ</a:t>
            </a:r>
            <a:r>
              <a:rPr lang="th-TH" sz="2700" b="1" dirty="0" smtClean="0">
                <a:solidFill>
                  <a:srgbClr val="003F56"/>
                </a:solidFill>
                <a:latin typeface="TH SarabunPSK" pitchFamily="34" charset="-34"/>
                <a:cs typeface="TH SarabunPSK" pitchFamily="34" charset="-34"/>
              </a:rPr>
              <a:t>พัฒนาระบบโลจิ</a:t>
            </a:r>
            <a:r>
              <a:rPr lang="th-TH" sz="2700" b="1" dirty="0">
                <a:solidFill>
                  <a:srgbClr val="003F56"/>
                </a:solidFill>
                <a:latin typeface="TH SarabunPSK" pitchFamily="34" charset="-34"/>
                <a:cs typeface="TH SarabunPSK" pitchFamily="34" charset="-34"/>
              </a:rPr>
              <a:t>สติกส์และโครงสร้างพื้นฐาน</a:t>
            </a:r>
            <a:endParaRPr lang="en-US" sz="2700" b="1" dirty="0">
              <a:solidFill>
                <a:srgbClr val="003F56"/>
              </a:solidFill>
              <a:latin typeface="TH SarabunPSK" pitchFamily="34" charset="-34"/>
              <a:cs typeface="TH SarabunPSK" pitchFamily="34" charset="-34"/>
            </a:endParaRPr>
          </a:p>
        </p:txBody>
      </p:sp>
      <p:sp>
        <p:nvSpPr>
          <p:cNvPr id="20" name="RbNavigator"/>
          <p:cNvSpPr txBox="1"/>
          <p:nvPr/>
        </p:nvSpPr>
        <p:spPr>
          <a:xfrm>
            <a:off x="619701" y="3779992"/>
            <a:ext cx="341056" cy="542498"/>
          </a:xfrm>
          <a:prstGeom prst="rect">
            <a:avLst/>
          </a:prstGeom>
          <a:solidFill>
            <a:schemeClr val="accent3"/>
          </a:solidFill>
          <a:ln w="9525">
            <a:noFill/>
          </a:ln>
        </p:spPr>
        <p:txBody>
          <a:bodyPr vert="horz" wrap="none" lIns="0" tIns="0" rIns="0" bIns="0" rtlCol="0" anchor="ctr">
            <a:noAutofit/>
          </a:bodyPr>
          <a:lstStyle/>
          <a:p>
            <a:pPr algn="ctr" fontAlgn="base">
              <a:lnSpc>
                <a:spcPct val="90000"/>
              </a:lnSpc>
              <a:spcBef>
                <a:spcPts val="341"/>
              </a:spcBef>
              <a:spcAft>
                <a:spcPct val="0"/>
              </a:spcAft>
              <a:buClr>
                <a:srgbClr val="000000"/>
              </a:buClr>
              <a:buSzPct val="100000"/>
            </a:pPr>
            <a:r>
              <a:rPr kumimoji="1" lang="th-TH" sz="2100" b="1" dirty="0">
                <a:solidFill>
                  <a:srgbClr val="FFFFFF"/>
                </a:solidFill>
                <a:cs typeface="Arial Narrow" pitchFamily="34" charset="0"/>
              </a:rPr>
              <a:t>5</a:t>
            </a:r>
            <a:endParaRPr kumimoji="1" lang="en-US" sz="2100" b="1" dirty="0">
              <a:solidFill>
                <a:srgbClr val="FFFFFF"/>
              </a:solidFill>
              <a:cs typeface="Arial Narrow" pitchFamily="34" charset="0"/>
            </a:endParaRPr>
          </a:p>
        </p:txBody>
      </p:sp>
      <p:sp>
        <p:nvSpPr>
          <p:cNvPr id="24" name="Rectangle 23"/>
          <p:cNvSpPr/>
          <p:nvPr/>
        </p:nvSpPr>
        <p:spPr>
          <a:xfrm>
            <a:off x="619702" y="904858"/>
            <a:ext cx="7861110" cy="542498"/>
          </a:xfrm>
          <a:prstGeom prst="rect">
            <a:avLst/>
          </a:prstGeom>
          <a:solidFill>
            <a:schemeClr val="accent4"/>
          </a:solidFill>
          <a:ln w="9525">
            <a:noFill/>
          </a:ln>
          <a:effectLst/>
        </p:spPr>
        <p:style>
          <a:lnRef idx="1">
            <a:schemeClr val="accent1"/>
          </a:lnRef>
          <a:fillRef idx="0">
            <a:schemeClr val="accent1"/>
          </a:fillRef>
          <a:effectRef idx="0">
            <a:schemeClr val="accent1"/>
          </a:effectRef>
          <a:fontRef idx="minor">
            <a:schemeClr val="tx1"/>
          </a:fontRef>
        </p:style>
        <p:txBody>
          <a:bodyPr lIns="61358" tIns="61358" rIns="61358" bIns="92038" rtlCol="0" anchor="t" anchorCtr="0">
            <a:noAutofit/>
          </a:bodyPr>
          <a:lstStyle/>
          <a:p>
            <a:pPr fontAlgn="base">
              <a:lnSpc>
                <a:spcPct val="90000"/>
              </a:lnSpc>
              <a:spcBef>
                <a:spcPts val="341"/>
              </a:spcBef>
              <a:spcAft>
                <a:spcPct val="0"/>
              </a:spcAft>
            </a:pPr>
            <a:endParaRPr lang="en-US" sz="1300" dirty="0">
              <a:solidFill>
                <a:srgbClr val="000000"/>
              </a:solidFill>
            </a:endParaRPr>
          </a:p>
        </p:txBody>
      </p:sp>
      <p:sp>
        <p:nvSpPr>
          <p:cNvPr id="25" name="RbNavigator"/>
          <p:cNvSpPr txBox="1"/>
          <p:nvPr/>
        </p:nvSpPr>
        <p:spPr>
          <a:xfrm>
            <a:off x="619705" y="904858"/>
            <a:ext cx="341056" cy="542498"/>
          </a:xfrm>
          <a:prstGeom prst="rect">
            <a:avLst/>
          </a:prstGeom>
          <a:solidFill>
            <a:schemeClr val="accent3"/>
          </a:solidFill>
          <a:ln w="9525">
            <a:noFill/>
          </a:ln>
        </p:spPr>
        <p:txBody>
          <a:bodyPr vert="horz" wrap="none" lIns="0" tIns="0" rIns="0" bIns="0" rtlCol="0" anchor="ctr">
            <a:noAutofit/>
          </a:bodyPr>
          <a:lstStyle/>
          <a:p>
            <a:pPr algn="ctr" fontAlgn="base">
              <a:lnSpc>
                <a:spcPct val="90000"/>
              </a:lnSpc>
              <a:spcBef>
                <a:spcPts val="341"/>
              </a:spcBef>
              <a:spcAft>
                <a:spcPct val="0"/>
              </a:spcAft>
              <a:buClr>
                <a:srgbClr val="000000"/>
              </a:buClr>
              <a:buSzPct val="100000"/>
            </a:pPr>
            <a:r>
              <a:rPr kumimoji="1" lang="th-TH" sz="2100" b="1" dirty="0">
                <a:solidFill>
                  <a:srgbClr val="FFFFFF"/>
                </a:solidFill>
                <a:cs typeface="Arial Narrow" pitchFamily="34" charset="0"/>
              </a:rPr>
              <a:t>1</a:t>
            </a:r>
            <a:endParaRPr kumimoji="1" lang="en-US" sz="2100" b="1" dirty="0">
              <a:solidFill>
                <a:srgbClr val="FFFFFF"/>
              </a:solidFill>
              <a:cs typeface="Arial Narrow" pitchFamily="34" charset="0"/>
            </a:endParaRPr>
          </a:p>
        </p:txBody>
      </p:sp>
      <p:sp>
        <p:nvSpPr>
          <p:cNvPr id="26" name="Textframe 12"/>
          <p:cNvSpPr txBox="1"/>
          <p:nvPr/>
        </p:nvSpPr>
        <p:spPr>
          <a:xfrm>
            <a:off x="1078010" y="1009502"/>
            <a:ext cx="7306801" cy="373949"/>
          </a:xfrm>
          <a:prstGeom prst="rect">
            <a:avLst/>
          </a:prstGeom>
          <a:noFill/>
          <a:ln w="9525">
            <a:noFill/>
          </a:ln>
        </p:spPr>
        <p:txBody>
          <a:bodyPr vert="horz" wrap="square" lIns="0" tIns="0" rIns="0" bIns="0" rtlCol="0">
            <a:spAutoFit/>
          </a:bodyPr>
          <a:lstStyle/>
          <a:p>
            <a:pPr fontAlgn="base">
              <a:lnSpc>
                <a:spcPct val="90000"/>
              </a:lnSpc>
              <a:spcBef>
                <a:spcPts val="341"/>
              </a:spcBef>
              <a:spcAft>
                <a:spcPct val="0"/>
              </a:spcAft>
              <a:buSzPct val="100000"/>
            </a:pPr>
            <a:r>
              <a:rPr lang="th-TH" sz="2700" b="1" dirty="0">
                <a:solidFill>
                  <a:srgbClr val="003F56"/>
                </a:solidFill>
                <a:latin typeface="TH SarabunPSK" pitchFamily="34" charset="-34"/>
                <a:cs typeface="TH SarabunPSK" pitchFamily="34" charset="-34"/>
              </a:rPr>
              <a:t>ทิศทางและเป้าหมายการพัฒนาประเทศ </a:t>
            </a:r>
            <a:endParaRPr lang="en-US" sz="2700" b="1" dirty="0">
              <a:solidFill>
                <a:srgbClr val="003F56"/>
              </a:solidFill>
              <a:latin typeface="TH SarabunPSK" pitchFamily="34" charset="-34"/>
              <a:cs typeface="TH SarabunPSK" pitchFamily="34" charset="-34"/>
            </a:endParaRPr>
          </a:p>
        </p:txBody>
      </p:sp>
      <p:sp>
        <p:nvSpPr>
          <p:cNvPr id="21" name="Textframe 12"/>
          <p:cNvSpPr txBox="1"/>
          <p:nvPr/>
        </p:nvSpPr>
        <p:spPr>
          <a:xfrm>
            <a:off x="1042952" y="3864269"/>
            <a:ext cx="7306801" cy="373949"/>
          </a:xfrm>
          <a:prstGeom prst="rect">
            <a:avLst/>
          </a:prstGeom>
          <a:noFill/>
          <a:ln w="9525">
            <a:noFill/>
          </a:ln>
        </p:spPr>
        <p:txBody>
          <a:bodyPr vert="horz" wrap="square" lIns="0" tIns="0" rIns="0" bIns="0" rtlCol="0">
            <a:spAutoFit/>
          </a:bodyPr>
          <a:lstStyle/>
          <a:p>
            <a:pPr fontAlgn="base">
              <a:lnSpc>
                <a:spcPct val="90000"/>
              </a:lnSpc>
              <a:spcBef>
                <a:spcPts val="341"/>
              </a:spcBef>
              <a:spcAft>
                <a:spcPct val="0"/>
              </a:spcAft>
              <a:buSzPct val="100000"/>
            </a:pPr>
            <a:r>
              <a:rPr lang="th-TH" sz="2700" b="1" dirty="0">
                <a:solidFill>
                  <a:srgbClr val="003F56"/>
                </a:solidFill>
                <a:latin typeface="TH SarabunPSK" pitchFamily="34" charset="-34"/>
                <a:cs typeface="TH SarabunPSK" pitchFamily="34" charset="-34"/>
              </a:rPr>
              <a:t>กา</a:t>
            </a:r>
            <a:r>
              <a:rPr lang="th-TH" sz="2700" b="1" dirty="0" smtClean="0">
                <a:solidFill>
                  <a:srgbClr val="003F56"/>
                </a:solidFill>
                <a:latin typeface="TH SarabunPSK" pitchFamily="34" charset="-34"/>
                <a:cs typeface="TH SarabunPSK" pitchFamily="34" charset="-34"/>
              </a:rPr>
              <a:t>รสนับสนุนการพัฒนาเขตเศรษฐกิจพิเศษทวาย</a:t>
            </a:r>
            <a:endParaRPr lang="en-US" sz="2700" b="1" dirty="0">
              <a:solidFill>
                <a:srgbClr val="003F56"/>
              </a:solidFill>
              <a:latin typeface="TH SarabunPSK" pitchFamily="34" charset="-34"/>
              <a:cs typeface="TH SarabunPSK" pitchFamily="34" charset="-34"/>
            </a:endParaRPr>
          </a:p>
        </p:txBody>
      </p:sp>
    </p:spTree>
    <p:extLst>
      <p:ext uri="{BB962C8B-B14F-4D97-AF65-F5344CB8AC3E}">
        <p14:creationId xmlns:p14="http://schemas.microsoft.com/office/powerpoint/2010/main" xmlns="" val="852202438"/>
      </p:ext>
    </p:extLst>
  </p:cSld>
  <p:clrMapOvr>
    <a:masterClrMapping/>
  </p:clrMapOvr>
  <p:transition spd="med">
    <p:fade thruBlk="1"/>
  </p:transition>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4" descr="thailand.jpg"/>
          <p:cNvPicPr>
            <a:picLocks noChangeAspect="1" noChangeArrowheads="1"/>
          </p:cNvPicPr>
          <p:nvPr/>
        </p:nvPicPr>
        <p:blipFill>
          <a:blip r:embed="rId2" cstate="print"/>
          <a:srcRect l="1447" t="938"/>
          <a:stretch>
            <a:fillRect/>
          </a:stretch>
        </p:blipFill>
        <p:spPr bwMode="auto">
          <a:xfrm>
            <a:off x="-1" y="404463"/>
            <a:ext cx="3000830" cy="4281837"/>
          </a:xfrm>
          <a:prstGeom prst="rect">
            <a:avLst/>
          </a:prstGeom>
          <a:ln>
            <a:noFill/>
          </a:ln>
          <a:effectLst/>
        </p:spPr>
      </p:pic>
      <p:sp>
        <p:nvSpPr>
          <p:cNvPr id="6" name="TextBox 5"/>
          <p:cNvSpPr txBox="1"/>
          <p:nvPr/>
        </p:nvSpPr>
        <p:spPr>
          <a:xfrm>
            <a:off x="152400" y="-48096"/>
            <a:ext cx="8839200" cy="481094"/>
          </a:xfrm>
          <a:prstGeom prst="rect">
            <a:avLst/>
          </a:prstGeom>
          <a:noFill/>
        </p:spPr>
        <p:txBody>
          <a:bodyPr wrap="square" rtlCol="0">
            <a:spAutoFit/>
          </a:bodyPr>
          <a:lstStyle/>
          <a:p>
            <a:pPr eaLnBrk="0" hangingPunct="0">
              <a:lnSpc>
                <a:spcPct val="90000"/>
              </a:lnSpc>
              <a:defRPr/>
            </a:pPr>
            <a:r>
              <a:rPr lang="th-TH" b="1" dirty="0" smtClean="0">
                <a:solidFill>
                  <a:srgbClr val="558ED5"/>
                </a:solidFill>
                <a:latin typeface="Century Gothic" pitchFamily="34" charset="0"/>
                <a:ea typeface="+mj-ea"/>
                <a:cs typeface="TH SarabunPSK" pitchFamily="34" charset="-34"/>
              </a:rPr>
              <a:t>ภาพรวมการเชื่อมโยงทางกายภาพกับอาเซียน</a:t>
            </a:r>
            <a:endParaRPr lang="th-TH" b="1" dirty="0">
              <a:solidFill>
                <a:srgbClr val="558ED5"/>
              </a:solidFill>
              <a:latin typeface="Century Gothic" pitchFamily="34" charset="0"/>
              <a:ea typeface="+mj-ea"/>
              <a:cs typeface="TH SarabunPSK" pitchFamily="34" charset="-34"/>
            </a:endParaRPr>
          </a:p>
        </p:txBody>
      </p:sp>
      <p:cxnSp>
        <p:nvCxnSpPr>
          <p:cNvPr id="7" name="Straight Connector 6"/>
          <p:cNvCxnSpPr/>
          <p:nvPr/>
        </p:nvCxnSpPr>
        <p:spPr>
          <a:xfrm>
            <a:off x="0" y="342900"/>
            <a:ext cx="9144000" cy="0"/>
          </a:xfrm>
          <a:prstGeom prst="line">
            <a:avLst/>
          </a:prstGeom>
          <a:ln w="19050">
            <a:solidFill>
              <a:schemeClr val="tx2">
                <a:lumMod val="40000"/>
                <a:lumOff val="60000"/>
              </a:schemeClr>
            </a:solidFill>
          </a:ln>
          <a:effectLst>
            <a:outerShdw blurRad="50800" dist="38100" dir="2700000" algn="tl" rotWithShape="0">
              <a:schemeClr val="accent1">
                <a:lumMod val="60000"/>
                <a:lumOff val="40000"/>
                <a:alpha val="40000"/>
              </a:schemeClr>
            </a:outerShdw>
          </a:effectLst>
        </p:spPr>
        <p:style>
          <a:lnRef idx="1">
            <a:schemeClr val="accent1"/>
          </a:lnRef>
          <a:fillRef idx="0">
            <a:schemeClr val="accent1"/>
          </a:fillRef>
          <a:effectRef idx="0">
            <a:schemeClr val="accent1"/>
          </a:effectRef>
          <a:fontRef idx="minor">
            <a:schemeClr val="tx1"/>
          </a:fontRef>
        </p:style>
      </p:cxnSp>
      <p:sp>
        <p:nvSpPr>
          <p:cNvPr id="8" name="TextBox 7"/>
          <p:cNvSpPr txBox="1"/>
          <p:nvPr/>
        </p:nvSpPr>
        <p:spPr>
          <a:xfrm>
            <a:off x="381001" y="4514850"/>
            <a:ext cx="1964545" cy="523220"/>
          </a:xfrm>
          <a:prstGeom prst="rect">
            <a:avLst/>
          </a:prstGeom>
          <a:noFill/>
        </p:spPr>
        <p:txBody>
          <a:bodyPr wrap="square" rtlCol="0">
            <a:spAutoFit/>
          </a:bodyPr>
          <a:lstStyle/>
          <a:p>
            <a:pPr lvl="0" algn="ctr"/>
            <a:r>
              <a:rPr lang="th-TH" b="1" dirty="0" smtClean="0">
                <a:solidFill>
                  <a:srgbClr val="C00000"/>
                </a:solidFill>
                <a:latin typeface="Century Gothic" pitchFamily="34" charset="0"/>
                <a:cs typeface="TH SarabunPSK" pitchFamily="34" charset="-34"/>
              </a:rPr>
              <a:t>โครงข่ายทางถนน</a:t>
            </a:r>
            <a:endParaRPr lang="en-US" b="1" dirty="0" smtClean="0">
              <a:solidFill>
                <a:srgbClr val="C00000"/>
              </a:solidFill>
              <a:latin typeface="Century Gothic" pitchFamily="34" charset="0"/>
              <a:cs typeface="TH SarabunPSK" pitchFamily="34" charset="-34"/>
            </a:endParaRPr>
          </a:p>
        </p:txBody>
      </p:sp>
      <p:pic>
        <p:nvPicPr>
          <p:cNvPr id="10" name="Picture 9" descr="ASEANRO-RO.png"/>
          <p:cNvPicPr>
            <a:picLocks noChangeAspect="1"/>
          </p:cNvPicPr>
          <p:nvPr/>
        </p:nvPicPr>
        <p:blipFill rotWithShape="1">
          <a:blip r:embed="rId3" cstate="print"/>
          <a:srcRect r="41901"/>
          <a:stretch/>
        </p:blipFill>
        <p:spPr>
          <a:xfrm>
            <a:off x="5791200" y="443892"/>
            <a:ext cx="3317058" cy="2301563"/>
          </a:xfrm>
          <a:prstGeom prst="rect">
            <a:avLst/>
          </a:prstGeom>
          <a:ln>
            <a:noFill/>
          </a:ln>
          <a:effectLst/>
        </p:spPr>
      </p:pic>
      <p:pic>
        <p:nvPicPr>
          <p:cNvPr id="5" name="Picture 8" descr="http://www.oknation.net/blog/home/blog_data/326/2326/images/mekongtrain/train001.JPG"/>
          <p:cNvPicPr>
            <a:picLocks noChangeAspect="1" noChangeArrowheads="1"/>
          </p:cNvPicPr>
          <p:nvPr/>
        </p:nvPicPr>
        <p:blipFill rotWithShape="1">
          <a:blip r:embed="rId4" cstate="print"/>
          <a:srcRect r="50000"/>
          <a:stretch/>
        </p:blipFill>
        <p:spPr bwMode="auto">
          <a:xfrm>
            <a:off x="2895600" y="400050"/>
            <a:ext cx="3048000" cy="4229100"/>
          </a:xfrm>
          <a:prstGeom prst="rect">
            <a:avLst/>
          </a:prstGeom>
          <a:ln>
            <a:noFill/>
          </a:ln>
          <a:effectLst/>
        </p:spPr>
      </p:pic>
      <p:sp>
        <p:nvSpPr>
          <p:cNvPr id="11" name="TextBox 10"/>
          <p:cNvSpPr txBox="1"/>
          <p:nvPr/>
        </p:nvSpPr>
        <p:spPr>
          <a:xfrm>
            <a:off x="6025778" y="2572331"/>
            <a:ext cx="2557073" cy="461665"/>
          </a:xfrm>
          <a:prstGeom prst="rect">
            <a:avLst/>
          </a:prstGeom>
          <a:noFill/>
        </p:spPr>
        <p:txBody>
          <a:bodyPr wrap="square" rtlCol="0">
            <a:spAutoFit/>
          </a:bodyPr>
          <a:lstStyle/>
          <a:p>
            <a:pPr lvl="0" algn="ctr"/>
            <a:r>
              <a:rPr lang="th-TH" sz="2400" b="1" dirty="0" smtClean="0">
                <a:solidFill>
                  <a:srgbClr val="C00000"/>
                </a:solidFill>
                <a:latin typeface="Century Gothic" pitchFamily="34" charset="0"/>
                <a:cs typeface="TH SarabunPSK" pitchFamily="34" charset="-34"/>
              </a:rPr>
              <a:t>เส้นทางน้ำและท่าเรือ</a:t>
            </a:r>
            <a:endParaRPr lang="en-US" sz="2400" b="1" dirty="0" smtClean="0">
              <a:solidFill>
                <a:srgbClr val="C00000"/>
              </a:solidFill>
              <a:latin typeface="Century Gothic" pitchFamily="34" charset="0"/>
              <a:cs typeface="TH SarabunPSK" pitchFamily="34" charset="-34"/>
            </a:endParaRPr>
          </a:p>
        </p:txBody>
      </p:sp>
      <p:pic>
        <p:nvPicPr>
          <p:cNvPr id="12" name="Picture 2"/>
          <p:cNvPicPr>
            <a:picLocks noChangeAspect="1" noChangeArrowheads="1"/>
          </p:cNvPicPr>
          <p:nvPr/>
        </p:nvPicPr>
        <p:blipFill>
          <a:blip r:embed="rId5" cstate="print"/>
          <a:srcRect/>
          <a:stretch>
            <a:fillRect/>
          </a:stretch>
        </p:blipFill>
        <p:spPr bwMode="auto">
          <a:xfrm>
            <a:off x="5791200" y="2978590"/>
            <a:ext cx="3352800" cy="1675053"/>
          </a:xfrm>
          <a:prstGeom prst="rect">
            <a:avLst/>
          </a:prstGeom>
          <a:ln>
            <a:noFill/>
          </a:ln>
          <a:effectLst/>
        </p:spPr>
      </p:pic>
      <p:sp>
        <p:nvSpPr>
          <p:cNvPr id="13" name="Rectangle 12"/>
          <p:cNvSpPr/>
          <p:nvPr/>
        </p:nvSpPr>
        <p:spPr>
          <a:xfrm>
            <a:off x="6551451" y="4578963"/>
            <a:ext cx="1383712" cy="461665"/>
          </a:xfrm>
          <a:prstGeom prst="rect">
            <a:avLst/>
          </a:prstGeom>
        </p:spPr>
        <p:txBody>
          <a:bodyPr wrap="none">
            <a:spAutoFit/>
          </a:bodyPr>
          <a:lstStyle/>
          <a:p>
            <a:pPr lvl="0" algn="ctr"/>
            <a:r>
              <a:rPr lang="th-TH" sz="2400" b="1" dirty="0" smtClean="0">
                <a:solidFill>
                  <a:srgbClr val="C00000"/>
                </a:solidFill>
                <a:latin typeface="Century Gothic" pitchFamily="34" charset="0"/>
                <a:cs typeface="TH SarabunPSK" pitchFamily="34" charset="-34"/>
              </a:rPr>
              <a:t>โครงการทวาย</a:t>
            </a:r>
            <a:endParaRPr lang="en-US" sz="2400" b="1" dirty="0">
              <a:solidFill>
                <a:srgbClr val="C00000"/>
              </a:solidFill>
              <a:latin typeface="Century Gothic" pitchFamily="34" charset="0"/>
              <a:cs typeface="TH SarabunPSK" pitchFamily="34" charset="-34"/>
            </a:endParaRPr>
          </a:p>
        </p:txBody>
      </p:sp>
      <p:sp>
        <p:nvSpPr>
          <p:cNvPr id="15" name="TextBox 14"/>
          <p:cNvSpPr txBox="1"/>
          <p:nvPr/>
        </p:nvSpPr>
        <p:spPr>
          <a:xfrm>
            <a:off x="3217056" y="4579635"/>
            <a:ext cx="1964545" cy="523220"/>
          </a:xfrm>
          <a:prstGeom prst="rect">
            <a:avLst/>
          </a:prstGeom>
          <a:noFill/>
        </p:spPr>
        <p:txBody>
          <a:bodyPr wrap="square" rtlCol="0">
            <a:spAutoFit/>
          </a:bodyPr>
          <a:lstStyle/>
          <a:p>
            <a:pPr lvl="0" algn="ctr"/>
            <a:r>
              <a:rPr lang="th-TH" b="1" dirty="0" smtClean="0">
                <a:solidFill>
                  <a:srgbClr val="C00000"/>
                </a:solidFill>
                <a:latin typeface="Century Gothic" pitchFamily="34" charset="0"/>
                <a:cs typeface="TH SarabunPSK" pitchFamily="34" charset="-34"/>
              </a:rPr>
              <a:t>โครงข่ายระบบราง</a:t>
            </a:r>
            <a:endParaRPr lang="en-US" b="1" dirty="0" smtClean="0">
              <a:solidFill>
                <a:srgbClr val="C00000"/>
              </a:solidFill>
              <a:latin typeface="Century Gothic" pitchFamily="34" charset="0"/>
              <a:cs typeface="TH SarabunPSK" pitchFamily="34" charset="-34"/>
            </a:endParaRPr>
          </a:p>
        </p:txBody>
      </p:sp>
    </p:spTree>
    <p:extLst>
      <p:ext uri="{BB962C8B-B14F-4D97-AF65-F5344CB8AC3E}">
        <p14:creationId xmlns:p14="http://schemas.microsoft.com/office/powerpoint/2010/main" xmlns="" val="2494594750"/>
      </p:ext>
    </p:extLst>
  </p:cSld>
  <p:clrMapOvr>
    <a:masterClrMapping/>
  </p:clrMapOvr>
  <p:transition/>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Rectangle 25"/>
          <p:cNvSpPr>
            <a:spLocks noChangeArrowheads="1"/>
          </p:cNvSpPr>
          <p:nvPr/>
        </p:nvSpPr>
        <p:spPr bwMode="auto">
          <a:xfrm>
            <a:off x="214282" y="74611"/>
            <a:ext cx="9144000" cy="425437"/>
          </a:xfrm>
          <a:prstGeom prst="rect">
            <a:avLst/>
          </a:prstGeom>
        </p:spPr>
        <p:txBody>
          <a:bodyPr>
            <a:spAutoFit/>
          </a:bodyPr>
          <a:lstStyle/>
          <a:p>
            <a:pPr marL="1431925" indent="-1431925">
              <a:lnSpc>
                <a:spcPts val="2300"/>
              </a:lnSpc>
              <a:defRPr/>
            </a:pPr>
            <a:r>
              <a:rPr lang="th-TH" sz="3200" b="1" kern="0" dirty="0">
                <a:solidFill>
                  <a:srgbClr val="4F81BD"/>
                </a:solidFill>
                <a:effectLst>
                  <a:outerShdw blurRad="38100" dist="38100" dir="2700000" algn="tl">
                    <a:srgbClr val="000000">
                      <a:alpha val="43137"/>
                    </a:srgbClr>
                  </a:outerShdw>
                </a:effectLst>
                <a:latin typeface="TH SarabunPSK" pitchFamily="34" charset="-34"/>
                <a:cs typeface="TH SarabunPSK" pitchFamily="34" charset="-34"/>
              </a:rPr>
              <a:t>ภาพรวมความร่วมมือในภูมิภาคและอนุภูมิภาค</a:t>
            </a:r>
            <a:r>
              <a:rPr lang="en-US" sz="3200" b="1" kern="0" dirty="0">
                <a:solidFill>
                  <a:srgbClr val="4F81BD"/>
                </a:solidFill>
                <a:effectLst>
                  <a:outerShdw blurRad="38100" dist="38100" dir="2700000" algn="tl">
                    <a:srgbClr val="000000">
                      <a:alpha val="43137"/>
                    </a:srgbClr>
                  </a:outerShdw>
                </a:effectLst>
                <a:latin typeface="TH SarabunPSK" pitchFamily="34" charset="-34"/>
                <a:cs typeface="TH SarabunPSK" pitchFamily="34" charset="-34"/>
              </a:rPr>
              <a:t> </a:t>
            </a:r>
            <a:endParaRPr lang="th-TH" sz="3200" b="1" kern="0" dirty="0">
              <a:solidFill>
                <a:srgbClr val="4F81BD"/>
              </a:solidFill>
              <a:effectLst>
                <a:outerShdw blurRad="38100" dist="38100" dir="2700000" algn="tl">
                  <a:srgbClr val="000000">
                    <a:alpha val="43137"/>
                  </a:srgbClr>
                </a:outerShdw>
              </a:effectLst>
              <a:latin typeface="TH SarabunPSK" pitchFamily="34" charset="-34"/>
              <a:cs typeface="TH SarabunPSK" pitchFamily="34" charset="-34"/>
            </a:endParaRPr>
          </a:p>
        </p:txBody>
      </p:sp>
      <p:pic>
        <p:nvPicPr>
          <p:cNvPr id="5123" name="Picture 8" descr="AsiaMap_en.jpg"/>
          <p:cNvPicPr>
            <a:picLocks noChangeAspect="1"/>
          </p:cNvPicPr>
          <p:nvPr/>
        </p:nvPicPr>
        <p:blipFill>
          <a:blip r:embed="rId2">
            <a:extLst>
              <a:ext uri="{28A0092B-C50C-407E-A947-70E740481C1C}">
                <a14:useLocalDpi xmlns:a14="http://schemas.microsoft.com/office/drawing/2010/main" xmlns="" val="0"/>
              </a:ext>
            </a:extLst>
          </a:blip>
          <a:srcRect/>
          <a:stretch>
            <a:fillRect/>
          </a:stretch>
        </p:blipFill>
        <p:spPr bwMode="auto">
          <a:xfrm>
            <a:off x="0" y="572692"/>
            <a:ext cx="9144000" cy="441245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28" name="Oval 27"/>
          <p:cNvSpPr/>
          <p:nvPr/>
        </p:nvSpPr>
        <p:spPr>
          <a:xfrm>
            <a:off x="2195513" y="2196704"/>
            <a:ext cx="3143250" cy="2303859"/>
          </a:xfrm>
          <a:prstGeom prst="ellipse">
            <a:avLst/>
          </a:prstGeom>
          <a:noFill/>
          <a:ln w="571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400">
              <a:solidFill>
                <a:prstClr val="white"/>
              </a:solidFill>
            </a:endParaRPr>
          </a:p>
        </p:txBody>
      </p:sp>
      <p:sp>
        <p:nvSpPr>
          <p:cNvPr id="29" name="Oval 28"/>
          <p:cNvSpPr/>
          <p:nvPr/>
        </p:nvSpPr>
        <p:spPr>
          <a:xfrm>
            <a:off x="5429251" y="3107531"/>
            <a:ext cx="347663" cy="328613"/>
          </a:xfrm>
          <a:prstGeom prst="ellipse">
            <a:avLst/>
          </a:prstGeom>
          <a:noFill/>
          <a:ln w="38100">
            <a:solidFill>
              <a:srgbClr val="00CC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400">
              <a:solidFill>
                <a:prstClr val="white"/>
              </a:solidFill>
              <a:latin typeface="Cordia New" pitchFamily="34" charset="-34"/>
              <a:cs typeface="Cordia New" pitchFamily="34" charset="-34"/>
            </a:endParaRPr>
          </a:p>
        </p:txBody>
      </p:sp>
      <p:sp>
        <p:nvSpPr>
          <p:cNvPr id="30" name="Oval 29"/>
          <p:cNvSpPr/>
          <p:nvPr/>
        </p:nvSpPr>
        <p:spPr>
          <a:xfrm>
            <a:off x="214314" y="642938"/>
            <a:ext cx="357187" cy="321469"/>
          </a:xfrm>
          <a:prstGeom prst="ellipse">
            <a:avLst/>
          </a:prstGeom>
          <a:noFill/>
          <a:ln w="38100"/>
        </p:spPr>
        <p:style>
          <a:lnRef idx="2">
            <a:schemeClr val="accent5"/>
          </a:lnRef>
          <a:fillRef idx="1">
            <a:schemeClr val="lt1"/>
          </a:fillRef>
          <a:effectRef idx="0">
            <a:schemeClr val="accent5"/>
          </a:effectRef>
          <a:fontRef idx="minor">
            <a:schemeClr val="dk1"/>
          </a:fontRef>
        </p:style>
        <p:txBody>
          <a:bodyPr anchor="ctr"/>
          <a:lstStyle/>
          <a:p>
            <a:pPr algn="ctr">
              <a:defRPr/>
            </a:pPr>
            <a:endParaRPr lang="en-US" sz="1400">
              <a:solidFill>
                <a:prstClr val="black"/>
              </a:solidFill>
              <a:latin typeface="Cordia New" pitchFamily="34" charset="-34"/>
              <a:cs typeface="Cordia New" pitchFamily="34" charset="-34"/>
            </a:endParaRPr>
          </a:p>
        </p:txBody>
      </p:sp>
      <p:sp>
        <p:nvSpPr>
          <p:cNvPr id="31" name="Oval 30"/>
          <p:cNvSpPr/>
          <p:nvPr/>
        </p:nvSpPr>
        <p:spPr>
          <a:xfrm>
            <a:off x="5357814" y="653654"/>
            <a:ext cx="357187" cy="321469"/>
          </a:xfrm>
          <a:prstGeom prst="ellipse">
            <a:avLst/>
          </a:prstGeom>
          <a:noFill/>
          <a:ln w="38100">
            <a:solidFill>
              <a:srgbClr val="C00000"/>
            </a:solidFill>
          </a:ln>
        </p:spPr>
        <p:style>
          <a:lnRef idx="2">
            <a:schemeClr val="accent5"/>
          </a:lnRef>
          <a:fillRef idx="1">
            <a:schemeClr val="lt1"/>
          </a:fillRef>
          <a:effectRef idx="0">
            <a:schemeClr val="accent5"/>
          </a:effectRef>
          <a:fontRef idx="minor">
            <a:schemeClr val="dk1"/>
          </a:fontRef>
        </p:style>
        <p:txBody>
          <a:bodyPr anchor="ctr"/>
          <a:lstStyle/>
          <a:p>
            <a:pPr algn="ctr">
              <a:defRPr/>
            </a:pPr>
            <a:endParaRPr lang="en-US" sz="1400">
              <a:solidFill>
                <a:prstClr val="black"/>
              </a:solidFill>
              <a:latin typeface="Cordia New" pitchFamily="34" charset="-34"/>
              <a:cs typeface="Cordia New" pitchFamily="34" charset="-34"/>
            </a:endParaRPr>
          </a:p>
        </p:txBody>
      </p:sp>
      <p:sp>
        <p:nvSpPr>
          <p:cNvPr id="32" name="Oval 31"/>
          <p:cNvSpPr/>
          <p:nvPr/>
        </p:nvSpPr>
        <p:spPr>
          <a:xfrm>
            <a:off x="5357814" y="2250282"/>
            <a:ext cx="357187" cy="321469"/>
          </a:xfrm>
          <a:prstGeom prst="ellipse">
            <a:avLst/>
          </a:prstGeom>
          <a:noFill/>
          <a:ln w="38100">
            <a:solidFill>
              <a:srgbClr val="FFC000"/>
            </a:solidFill>
          </a:ln>
        </p:spPr>
        <p:style>
          <a:lnRef idx="2">
            <a:schemeClr val="accent5"/>
          </a:lnRef>
          <a:fillRef idx="1">
            <a:schemeClr val="lt1"/>
          </a:fillRef>
          <a:effectRef idx="0">
            <a:schemeClr val="accent5"/>
          </a:effectRef>
          <a:fontRef idx="minor">
            <a:schemeClr val="dk1"/>
          </a:fontRef>
        </p:style>
        <p:txBody>
          <a:bodyPr anchor="ctr"/>
          <a:lstStyle/>
          <a:p>
            <a:pPr algn="ctr">
              <a:defRPr/>
            </a:pPr>
            <a:endParaRPr lang="en-US" sz="1400">
              <a:solidFill>
                <a:prstClr val="black"/>
              </a:solidFill>
            </a:endParaRPr>
          </a:p>
        </p:txBody>
      </p:sp>
      <p:grpSp>
        <p:nvGrpSpPr>
          <p:cNvPr id="2" name="Group 20"/>
          <p:cNvGrpSpPr>
            <a:grpSpLocks/>
          </p:cNvGrpSpPr>
          <p:nvPr/>
        </p:nvGrpSpPr>
        <p:grpSpPr bwMode="auto">
          <a:xfrm>
            <a:off x="741364" y="2718198"/>
            <a:ext cx="2986087" cy="1377553"/>
            <a:chOff x="740621" y="3624603"/>
            <a:chExt cx="2986829" cy="1837029"/>
          </a:xfrm>
        </p:grpSpPr>
        <p:sp>
          <p:nvSpPr>
            <p:cNvPr id="34" name="Isosceles Triangle 33"/>
            <p:cNvSpPr/>
            <p:nvPr/>
          </p:nvSpPr>
          <p:spPr>
            <a:xfrm rot="20221408">
              <a:off x="2339630" y="4577254"/>
              <a:ext cx="1087708" cy="884378"/>
            </a:xfrm>
            <a:prstGeom prst="triangle">
              <a:avLst/>
            </a:prstGeom>
            <a:noFill/>
            <a:ln w="57150">
              <a:solidFill>
                <a:srgbClr val="CC33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400">
                <a:solidFill>
                  <a:prstClr val="white"/>
                </a:solidFill>
              </a:endParaRPr>
            </a:p>
          </p:txBody>
        </p:sp>
        <p:sp>
          <p:nvSpPr>
            <p:cNvPr id="35" name="Oval 34"/>
            <p:cNvSpPr/>
            <p:nvPr/>
          </p:nvSpPr>
          <p:spPr>
            <a:xfrm rot="1413100">
              <a:off x="740621" y="3624603"/>
              <a:ext cx="2256398" cy="1109838"/>
            </a:xfrm>
            <a:prstGeom prst="ellipse">
              <a:avLst/>
            </a:prstGeom>
            <a:noFill/>
            <a:ln w="5715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400">
                <a:solidFill>
                  <a:prstClr val="white"/>
                </a:solidFill>
              </a:endParaRPr>
            </a:p>
          </p:txBody>
        </p:sp>
        <p:sp>
          <p:nvSpPr>
            <p:cNvPr id="36" name="Oval 35"/>
            <p:cNvSpPr/>
            <p:nvPr/>
          </p:nvSpPr>
          <p:spPr>
            <a:xfrm>
              <a:off x="2514299" y="3762737"/>
              <a:ext cx="857463" cy="1071733"/>
            </a:xfrm>
            <a:prstGeom prst="ellipse">
              <a:avLst/>
            </a:prstGeom>
            <a:noFill/>
            <a:ln w="57150"/>
          </p:spPr>
          <p:style>
            <a:lnRef idx="2">
              <a:schemeClr val="accent5"/>
            </a:lnRef>
            <a:fillRef idx="1">
              <a:schemeClr val="lt1"/>
            </a:fillRef>
            <a:effectRef idx="0">
              <a:schemeClr val="accent5"/>
            </a:effectRef>
            <a:fontRef idx="minor">
              <a:schemeClr val="dk1"/>
            </a:fontRef>
          </p:style>
          <p:txBody>
            <a:bodyPr anchor="ctr"/>
            <a:lstStyle/>
            <a:p>
              <a:pPr algn="ctr">
                <a:defRPr/>
              </a:pPr>
              <a:endParaRPr lang="en-US" sz="1400">
                <a:solidFill>
                  <a:prstClr val="black"/>
                </a:solidFill>
              </a:endParaRPr>
            </a:p>
          </p:txBody>
        </p:sp>
        <p:sp>
          <p:nvSpPr>
            <p:cNvPr id="37" name="Hexagon 36"/>
            <p:cNvSpPr/>
            <p:nvPr/>
          </p:nvSpPr>
          <p:spPr>
            <a:xfrm rot="19746221">
              <a:off x="2655622" y="4647116"/>
              <a:ext cx="1071828" cy="700198"/>
            </a:xfrm>
            <a:prstGeom prst="hexagon">
              <a:avLst/>
            </a:prstGeom>
            <a:noFill/>
            <a:ln w="57150">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400">
                <a:solidFill>
                  <a:prstClr val="white"/>
                </a:solidFill>
              </a:endParaRPr>
            </a:p>
          </p:txBody>
        </p:sp>
      </p:grpSp>
      <p:sp>
        <p:nvSpPr>
          <p:cNvPr id="38" name="Rectangle 37"/>
          <p:cNvSpPr/>
          <p:nvPr/>
        </p:nvSpPr>
        <p:spPr>
          <a:xfrm>
            <a:off x="5857876" y="4101703"/>
            <a:ext cx="2071688" cy="375047"/>
          </a:xfrm>
          <a:prstGeom prst="rect">
            <a:avLst/>
          </a:prstGeom>
          <a:solidFill>
            <a:schemeClr val="tx2">
              <a:lumMod val="20000"/>
              <a:lumOff val="80000"/>
            </a:schemeClr>
          </a:solidFill>
          <a:ln w="19050">
            <a:solidFill>
              <a:srgbClr val="7030A0"/>
            </a:solidFill>
          </a:ln>
        </p:spPr>
        <p:style>
          <a:lnRef idx="1">
            <a:schemeClr val="accent4"/>
          </a:lnRef>
          <a:fillRef idx="2">
            <a:schemeClr val="accent4"/>
          </a:fillRef>
          <a:effectRef idx="1">
            <a:schemeClr val="accent4"/>
          </a:effectRef>
          <a:fontRef idx="minor">
            <a:schemeClr val="dk1"/>
          </a:fontRef>
        </p:style>
        <p:txBody>
          <a:bodyPr anchor="ctr"/>
          <a:lstStyle/>
          <a:p>
            <a:pPr>
              <a:defRPr/>
            </a:pPr>
            <a:r>
              <a:rPr lang="en-US" sz="1400" b="1" dirty="0">
                <a:solidFill>
                  <a:srgbClr val="7030A0"/>
                </a:solidFill>
                <a:latin typeface="Tahoma" pitchFamily="34" charset="0"/>
                <a:cs typeface="Tahoma" pitchFamily="34" charset="0"/>
              </a:rPr>
              <a:t>BIMP-EAGA</a:t>
            </a:r>
          </a:p>
        </p:txBody>
      </p:sp>
      <p:sp>
        <p:nvSpPr>
          <p:cNvPr id="39" name="Oval 38"/>
          <p:cNvSpPr/>
          <p:nvPr/>
        </p:nvSpPr>
        <p:spPr>
          <a:xfrm>
            <a:off x="5357814" y="3857625"/>
            <a:ext cx="357187" cy="321469"/>
          </a:xfrm>
          <a:prstGeom prst="ellipse">
            <a:avLst/>
          </a:prstGeom>
          <a:noFill/>
          <a:ln w="38100">
            <a:solidFill>
              <a:srgbClr val="7030A0"/>
            </a:solidFill>
          </a:ln>
        </p:spPr>
        <p:style>
          <a:lnRef idx="2">
            <a:schemeClr val="accent5"/>
          </a:lnRef>
          <a:fillRef idx="1">
            <a:schemeClr val="lt1"/>
          </a:fillRef>
          <a:effectRef idx="0">
            <a:schemeClr val="accent5"/>
          </a:effectRef>
          <a:fontRef idx="minor">
            <a:schemeClr val="dk1"/>
          </a:fontRef>
        </p:style>
        <p:txBody>
          <a:bodyPr anchor="ctr"/>
          <a:lstStyle/>
          <a:p>
            <a:pPr algn="ctr">
              <a:defRPr/>
            </a:pPr>
            <a:endParaRPr lang="en-US" sz="1400">
              <a:solidFill>
                <a:prstClr val="black"/>
              </a:solidFill>
            </a:endParaRPr>
          </a:p>
        </p:txBody>
      </p:sp>
      <p:cxnSp>
        <p:nvCxnSpPr>
          <p:cNvPr id="40" name="Straight Connector 7"/>
          <p:cNvCxnSpPr>
            <a:cxnSpLocks noChangeShapeType="1"/>
          </p:cNvCxnSpPr>
          <p:nvPr/>
        </p:nvCxnSpPr>
        <p:spPr bwMode="auto">
          <a:xfrm flipV="1">
            <a:off x="0" y="451248"/>
            <a:ext cx="9144000" cy="10715"/>
          </a:xfrm>
          <a:prstGeom prst="line">
            <a:avLst/>
          </a:prstGeom>
          <a:noFill/>
          <a:ln w="28575" algn="ctr">
            <a:solidFill>
              <a:srgbClr val="0066CC"/>
            </a:solidFill>
            <a:round/>
            <a:headEnd/>
            <a:tailEnd/>
          </a:ln>
          <a:effectLst>
            <a:outerShdw blurRad="50800" dist="38100" dir="2700000" algn="tl" rotWithShape="0">
              <a:prstClr val="black">
                <a:alpha val="40000"/>
              </a:prstClr>
            </a:outerShdw>
          </a:effectLst>
        </p:spPr>
      </p:cxnSp>
      <p:sp>
        <p:nvSpPr>
          <p:cNvPr id="41" name="TextBox 40"/>
          <p:cNvSpPr txBox="1"/>
          <p:nvPr/>
        </p:nvSpPr>
        <p:spPr>
          <a:xfrm>
            <a:off x="5776913" y="635794"/>
            <a:ext cx="3224212" cy="1195199"/>
          </a:xfrm>
          <a:prstGeom prst="rect">
            <a:avLst/>
          </a:prstGeom>
          <a:solidFill>
            <a:schemeClr val="tx2">
              <a:lumMod val="20000"/>
              <a:lumOff val="80000"/>
            </a:schemeClr>
          </a:solidFill>
          <a:ln w="19050">
            <a:solidFill>
              <a:srgbClr val="FF0000"/>
            </a:solidFill>
          </a:ln>
        </p:spPr>
        <p:txBody>
          <a:bodyPr>
            <a:spAutoFit/>
          </a:bodyPr>
          <a:lstStyle/>
          <a:p>
            <a:pPr>
              <a:lnSpc>
                <a:spcPts val="1600"/>
              </a:lnSpc>
              <a:defRPr/>
            </a:pPr>
            <a:r>
              <a:rPr lang="en-US" sz="1400" b="1" dirty="0">
                <a:solidFill>
                  <a:srgbClr val="FF0000"/>
                </a:solidFill>
                <a:latin typeface="Tahoma" pitchFamily="34" charset="0"/>
                <a:cs typeface="Tahoma" pitchFamily="34" charset="0"/>
              </a:rPr>
              <a:t>IMT-GT </a:t>
            </a:r>
            <a:r>
              <a:rPr lang="en-US" sz="1100" b="1" dirty="0">
                <a:solidFill>
                  <a:prstClr val="black"/>
                </a:solidFill>
                <a:latin typeface="Tahoma" pitchFamily="34" charset="0"/>
                <a:cs typeface="Tahoma" pitchFamily="34" charset="0"/>
              </a:rPr>
              <a:t>Implementation Blueprint  2012-2016</a:t>
            </a:r>
          </a:p>
          <a:p>
            <a:pPr>
              <a:lnSpc>
                <a:spcPts val="1600"/>
              </a:lnSpc>
              <a:spcBef>
                <a:spcPts val="600"/>
              </a:spcBef>
              <a:defRPr/>
            </a:pPr>
            <a:r>
              <a:rPr lang="th-TH" sz="1400" b="1" dirty="0">
                <a:solidFill>
                  <a:prstClr val="black"/>
                </a:solidFill>
                <a:latin typeface="TH SarabunPSK" pitchFamily="34" charset="-34"/>
                <a:cs typeface="TH SarabunPSK" pitchFamily="34" charset="-34"/>
              </a:rPr>
              <a:t>การพัฒนาโครงสร้างพื้นฐานและการคมนาคมขนส่ง การค้าและการลงทุน เกษตร อุตสาหกรรม สิ่งแวดล้อมท่องเที่ยวพัฒนาทรัพยากรมนุษย์ผลิตภัณฑ์และบริการฮาลาล</a:t>
            </a:r>
            <a:endParaRPr lang="en-US" sz="1400" b="1" dirty="0">
              <a:solidFill>
                <a:prstClr val="black"/>
              </a:solidFill>
              <a:latin typeface="TH SarabunPSK" pitchFamily="34" charset="-34"/>
              <a:cs typeface="TH SarabunPSK" pitchFamily="34" charset="-34"/>
            </a:endParaRPr>
          </a:p>
        </p:txBody>
      </p:sp>
      <p:sp>
        <p:nvSpPr>
          <p:cNvPr id="42" name="TextBox 41"/>
          <p:cNvSpPr txBox="1"/>
          <p:nvPr/>
        </p:nvSpPr>
        <p:spPr>
          <a:xfrm>
            <a:off x="714375" y="654844"/>
            <a:ext cx="2357438" cy="924740"/>
          </a:xfrm>
          <a:prstGeom prst="rect">
            <a:avLst/>
          </a:prstGeom>
          <a:solidFill>
            <a:schemeClr val="tx2">
              <a:lumMod val="20000"/>
              <a:lumOff val="80000"/>
            </a:schemeClr>
          </a:solidFill>
          <a:ln w="19050">
            <a:solidFill>
              <a:srgbClr val="00B0F0"/>
            </a:solidFill>
          </a:ln>
        </p:spPr>
        <p:txBody>
          <a:bodyPr>
            <a:spAutoFit/>
          </a:bodyPr>
          <a:lstStyle/>
          <a:p>
            <a:pPr>
              <a:lnSpc>
                <a:spcPts val="1600"/>
              </a:lnSpc>
              <a:defRPr/>
            </a:pPr>
            <a:r>
              <a:rPr lang="en-US" sz="1400" b="1" dirty="0">
                <a:solidFill>
                  <a:srgbClr val="00B0F0"/>
                </a:solidFill>
                <a:latin typeface="Tahoma" pitchFamily="34" charset="0"/>
                <a:cs typeface="Tahoma" pitchFamily="34" charset="0"/>
              </a:rPr>
              <a:t>GMS – </a:t>
            </a:r>
            <a:r>
              <a:rPr lang="th-TH" sz="1600" b="1" dirty="0">
                <a:solidFill>
                  <a:srgbClr val="00B0F0"/>
                </a:solidFill>
                <a:latin typeface="TH SarabunPSK" pitchFamily="34" charset="-34"/>
                <a:cs typeface="TH SarabunPSK" pitchFamily="34" charset="-34"/>
              </a:rPr>
              <a:t>ร่วมพัฒนา</a:t>
            </a:r>
            <a:endParaRPr lang="en-US" sz="1600" b="1" dirty="0">
              <a:solidFill>
                <a:srgbClr val="00B0F0"/>
              </a:solidFill>
              <a:latin typeface="TH SarabunPSK" pitchFamily="34" charset="-34"/>
              <a:cs typeface="TH SarabunPSK" pitchFamily="34" charset="-34"/>
            </a:endParaRPr>
          </a:p>
          <a:p>
            <a:pPr>
              <a:lnSpc>
                <a:spcPts val="1600"/>
              </a:lnSpc>
              <a:defRPr/>
            </a:pPr>
            <a:r>
              <a:rPr lang="th-TH" sz="1600" b="1" dirty="0">
                <a:solidFill>
                  <a:prstClr val="black"/>
                </a:solidFill>
                <a:latin typeface="TH SarabunPSK" pitchFamily="34" charset="-34"/>
                <a:cs typeface="TH SarabunPSK" pitchFamily="34" charset="-34"/>
              </a:rPr>
              <a:t>โครงสร้างพื้นฐาน</a:t>
            </a:r>
            <a:endParaRPr lang="en-US" sz="1600" b="1" dirty="0">
              <a:solidFill>
                <a:prstClr val="black"/>
              </a:solidFill>
              <a:latin typeface="TH SarabunPSK" pitchFamily="34" charset="-34"/>
              <a:cs typeface="TH SarabunPSK" pitchFamily="34" charset="-34"/>
            </a:endParaRPr>
          </a:p>
          <a:p>
            <a:pPr>
              <a:lnSpc>
                <a:spcPts val="1600"/>
              </a:lnSpc>
              <a:defRPr/>
            </a:pPr>
            <a:r>
              <a:rPr lang="th-TH" sz="1600" b="1" dirty="0">
                <a:solidFill>
                  <a:prstClr val="black"/>
                </a:solidFill>
                <a:latin typeface="TH SarabunPSK" pitchFamily="34" charset="-34"/>
                <a:cs typeface="TH SarabunPSK" pitchFamily="34" charset="-34"/>
              </a:rPr>
              <a:t>ขีดความสามารถการแข่งขัน</a:t>
            </a:r>
            <a:endParaRPr lang="en-US" sz="1600" b="1" dirty="0">
              <a:solidFill>
                <a:prstClr val="black"/>
              </a:solidFill>
              <a:latin typeface="TH SarabunPSK" pitchFamily="34" charset="-34"/>
              <a:cs typeface="TH SarabunPSK" pitchFamily="34" charset="-34"/>
            </a:endParaRPr>
          </a:p>
          <a:p>
            <a:pPr>
              <a:lnSpc>
                <a:spcPts val="1600"/>
              </a:lnSpc>
              <a:defRPr/>
            </a:pPr>
            <a:r>
              <a:rPr lang="th-TH" sz="1600" b="1" dirty="0" smtClean="0">
                <a:solidFill>
                  <a:prstClr val="black"/>
                </a:solidFill>
                <a:latin typeface="TH SarabunPSK" pitchFamily="34" charset="-34"/>
                <a:cs typeface="TH SarabunPSK" pitchFamily="34" charset="-34"/>
              </a:rPr>
              <a:t>สังคมและชุมชน</a:t>
            </a:r>
            <a:endParaRPr lang="en-US" sz="1600" b="1" dirty="0">
              <a:solidFill>
                <a:prstClr val="black"/>
              </a:solidFill>
              <a:latin typeface="TH SarabunPSK" pitchFamily="34" charset="-34"/>
              <a:cs typeface="TH SarabunPSK" pitchFamily="34" charset="-34"/>
            </a:endParaRPr>
          </a:p>
        </p:txBody>
      </p:sp>
      <p:sp>
        <p:nvSpPr>
          <p:cNvPr id="43" name="TextBox 42"/>
          <p:cNvSpPr txBox="1"/>
          <p:nvPr/>
        </p:nvSpPr>
        <p:spPr>
          <a:xfrm>
            <a:off x="5857876" y="2229249"/>
            <a:ext cx="3071813" cy="924740"/>
          </a:xfrm>
          <a:prstGeom prst="rect">
            <a:avLst/>
          </a:prstGeom>
          <a:solidFill>
            <a:schemeClr val="tx2">
              <a:lumMod val="20000"/>
              <a:lumOff val="80000"/>
            </a:schemeClr>
          </a:solidFill>
          <a:ln w="19050">
            <a:solidFill>
              <a:srgbClr val="FFC000"/>
            </a:solidFill>
          </a:ln>
        </p:spPr>
        <p:txBody>
          <a:bodyPr>
            <a:spAutoFit/>
          </a:bodyPr>
          <a:lstStyle/>
          <a:p>
            <a:pPr>
              <a:lnSpc>
                <a:spcPts val="1600"/>
              </a:lnSpc>
              <a:defRPr/>
            </a:pPr>
            <a:r>
              <a:rPr lang="en-US" sz="1400" b="1" dirty="0">
                <a:solidFill>
                  <a:srgbClr val="FFC000"/>
                </a:solidFill>
                <a:latin typeface="Tahoma" pitchFamily="34" charset="0"/>
                <a:cs typeface="Tahoma" pitchFamily="34" charset="0"/>
              </a:rPr>
              <a:t>BIMST-EC </a:t>
            </a:r>
            <a:r>
              <a:rPr lang="th-TH" sz="1400" b="1" dirty="0">
                <a:solidFill>
                  <a:srgbClr val="FFC000"/>
                </a:solidFill>
                <a:latin typeface="Tahoma" pitchFamily="34" charset="0"/>
                <a:cs typeface="Tahoma" pitchFamily="34" charset="0"/>
              </a:rPr>
              <a:t/>
            </a:r>
            <a:br>
              <a:rPr lang="th-TH" sz="1400" b="1" dirty="0">
                <a:solidFill>
                  <a:srgbClr val="FFC000"/>
                </a:solidFill>
                <a:latin typeface="Tahoma" pitchFamily="34" charset="0"/>
                <a:cs typeface="Tahoma" pitchFamily="34" charset="0"/>
              </a:rPr>
            </a:br>
            <a:r>
              <a:rPr lang="th-TH" sz="1400" b="1" dirty="0">
                <a:solidFill>
                  <a:prstClr val="black"/>
                </a:solidFill>
                <a:latin typeface="TH SarabunPSK" pitchFamily="34" charset="-34"/>
                <a:cs typeface="TH SarabunPSK" pitchFamily="34" charset="-34"/>
              </a:rPr>
              <a:t>ช่วยเติมเต็มในด้าน</a:t>
            </a:r>
            <a:r>
              <a:rPr lang="th-TH" sz="1600" b="1" dirty="0">
                <a:solidFill>
                  <a:prstClr val="black"/>
                </a:solidFill>
                <a:latin typeface="TH SarabunPSK" pitchFamily="34" charset="-34"/>
                <a:cs typeface="TH SarabunPSK" pitchFamily="34" charset="-34"/>
              </a:rPr>
              <a:t>วัฒนธรรม</a:t>
            </a:r>
            <a:endParaRPr lang="en-US" sz="1600" b="1" dirty="0">
              <a:solidFill>
                <a:prstClr val="black"/>
              </a:solidFill>
              <a:latin typeface="TH SarabunPSK" pitchFamily="34" charset="-34"/>
              <a:cs typeface="TH SarabunPSK" pitchFamily="34" charset="-34"/>
            </a:endParaRPr>
          </a:p>
          <a:p>
            <a:pPr>
              <a:lnSpc>
                <a:spcPts val="1600"/>
              </a:lnSpc>
              <a:defRPr/>
            </a:pPr>
            <a:r>
              <a:rPr lang="th-TH" sz="1600" b="1" dirty="0">
                <a:solidFill>
                  <a:prstClr val="black"/>
                </a:solidFill>
                <a:latin typeface="TH SarabunPSK" pitchFamily="34" charset="-34"/>
                <a:cs typeface="TH SarabunPSK" pitchFamily="34" charset="-34"/>
              </a:rPr>
              <a:t>การเชื่อมโยงระหว่างประชากรในภูมิภาค</a:t>
            </a:r>
          </a:p>
          <a:p>
            <a:pPr>
              <a:lnSpc>
                <a:spcPts val="1600"/>
              </a:lnSpc>
              <a:defRPr/>
            </a:pPr>
            <a:r>
              <a:rPr lang="th-TH" sz="1600" b="1" dirty="0">
                <a:solidFill>
                  <a:prstClr val="black"/>
                </a:solidFill>
                <a:latin typeface="TH SarabunPSK" pitchFamily="34" charset="-34"/>
                <a:cs typeface="TH SarabunPSK" pitchFamily="34" charset="-34"/>
              </a:rPr>
              <a:t>การลดความยากจน</a:t>
            </a:r>
          </a:p>
        </p:txBody>
      </p:sp>
      <p:sp>
        <p:nvSpPr>
          <p:cNvPr id="44" name="TextBox 43"/>
          <p:cNvSpPr txBox="1"/>
          <p:nvPr/>
        </p:nvSpPr>
        <p:spPr>
          <a:xfrm>
            <a:off x="5861507" y="3168919"/>
            <a:ext cx="3000375" cy="913070"/>
          </a:xfrm>
          <a:prstGeom prst="rect">
            <a:avLst/>
          </a:prstGeom>
          <a:solidFill>
            <a:schemeClr val="tx2">
              <a:lumMod val="20000"/>
              <a:lumOff val="80000"/>
            </a:schemeClr>
          </a:solidFill>
          <a:ln w="19050">
            <a:solidFill>
              <a:srgbClr val="00B050"/>
            </a:solidFill>
          </a:ln>
        </p:spPr>
        <p:txBody>
          <a:bodyPr>
            <a:spAutoFit/>
          </a:bodyPr>
          <a:lstStyle/>
          <a:p>
            <a:pPr>
              <a:lnSpc>
                <a:spcPts val="1600"/>
              </a:lnSpc>
              <a:defRPr/>
            </a:pPr>
            <a:r>
              <a:rPr lang="en-US" sz="1400" b="1" dirty="0">
                <a:solidFill>
                  <a:srgbClr val="00B050"/>
                </a:solidFill>
                <a:latin typeface="Tahoma" pitchFamily="34" charset="0"/>
                <a:cs typeface="Tahoma" pitchFamily="34" charset="0"/>
              </a:rPr>
              <a:t>ASEAN</a:t>
            </a:r>
            <a:endParaRPr lang="en-US" sz="1100" b="1" dirty="0">
              <a:solidFill>
                <a:prstClr val="black"/>
              </a:solidFill>
              <a:latin typeface="Tahoma" pitchFamily="34" charset="0"/>
              <a:cs typeface="Tahoma" pitchFamily="34" charset="0"/>
            </a:endParaRPr>
          </a:p>
          <a:p>
            <a:pPr marL="342900" indent="-342900">
              <a:lnSpc>
                <a:spcPts val="1600"/>
              </a:lnSpc>
              <a:defRPr/>
            </a:pPr>
            <a:r>
              <a:rPr lang="th-TH" sz="1600" b="1" dirty="0">
                <a:solidFill>
                  <a:prstClr val="black"/>
                </a:solidFill>
                <a:latin typeface="TH SarabunPSK" pitchFamily="34" charset="-34"/>
                <a:cs typeface="TH SarabunPSK" pitchFamily="34" charset="-34"/>
              </a:rPr>
              <a:t>ความร่วมมือด้านความมั่นคง</a:t>
            </a:r>
            <a:endParaRPr lang="en-US" sz="1600" b="1" dirty="0">
              <a:solidFill>
                <a:prstClr val="black"/>
              </a:solidFill>
              <a:latin typeface="TH SarabunPSK" pitchFamily="34" charset="-34"/>
              <a:cs typeface="TH SarabunPSK" pitchFamily="34" charset="-34"/>
            </a:endParaRPr>
          </a:p>
          <a:p>
            <a:pPr marL="342900" indent="-342900">
              <a:lnSpc>
                <a:spcPts val="1600"/>
              </a:lnSpc>
              <a:defRPr/>
            </a:pPr>
            <a:r>
              <a:rPr lang="th-TH" sz="1600" b="1" dirty="0">
                <a:solidFill>
                  <a:prstClr val="black"/>
                </a:solidFill>
                <a:latin typeface="TH SarabunPSK" pitchFamily="34" charset="-34"/>
                <a:cs typeface="TH SarabunPSK" pitchFamily="34" charset="-34"/>
              </a:rPr>
              <a:t>ความร่วมมือด้านเศรษฐกิจ</a:t>
            </a:r>
            <a:endParaRPr lang="en-US" sz="1600" b="1" dirty="0">
              <a:solidFill>
                <a:prstClr val="black"/>
              </a:solidFill>
              <a:latin typeface="TH SarabunPSK" pitchFamily="34" charset="-34"/>
              <a:cs typeface="TH SarabunPSK" pitchFamily="34" charset="-34"/>
            </a:endParaRPr>
          </a:p>
          <a:p>
            <a:pPr marL="342900" indent="-342900">
              <a:lnSpc>
                <a:spcPts val="1600"/>
              </a:lnSpc>
              <a:defRPr/>
            </a:pPr>
            <a:r>
              <a:rPr lang="th-TH" sz="1600" b="1" dirty="0">
                <a:solidFill>
                  <a:prstClr val="black"/>
                </a:solidFill>
                <a:latin typeface="TH SarabunPSK" pitchFamily="34" charset="-34"/>
                <a:cs typeface="TH SarabunPSK" pitchFamily="34" charset="-34"/>
              </a:rPr>
              <a:t>ความร่วมมือด้านสังคมและวัฒนธรรม</a:t>
            </a:r>
            <a:endParaRPr lang="en-US" sz="1600" b="1" dirty="0">
              <a:solidFill>
                <a:prstClr val="black"/>
              </a:solidFill>
              <a:latin typeface="TH SarabunPSK" pitchFamily="34" charset="-34"/>
              <a:cs typeface="TH SarabunPSK" pitchFamily="34" charset="-34"/>
            </a:endParaRPr>
          </a:p>
        </p:txBody>
      </p:sp>
      <p:sp>
        <p:nvSpPr>
          <p:cNvPr id="45" name="Rounded Rectangle 44"/>
          <p:cNvSpPr/>
          <p:nvPr/>
        </p:nvSpPr>
        <p:spPr>
          <a:xfrm rot="20274265">
            <a:off x="2944814" y="3132535"/>
            <a:ext cx="357187" cy="685800"/>
          </a:xfrm>
          <a:prstGeom prst="roundRect">
            <a:avLst/>
          </a:prstGeom>
          <a:noFill/>
          <a:ln w="38100">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400">
              <a:solidFill>
                <a:prstClr val="white"/>
              </a:solidFill>
            </a:endParaRPr>
          </a:p>
        </p:txBody>
      </p:sp>
      <p:sp>
        <p:nvSpPr>
          <p:cNvPr id="46" name="Oval 45"/>
          <p:cNvSpPr/>
          <p:nvPr/>
        </p:nvSpPr>
        <p:spPr>
          <a:xfrm>
            <a:off x="214314" y="1553766"/>
            <a:ext cx="357187" cy="321469"/>
          </a:xfrm>
          <a:prstGeom prst="ellipse">
            <a:avLst/>
          </a:prstGeom>
          <a:noFill/>
          <a:ln w="38100">
            <a:solidFill>
              <a:schemeClr val="tx1"/>
            </a:solidFill>
          </a:ln>
        </p:spPr>
        <p:style>
          <a:lnRef idx="2">
            <a:schemeClr val="accent5"/>
          </a:lnRef>
          <a:fillRef idx="1">
            <a:schemeClr val="lt1"/>
          </a:fillRef>
          <a:effectRef idx="0">
            <a:schemeClr val="accent5"/>
          </a:effectRef>
          <a:fontRef idx="minor">
            <a:schemeClr val="dk1"/>
          </a:fontRef>
        </p:style>
        <p:txBody>
          <a:bodyPr anchor="ctr"/>
          <a:lstStyle/>
          <a:p>
            <a:pPr algn="ctr">
              <a:defRPr/>
            </a:pPr>
            <a:endParaRPr lang="en-US" sz="1400">
              <a:solidFill>
                <a:prstClr val="black"/>
              </a:solidFill>
              <a:latin typeface="Cordia New" pitchFamily="34" charset="-34"/>
              <a:cs typeface="Cordia New" pitchFamily="34" charset="-34"/>
            </a:endParaRPr>
          </a:p>
        </p:txBody>
      </p:sp>
      <p:sp>
        <p:nvSpPr>
          <p:cNvPr id="47" name="Rectangle 46"/>
          <p:cNvSpPr/>
          <p:nvPr/>
        </p:nvSpPr>
        <p:spPr>
          <a:xfrm>
            <a:off x="714375" y="1553765"/>
            <a:ext cx="2409032" cy="1017985"/>
          </a:xfrm>
          <a:prstGeom prst="rect">
            <a:avLst/>
          </a:prstGeom>
          <a:solidFill>
            <a:schemeClr val="tx2">
              <a:lumMod val="20000"/>
              <a:lumOff val="80000"/>
            </a:schemeClr>
          </a:solidFill>
          <a:ln w="19050">
            <a:solidFill>
              <a:srgbClr val="002060"/>
            </a:solidFill>
          </a:ln>
        </p:spPr>
        <p:style>
          <a:lnRef idx="1">
            <a:schemeClr val="accent4"/>
          </a:lnRef>
          <a:fillRef idx="2">
            <a:schemeClr val="accent4"/>
          </a:fillRef>
          <a:effectRef idx="1">
            <a:schemeClr val="accent4"/>
          </a:effectRef>
          <a:fontRef idx="minor">
            <a:schemeClr val="dk1"/>
          </a:fontRef>
        </p:style>
        <p:txBody>
          <a:bodyPr anchor="ctr"/>
          <a:lstStyle/>
          <a:p>
            <a:pPr>
              <a:defRPr/>
            </a:pPr>
            <a:r>
              <a:rPr lang="en-US" sz="1400" b="1" dirty="0">
                <a:solidFill>
                  <a:srgbClr val="002060"/>
                </a:solidFill>
                <a:latin typeface="Tahoma" pitchFamily="34" charset="0"/>
                <a:cs typeface="Tahoma" pitchFamily="34" charset="0"/>
              </a:rPr>
              <a:t>ACMECS</a:t>
            </a:r>
          </a:p>
          <a:p>
            <a:pPr>
              <a:lnSpc>
                <a:spcPts val="2000"/>
              </a:lnSpc>
              <a:defRPr/>
            </a:pPr>
            <a:r>
              <a:rPr lang="th-TH" sz="1600" b="1" dirty="0">
                <a:solidFill>
                  <a:srgbClr val="002060"/>
                </a:solidFill>
                <a:latin typeface="TH SarabunPSK" pitchFamily="34" charset="-34"/>
                <a:cs typeface="TH SarabunPSK" pitchFamily="34" charset="-34"/>
              </a:rPr>
              <a:t>เมืองคู่แฝด</a:t>
            </a:r>
            <a:endParaRPr lang="en-US" sz="1600" b="1" dirty="0">
              <a:solidFill>
                <a:srgbClr val="002060"/>
              </a:solidFill>
              <a:latin typeface="TH SarabunPSK" pitchFamily="34" charset="-34"/>
              <a:cs typeface="TH SarabunPSK" pitchFamily="34" charset="-34"/>
            </a:endParaRPr>
          </a:p>
          <a:p>
            <a:pPr>
              <a:lnSpc>
                <a:spcPts val="2000"/>
              </a:lnSpc>
              <a:defRPr/>
            </a:pPr>
            <a:r>
              <a:rPr lang="th-TH" sz="1600" b="1" dirty="0">
                <a:solidFill>
                  <a:srgbClr val="002060"/>
                </a:solidFill>
                <a:latin typeface="TH SarabunPSK" pitchFamily="34" charset="-34"/>
                <a:cs typeface="TH SarabunPSK" pitchFamily="34" charset="-34"/>
              </a:rPr>
              <a:t>เกษตรพันธสัญญา</a:t>
            </a:r>
            <a:endParaRPr lang="en-US" sz="1600" b="1" dirty="0">
              <a:solidFill>
                <a:srgbClr val="002060"/>
              </a:solidFill>
              <a:latin typeface="TH SarabunPSK" pitchFamily="34" charset="-34"/>
              <a:cs typeface="TH SarabunPSK" pitchFamily="34" charset="-34"/>
            </a:endParaRPr>
          </a:p>
          <a:p>
            <a:pPr>
              <a:lnSpc>
                <a:spcPts val="2000"/>
              </a:lnSpc>
              <a:defRPr/>
            </a:pPr>
            <a:r>
              <a:rPr lang="th-TH" sz="1600" b="1" dirty="0">
                <a:solidFill>
                  <a:srgbClr val="002060"/>
                </a:solidFill>
                <a:latin typeface="TH SarabunPSK" pitchFamily="34" charset="-34"/>
                <a:cs typeface="TH SarabunPSK" pitchFamily="34" charset="-34"/>
              </a:rPr>
              <a:t>ลดช่องว่างทางเศรษฐกิจ</a:t>
            </a:r>
            <a:endParaRPr lang="en-US" sz="1600" b="1" dirty="0">
              <a:solidFill>
                <a:srgbClr val="002060"/>
              </a:solidFill>
              <a:latin typeface="TH SarabunPSK" pitchFamily="34" charset="-34"/>
              <a:cs typeface="TH SarabunPSK" pitchFamily="34" charset="-34"/>
            </a:endParaRPr>
          </a:p>
        </p:txBody>
      </p:sp>
    </p:spTree>
    <p:extLst>
      <p:ext uri="{BB962C8B-B14F-4D97-AF65-F5344CB8AC3E}">
        <p14:creationId xmlns:p14="http://schemas.microsoft.com/office/powerpoint/2010/main" xmlns="" val="4213477296"/>
      </p:ext>
    </p:extLst>
  </p:cSld>
  <p:clrMapOvr>
    <a:masterClrMapping/>
  </p:clrMapOvr>
  <mc:AlternateContent xmlns:mc="http://schemas.openxmlformats.org/markup-compatibility/2006">
    <mc:Choice xmlns:p14="http://schemas.microsoft.com/office/powerpoint/2010/main" xmlns="" Requires="p14">
      <p:transition spd="slow" p14:dur="2000"/>
    </mc:Choice>
    <mc:Fallback>
      <p:transition spd="slow"/>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Rectangle 1"/>
          <p:cNvSpPr/>
          <p:nvPr/>
        </p:nvSpPr>
        <p:spPr>
          <a:xfrm>
            <a:off x="6732259" y="2344610"/>
            <a:ext cx="461283" cy="2164441"/>
          </a:xfrm>
          <a:prstGeom prst="rect">
            <a:avLst/>
          </a:prstGeom>
          <a:solidFill>
            <a:schemeClr val="accent5">
              <a:alpha val="2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th-TH">
              <a:solidFill>
                <a:prstClr val="white"/>
              </a:solidFill>
            </a:endParaRPr>
          </a:p>
        </p:txBody>
      </p:sp>
      <p:sp>
        <p:nvSpPr>
          <p:cNvPr id="53" name="TextBox 14"/>
          <p:cNvSpPr txBox="1">
            <a:spLocks noChangeArrowheads="1"/>
          </p:cNvSpPr>
          <p:nvPr/>
        </p:nvSpPr>
        <p:spPr bwMode="auto">
          <a:xfrm>
            <a:off x="83568" y="57150"/>
            <a:ext cx="9024936" cy="400110"/>
          </a:xfrm>
          <a:prstGeom prst="rect">
            <a:avLst/>
          </a:prstGeom>
          <a:noFill/>
          <a:ln>
            <a:headEnd/>
            <a:tailEnd/>
          </a:ln>
          <a:effectLst/>
          <a:scene3d>
            <a:camera prst="orthographicFront">
              <a:rot lat="0" lon="0" rev="0"/>
            </a:camera>
            <a:lightRig rig="threePt" dir="t">
              <a:rot lat="0" lon="0" rev="1200000"/>
            </a:lightRig>
          </a:scene3d>
        </p:spPr>
        <p:style>
          <a:lnRef idx="0">
            <a:schemeClr val="accent1"/>
          </a:lnRef>
          <a:fillRef idx="3">
            <a:schemeClr val="accent1"/>
          </a:fillRef>
          <a:effectRef idx="3">
            <a:schemeClr val="accent1"/>
          </a:effectRef>
          <a:fontRef idx="minor">
            <a:schemeClr val="lt1"/>
          </a:fontRef>
        </p:style>
        <p:txBody>
          <a:bodyPr wrap="square">
            <a:spAutoFit/>
          </a:bodyPr>
          <a:lstStyle/>
          <a:p>
            <a:pPr eaLnBrk="0" hangingPunct="0">
              <a:lnSpc>
                <a:spcPts val="2400"/>
              </a:lnSpc>
              <a:spcBef>
                <a:spcPct val="50000"/>
              </a:spcBef>
              <a:spcAft>
                <a:spcPts val="1200"/>
              </a:spcAft>
              <a:defRPr/>
            </a:pPr>
            <a:r>
              <a:rPr lang="th-TH" sz="5400" b="1" dirty="0">
                <a:solidFill>
                  <a:srgbClr val="0070C0"/>
                </a:solidFill>
                <a:latin typeface="TH SarabunPSK" pitchFamily="34" charset="-34"/>
                <a:cs typeface="TH SarabunPSK" pitchFamily="34" charset="-34"/>
              </a:rPr>
              <a:t>แ</a:t>
            </a:r>
            <a:r>
              <a:rPr lang="th-TH" b="1" dirty="0">
                <a:solidFill>
                  <a:srgbClr val="0070C0"/>
                </a:solidFill>
                <a:latin typeface="TH SarabunPSK" pitchFamily="34" charset="-34"/>
                <a:cs typeface="TH SarabunPSK" pitchFamily="34" charset="-34"/>
              </a:rPr>
              <a:t>นวโน้มเศรษฐกิจและเป้าหมายในช่วงแผนฯ 12</a:t>
            </a:r>
          </a:p>
        </p:txBody>
      </p:sp>
      <p:graphicFrame>
        <p:nvGraphicFramePr>
          <p:cNvPr id="35" name="Chart 34"/>
          <p:cNvGraphicFramePr/>
          <p:nvPr>
            <p:extLst>
              <p:ext uri="{D42A27DB-BD31-4B8C-83A1-F6EECF244321}">
                <p14:modId xmlns:p14="http://schemas.microsoft.com/office/powerpoint/2010/main" xmlns="" val="3374801863"/>
              </p:ext>
            </p:extLst>
          </p:nvPr>
        </p:nvGraphicFramePr>
        <p:xfrm>
          <a:off x="0" y="2193237"/>
          <a:ext cx="8333705" cy="2686877"/>
        </p:xfrm>
        <a:graphic>
          <a:graphicData uri="http://schemas.openxmlformats.org/drawingml/2006/chart">
            <c:chart xmlns:c="http://schemas.openxmlformats.org/drawingml/2006/chart" xmlns:r="http://schemas.openxmlformats.org/officeDocument/2006/relationships" r:id="rId4"/>
          </a:graphicData>
        </a:graphic>
      </p:graphicFrame>
      <p:sp>
        <p:nvSpPr>
          <p:cNvPr id="39" name="TextBox 38"/>
          <p:cNvSpPr txBox="1"/>
          <p:nvPr/>
        </p:nvSpPr>
        <p:spPr>
          <a:xfrm>
            <a:off x="151566" y="4733284"/>
            <a:ext cx="6220634" cy="261600"/>
          </a:xfrm>
          <a:prstGeom prst="rect">
            <a:avLst/>
          </a:prstGeom>
          <a:noFill/>
        </p:spPr>
        <p:txBody>
          <a:bodyPr wrap="square" lIns="91428" tIns="45715" rIns="91428" bIns="45715">
            <a:spAutoFit/>
          </a:bodyPr>
          <a:lstStyle/>
          <a:p>
            <a:pPr defTabSz="914287">
              <a:defRPr/>
            </a:pPr>
            <a:r>
              <a:rPr lang="en-US" sz="1100" dirty="0">
                <a:solidFill>
                  <a:prstClr val="black"/>
                </a:solidFill>
                <a:latin typeface="TH SarabunPSK" pitchFamily="34" charset="-34"/>
                <a:cs typeface="TH SarabunPSK" pitchFamily="34" charset="-34"/>
              </a:rPr>
              <a:t>Source: NESDB, World Bank</a:t>
            </a:r>
          </a:p>
        </p:txBody>
      </p:sp>
      <p:sp>
        <p:nvSpPr>
          <p:cNvPr id="59" name="5-Point Star 58"/>
          <p:cNvSpPr/>
          <p:nvPr/>
        </p:nvSpPr>
        <p:spPr>
          <a:xfrm>
            <a:off x="7092280" y="3527679"/>
            <a:ext cx="162580" cy="113074"/>
          </a:xfrm>
          <a:prstGeom prst="star5">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solidFill>
                <a:prstClr val="white"/>
              </a:solidFill>
              <a:latin typeface="TH SarabunPSK" pitchFamily="34" charset="-34"/>
              <a:cs typeface="TH SarabunPSK" pitchFamily="34" charset="-34"/>
            </a:endParaRPr>
          </a:p>
        </p:txBody>
      </p:sp>
      <p:cxnSp>
        <p:nvCxnSpPr>
          <p:cNvPr id="61" name="Straight Connector 60"/>
          <p:cNvCxnSpPr/>
          <p:nvPr/>
        </p:nvCxnSpPr>
        <p:spPr>
          <a:xfrm>
            <a:off x="7164288" y="3593181"/>
            <a:ext cx="0" cy="848056"/>
          </a:xfrm>
          <a:prstGeom prst="line">
            <a:avLst/>
          </a:prstGeom>
        </p:spPr>
        <p:style>
          <a:lnRef idx="1">
            <a:schemeClr val="accent1"/>
          </a:lnRef>
          <a:fillRef idx="0">
            <a:schemeClr val="accent1"/>
          </a:fillRef>
          <a:effectRef idx="0">
            <a:schemeClr val="accent1"/>
          </a:effectRef>
          <a:fontRef idx="minor">
            <a:schemeClr val="tx1"/>
          </a:fontRef>
        </p:style>
      </p:cxnSp>
      <p:cxnSp>
        <p:nvCxnSpPr>
          <p:cNvPr id="62" name="Straight Connector 61"/>
          <p:cNvCxnSpPr/>
          <p:nvPr/>
        </p:nvCxnSpPr>
        <p:spPr>
          <a:xfrm>
            <a:off x="7596336" y="3212999"/>
            <a:ext cx="0" cy="1228243"/>
          </a:xfrm>
          <a:prstGeom prst="line">
            <a:avLst/>
          </a:prstGeom>
        </p:spPr>
        <p:style>
          <a:lnRef idx="1">
            <a:schemeClr val="accent1"/>
          </a:lnRef>
          <a:fillRef idx="0">
            <a:schemeClr val="accent1"/>
          </a:fillRef>
          <a:effectRef idx="0">
            <a:schemeClr val="accent1"/>
          </a:effectRef>
          <a:fontRef idx="minor">
            <a:schemeClr val="tx1"/>
          </a:fontRef>
        </p:style>
      </p:cxnSp>
      <p:sp>
        <p:nvSpPr>
          <p:cNvPr id="63" name="Title 1"/>
          <p:cNvSpPr txBox="1">
            <a:spLocks/>
          </p:cNvSpPr>
          <p:nvPr/>
        </p:nvSpPr>
        <p:spPr>
          <a:xfrm>
            <a:off x="2411761" y="2056577"/>
            <a:ext cx="3672408" cy="741789"/>
          </a:xfrm>
          <a:prstGeom prst="rect">
            <a:avLst/>
          </a:prstGeom>
          <a:noFill/>
        </p:spPr>
        <p:txBody>
          <a:bodyPr vert="horz" lIns="91440" tIns="45720" rIns="91440" bIns="45720" rtlCol="0" anchor="ctr">
            <a:noAutofit/>
          </a:bodyPr>
          <a:lstStyle/>
          <a:p>
            <a:pPr algn="ctr" defTabSz="914287">
              <a:lnSpc>
                <a:spcPts val="1100"/>
              </a:lnSpc>
              <a:defRPr/>
            </a:pPr>
            <a:r>
              <a:rPr lang="en-US" sz="1600" b="1" spc="50" dirty="0">
                <a:solidFill>
                  <a:srgbClr val="1F497D">
                    <a:lumMod val="75000"/>
                  </a:srgbClr>
                </a:solidFill>
                <a:latin typeface="TH SarabunPSK" pitchFamily="34" charset="-34"/>
                <a:cs typeface="TH SarabunPSK" pitchFamily="34" charset="-34"/>
              </a:rPr>
              <a:t>Thailand’s GNI per Capita</a:t>
            </a:r>
          </a:p>
          <a:p>
            <a:pPr marL="174625" indent="-174625" algn="ctr">
              <a:lnSpc>
                <a:spcPts val="1100"/>
              </a:lnSpc>
            </a:pPr>
            <a:r>
              <a:rPr lang="en-US" sz="1600" b="1" dirty="0">
                <a:solidFill>
                  <a:srgbClr val="1F497D">
                    <a:lumMod val="75000"/>
                  </a:srgbClr>
                </a:solidFill>
                <a:latin typeface="TH SarabunPSK" pitchFamily="34" charset="-34"/>
                <a:cs typeface="TH SarabunPSK" pitchFamily="34" charset="-34"/>
              </a:rPr>
              <a:t>Target :</a:t>
            </a:r>
            <a:r>
              <a:rPr lang="en-US" sz="1600" dirty="0">
                <a:solidFill>
                  <a:srgbClr val="1F497D">
                    <a:lumMod val="75000"/>
                  </a:srgbClr>
                </a:solidFill>
                <a:latin typeface="TH SarabunPSK" pitchFamily="34" charset="-34"/>
                <a:cs typeface="TH SarabunPSK" pitchFamily="34" charset="-34"/>
              </a:rPr>
              <a:t> 1. Maintain GDP growth at 5 % </a:t>
            </a:r>
          </a:p>
          <a:p>
            <a:pPr marL="174625" indent="-174625" algn="ctr">
              <a:lnSpc>
                <a:spcPts val="1100"/>
              </a:lnSpc>
            </a:pPr>
            <a:r>
              <a:rPr lang="en-US" sz="1600" dirty="0">
                <a:solidFill>
                  <a:srgbClr val="1F497D">
                    <a:lumMod val="75000"/>
                  </a:srgbClr>
                </a:solidFill>
                <a:latin typeface="TH SarabunPSK" pitchFamily="34" charset="-34"/>
                <a:cs typeface="TH SarabunPSK" pitchFamily="34" charset="-34"/>
              </a:rPr>
              <a:t>2. Achieve GNI per capita of 12,735 USD </a:t>
            </a:r>
            <a:br>
              <a:rPr lang="en-US" sz="1600" dirty="0">
                <a:solidFill>
                  <a:srgbClr val="1F497D">
                    <a:lumMod val="75000"/>
                  </a:srgbClr>
                </a:solidFill>
                <a:latin typeface="TH SarabunPSK" pitchFamily="34" charset="-34"/>
                <a:cs typeface="TH SarabunPSK" pitchFamily="34" charset="-34"/>
              </a:rPr>
            </a:br>
            <a:r>
              <a:rPr lang="en-US" sz="1600" dirty="0">
                <a:solidFill>
                  <a:srgbClr val="1F497D">
                    <a:lumMod val="75000"/>
                  </a:srgbClr>
                </a:solidFill>
                <a:latin typeface="TH SarabunPSK" pitchFamily="34" charset="-34"/>
                <a:cs typeface="TH SarabunPSK" pitchFamily="34" charset="-34"/>
              </a:rPr>
              <a:t>(Atlas method) by 2026</a:t>
            </a:r>
          </a:p>
          <a:p>
            <a:pPr algn="ctr" defTabSz="914287">
              <a:lnSpc>
                <a:spcPts val="1100"/>
              </a:lnSpc>
              <a:defRPr/>
            </a:pPr>
            <a:r>
              <a:rPr lang="en-US" sz="1600" b="1" spc="50" dirty="0">
                <a:solidFill>
                  <a:srgbClr val="1F497D">
                    <a:lumMod val="75000"/>
                  </a:srgbClr>
                </a:solidFill>
                <a:latin typeface="TH SarabunPSK" pitchFamily="34" charset="-34"/>
                <a:cs typeface="TH SarabunPSK" pitchFamily="34" charset="-34"/>
              </a:rPr>
              <a:t> </a:t>
            </a:r>
          </a:p>
        </p:txBody>
      </p:sp>
      <p:sp>
        <p:nvSpPr>
          <p:cNvPr id="64" name="Rounded Rectangle 63"/>
          <p:cNvSpPr/>
          <p:nvPr/>
        </p:nvSpPr>
        <p:spPr>
          <a:xfrm>
            <a:off x="107504" y="2011681"/>
            <a:ext cx="8919010" cy="2945436"/>
          </a:xfrm>
          <a:prstGeom prst="roundRect">
            <a:avLst>
              <a:gd name="adj" fmla="val 7187"/>
            </a:avLst>
          </a:prstGeom>
          <a:noFill/>
          <a:ln w="12700">
            <a:solidFill>
              <a:srgbClr val="0070C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th-TH" sz="1600">
              <a:solidFill>
                <a:prstClr val="white"/>
              </a:solidFill>
              <a:latin typeface="TH SarabunPSK" pitchFamily="34" charset="-34"/>
              <a:cs typeface="TH SarabunPSK" pitchFamily="34" charset="-34"/>
            </a:endParaRPr>
          </a:p>
        </p:txBody>
      </p:sp>
      <p:sp>
        <p:nvSpPr>
          <p:cNvPr id="16" name="Rectangle 15"/>
          <p:cNvSpPr/>
          <p:nvPr/>
        </p:nvSpPr>
        <p:spPr>
          <a:xfrm>
            <a:off x="83568" y="477385"/>
            <a:ext cx="8904133" cy="1477328"/>
          </a:xfrm>
          <a:prstGeom prst="rect">
            <a:avLst/>
          </a:prstGeom>
          <a:solidFill>
            <a:schemeClr val="accent1">
              <a:lumMod val="20000"/>
              <a:lumOff val="80000"/>
            </a:schemeClr>
          </a:solidFill>
        </p:spPr>
        <p:txBody>
          <a:bodyPr wrap="square" anchor="ctr">
            <a:spAutoFit/>
          </a:bodyPr>
          <a:lstStyle/>
          <a:p>
            <a:pPr marL="174625" indent="-174625" algn="thaiDist">
              <a:lnSpc>
                <a:spcPts val="1700"/>
              </a:lnSpc>
              <a:spcBef>
                <a:spcPts val="600"/>
              </a:spcBef>
              <a:buSzPct val="70000"/>
              <a:buFont typeface="Arial" pitchFamily="34" charset="0"/>
              <a:buChar char="•"/>
            </a:pPr>
            <a:r>
              <a:rPr lang="th-TH" sz="1800" b="1" dirty="0">
                <a:solidFill>
                  <a:prstClr val="black"/>
                </a:solidFill>
                <a:latin typeface="TH SarabunPSK" pitchFamily="34" charset="-34"/>
                <a:cs typeface="TH SarabunPSK" pitchFamily="34" charset="-34"/>
              </a:rPr>
              <a:t>เศรษฐกิจไทยในกรณีฐานในช่วง 10 ปีข้างหน้า มีแนวโน้มที่จะขยายตัวเฉลี่ยร้อยละ 3.3 - 4.3 </a:t>
            </a:r>
            <a:r>
              <a:rPr lang="th-TH" sz="1800" b="1" dirty="0" smtClean="0">
                <a:solidFill>
                  <a:prstClr val="black"/>
                </a:solidFill>
                <a:latin typeface="TH SarabunPSK" pitchFamily="34" charset="-34"/>
                <a:cs typeface="TH SarabunPSK" pitchFamily="34" charset="-34"/>
              </a:rPr>
              <a:t>(โดยมีค่ากลางของการประมาณการร้อยละ 3.8) ซึ่งจะทำให้ประเทศไทยเข้าสู่กลุ่มประเทศรายได้สูงในปี 2571 - 2574</a:t>
            </a:r>
          </a:p>
          <a:p>
            <a:pPr marL="174625" indent="-174625" algn="thaiDist">
              <a:lnSpc>
                <a:spcPts val="1700"/>
              </a:lnSpc>
              <a:spcBef>
                <a:spcPts val="600"/>
              </a:spcBef>
              <a:buSzPct val="70000"/>
              <a:buFont typeface="Arial" pitchFamily="34" charset="0"/>
              <a:buChar char="•"/>
            </a:pPr>
            <a:r>
              <a:rPr lang="th-TH" sz="1800" b="1" dirty="0" smtClean="0">
                <a:solidFill>
                  <a:srgbClr val="C00000"/>
                </a:solidFill>
                <a:latin typeface="TH SarabunPSK" pitchFamily="34" charset="-34"/>
                <a:cs typeface="TH SarabunPSK" pitchFamily="34" charset="-34"/>
              </a:rPr>
              <a:t>เป้าหมาย</a:t>
            </a:r>
            <a:r>
              <a:rPr lang="th-TH" sz="1800" b="1" dirty="0">
                <a:solidFill>
                  <a:srgbClr val="C00000"/>
                </a:solidFill>
                <a:latin typeface="TH SarabunPSK" pitchFamily="34" charset="-34"/>
                <a:cs typeface="TH SarabunPSK" pitchFamily="34" charset="-34"/>
              </a:rPr>
              <a:t>การพัฒนาเศรษฐกิจในช่วงแผนฯ 12 จะต้องเร่งรัดให้เศรษฐกิจสามารถขยายตัวเฉลี่ยไม่ต่ำกว่าร้อยละ 5.0 ต่อปี เพื่อให้ก้าวสู่</a:t>
            </a:r>
            <a:br>
              <a:rPr lang="th-TH" sz="1800" b="1" dirty="0">
                <a:solidFill>
                  <a:srgbClr val="C00000"/>
                </a:solidFill>
                <a:latin typeface="TH SarabunPSK" pitchFamily="34" charset="-34"/>
                <a:cs typeface="TH SarabunPSK" pitchFamily="34" charset="-34"/>
              </a:rPr>
            </a:br>
            <a:r>
              <a:rPr lang="th-TH" sz="1800" b="1" dirty="0">
                <a:solidFill>
                  <a:srgbClr val="C00000"/>
                </a:solidFill>
                <a:latin typeface="TH SarabunPSK" pitchFamily="34" charset="-34"/>
                <a:cs typeface="TH SarabunPSK" pitchFamily="34" charset="-34"/>
              </a:rPr>
              <a:t>การเป็นประเทศรายได้สูงได้ในปี 2569 ณ สิ้นแผนฯ 13 </a:t>
            </a:r>
            <a:r>
              <a:rPr lang="th-TH" sz="1800" b="1" dirty="0" smtClean="0">
                <a:solidFill>
                  <a:prstClr val="black"/>
                </a:solidFill>
                <a:latin typeface="TH SarabunPSK" pitchFamily="34" charset="-34"/>
                <a:cs typeface="TH SarabunPSK" pitchFamily="34" charset="-34"/>
              </a:rPr>
              <a:t>โดย</a:t>
            </a:r>
            <a:r>
              <a:rPr lang="th-TH" sz="1800" b="1" dirty="0">
                <a:solidFill>
                  <a:prstClr val="black"/>
                </a:solidFill>
                <a:latin typeface="TH SarabunPSK" pitchFamily="34" charset="-34"/>
                <a:cs typeface="TH SarabunPSK" pitchFamily="34" charset="-34"/>
              </a:rPr>
              <a:t>การเร่งรัดการลงทุน การเพิ่มประสิทธิภาพของระบบเศรษฐกิจ และการ</a:t>
            </a:r>
            <a:r>
              <a:rPr lang="th-TH" sz="1800" b="1" dirty="0" smtClean="0">
                <a:solidFill>
                  <a:prstClr val="black"/>
                </a:solidFill>
                <a:latin typeface="TH SarabunPSK" pitchFamily="34" charset="-34"/>
                <a:cs typeface="TH SarabunPSK" pitchFamily="34" charset="-34"/>
              </a:rPr>
              <a:t>สร้าง</a:t>
            </a:r>
            <a:br>
              <a:rPr lang="th-TH" sz="1800" b="1" dirty="0" smtClean="0">
                <a:solidFill>
                  <a:prstClr val="black"/>
                </a:solidFill>
                <a:latin typeface="TH SarabunPSK" pitchFamily="34" charset="-34"/>
                <a:cs typeface="TH SarabunPSK" pitchFamily="34" charset="-34"/>
              </a:rPr>
            </a:br>
            <a:r>
              <a:rPr lang="th-TH" sz="1800" b="1" dirty="0" smtClean="0">
                <a:solidFill>
                  <a:prstClr val="black"/>
                </a:solidFill>
                <a:latin typeface="TH SarabunPSK" pitchFamily="34" charset="-34"/>
                <a:cs typeface="TH SarabunPSK" pitchFamily="34" charset="-34"/>
              </a:rPr>
              <a:t>ฐาน</a:t>
            </a:r>
            <a:r>
              <a:rPr lang="th-TH" sz="1800" b="1" dirty="0">
                <a:solidFill>
                  <a:prstClr val="black"/>
                </a:solidFill>
                <a:latin typeface="TH SarabunPSK" pitchFamily="34" charset="-34"/>
                <a:cs typeface="TH SarabunPSK" pitchFamily="34" charset="-34"/>
              </a:rPr>
              <a:t>การขยายตัวทางเศรษฐกิจที่สอดคล้องกับศักยภาพของเศรษฐกิจไทย รวมทั้งการเพิ่มขีดความสามารถทางด้านเทคโนโลยี การปรับโครงสร้างเศรษฐกิจ สังคม สิ่งแวดล้อม กฎระเบียบและการบริหารจัดการ</a:t>
            </a:r>
          </a:p>
        </p:txBody>
      </p:sp>
      <p:sp>
        <p:nvSpPr>
          <p:cNvPr id="17" name="TextBox 1"/>
          <p:cNvSpPr txBox="1"/>
          <p:nvPr/>
        </p:nvSpPr>
        <p:spPr>
          <a:xfrm>
            <a:off x="8009361" y="3033317"/>
            <a:ext cx="1099144" cy="247398"/>
          </a:xfrm>
          <a:prstGeom prst="rect">
            <a:avLst/>
          </a:prstGeom>
        </p:spPr>
        <p:txBody>
          <a:bodyPr wrap="non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en-US" b="1" dirty="0" smtClean="0">
                <a:solidFill>
                  <a:srgbClr val="F79646">
                    <a:lumMod val="75000"/>
                  </a:srgbClr>
                </a:solidFill>
                <a:latin typeface="Century Gothic" pitchFamily="34" charset="0"/>
              </a:rPr>
              <a:t>GNI = $12,735</a:t>
            </a:r>
          </a:p>
        </p:txBody>
      </p:sp>
      <p:sp>
        <p:nvSpPr>
          <p:cNvPr id="18" name="TextBox 17"/>
          <p:cNvSpPr txBox="1"/>
          <p:nvPr/>
        </p:nvSpPr>
        <p:spPr>
          <a:xfrm>
            <a:off x="6372200" y="2284691"/>
            <a:ext cx="1224136" cy="307777"/>
          </a:xfrm>
          <a:prstGeom prst="rect">
            <a:avLst/>
          </a:prstGeom>
          <a:noFill/>
        </p:spPr>
        <p:txBody>
          <a:bodyPr wrap="square" rtlCol="0">
            <a:spAutoFit/>
          </a:bodyPr>
          <a:lstStyle/>
          <a:p>
            <a:pPr algn="ctr"/>
            <a:r>
              <a:rPr lang="th-TH" sz="1400" b="1" dirty="0">
                <a:solidFill>
                  <a:prstClr val="black"/>
                </a:solidFill>
                <a:latin typeface="TH SarabunPSK" pitchFamily="34" charset="-34"/>
                <a:cs typeface="TH SarabunPSK" pitchFamily="34" charset="-34"/>
              </a:rPr>
              <a:t>แผนฯ 12 </a:t>
            </a:r>
            <a:endParaRPr lang="en-US" sz="1400" b="1" dirty="0">
              <a:solidFill>
                <a:prstClr val="black"/>
              </a:solidFill>
              <a:latin typeface="TH SarabunPSK" pitchFamily="34" charset="-34"/>
              <a:cs typeface="TH SarabunPSK" pitchFamily="34" charset="-34"/>
            </a:endParaRPr>
          </a:p>
        </p:txBody>
      </p:sp>
      <p:sp>
        <p:nvSpPr>
          <p:cNvPr id="19" name="Rectangle 18"/>
          <p:cNvSpPr/>
          <p:nvPr/>
        </p:nvSpPr>
        <p:spPr>
          <a:xfrm>
            <a:off x="6270987" y="2344610"/>
            <a:ext cx="461283" cy="2164441"/>
          </a:xfrm>
          <a:prstGeom prst="rect">
            <a:avLst/>
          </a:prstGeom>
          <a:solidFill>
            <a:schemeClr val="bg1">
              <a:lumMod val="65000"/>
              <a:alpha val="2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th-TH">
              <a:solidFill>
                <a:prstClr val="white"/>
              </a:solidFill>
            </a:endParaRPr>
          </a:p>
        </p:txBody>
      </p:sp>
      <p:sp>
        <p:nvSpPr>
          <p:cNvPr id="20" name="TextBox 19"/>
          <p:cNvSpPr txBox="1"/>
          <p:nvPr/>
        </p:nvSpPr>
        <p:spPr>
          <a:xfrm>
            <a:off x="5868144" y="2272660"/>
            <a:ext cx="1224136" cy="307777"/>
          </a:xfrm>
          <a:prstGeom prst="rect">
            <a:avLst/>
          </a:prstGeom>
          <a:noFill/>
        </p:spPr>
        <p:txBody>
          <a:bodyPr wrap="square" rtlCol="0">
            <a:spAutoFit/>
          </a:bodyPr>
          <a:lstStyle/>
          <a:p>
            <a:pPr algn="ctr"/>
            <a:r>
              <a:rPr lang="th-TH" sz="1400" b="1" dirty="0">
                <a:solidFill>
                  <a:prstClr val="black"/>
                </a:solidFill>
                <a:latin typeface="TH SarabunPSK" pitchFamily="34" charset="-34"/>
                <a:cs typeface="TH SarabunPSK" pitchFamily="34" charset="-34"/>
              </a:rPr>
              <a:t>แผนฯ 11 </a:t>
            </a:r>
            <a:endParaRPr lang="en-US" sz="1400" b="1" dirty="0">
              <a:solidFill>
                <a:prstClr val="black"/>
              </a:solidFill>
              <a:latin typeface="TH SarabunPSK" pitchFamily="34" charset="-34"/>
              <a:cs typeface="TH SarabunPSK" pitchFamily="34" charset="-34"/>
            </a:endParaRPr>
          </a:p>
        </p:txBody>
      </p:sp>
      <p:sp>
        <p:nvSpPr>
          <p:cNvPr id="3" name="TextBox 2"/>
          <p:cNvSpPr txBox="1"/>
          <p:nvPr/>
        </p:nvSpPr>
        <p:spPr>
          <a:xfrm>
            <a:off x="5724128" y="3118308"/>
            <a:ext cx="1656184" cy="810478"/>
          </a:xfrm>
          <a:prstGeom prst="rect">
            <a:avLst/>
          </a:prstGeom>
          <a:noFill/>
        </p:spPr>
        <p:txBody>
          <a:bodyPr wrap="square" rtlCol="0">
            <a:spAutoFit/>
          </a:bodyPr>
          <a:lstStyle/>
          <a:p>
            <a:pPr>
              <a:lnSpc>
                <a:spcPts val="1400"/>
              </a:lnSpc>
            </a:pPr>
            <a:r>
              <a:rPr lang="th-TH" sz="1400" dirty="0">
                <a:solidFill>
                  <a:srgbClr val="1F497D"/>
                </a:solidFill>
                <a:latin typeface="TH SarabunPSK" pitchFamily="34" charset="-34"/>
                <a:cs typeface="TH SarabunPSK" pitchFamily="34" charset="-34"/>
              </a:rPr>
              <a:t>สิ้นสุดแผนฯ 12 ในปี 2564 </a:t>
            </a:r>
            <a:br>
              <a:rPr lang="th-TH" sz="1400" dirty="0">
                <a:solidFill>
                  <a:srgbClr val="1F497D"/>
                </a:solidFill>
                <a:latin typeface="TH SarabunPSK" pitchFamily="34" charset="-34"/>
                <a:cs typeface="TH SarabunPSK" pitchFamily="34" charset="-34"/>
              </a:rPr>
            </a:br>
            <a:r>
              <a:rPr lang="th-TH" sz="1400" dirty="0">
                <a:solidFill>
                  <a:srgbClr val="1F497D"/>
                </a:solidFill>
                <a:latin typeface="TH SarabunPSK" pitchFamily="34" charset="-34"/>
                <a:cs typeface="TH SarabunPSK" pitchFamily="34" charset="-34"/>
              </a:rPr>
              <a:t>ครึ่งทางสู่ประเทศรายได้สูง</a:t>
            </a:r>
          </a:p>
          <a:p>
            <a:pPr>
              <a:lnSpc>
                <a:spcPts val="1400"/>
              </a:lnSpc>
            </a:pPr>
            <a:r>
              <a:rPr lang="en-US" sz="1400" dirty="0">
                <a:solidFill>
                  <a:srgbClr val="1F497D"/>
                </a:solidFill>
                <a:latin typeface="TH SarabunPSK" pitchFamily="34" charset="-34"/>
                <a:cs typeface="TH SarabunPSK" pitchFamily="34" charset="-34"/>
              </a:rPr>
              <a:t>GNI Per cap </a:t>
            </a:r>
            <a:r>
              <a:rPr lang="en-US" sz="1400" dirty="0" smtClean="0">
                <a:solidFill>
                  <a:srgbClr val="1F497D"/>
                </a:solidFill>
                <a:latin typeface="TH SarabunPSK" pitchFamily="34" charset="-34"/>
                <a:cs typeface="TH SarabunPSK" pitchFamily="34" charset="-34"/>
              </a:rPr>
              <a:t>8,859 </a:t>
            </a:r>
            <a:r>
              <a:rPr lang="en-US" sz="1400" dirty="0">
                <a:solidFill>
                  <a:srgbClr val="1F497D"/>
                </a:solidFill>
                <a:latin typeface="TH SarabunPSK" pitchFamily="34" charset="-34"/>
                <a:cs typeface="TH SarabunPSK" pitchFamily="34" charset="-34"/>
              </a:rPr>
              <a:t>USD </a:t>
            </a:r>
            <a:br>
              <a:rPr lang="en-US" sz="1400" dirty="0">
                <a:solidFill>
                  <a:srgbClr val="1F497D"/>
                </a:solidFill>
                <a:latin typeface="TH SarabunPSK" pitchFamily="34" charset="-34"/>
                <a:cs typeface="TH SarabunPSK" pitchFamily="34" charset="-34"/>
              </a:rPr>
            </a:br>
            <a:r>
              <a:rPr lang="en-US" sz="1400" dirty="0">
                <a:solidFill>
                  <a:srgbClr val="1F497D"/>
                </a:solidFill>
                <a:latin typeface="TH SarabunPSK" pitchFamily="34" charset="-34"/>
                <a:cs typeface="TH SarabunPSK" pitchFamily="34" charset="-34"/>
              </a:rPr>
              <a:t>(</a:t>
            </a:r>
            <a:r>
              <a:rPr lang="en-US" sz="1400" dirty="0" smtClean="0">
                <a:solidFill>
                  <a:srgbClr val="1F497D"/>
                </a:solidFill>
                <a:latin typeface="TH SarabunPSK" pitchFamily="34" charset="-34"/>
                <a:cs typeface="TH SarabunPSK" pitchFamily="34" charset="-34"/>
              </a:rPr>
              <a:t>301,199 </a:t>
            </a:r>
            <a:r>
              <a:rPr lang="en-US" sz="1400" dirty="0">
                <a:solidFill>
                  <a:srgbClr val="1F497D"/>
                </a:solidFill>
                <a:latin typeface="TH SarabunPSK" pitchFamily="34" charset="-34"/>
                <a:cs typeface="TH SarabunPSK" pitchFamily="34" charset="-34"/>
              </a:rPr>
              <a:t>baht)</a:t>
            </a:r>
          </a:p>
        </p:txBody>
      </p:sp>
      <p:sp>
        <p:nvSpPr>
          <p:cNvPr id="4" name="5-Point Star 3"/>
          <p:cNvSpPr/>
          <p:nvPr/>
        </p:nvSpPr>
        <p:spPr>
          <a:xfrm>
            <a:off x="7511178" y="3064689"/>
            <a:ext cx="197001" cy="162406"/>
          </a:xfrm>
          <a:prstGeom prst="star5">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th-TH">
              <a:solidFill>
                <a:prstClr val="white"/>
              </a:solidFill>
            </a:endParaRPr>
          </a:p>
        </p:txBody>
      </p:sp>
      <p:sp>
        <p:nvSpPr>
          <p:cNvPr id="21" name="TextBox 20"/>
          <p:cNvSpPr txBox="1"/>
          <p:nvPr/>
        </p:nvSpPr>
        <p:spPr>
          <a:xfrm>
            <a:off x="7465422" y="2272601"/>
            <a:ext cx="1656184" cy="810478"/>
          </a:xfrm>
          <a:prstGeom prst="rect">
            <a:avLst/>
          </a:prstGeom>
          <a:noFill/>
        </p:spPr>
        <p:txBody>
          <a:bodyPr wrap="square" rtlCol="0">
            <a:spAutoFit/>
          </a:bodyPr>
          <a:lstStyle/>
          <a:p>
            <a:pPr>
              <a:lnSpc>
                <a:spcPts val="1400"/>
              </a:lnSpc>
            </a:pPr>
            <a:r>
              <a:rPr lang="th-TH" sz="1400" dirty="0">
                <a:solidFill>
                  <a:srgbClr val="F79646">
                    <a:lumMod val="50000"/>
                  </a:srgbClr>
                </a:solidFill>
                <a:latin typeface="TH SarabunPSK" pitchFamily="34" charset="-34"/>
                <a:cs typeface="TH SarabunPSK" pitchFamily="34" charset="-34"/>
              </a:rPr>
              <a:t>สิ้นสุดแผนฯ 13 ในปี 2569 </a:t>
            </a:r>
            <a:br>
              <a:rPr lang="th-TH" sz="1400" dirty="0">
                <a:solidFill>
                  <a:srgbClr val="F79646">
                    <a:lumMod val="50000"/>
                  </a:srgbClr>
                </a:solidFill>
                <a:latin typeface="TH SarabunPSK" pitchFamily="34" charset="-34"/>
                <a:cs typeface="TH SarabunPSK" pitchFamily="34" charset="-34"/>
              </a:rPr>
            </a:br>
            <a:r>
              <a:rPr lang="th-TH" sz="1400" dirty="0">
                <a:solidFill>
                  <a:srgbClr val="F79646">
                    <a:lumMod val="50000"/>
                  </a:srgbClr>
                </a:solidFill>
                <a:latin typeface="TH SarabunPSK" pitchFamily="34" charset="-34"/>
                <a:cs typeface="TH SarabunPSK" pitchFamily="34" charset="-34"/>
              </a:rPr>
              <a:t>เป้าหมายเข้าสู่ประเทศรายได้สูง</a:t>
            </a:r>
          </a:p>
          <a:p>
            <a:pPr>
              <a:lnSpc>
                <a:spcPts val="1400"/>
              </a:lnSpc>
            </a:pPr>
            <a:r>
              <a:rPr lang="en-US" sz="1400" dirty="0">
                <a:solidFill>
                  <a:srgbClr val="F79646">
                    <a:lumMod val="50000"/>
                  </a:srgbClr>
                </a:solidFill>
                <a:latin typeface="TH SarabunPSK" pitchFamily="34" charset="-34"/>
                <a:cs typeface="TH SarabunPSK" pitchFamily="34" charset="-34"/>
              </a:rPr>
              <a:t>GNI Per cap 12,966 USD </a:t>
            </a:r>
            <a:br>
              <a:rPr lang="en-US" sz="1400" dirty="0">
                <a:solidFill>
                  <a:srgbClr val="F79646">
                    <a:lumMod val="50000"/>
                  </a:srgbClr>
                </a:solidFill>
                <a:latin typeface="TH SarabunPSK" pitchFamily="34" charset="-34"/>
                <a:cs typeface="TH SarabunPSK" pitchFamily="34" charset="-34"/>
              </a:rPr>
            </a:br>
            <a:r>
              <a:rPr lang="en-US" sz="1400" dirty="0">
                <a:solidFill>
                  <a:srgbClr val="F79646">
                    <a:lumMod val="50000"/>
                  </a:srgbClr>
                </a:solidFill>
                <a:latin typeface="TH SarabunPSK" pitchFamily="34" charset="-34"/>
                <a:cs typeface="TH SarabunPSK" pitchFamily="34" charset="-34"/>
              </a:rPr>
              <a:t>(440,849 baht)</a:t>
            </a:r>
          </a:p>
        </p:txBody>
      </p:sp>
      <p:sp>
        <p:nvSpPr>
          <p:cNvPr id="23" name="TextBox 22"/>
          <p:cNvSpPr txBox="1"/>
          <p:nvPr/>
        </p:nvSpPr>
        <p:spPr>
          <a:xfrm>
            <a:off x="5868144" y="4053445"/>
            <a:ext cx="1872208" cy="451406"/>
          </a:xfrm>
          <a:prstGeom prst="rect">
            <a:avLst/>
          </a:prstGeom>
          <a:noFill/>
        </p:spPr>
        <p:txBody>
          <a:bodyPr wrap="square" rtlCol="0">
            <a:spAutoFit/>
          </a:bodyPr>
          <a:lstStyle/>
          <a:p>
            <a:pPr>
              <a:lnSpc>
                <a:spcPts val="1400"/>
              </a:lnSpc>
            </a:pPr>
            <a:r>
              <a:rPr lang="th-TH" sz="1400" dirty="0">
                <a:solidFill>
                  <a:prstClr val="black"/>
                </a:solidFill>
                <a:latin typeface="TH SarabunPSK" pitchFamily="34" charset="-34"/>
                <a:cs typeface="TH SarabunPSK" pitchFamily="34" charset="-34"/>
              </a:rPr>
              <a:t>ปี 2557 </a:t>
            </a:r>
            <a:r>
              <a:rPr lang="en-US" sz="1400" dirty="0">
                <a:solidFill>
                  <a:prstClr val="black"/>
                </a:solidFill>
                <a:latin typeface="TH SarabunPSK" pitchFamily="34" charset="-34"/>
                <a:cs typeface="TH SarabunPSK" pitchFamily="34" charset="-34"/>
              </a:rPr>
              <a:t>GNI per cap 5,739 USD</a:t>
            </a:r>
          </a:p>
          <a:p>
            <a:pPr>
              <a:lnSpc>
                <a:spcPts val="1400"/>
              </a:lnSpc>
            </a:pPr>
            <a:r>
              <a:rPr lang="en-US" sz="1400" dirty="0">
                <a:solidFill>
                  <a:prstClr val="black"/>
                </a:solidFill>
                <a:latin typeface="TH SarabunPSK" pitchFamily="34" charset="-34"/>
                <a:cs typeface="TH SarabunPSK" pitchFamily="34" charset="-34"/>
              </a:rPr>
              <a:t>(186,427 baht)</a:t>
            </a:r>
          </a:p>
        </p:txBody>
      </p:sp>
    </p:spTree>
    <p:extLst>
      <p:ext uri="{BB962C8B-B14F-4D97-AF65-F5344CB8AC3E}">
        <p14:creationId xmlns:p14="http://schemas.microsoft.com/office/powerpoint/2010/main" xmlns="" val="1074355004"/>
      </p:ext>
    </p:extLst>
  </p:cSld>
  <p:clrMapOvr>
    <a:overrideClrMapping bg1="lt1" tx1="dk1" bg2="lt2" tx2="dk2" accent1="accent1" accent2="accent2" accent3="accent3" accent4="accent4" accent5="accent5" accent6="accent6" hlink="hlink" folHlink="folHlink"/>
  </p:clrMapOvr>
  <p:transition>
    <p:fade thruBlk="1"/>
  </p:transition>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4" descr="07-0109 hj"/>
          <p:cNvPicPr>
            <a:picLocks noGrp="1" noChangeAspect="1" noChangeArrowheads="1"/>
          </p:cNvPicPr>
          <p:nvPr>
            <p:ph idx="4294967295"/>
          </p:nvPr>
        </p:nvPicPr>
        <p:blipFill>
          <a:blip r:embed="rId3" cstate="print"/>
          <a:srcRect b="7198"/>
          <a:stretch>
            <a:fillRect/>
          </a:stretch>
        </p:blipFill>
        <p:spPr bwMode="auto">
          <a:xfrm>
            <a:off x="228600" y="141480"/>
            <a:ext cx="5562600" cy="4868670"/>
          </a:xfrm>
          <a:prstGeom prst="rect">
            <a:avLst/>
          </a:prstGeom>
          <a:ln>
            <a:noFill/>
          </a:ln>
          <a:effectLst>
            <a:softEdge rad="112500"/>
          </a:effectLst>
        </p:spPr>
      </p:pic>
      <p:sp>
        <p:nvSpPr>
          <p:cNvPr id="12" name="Title 1"/>
          <p:cNvSpPr txBox="1">
            <a:spLocks/>
          </p:cNvSpPr>
          <p:nvPr/>
        </p:nvSpPr>
        <p:spPr>
          <a:xfrm>
            <a:off x="6248400" y="1028700"/>
            <a:ext cx="2915816" cy="857250"/>
          </a:xfrm>
          <a:prstGeom prst="rect">
            <a:avLst/>
          </a:prstGeom>
        </p:spPr>
        <p:txBody>
          <a:bodyPr vert="horz" lIns="91440" tIns="45720" rIns="91440" bIns="45720" rtlCol="0" anchor="ctr">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r>
              <a:rPr lang="th-TH" sz="2000" b="1" dirty="0" smtClean="0">
                <a:solidFill>
                  <a:srgbClr val="C00000"/>
                </a:solidFill>
                <a:latin typeface="TH SarabunPSK" pitchFamily="34" charset="-34"/>
                <a:cs typeface="TH SarabunPSK" pitchFamily="34" charset="-34"/>
              </a:rPr>
              <a:t>แนวระเบียงเศรษฐกิจเหนือ-ใต้</a:t>
            </a:r>
          </a:p>
          <a:p>
            <a:r>
              <a:rPr lang="en-US" sz="2000" b="1" dirty="0" smtClean="0">
                <a:solidFill>
                  <a:srgbClr val="C00000"/>
                </a:solidFill>
                <a:latin typeface="TH SarabunPSK" pitchFamily="34" charset="-34"/>
                <a:cs typeface="TH SarabunPSK" pitchFamily="34" charset="-34"/>
              </a:rPr>
              <a:t>North-South </a:t>
            </a:r>
            <a:br>
              <a:rPr lang="en-US" sz="2000" b="1" dirty="0" smtClean="0">
                <a:solidFill>
                  <a:srgbClr val="C00000"/>
                </a:solidFill>
                <a:latin typeface="TH SarabunPSK" pitchFamily="34" charset="-34"/>
                <a:cs typeface="TH SarabunPSK" pitchFamily="34" charset="-34"/>
              </a:rPr>
            </a:br>
            <a:r>
              <a:rPr lang="en-US" sz="2000" b="1" dirty="0" smtClean="0">
                <a:solidFill>
                  <a:srgbClr val="C00000"/>
                </a:solidFill>
                <a:latin typeface="TH SarabunPSK" pitchFamily="34" charset="-34"/>
                <a:cs typeface="TH SarabunPSK" pitchFamily="34" charset="-34"/>
              </a:rPr>
              <a:t>Economic Corridor (NSEC)</a:t>
            </a:r>
            <a:endParaRPr lang="th-TH" sz="2000" b="1" dirty="0">
              <a:solidFill>
                <a:srgbClr val="C00000"/>
              </a:solidFill>
              <a:latin typeface="TH SarabunPSK" pitchFamily="34" charset="-34"/>
              <a:cs typeface="TH SarabunPSK" pitchFamily="34" charset="-34"/>
            </a:endParaRPr>
          </a:p>
        </p:txBody>
      </p:sp>
      <p:sp>
        <p:nvSpPr>
          <p:cNvPr id="13" name="Title 1"/>
          <p:cNvSpPr txBox="1">
            <a:spLocks/>
          </p:cNvSpPr>
          <p:nvPr/>
        </p:nvSpPr>
        <p:spPr>
          <a:xfrm>
            <a:off x="6228184" y="2343150"/>
            <a:ext cx="2915816" cy="857250"/>
          </a:xfrm>
          <a:prstGeom prst="rect">
            <a:avLst/>
          </a:prstGeom>
        </p:spPr>
        <p:txBody>
          <a:bodyPr vert="horz" lIns="91440" tIns="45720" rIns="91440" bIns="45720" rtlCol="0" anchor="ctr">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r>
              <a:rPr lang="th-TH" sz="2000" b="1" dirty="0" smtClean="0">
                <a:solidFill>
                  <a:schemeClr val="accent2">
                    <a:lumMod val="50000"/>
                  </a:schemeClr>
                </a:solidFill>
                <a:latin typeface="TH SarabunPSK" pitchFamily="34" charset="-34"/>
                <a:cs typeface="TH SarabunPSK" pitchFamily="34" charset="-34"/>
              </a:rPr>
              <a:t>แนวระเบียงเศรษฐกิจ</a:t>
            </a:r>
            <a:br>
              <a:rPr lang="th-TH" sz="2000" b="1" dirty="0" smtClean="0">
                <a:solidFill>
                  <a:schemeClr val="accent2">
                    <a:lumMod val="50000"/>
                  </a:schemeClr>
                </a:solidFill>
                <a:latin typeface="TH SarabunPSK" pitchFamily="34" charset="-34"/>
                <a:cs typeface="TH SarabunPSK" pitchFamily="34" charset="-34"/>
              </a:rPr>
            </a:br>
            <a:r>
              <a:rPr lang="th-TH" sz="2000" b="1" dirty="0" smtClean="0">
                <a:solidFill>
                  <a:schemeClr val="accent2">
                    <a:lumMod val="50000"/>
                  </a:schemeClr>
                </a:solidFill>
                <a:latin typeface="TH SarabunPSK" pitchFamily="34" charset="-34"/>
                <a:cs typeface="TH SarabunPSK" pitchFamily="34" charset="-34"/>
              </a:rPr>
              <a:t>ตะวันออก-ตะวันตก</a:t>
            </a:r>
            <a:endParaRPr lang="en-US" sz="2000" b="1" dirty="0" smtClean="0">
              <a:solidFill>
                <a:schemeClr val="accent2">
                  <a:lumMod val="50000"/>
                </a:schemeClr>
              </a:solidFill>
              <a:latin typeface="TH SarabunPSK" pitchFamily="34" charset="-34"/>
              <a:cs typeface="TH SarabunPSK" pitchFamily="34" charset="-34"/>
            </a:endParaRPr>
          </a:p>
          <a:p>
            <a:r>
              <a:rPr lang="en-US" sz="2000" b="1" dirty="0" smtClean="0">
                <a:solidFill>
                  <a:schemeClr val="accent2">
                    <a:lumMod val="50000"/>
                  </a:schemeClr>
                </a:solidFill>
                <a:latin typeface="TH SarabunPSK" pitchFamily="34" charset="-34"/>
                <a:cs typeface="TH SarabunPSK" pitchFamily="34" charset="-34"/>
              </a:rPr>
              <a:t>East-West  Economic Corridor(EWEC)</a:t>
            </a:r>
            <a:endParaRPr lang="th-TH" sz="2000" b="1" dirty="0">
              <a:solidFill>
                <a:schemeClr val="accent2">
                  <a:lumMod val="50000"/>
                </a:schemeClr>
              </a:solidFill>
              <a:latin typeface="TH SarabunPSK" pitchFamily="34" charset="-34"/>
              <a:cs typeface="TH SarabunPSK" pitchFamily="34" charset="-34"/>
            </a:endParaRPr>
          </a:p>
        </p:txBody>
      </p:sp>
      <p:sp>
        <p:nvSpPr>
          <p:cNvPr id="14" name="Title 1"/>
          <p:cNvSpPr txBox="1">
            <a:spLocks/>
          </p:cNvSpPr>
          <p:nvPr/>
        </p:nvSpPr>
        <p:spPr>
          <a:xfrm>
            <a:off x="6248400" y="3638550"/>
            <a:ext cx="2915816" cy="857250"/>
          </a:xfrm>
          <a:prstGeom prst="rect">
            <a:avLst/>
          </a:prstGeom>
        </p:spPr>
        <p:txBody>
          <a:bodyPr vert="horz" lIns="91440" tIns="45720" rIns="91440" bIns="45720" rtlCol="0" anchor="ctr">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r>
              <a:rPr lang="th-TH" sz="2000" b="1" dirty="0" smtClean="0">
                <a:solidFill>
                  <a:schemeClr val="bg1">
                    <a:lumMod val="50000"/>
                  </a:schemeClr>
                </a:solidFill>
                <a:latin typeface="TH SarabunPSK" pitchFamily="34" charset="-34"/>
                <a:cs typeface="TH SarabunPSK" pitchFamily="34" charset="-34"/>
              </a:rPr>
              <a:t>แนวระเบียงเศรษฐกิจตอนใต้</a:t>
            </a:r>
            <a:r>
              <a:rPr lang="en-US" sz="2000" b="1" dirty="0" smtClean="0">
                <a:solidFill>
                  <a:schemeClr val="bg1">
                    <a:lumMod val="50000"/>
                  </a:schemeClr>
                </a:solidFill>
                <a:latin typeface="TH SarabunPSK" pitchFamily="34" charset="-34"/>
                <a:cs typeface="TH SarabunPSK" pitchFamily="34" charset="-34"/>
              </a:rPr>
              <a:t/>
            </a:r>
            <a:br>
              <a:rPr lang="en-US" sz="2000" b="1" dirty="0" smtClean="0">
                <a:solidFill>
                  <a:schemeClr val="bg1">
                    <a:lumMod val="50000"/>
                  </a:schemeClr>
                </a:solidFill>
                <a:latin typeface="TH SarabunPSK" pitchFamily="34" charset="-34"/>
                <a:cs typeface="TH SarabunPSK" pitchFamily="34" charset="-34"/>
              </a:rPr>
            </a:br>
            <a:r>
              <a:rPr lang="en-US" sz="2000" b="1" dirty="0" smtClean="0">
                <a:solidFill>
                  <a:schemeClr val="bg1">
                    <a:lumMod val="50000"/>
                  </a:schemeClr>
                </a:solidFill>
                <a:latin typeface="TH SarabunPSK" pitchFamily="34" charset="-34"/>
                <a:cs typeface="TH SarabunPSK" pitchFamily="34" charset="-34"/>
              </a:rPr>
              <a:t>Southern </a:t>
            </a:r>
            <a:br>
              <a:rPr lang="en-US" sz="2000" b="1" dirty="0" smtClean="0">
                <a:solidFill>
                  <a:schemeClr val="bg1">
                    <a:lumMod val="50000"/>
                  </a:schemeClr>
                </a:solidFill>
                <a:latin typeface="TH SarabunPSK" pitchFamily="34" charset="-34"/>
                <a:cs typeface="TH SarabunPSK" pitchFamily="34" charset="-34"/>
              </a:rPr>
            </a:br>
            <a:r>
              <a:rPr lang="en-US" sz="2000" b="1" dirty="0" smtClean="0">
                <a:solidFill>
                  <a:schemeClr val="bg1">
                    <a:lumMod val="50000"/>
                  </a:schemeClr>
                </a:solidFill>
                <a:latin typeface="TH SarabunPSK" pitchFamily="34" charset="-34"/>
                <a:cs typeface="TH SarabunPSK" pitchFamily="34" charset="-34"/>
              </a:rPr>
              <a:t>Economic Corridor (SEC)</a:t>
            </a:r>
            <a:endParaRPr lang="th-TH" sz="2000" b="1" dirty="0">
              <a:solidFill>
                <a:schemeClr val="bg1">
                  <a:lumMod val="50000"/>
                </a:schemeClr>
              </a:solidFill>
              <a:latin typeface="TH SarabunPSK" pitchFamily="34" charset="-34"/>
              <a:cs typeface="TH SarabunPSK" pitchFamily="34" charset="-34"/>
            </a:endParaRPr>
          </a:p>
        </p:txBody>
      </p:sp>
      <p:sp>
        <p:nvSpPr>
          <p:cNvPr id="7" name="Rounded Rectangle 6"/>
          <p:cNvSpPr/>
          <p:nvPr/>
        </p:nvSpPr>
        <p:spPr>
          <a:xfrm rot="1332408">
            <a:off x="2553943" y="502852"/>
            <a:ext cx="871541" cy="2653553"/>
          </a:xfrm>
          <a:prstGeom prst="roundRect">
            <a:avLst/>
          </a:prstGeom>
          <a:noFill/>
          <a:ln w="57150">
            <a:solidFill>
              <a:srgbClr val="FF0000">
                <a:alpha val="88000"/>
              </a:srgb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th-TH" sz="2400">
              <a:solidFill>
                <a:srgbClr val="FF0000"/>
              </a:solidFill>
            </a:endParaRPr>
          </a:p>
        </p:txBody>
      </p:sp>
      <p:sp>
        <p:nvSpPr>
          <p:cNvPr id="8" name="Rounded Rectangle 7"/>
          <p:cNvSpPr/>
          <p:nvPr/>
        </p:nvSpPr>
        <p:spPr>
          <a:xfrm>
            <a:off x="1754167" y="2416579"/>
            <a:ext cx="3475540" cy="685800"/>
          </a:xfrm>
          <a:prstGeom prst="roundRect">
            <a:avLst/>
          </a:prstGeom>
          <a:noFill/>
          <a:ln w="57150">
            <a:solidFill>
              <a:schemeClr val="accent6">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th-TH" sz="2400"/>
          </a:p>
        </p:txBody>
      </p:sp>
      <p:sp>
        <p:nvSpPr>
          <p:cNvPr id="18" name="Rounded Rectangle 17"/>
          <p:cNvSpPr/>
          <p:nvPr/>
        </p:nvSpPr>
        <p:spPr>
          <a:xfrm rot="423074">
            <a:off x="1725903" y="3476507"/>
            <a:ext cx="4459141" cy="685800"/>
          </a:xfrm>
          <a:prstGeom prst="roundRect">
            <a:avLst/>
          </a:prstGeom>
          <a:noFill/>
          <a:ln w="571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th-TH" sz="2400"/>
          </a:p>
        </p:txBody>
      </p:sp>
      <p:cxnSp>
        <p:nvCxnSpPr>
          <p:cNvPr id="16" name="Straight Arrow Connector 15"/>
          <p:cNvCxnSpPr/>
          <p:nvPr/>
        </p:nvCxnSpPr>
        <p:spPr>
          <a:xfrm flipV="1">
            <a:off x="3635954" y="1383618"/>
            <a:ext cx="2952271" cy="337998"/>
          </a:xfrm>
          <a:prstGeom prst="straightConnector1">
            <a:avLst/>
          </a:prstGeom>
          <a:ln w="76200">
            <a:solidFill>
              <a:srgbClr val="FF0000"/>
            </a:solidFill>
            <a:prstDash val="sysDot"/>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24" name="Straight Arrow Connector 23"/>
          <p:cNvCxnSpPr/>
          <p:nvPr/>
        </p:nvCxnSpPr>
        <p:spPr>
          <a:xfrm>
            <a:off x="5364088" y="2759479"/>
            <a:ext cx="1224136" cy="0"/>
          </a:xfrm>
          <a:prstGeom prst="straightConnector1">
            <a:avLst/>
          </a:prstGeom>
          <a:ln w="76200">
            <a:solidFill>
              <a:schemeClr val="accent6">
                <a:lumMod val="50000"/>
              </a:schemeClr>
            </a:solidFill>
            <a:prstDash val="sysDot"/>
            <a:headEnd type="none" w="med" len="med"/>
            <a:tailEnd type="arrow" w="med" len="med"/>
          </a:ln>
        </p:spPr>
        <p:style>
          <a:lnRef idx="1">
            <a:schemeClr val="accent1"/>
          </a:lnRef>
          <a:fillRef idx="0">
            <a:schemeClr val="accent1"/>
          </a:fillRef>
          <a:effectRef idx="0">
            <a:schemeClr val="accent1"/>
          </a:effectRef>
          <a:fontRef idx="minor">
            <a:schemeClr val="tx1"/>
          </a:fontRef>
        </p:style>
      </p:cxnSp>
      <p:cxnSp>
        <p:nvCxnSpPr>
          <p:cNvPr id="26" name="Straight Arrow Connector 25"/>
          <p:cNvCxnSpPr>
            <a:stCxn id="18" idx="3"/>
          </p:cNvCxnSpPr>
          <p:nvPr/>
        </p:nvCxnSpPr>
        <p:spPr>
          <a:xfrm>
            <a:off x="6168180" y="4024678"/>
            <a:ext cx="420044" cy="59240"/>
          </a:xfrm>
          <a:prstGeom prst="straightConnector1">
            <a:avLst/>
          </a:prstGeom>
          <a:ln w="76200">
            <a:solidFill>
              <a:schemeClr val="bg1">
                <a:lumMod val="50000"/>
              </a:schemeClr>
            </a:solidFill>
            <a:prstDash val="sysDot"/>
            <a:headEnd type="none" w="med" len="med"/>
            <a:tailEnd type="arrow" w="med" len="med"/>
          </a:ln>
        </p:spPr>
        <p:style>
          <a:lnRef idx="1">
            <a:schemeClr val="accent1"/>
          </a:lnRef>
          <a:fillRef idx="0">
            <a:schemeClr val="accent1"/>
          </a:fillRef>
          <a:effectRef idx="0">
            <a:schemeClr val="accent1"/>
          </a:effectRef>
          <a:fontRef idx="minor">
            <a:schemeClr val="tx1"/>
          </a:fontRef>
        </p:style>
      </p:cxnSp>
      <p:sp>
        <p:nvSpPr>
          <p:cNvPr id="19" name="Title 1"/>
          <p:cNvSpPr txBox="1">
            <a:spLocks/>
          </p:cNvSpPr>
          <p:nvPr/>
        </p:nvSpPr>
        <p:spPr>
          <a:xfrm>
            <a:off x="0" y="0"/>
            <a:ext cx="9144000" cy="400050"/>
          </a:xfrm>
          <a:prstGeom prst="rect">
            <a:avLst/>
          </a:prstGeom>
          <a:solidFill>
            <a:schemeClr val="accent3">
              <a:lumMod val="10000"/>
              <a:lumOff val="90000"/>
            </a:schemeClr>
          </a:solidFill>
        </p:spPr>
        <p:style>
          <a:lnRef idx="3">
            <a:schemeClr val="lt1"/>
          </a:lnRef>
          <a:fillRef idx="1">
            <a:schemeClr val="accent5"/>
          </a:fillRef>
          <a:effectRef idx="1">
            <a:schemeClr val="accent5"/>
          </a:effectRef>
          <a:fontRef idx="minor">
            <a:schemeClr val="lt1"/>
          </a:fontRef>
        </p:style>
        <p:txBody>
          <a:bodyPr anchor="ctr"/>
          <a:lstStyle/>
          <a:p>
            <a:pPr algn="ctr">
              <a:spcBef>
                <a:spcPct val="0"/>
              </a:spcBef>
              <a:defRPr/>
            </a:pPr>
            <a:r>
              <a:rPr lang="th-TH" sz="3200" b="1" dirty="0" smtClean="0">
                <a:solidFill>
                  <a:schemeClr val="accent4">
                    <a:lumMod val="25000"/>
                  </a:schemeClr>
                </a:solidFill>
                <a:latin typeface="TH SarabunPSK" pitchFamily="34" charset="-34"/>
                <a:cs typeface="TH SarabunPSK" pitchFamily="34" charset="-34"/>
              </a:rPr>
              <a:t>แนวระเบียงเศรษฐกิจ </a:t>
            </a:r>
            <a:r>
              <a:rPr lang="en-US" sz="3200" b="1" dirty="0" smtClean="0">
                <a:solidFill>
                  <a:schemeClr val="accent4">
                    <a:lumMod val="25000"/>
                  </a:schemeClr>
                </a:solidFill>
                <a:latin typeface="TH SarabunPSK" pitchFamily="34" charset="-34"/>
                <a:cs typeface="TH SarabunPSK" pitchFamily="34" charset="-34"/>
              </a:rPr>
              <a:t>GMS</a:t>
            </a:r>
            <a:endParaRPr lang="en-US" sz="3200" b="1" dirty="0">
              <a:solidFill>
                <a:schemeClr val="accent4">
                  <a:lumMod val="25000"/>
                </a:schemeClr>
              </a:solidFill>
              <a:latin typeface="TH SarabunPSK" pitchFamily="34" charset="-34"/>
              <a:cs typeface="TH SarabunPSK" pitchFamily="34" charset="-34"/>
            </a:endParaRPr>
          </a:p>
        </p:txBody>
      </p:sp>
    </p:spTree>
    <p:extLst>
      <p:ext uri="{BB962C8B-B14F-4D97-AF65-F5344CB8AC3E}">
        <p14:creationId xmlns:p14="http://schemas.microsoft.com/office/powerpoint/2010/main" xmlns="" val="3217810036"/>
      </p:ext>
    </p:extLst>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ounded Rectangle 5"/>
          <p:cNvSpPr/>
          <p:nvPr/>
        </p:nvSpPr>
        <p:spPr>
          <a:xfrm>
            <a:off x="0" y="0"/>
            <a:ext cx="9144000" cy="400050"/>
          </a:xfrm>
          <a:prstGeom prst="roundRect">
            <a:avLst>
              <a:gd name="adj" fmla="val 0"/>
            </a:avLst>
          </a:prstGeom>
          <a:solidFill>
            <a:schemeClr val="accent4">
              <a:lumMod val="50000"/>
            </a:schemeClr>
          </a:solidFill>
        </p:spPr>
        <p:style>
          <a:lnRef idx="3">
            <a:schemeClr val="lt1"/>
          </a:lnRef>
          <a:fillRef idx="1">
            <a:schemeClr val="accent1"/>
          </a:fillRef>
          <a:effectRef idx="1">
            <a:schemeClr val="accent1"/>
          </a:effectRef>
          <a:fontRef idx="minor">
            <a:schemeClr val="lt1"/>
          </a:fontRef>
        </p:style>
        <p:txBody>
          <a:bodyPr anchor="ctr"/>
          <a:lstStyle/>
          <a:p>
            <a:pPr indent="-463550" algn="ctr">
              <a:defRPr/>
            </a:pPr>
            <a:r>
              <a:rPr lang="th-TH" b="1" dirty="0" smtClean="0">
                <a:solidFill>
                  <a:schemeClr val="bg1"/>
                </a:solidFill>
                <a:latin typeface="TH SarabunPSK" pitchFamily="34" charset="-34"/>
                <a:cs typeface="TH SarabunPSK" pitchFamily="34" charset="-34"/>
                <a:sym typeface="Wingdings"/>
              </a:rPr>
              <a:t>การพัฒนาโครงข่ายถนน</a:t>
            </a:r>
            <a:endParaRPr lang="th-TH" b="1" dirty="0">
              <a:solidFill>
                <a:schemeClr val="bg1"/>
              </a:solidFill>
              <a:latin typeface="TH SarabunPSK" pitchFamily="34" charset="-34"/>
              <a:cs typeface="TH SarabunPSK" pitchFamily="34" charset="-34"/>
              <a:sym typeface="Wingdings"/>
            </a:endParaRPr>
          </a:p>
        </p:txBody>
      </p:sp>
      <p:pic>
        <p:nvPicPr>
          <p:cNvPr id="4183" name="Picture 87"/>
          <p:cNvPicPr>
            <a:picLocks noChangeAspect="1" noChangeArrowheads="1"/>
          </p:cNvPicPr>
          <p:nvPr/>
        </p:nvPicPr>
        <p:blipFill rotWithShape="1">
          <a:blip r:embed="rId2">
            <a:extLst>
              <a:ext uri="{28A0092B-C50C-407E-A947-70E740481C1C}">
                <a14:useLocalDpi xmlns:a14="http://schemas.microsoft.com/office/drawing/2010/main" xmlns="" val="0"/>
              </a:ext>
            </a:extLst>
          </a:blip>
          <a:srcRect l="14770" t="28935" r="29375" b="23472"/>
          <a:stretch/>
        </p:blipFill>
        <p:spPr bwMode="auto">
          <a:xfrm>
            <a:off x="-25401" y="794659"/>
            <a:ext cx="5511801" cy="2081892"/>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32" name="TextBox 31"/>
          <p:cNvSpPr txBox="1"/>
          <p:nvPr/>
        </p:nvSpPr>
        <p:spPr>
          <a:xfrm>
            <a:off x="5486400" y="819150"/>
            <a:ext cx="3581400" cy="2000548"/>
          </a:xfrm>
          <a:prstGeom prst="rect">
            <a:avLst/>
          </a:prstGeom>
          <a:noFill/>
          <a:ln w="57150">
            <a:solidFill>
              <a:srgbClr val="FF0000"/>
            </a:solidFill>
          </a:ln>
        </p:spPr>
        <p:txBody>
          <a:bodyPr wrap="square" rtlCol="0">
            <a:spAutoFit/>
          </a:bodyPr>
          <a:lstStyle/>
          <a:p>
            <a:pPr marL="174625" indent="-174625">
              <a:buFont typeface="Arial" pitchFamily="34" charset="0"/>
              <a:buChar char="•"/>
              <a:tabLst>
                <a:tab pos="174625" algn="l"/>
              </a:tabLst>
            </a:pPr>
            <a:r>
              <a:rPr lang="th-TH" sz="1550" b="1" dirty="0" smtClean="0">
                <a:latin typeface="TH SarabunPSK" pitchFamily="34" charset="-34"/>
                <a:cs typeface="TH SarabunPSK" pitchFamily="34" charset="-34"/>
              </a:rPr>
              <a:t>รัฐบาลไทย (กรมทางหลวง) ให้ความช่วยเหลือก่อสร้างเส้นทางเมียวดี-กอ</a:t>
            </a:r>
            <a:r>
              <a:rPr lang="th-TH" sz="1550" b="1" dirty="0" err="1" smtClean="0">
                <a:latin typeface="TH SarabunPSK" pitchFamily="34" charset="-34"/>
                <a:cs typeface="TH SarabunPSK" pitchFamily="34" charset="-34"/>
              </a:rPr>
              <a:t>กะเร็ก</a:t>
            </a:r>
            <a:r>
              <a:rPr lang="th-TH" sz="1550" b="1" dirty="0" smtClean="0">
                <a:latin typeface="TH SarabunPSK" pitchFamily="34" charset="-34"/>
                <a:cs typeface="TH SarabunPSK" pitchFamily="34" charset="-34"/>
              </a:rPr>
              <a:t> พิธีส่งมอบเมื่อ 30 ส.ค. 58</a:t>
            </a:r>
          </a:p>
          <a:p>
            <a:pPr marL="174625" indent="-174625">
              <a:buFont typeface="Arial" pitchFamily="34" charset="0"/>
              <a:buChar char="•"/>
              <a:tabLst>
                <a:tab pos="174625" algn="l"/>
              </a:tabLst>
            </a:pPr>
            <a:r>
              <a:rPr lang="th-TH" sz="1550" b="1" dirty="0" smtClean="0">
                <a:latin typeface="TH SarabunPSK" pitchFamily="34" charset="-34"/>
                <a:cs typeface="TH SarabunPSK" pitchFamily="34" charset="-34"/>
              </a:rPr>
              <a:t>พร้อมทั้งได้ลงนามการก่อสร้างสะพานมิตรภาพไทย</a:t>
            </a:r>
            <a:r>
              <a:rPr lang="th-TH" sz="1550" b="1" dirty="0" err="1" smtClean="0">
                <a:latin typeface="TH SarabunPSK" pitchFamily="34" charset="-34"/>
                <a:cs typeface="TH SarabunPSK" pitchFamily="34" charset="-34"/>
              </a:rPr>
              <a:t>เมียนมา</a:t>
            </a:r>
            <a:r>
              <a:rPr lang="th-TH" sz="1550" b="1" dirty="0" smtClean="0">
                <a:latin typeface="TH SarabunPSK" pitchFamily="34" charset="-34"/>
                <a:cs typeface="TH SarabunPSK" pitchFamily="34" charset="-34"/>
              </a:rPr>
              <a:t>แห่งที่ 2 วันที่ 10 ก.ย. 58</a:t>
            </a:r>
          </a:p>
          <a:p>
            <a:pPr marL="174625" indent="-174625">
              <a:buFont typeface="Arial" pitchFamily="34" charset="0"/>
              <a:buChar char="•"/>
              <a:tabLst>
                <a:tab pos="174625" algn="l"/>
              </a:tabLst>
            </a:pPr>
            <a:r>
              <a:rPr lang="th-TH" sz="1550" b="1" dirty="0">
                <a:latin typeface="TH SarabunPSK" pitchFamily="34" charset="-34"/>
                <a:cs typeface="TH SarabunPSK" pitchFamily="34" charset="-34"/>
              </a:rPr>
              <a:t>กอ</a:t>
            </a:r>
            <a:r>
              <a:rPr lang="th-TH" sz="1550" b="1" dirty="0" err="1">
                <a:latin typeface="TH SarabunPSK" pitchFamily="34" charset="-34"/>
                <a:cs typeface="TH SarabunPSK" pitchFamily="34" charset="-34"/>
              </a:rPr>
              <a:t>กะเร็ก</a:t>
            </a:r>
            <a:r>
              <a:rPr lang="th-TH" sz="1550" b="1" dirty="0">
                <a:latin typeface="TH SarabunPSK" pitchFamily="34" charset="-34"/>
                <a:cs typeface="TH SarabunPSK" pitchFamily="34" charset="-34"/>
              </a:rPr>
              <a:t> – เอ็นดุ (</a:t>
            </a:r>
            <a:r>
              <a:rPr lang="th-TH" sz="1550" b="1" dirty="0" smtClean="0">
                <a:latin typeface="TH SarabunPSK" pitchFamily="34" charset="-34"/>
                <a:cs typeface="TH SarabunPSK" pitchFamily="34" charset="-34"/>
              </a:rPr>
              <a:t>73 กม.) </a:t>
            </a:r>
            <a:r>
              <a:rPr lang="en-US" sz="1550" b="1" dirty="0">
                <a:latin typeface="TH SarabunPSK" pitchFamily="34" charset="-34"/>
                <a:cs typeface="TH SarabunPSK" pitchFamily="34" charset="-34"/>
              </a:rPr>
              <a:t>ADB </a:t>
            </a:r>
            <a:r>
              <a:rPr lang="th-TH" sz="1550" b="1" dirty="0" smtClean="0">
                <a:latin typeface="TH SarabunPSK" pitchFamily="34" charset="-34"/>
                <a:cs typeface="TH SarabunPSK" pitchFamily="34" charset="-34"/>
              </a:rPr>
              <a:t>ให้เงินกู้แก่</a:t>
            </a:r>
            <a:r>
              <a:rPr lang="th-TH" sz="1550" b="1" dirty="0" err="1" smtClean="0">
                <a:latin typeface="TH SarabunPSK" pitchFamily="34" charset="-34"/>
                <a:cs typeface="TH SarabunPSK" pitchFamily="34" charset="-34"/>
              </a:rPr>
              <a:t>เมียนมา</a:t>
            </a:r>
            <a:r>
              <a:rPr lang="th-TH" sz="1550" b="1" dirty="0" smtClean="0">
                <a:latin typeface="TH SarabunPSK" pitchFamily="34" charset="-34"/>
                <a:cs typeface="TH SarabunPSK" pitchFamily="34" charset="-34"/>
              </a:rPr>
              <a:t> และญี่ปุ่นให้ความช่วยเหลือแบบให้เปล่าการก่อสร้างสะพาน</a:t>
            </a:r>
          </a:p>
          <a:p>
            <a:pPr marL="174625" indent="-174625">
              <a:buFont typeface="Arial" pitchFamily="34" charset="0"/>
              <a:buChar char="•"/>
              <a:tabLst>
                <a:tab pos="174625" algn="l"/>
              </a:tabLst>
            </a:pPr>
            <a:r>
              <a:rPr lang="th-TH" sz="1550" b="1" dirty="0" smtClean="0">
                <a:latin typeface="TH SarabunPSK" pitchFamily="34" charset="-34"/>
                <a:cs typeface="TH SarabunPSK" pitchFamily="34" charset="-34"/>
              </a:rPr>
              <a:t>กอ</a:t>
            </a:r>
            <a:r>
              <a:rPr lang="th-TH" sz="1550" b="1" dirty="0" err="1" smtClean="0">
                <a:latin typeface="TH SarabunPSK" pitchFamily="34" charset="-34"/>
                <a:cs typeface="TH SarabunPSK" pitchFamily="34" charset="-34"/>
              </a:rPr>
              <a:t>กะเร็ก</a:t>
            </a:r>
            <a:r>
              <a:rPr lang="th-TH" sz="1550" b="1" dirty="0" smtClean="0">
                <a:latin typeface="TH SarabunPSK" pitchFamily="34" charset="-34"/>
                <a:cs typeface="TH SarabunPSK" pitchFamily="34" charset="-34"/>
              </a:rPr>
              <a:t>-เมาะ</a:t>
            </a:r>
            <a:r>
              <a:rPr lang="th-TH" sz="1550" b="1" dirty="0">
                <a:latin typeface="TH SarabunPSK" pitchFamily="34" charset="-34"/>
                <a:cs typeface="TH SarabunPSK" pitchFamily="34" charset="-34"/>
              </a:rPr>
              <a:t>ละ</a:t>
            </a:r>
            <a:r>
              <a:rPr lang="th-TH" sz="1550" b="1" dirty="0" smtClean="0">
                <a:latin typeface="TH SarabunPSK" pitchFamily="34" charset="-34"/>
                <a:cs typeface="TH SarabunPSK" pitchFamily="34" charset="-34"/>
              </a:rPr>
              <a:t>แหม่ง (26 กม.</a:t>
            </a:r>
            <a:r>
              <a:rPr lang="en-US" sz="1550" b="1" dirty="0">
                <a:latin typeface="TH SarabunPSK" pitchFamily="34" charset="-34"/>
                <a:cs typeface="TH SarabunPSK" pitchFamily="34" charset="-34"/>
              </a:rPr>
              <a:t>)</a:t>
            </a:r>
            <a:r>
              <a:rPr lang="en-US" sz="1550" b="1" dirty="0" smtClean="0">
                <a:latin typeface="TH SarabunPSK" pitchFamily="34" charset="-34"/>
                <a:cs typeface="TH SarabunPSK" pitchFamily="34" charset="-34"/>
              </a:rPr>
              <a:t> </a:t>
            </a:r>
            <a:r>
              <a:rPr lang="th-TH" sz="1550" b="1" dirty="0" err="1" smtClean="0">
                <a:latin typeface="TH SarabunPSK" pitchFamily="34" charset="-34"/>
                <a:cs typeface="TH SarabunPSK" pitchFamily="34" charset="-34"/>
              </a:rPr>
              <a:t>เมียน</a:t>
            </a:r>
            <a:r>
              <a:rPr lang="th-TH" sz="1550" b="1" dirty="0" err="1">
                <a:latin typeface="TH SarabunPSK" pitchFamily="34" charset="-34"/>
                <a:cs typeface="TH SarabunPSK" pitchFamily="34" charset="-34"/>
              </a:rPr>
              <a:t>มา</a:t>
            </a:r>
            <a:r>
              <a:rPr lang="th-TH" sz="1550" b="1" dirty="0">
                <a:latin typeface="TH SarabunPSK" pitchFamily="34" charset="-34"/>
                <a:cs typeface="TH SarabunPSK" pitchFamily="34" charset="-34"/>
              </a:rPr>
              <a:t>กำลังเจรจา</a:t>
            </a:r>
            <a:r>
              <a:rPr lang="th-TH" sz="1550" b="1" dirty="0" smtClean="0">
                <a:latin typeface="TH SarabunPSK" pitchFamily="34" charset="-34"/>
                <a:cs typeface="TH SarabunPSK" pitchFamily="34" charset="-34"/>
              </a:rPr>
              <a:t>กับเกาหลี</a:t>
            </a:r>
            <a:r>
              <a:rPr lang="th-TH" sz="1550" b="1" dirty="0">
                <a:latin typeface="TH SarabunPSK" pitchFamily="34" charset="-34"/>
                <a:cs typeface="TH SarabunPSK" pitchFamily="34" charset="-34"/>
              </a:rPr>
              <a:t>ใต้และไทย</a:t>
            </a:r>
            <a:r>
              <a:rPr lang="th-TH" sz="1550" b="1" dirty="0" smtClean="0">
                <a:latin typeface="TH SarabunPSK" pitchFamily="34" charset="-34"/>
                <a:cs typeface="TH SarabunPSK" pitchFamily="34" charset="-34"/>
              </a:rPr>
              <a:t>เพื่อพัฒนา</a:t>
            </a:r>
            <a:r>
              <a:rPr lang="th-TH" sz="1550" b="1" dirty="0">
                <a:latin typeface="TH SarabunPSK" pitchFamily="34" charset="-34"/>
                <a:cs typeface="TH SarabunPSK" pitchFamily="34" charset="-34"/>
              </a:rPr>
              <a:t>เส้นทางดังกล่าว</a:t>
            </a:r>
          </a:p>
        </p:txBody>
      </p:sp>
      <p:sp>
        <p:nvSpPr>
          <p:cNvPr id="42" name="Rectangle 41"/>
          <p:cNvSpPr/>
          <p:nvPr/>
        </p:nvSpPr>
        <p:spPr>
          <a:xfrm>
            <a:off x="5791200" y="400050"/>
            <a:ext cx="3352800" cy="400051"/>
          </a:xfrm>
          <a:prstGeom prst="rect">
            <a:avLst/>
          </a:prstGeom>
          <a:solidFill>
            <a:schemeClr val="accent3">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th-TH" sz="2000" b="1" dirty="0" smtClean="0">
                <a:solidFill>
                  <a:schemeClr val="tx1"/>
                </a:solidFill>
                <a:latin typeface="TH SarabunPSK" pitchFamily="34" charset="-34"/>
                <a:cs typeface="TH SarabunPSK" pitchFamily="34" charset="-34"/>
              </a:rPr>
              <a:t>โทรคมนาคม</a:t>
            </a:r>
            <a:endParaRPr lang="th-TH" sz="2000" b="1" dirty="0">
              <a:solidFill>
                <a:schemeClr val="tx1"/>
              </a:solidFill>
              <a:latin typeface="TH SarabunPSK" pitchFamily="34" charset="-34"/>
              <a:cs typeface="TH SarabunPSK" pitchFamily="34" charset="-34"/>
            </a:endParaRPr>
          </a:p>
        </p:txBody>
      </p:sp>
      <p:sp>
        <p:nvSpPr>
          <p:cNvPr id="44" name="Down Arrow Callout 43"/>
          <p:cNvSpPr/>
          <p:nvPr/>
        </p:nvSpPr>
        <p:spPr>
          <a:xfrm>
            <a:off x="0" y="408384"/>
            <a:ext cx="2590800" cy="507314"/>
          </a:xfrm>
          <a:prstGeom prst="downArrowCallout">
            <a:avLst>
              <a:gd name="adj1" fmla="val 35939"/>
              <a:gd name="adj2" fmla="val 28417"/>
              <a:gd name="adj3" fmla="val 15924"/>
              <a:gd name="adj4" fmla="val 70231"/>
            </a:avLst>
          </a:prstGeom>
          <a:solidFill>
            <a:schemeClr val="accent4">
              <a:lumMod val="50000"/>
            </a:schemeClr>
          </a:solidFill>
        </p:spPr>
        <p:style>
          <a:lnRef idx="3">
            <a:schemeClr val="lt1"/>
          </a:lnRef>
          <a:fillRef idx="1">
            <a:schemeClr val="accent1"/>
          </a:fillRef>
          <a:effectRef idx="1">
            <a:schemeClr val="accent1"/>
          </a:effectRef>
          <a:fontRef idx="minor">
            <a:schemeClr val="lt1"/>
          </a:fontRef>
        </p:style>
        <p:txBody>
          <a:bodyPr anchor="ctr"/>
          <a:lstStyle/>
          <a:p>
            <a:pPr indent="-463550" algn="ctr" fontAlgn="auto">
              <a:spcBef>
                <a:spcPts val="0"/>
              </a:spcBef>
              <a:spcAft>
                <a:spcPts val="0"/>
              </a:spcAft>
              <a:defRPr/>
            </a:pPr>
            <a:r>
              <a:rPr lang="th-TH" b="1" dirty="0" smtClean="0">
                <a:solidFill>
                  <a:schemeClr val="bg1"/>
                </a:solidFill>
                <a:latin typeface="TH SarabunPSK" pitchFamily="34" charset="-34"/>
                <a:cs typeface="TH SarabunPSK" pitchFamily="34" charset="-34"/>
                <a:sym typeface="Wingdings"/>
              </a:rPr>
              <a:t>คมนาคม</a:t>
            </a:r>
            <a:r>
              <a:rPr lang="en-US" b="1" dirty="0" smtClean="0">
                <a:solidFill>
                  <a:schemeClr val="bg1"/>
                </a:solidFill>
                <a:latin typeface="TH SarabunPSK" pitchFamily="34" charset="-34"/>
                <a:cs typeface="TH SarabunPSK" pitchFamily="34" charset="-34"/>
                <a:sym typeface="Wingdings"/>
              </a:rPr>
              <a:t> </a:t>
            </a:r>
            <a:endParaRPr lang="th-TH" b="1" dirty="0">
              <a:solidFill>
                <a:schemeClr val="bg1"/>
              </a:solidFill>
              <a:latin typeface="TH SarabunPSK" pitchFamily="34" charset="-34"/>
              <a:cs typeface="TH SarabunPSK" pitchFamily="34" charset="-34"/>
              <a:sym typeface="Wingdings"/>
            </a:endParaRPr>
          </a:p>
        </p:txBody>
      </p:sp>
      <p:sp>
        <p:nvSpPr>
          <p:cNvPr id="45" name="Rectangle 44"/>
          <p:cNvSpPr/>
          <p:nvPr/>
        </p:nvSpPr>
        <p:spPr>
          <a:xfrm>
            <a:off x="2590800" y="419100"/>
            <a:ext cx="3200400" cy="400050"/>
          </a:xfrm>
          <a:prstGeom prst="rect">
            <a:avLst/>
          </a:prstGeom>
          <a:solidFill>
            <a:schemeClr val="accent3">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th-TH" sz="2000" b="1" dirty="0" smtClean="0">
                <a:solidFill>
                  <a:schemeClr val="tx1"/>
                </a:solidFill>
                <a:latin typeface="TH SarabunPSK" pitchFamily="34" charset="-34"/>
                <a:cs typeface="TH SarabunPSK" pitchFamily="34" charset="-34"/>
              </a:rPr>
              <a:t>พลังงาน</a:t>
            </a:r>
            <a:endParaRPr lang="th-TH" sz="2000" b="1" dirty="0">
              <a:solidFill>
                <a:schemeClr val="tx1"/>
              </a:solidFill>
              <a:latin typeface="TH SarabunPSK" pitchFamily="34" charset="-34"/>
              <a:cs typeface="TH SarabunPSK" pitchFamily="34" charset="-34"/>
            </a:endParaRPr>
          </a:p>
        </p:txBody>
      </p:sp>
      <p:pic>
        <p:nvPicPr>
          <p:cNvPr id="12" name="Picture 11"/>
          <p:cNvPicPr/>
          <p:nvPr/>
        </p:nvPicPr>
        <p:blipFill>
          <a:blip r:embed="rId3">
            <a:extLst>
              <a:ext uri="{28A0092B-C50C-407E-A947-70E740481C1C}">
                <a14:useLocalDpi xmlns:a14="http://schemas.microsoft.com/office/drawing/2010/main" xmlns="" val="0"/>
              </a:ext>
            </a:extLst>
          </a:blip>
          <a:srcRect/>
          <a:stretch>
            <a:fillRect/>
          </a:stretch>
        </p:blipFill>
        <p:spPr bwMode="auto">
          <a:xfrm>
            <a:off x="-25401" y="2876552"/>
            <a:ext cx="5511801" cy="2152650"/>
          </a:xfrm>
          <a:prstGeom prst="rect">
            <a:avLst/>
          </a:prstGeom>
          <a:noFill/>
          <a:ln>
            <a:noFill/>
          </a:ln>
        </p:spPr>
      </p:pic>
      <p:sp>
        <p:nvSpPr>
          <p:cNvPr id="13" name="TextBox 12"/>
          <p:cNvSpPr txBox="1"/>
          <p:nvPr/>
        </p:nvSpPr>
        <p:spPr>
          <a:xfrm>
            <a:off x="5486400" y="2876550"/>
            <a:ext cx="3570514" cy="2239074"/>
          </a:xfrm>
          <a:prstGeom prst="rect">
            <a:avLst/>
          </a:prstGeom>
          <a:noFill/>
          <a:ln w="57150">
            <a:solidFill>
              <a:srgbClr val="FF0000"/>
            </a:solidFill>
          </a:ln>
        </p:spPr>
        <p:txBody>
          <a:bodyPr wrap="square" rtlCol="0">
            <a:spAutoFit/>
          </a:bodyPr>
          <a:lstStyle/>
          <a:p>
            <a:pPr marL="174625" indent="-174625">
              <a:buFont typeface="Arial" pitchFamily="34" charset="0"/>
              <a:buChar char="•"/>
              <a:tabLst>
                <a:tab pos="174625" algn="l"/>
              </a:tabLst>
            </a:pPr>
            <a:r>
              <a:rPr lang="th-TH" sz="1550" b="1" dirty="0" smtClean="0">
                <a:latin typeface="TH SarabunPSK" pitchFamily="34" charset="-34"/>
                <a:cs typeface="TH SarabunPSK" pitchFamily="34" charset="-34"/>
              </a:rPr>
              <a:t>ประเทศไทยได้ผลักดันให้ </a:t>
            </a:r>
            <a:r>
              <a:rPr lang="th-TH" sz="1550" b="1" dirty="0" err="1" smtClean="0">
                <a:latin typeface="TH SarabunPSK" pitchFamily="34" charset="-34"/>
                <a:cs typeface="TH SarabunPSK" pitchFamily="34" charset="-34"/>
              </a:rPr>
              <a:t>สปป</a:t>
            </a:r>
            <a:r>
              <a:rPr lang="th-TH" sz="1550" b="1" dirty="0" smtClean="0">
                <a:latin typeface="TH SarabunPSK" pitchFamily="34" charset="-34"/>
                <a:cs typeface="TH SarabunPSK" pitchFamily="34" charset="-34"/>
              </a:rPr>
              <a:t>.ลาว และเวียดนามพิจารณาในรายละเอียดการพัฒนาเส้นทางใน </a:t>
            </a:r>
            <a:r>
              <a:rPr lang="th-TH" sz="1550" b="1" dirty="0" err="1" smtClean="0">
                <a:latin typeface="TH SarabunPSK" pitchFamily="34" charset="-34"/>
                <a:cs typeface="TH SarabunPSK" pitchFamily="34" charset="-34"/>
              </a:rPr>
              <a:t>สปป</a:t>
            </a:r>
            <a:r>
              <a:rPr lang="th-TH" sz="1550" b="1" dirty="0" smtClean="0">
                <a:latin typeface="TH SarabunPSK" pitchFamily="34" charset="-34"/>
                <a:cs typeface="TH SarabunPSK" pitchFamily="34" charset="-34"/>
              </a:rPr>
              <a:t>.ลาว ได้แก่ หมายเลข 8 (สีม่วง)  และ 12 </a:t>
            </a:r>
            <a:br>
              <a:rPr lang="th-TH" sz="1550" b="1" dirty="0" smtClean="0">
                <a:latin typeface="TH SarabunPSK" pitchFamily="34" charset="-34"/>
                <a:cs typeface="TH SarabunPSK" pitchFamily="34" charset="-34"/>
              </a:rPr>
            </a:br>
            <a:r>
              <a:rPr lang="th-TH" sz="1550" b="1" dirty="0" smtClean="0">
                <a:latin typeface="TH SarabunPSK" pitchFamily="34" charset="-34"/>
                <a:cs typeface="TH SarabunPSK" pitchFamily="34" charset="-34"/>
              </a:rPr>
              <a:t>(สีเขียว) นอกเหนือจาก หมายเลข 9 (สีดำ) ให้สามารถเดินรถข้ามพรมแดนไทย – ลาว – เวียดนาม ได้อย่างเป็นรูปธรรม และสอดคล้องกับความต้องการของภาคเอกชน</a:t>
            </a:r>
          </a:p>
          <a:p>
            <a:pPr marL="174625" indent="-174625">
              <a:buFont typeface="Arial" pitchFamily="34" charset="0"/>
              <a:buChar char="•"/>
              <a:tabLst>
                <a:tab pos="174625" algn="l"/>
              </a:tabLst>
            </a:pPr>
            <a:r>
              <a:rPr lang="th-TH" sz="1550" b="1" dirty="0" smtClean="0">
                <a:latin typeface="TH SarabunPSK" pitchFamily="34" charset="-34"/>
                <a:cs typeface="TH SarabunPSK" pitchFamily="34" charset="-34"/>
              </a:rPr>
              <a:t>เส้นทางหมายเลข 8 เชื่อมโยงจาก จ.บึงกาฬ ผ่าน</a:t>
            </a:r>
            <a:r>
              <a:rPr lang="th-TH" sz="1550" b="1" dirty="0" err="1" smtClean="0">
                <a:latin typeface="TH SarabunPSK" pitchFamily="34" charset="-34"/>
                <a:cs typeface="TH SarabunPSK" pitchFamily="34" charset="-34"/>
              </a:rPr>
              <a:t>สปป</a:t>
            </a:r>
            <a:r>
              <a:rPr lang="th-TH" sz="1550" b="1" dirty="0" smtClean="0">
                <a:latin typeface="TH SarabunPSK" pitchFamily="34" charset="-34"/>
                <a:cs typeface="TH SarabunPSK" pitchFamily="34" charset="-34"/>
              </a:rPr>
              <a:t>.ลาว ไปยังท่าเรือ</a:t>
            </a:r>
            <a:r>
              <a:rPr lang="th-TH" sz="1550" b="1" dirty="0" err="1" smtClean="0">
                <a:latin typeface="TH SarabunPSK" pitchFamily="34" charset="-34"/>
                <a:cs typeface="TH SarabunPSK" pitchFamily="34" charset="-34"/>
              </a:rPr>
              <a:t>หวุง</a:t>
            </a:r>
            <a:r>
              <a:rPr lang="th-TH" sz="1550" b="1" dirty="0" smtClean="0">
                <a:latin typeface="TH SarabunPSK" pitchFamily="34" charset="-34"/>
                <a:cs typeface="TH SarabunPSK" pitchFamily="34" charset="-34"/>
              </a:rPr>
              <a:t>อัน และหมายเลข 12 เชื่อมโยง จ.นครพนม ผ่าน </a:t>
            </a:r>
            <a:r>
              <a:rPr lang="th-TH" sz="1550" b="1" dirty="0" err="1" smtClean="0">
                <a:latin typeface="TH SarabunPSK" pitchFamily="34" charset="-34"/>
                <a:cs typeface="TH SarabunPSK" pitchFamily="34" charset="-34"/>
              </a:rPr>
              <a:t>สปป</a:t>
            </a:r>
            <a:r>
              <a:rPr lang="th-TH" sz="1550" b="1" dirty="0" smtClean="0">
                <a:latin typeface="TH SarabunPSK" pitchFamily="34" charset="-34"/>
                <a:cs typeface="TH SarabunPSK" pitchFamily="34" charset="-34"/>
              </a:rPr>
              <a:t>.ลาว ไปเวียดนาม</a:t>
            </a:r>
          </a:p>
        </p:txBody>
      </p:sp>
    </p:spTree>
    <p:extLst>
      <p:ext uri="{BB962C8B-B14F-4D97-AF65-F5344CB8AC3E}">
        <p14:creationId xmlns:p14="http://schemas.microsoft.com/office/powerpoint/2010/main" xmlns="" val="3914732371"/>
      </p:ext>
    </p:extLst>
  </p:cSld>
  <p:clrMapOvr>
    <a:masterClrMapping/>
  </p:clrMapOvr>
  <p:transition>
    <p:fade thruBlk="1"/>
  </p:transition>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10"/>
          <p:cNvPicPr/>
          <p:nvPr/>
        </p:nvPicPr>
        <p:blipFill>
          <a:blip r:embed="rId2">
            <a:extLst>
              <a:ext uri="{28A0092B-C50C-407E-A947-70E740481C1C}">
                <a14:useLocalDpi xmlns:a14="http://schemas.microsoft.com/office/drawing/2010/main" xmlns="" val="0"/>
              </a:ext>
            </a:extLst>
          </a:blip>
          <a:stretch>
            <a:fillRect/>
          </a:stretch>
        </p:blipFill>
        <p:spPr>
          <a:xfrm>
            <a:off x="-16510" y="800101"/>
            <a:ext cx="5350511" cy="2304290"/>
          </a:xfrm>
          <a:prstGeom prst="rect">
            <a:avLst/>
          </a:prstGeom>
        </p:spPr>
      </p:pic>
      <p:sp>
        <p:nvSpPr>
          <p:cNvPr id="6" name="Rounded Rectangle 5"/>
          <p:cNvSpPr/>
          <p:nvPr/>
        </p:nvSpPr>
        <p:spPr>
          <a:xfrm>
            <a:off x="0" y="0"/>
            <a:ext cx="9144000" cy="400050"/>
          </a:xfrm>
          <a:prstGeom prst="roundRect">
            <a:avLst>
              <a:gd name="adj" fmla="val 0"/>
            </a:avLst>
          </a:prstGeom>
          <a:solidFill>
            <a:schemeClr val="accent4">
              <a:lumMod val="50000"/>
            </a:schemeClr>
          </a:solidFill>
        </p:spPr>
        <p:style>
          <a:lnRef idx="3">
            <a:schemeClr val="lt1"/>
          </a:lnRef>
          <a:fillRef idx="1">
            <a:schemeClr val="accent1"/>
          </a:fillRef>
          <a:effectRef idx="1">
            <a:schemeClr val="accent1"/>
          </a:effectRef>
          <a:fontRef idx="minor">
            <a:schemeClr val="lt1"/>
          </a:fontRef>
        </p:style>
        <p:txBody>
          <a:bodyPr anchor="ctr"/>
          <a:lstStyle/>
          <a:p>
            <a:pPr indent="-463550" algn="ctr">
              <a:defRPr/>
            </a:pPr>
            <a:r>
              <a:rPr lang="th-TH" b="1" dirty="0" smtClean="0">
                <a:solidFill>
                  <a:schemeClr val="bg1"/>
                </a:solidFill>
                <a:latin typeface="TH SarabunPSK" pitchFamily="34" charset="-34"/>
                <a:cs typeface="TH SarabunPSK" pitchFamily="34" charset="-34"/>
                <a:sym typeface="Wingdings"/>
              </a:rPr>
              <a:t>การพัฒนาโครงข่ายถนน</a:t>
            </a:r>
            <a:endParaRPr lang="th-TH" b="1" dirty="0">
              <a:solidFill>
                <a:schemeClr val="bg1"/>
              </a:solidFill>
              <a:latin typeface="TH SarabunPSK" pitchFamily="34" charset="-34"/>
              <a:cs typeface="TH SarabunPSK" pitchFamily="34" charset="-34"/>
            </a:endParaRPr>
          </a:p>
        </p:txBody>
      </p:sp>
      <p:sp>
        <p:nvSpPr>
          <p:cNvPr id="32" name="TextBox 31"/>
          <p:cNvSpPr txBox="1"/>
          <p:nvPr/>
        </p:nvSpPr>
        <p:spPr>
          <a:xfrm>
            <a:off x="5334000" y="819150"/>
            <a:ext cx="3733800" cy="2285241"/>
          </a:xfrm>
          <a:prstGeom prst="rect">
            <a:avLst/>
          </a:prstGeom>
          <a:noFill/>
          <a:ln w="57150">
            <a:solidFill>
              <a:srgbClr val="FF0000"/>
            </a:solidFill>
          </a:ln>
        </p:spPr>
        <p:txBody>
          <a:bodyPr wrap="square" rtlCol="0">
            <a:spAutoFit/>
          </a:bodyPr>
          <a:lstStyle/>
          <a:p>
            <a:pPr marL="174625" indent="-174625">
              <a:lnSpc>
                <a:spcPts val="1920"/>
              </a:lnSpc>
              <a:buFont typeface="Arial" pitchFamily="34" charset="0"/>
              <a:buChar char="•"/>
              <a:tabLst>
                <a:tab pos="174625" algn="l"/>
              </a:tabLst>
            </a:pPr>
            <a:r>
              <a:rPr lang="en-US" sz="1600" b="1" dirty="0" smtClean="0">
                <a:latin typeface="TH SarabunPSK" pitchFamily="34" charset="-34"/>
                <a:cs typeface="TH SarabunPSK" pitchFamily="34" charset="-34"/>
              </a:rPr>
              <a:t>NEDA </a:t>
            </a:r>
            <a:r>
              <a:rPr lang="th-TH" sz="1600" b="1" dirty="0" smtClean="0">
                <a:latin typeface="TH SarabunPSK" pitchFamily="34" charset="-34"/>
                <a:cs typeface="TH SarabunPSK" pitchFamily="34" charset="-34"/>
              </a:rPr>
              <a:t>ให้ความช่วยเหลือแก่ </a:t>
            </a:r>
            <a:r>
              <a:rPr lang="th-TH" sz="1600" b="1" dirty="0" err="1" smtClean="0">
                <a:latin typeface="TH SarabunPSK" pitchFamily="34" charset="-34"/>
                <a:cs typeface="TH SarabunPSK" pitchFamily="34" charset="-34"/>
              </a:rPr>
              <a:t>สปป</a:t>
            </a:r>
            <a:r>
              <a:rPr lang="th-TH" sz="1600" b="1" dirty="0" smtClean="0">
                <a:latin typeface="TH SarabunPSK" pitchFamily="34" charset="-34"/>
                <a:cs typeface="TH SarabunPSK" pitchFamily="34" charset="-34"/>
              </a:rPr>
              <a:t>.ลาวในการก่อสร้างถนนเส้นเมือง</a:t>
            </a:r>
            <a:r>
              <a:rPr lang="th-TH" sz="1600" b="1" dirty="0">
                <a:latin typeface="TH SarabunPSK" pitchFamily="34" charset="-34"/>
                <a:cs typeface="TH SarabunPSK" pitchFamily="34" charset="-34"/>
              </a:rPr>
              <a:t>หง</a:t>
            </a:r>
            <a:r>
              <a:rPr lang="th-TH" sz="1600" b="1" dirty="0" smtClean="0">
                <a:latin typeface="TH SarabunPSK" pitchFamily="34" charset="-34"/>
                <a:cs typeface="TH SarabunPSK" pitchFamily="34" charset="-34"/>
              </a:rPr>
              <a:t>สา-บ.เชียง</a:t>
            </a:r>
            <a:r>
              <a:rPr lang="th-TH" sz="1600" b="1" dirty="0">
                <a:latin typeface="TH SarabunPSK" pitchFamily="34" charset="-34"/>
                <a:cs typeface="TH SarabunPSK" pitchFamily="34" charset="-34"/>
              </a:rPr>
              <a:t>แมน (เมืองจอมเพชร แขวงหลวงพระบาง</a:t>
            </a:r>
            <a:r>
              <a:rPr lang="th-TH" sz="1600" b="1" dirty="0" smtClean="0">
                <a:latin typeface="TH SarabunPSK" pitchFamily="34" charset="-34"/>
                <a:cs typeface="TH SarabunPSK" pitchFamily="34" charset="-34"/>
              </a:rPr>
              <a:t>) (114 กม.)</a:t>
            </a:r>
          </a:p>
          <a:p>
            <a:pPr marL="174625" indent="-174625">
              <a:lnSpc>
                <a:spcPts val="1920"/>
              </a:lnSpc>
              <a:buFont typeface="Arial" pitchFamily="34" charset="0"/>
              <a:buChar char="•"/>
              <a:tabLst>
                <a:tab pos="174625" algn="l"/>
              </a:tabLst>
            </a:pPr>
            <a:r>
              <a:rPr lang="th-TH" sz="1600" b="1" dirty="0" smtClean="0">
                <a:latin typeface="TH SarabunPSK" pitchFamily="34" charset="-34"/>
                <a:cs typeface="TH SarabunPSK" pitchFamily="34" charset="-34"/>
              </a:rPr>
              <a:t>โครงการนี้ เป็นส่วนหนึ่งในการพัฒนาเส้นทางตามแนวระเบียงเศรษฐกิจ เชียงใหม่ – หลวงพระบาง</a:t>
            </a:r>
          </a:p>
          <a:p>
            <a:pPr marL="174625" indent="-174625">
              <a:lnSpc>
                <a:spcPts val="1920"/>
              </a:lnSpc>
              <a:buFont typeface="Arial" pitchFamily="34" charset="0"/>
              <a:buChar char="•"/>
              <a:tabLst>
                <a:tab pos="174625" algn="l"/>
              </a:tabLst>
            </a:pPr>
            <a:r>
              <a:rPr lang="th-TH" sz="1600" b="1" dirty="0" smtClean="0">
                <a:latin typeface="TH SarabunPSK" pitchFamily="34" charset="-34"/>
                <a:cs typeface="TH SarabunPSK" pitchFamily="34" charset="-34"/>
              </a:rPr>
              <a:t>ลง</a:t>
            </a:r>
            <a:r>
              <a:rPr lang="th-TH" sz="1600" b="1" dirty="0">
                <a:latin typeface="TH SarabunPSK" pitchFamily="34" charset="-34"/>
                <a:cs typeface="TH SarabunPSK" pitchFamily="34" charset="-34"/>
              </a:rPr>
              <a:t>นามในสัญญาให้ความช่วยเหลือทางการเงินแก่โครงการดังกล่าวในวันที่ 26 </a:t>
            </a:r>
            <a:r>
              <a:rPr lang="th-TH" sz="1600" b="1" dirty="0" smtClean="0">
                <a:latin typeface="TH SarabunPSK" pitchFamily="34" charset="-34"/>
                <a:cs typeface="TH SarabunPSK" pitchFamily="34" charset="-34"/>
              </a:rPr>
              <a:t>พ.ย. 2557</a:t>
            </a:r>
          </a:p>
          <a:p>
            <a:pPr marL="174625" indent="-174625">
              <a:lnSpc>
                <a:spcPts val="1920"/>
              </a:lnSpc>
              <a:buFont typeface="Arial" pitchFamily="34" charset="0"/>
              <a:buChar char="•"/>
              <a:tabLst>
                <a:tab pos="174625" algn="l"/>
              </a:tabLst>
            </a:pPr>
            <a:r>
              <a:rPr lang="th-TH" sz="1600" b="1" dirty="0" smtClean="0">
                <a:latin typeface="TH SarabunPSK" pitchFamily="34" charset="-34"/>
                <a:cs typeface="TH SarabunPSK" pitchFamily="34" charset="-34"/>
              </a:rPr>
              <a:t>จัดจ้างผู้รับเหมาก่อสร้างแล้วและอยู่ในขั้นตอนเตรียมเริ่มการก่อสร้าง </a:t>
            </a:r>
          </a:p>
        </p:txBody>
      </p:sp>
      <p:sp>
        <p:nvSpPr>
          <p:cNvPr id="42" name="Rectangle 41"/>
          <p:cNvSpPr/>
          <p:nvPr/>
        </p:nvSpPr>
        <p:spPr>
          <a:xfrm>
            <a:off x="5715000" y="400050"/>
            <a:ext cx="3429000" cy="400051"/>
          </a:xfrm>
          <a:prstGeom prst="rect">
            <a:avLst/>
          </a:prstGeom>
          <a:solidFill>
            <a:schemeClr val="accent3">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th-TH" sz="2000" b="1" dirty="0" smtClean="0">
                <a:solidFill>
                  <a:schemeClr val="tx1"/>
                </a:solidFill>
                <a:latin typeface="TH SarabunPSK" pitchFamily="34" charset="-34"/>
                <a:cs typeface="TH SarabunPSK" pitchFamily="34" charset="-34"/>
              </a:rPr>
              <a:t>โทรคมนาคม</a:t>
            </a:r>
            <a:endParaRPr lang="th-TH" sz="2000" b="1" dirty="0">
              <a:solidFill>
                <a:schemeClr val="tx1"/>
              </a:solidFill>
              <a:latin typeface="TH SarabunPSK" pitchFamily="34" charset="-34"/>
              <a:cs typeface="TH SarabunPSK" pitchFamily="34" charset="-34"/>
            </a:endParaRPr>
          </a:p>
        </p:txBody>
      </p:sp>
      <p:sp>
        <p:nvSpPr>
          <p:cNvPr id="44" name="Down Arrow Callout 43"/>
          <p:cNvSpPr/>
          <p:nvPr/>
        </p:nvSpPr>
        <p:spPr>
          <a:xfrm>
            <a:off x="0" y="408384"/>
            <a:ext cx="2590800" cy="507314"/>
          </a:xfrm>
          <a:prstGeom prst="downArrowCallout">
            <a:avLst>
              <a:gd name="adj1" fmla="val 35939"/>
              <a:gd name="adj2" fmla="val 28417"/>
              <a:gd name="adj3" fmla="val 15924"/>
              <a:gd name="adj4" fmla="val 70231"/>
            </a:avLst>
          </a:prstGeom>
          <a:solidFill>
            <a:schemeClr val="accent4">
              <a:lumMod val="50000"/>
            </a:schemeClr>
          </a:solidFill>
        </p:spPr>
        <p:style>
          <a:lnRef idx="3">
            <a:schemeClr val="lt1"/>
          </a:lnRef>
          <a:fillRef idx="1">
            <a:schemeClr val="accent1"/>
          </a:fillRef>
          <a:effectRef idx="1">
            <a:schemeClr val="accent1"/>
          </a:effectRef>
          <a:fontRef idx="minor">
            <a:schemeClr val="lt1"/>
          </a:fontRef>
        </p:style>
        <p:txBody>
          <a:bodyPr anchor="ctr"/>
          <a:lstStyle/>
          <a:p>
            <a:pPr indent="-463550" algn="ctr" fontAlgn="auto">
              <a:spcAft>
                <a:spcPts val="0"/>
              </a:spcAft>
              <a:defRPr/>
            </a:pPr>
            <a:r>
              <a:rPr lang="th-TH" b="1" dirty="0" smtClean="0">
                <a:solidFill>
                  <a:schemeClr val="bg1"/>
                </a:solidFill>
                <a:latin typeface="TH SarabunPSK" pitchFamily="34" charset="-34"/>
                <a:cs typeface="TH SarabunPSK" pitchFamily="34" charset="-34"/>
              </a:rPr>
              <a:t>คมนาคม</a:t>
            </a:r>
            <a:r>
              <a:rPr lang="en-US" b="1" dirty="0" smtClean="0">
                <a:solidFill>
                  <a:schemeClr val="bg1"/>
                </a:solidFill>
                <a:latin typeface="TH SarabunPSK" pitchFamily="34" charset="-34"/>
                <a:cs typeface="TH SarabunPSK" pitchFamily="34" charset="-34"/>
              </a:rPr>
              <a:t> </a:t>
            </a:r>
            <a:endParaRPr lang="th-TH" b="1" dirty="0">
              <a:solidFill>
                <a:schemeClr val="bg1"/>
              </a:solidFill>
              <a:latin typeface="TH SarabunPSK" pitchFamily="34" charset="-34"/>
              <a:cs typeface="TH SarabunPSK" pitchFamily="34" charset="-34"/>
            </a:endParaRPr>
          </a:p>
        </p:txBody>
      </p:sp>
      <p:sp>
        <p:nvSpPr>
          <p:cNvPr id="45" name="Rectangle 44"/>
          <p:cNvSpPr/>
          <p:nvPr/>
        </p:nvSpPr>
        <p:spPr>
          <a:xfrm>
            <a:off x="2590800" y="400051"/>
            <a:ext cx="3124200" cy="400050"/>
          </a:xfrm>
          <a:prstGeom prst="rect">
            <a:avLst/>
          </a:prstGeom>
          <a:solidFill>
            <a:schemeClr val="accent3">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th-TH" sz="2000" b="1" dirty="0" smtClean="0">
                <a:solidFill>
                  <a:schemeClr val="tx1"/>
                </a:solidFill>
                <a:latin typeface="TH SarabunPSK" pitchFamily="34" charset="-34"/>
                <a:cs typeface="TH SarabunPSK" pitchFamily="34" charset="-34"/>
              </a:rPr>
              <a:t>พลังงาน</a:t>
            </a:r>
            <a:endParaRPr lang="th-TH" sz="2000" b="1" dirty="0">
              <a:solidFill>
                <a:schemeClr val="tx1"/>
              </a:solidFill>
              <a:latin typeface="TH SarabunPSK" pitchFamily="34" charset="-34"/>
              <a:cs typeface="TH SarabunPSK" pitchFamily="34" charset="-34"/>
            </a:endParaRPr>
          </a:p>
        </p:txBody>
      </p:sp>
      <p:sp>
        <p:nvSpPr>
          <p:cNvPr id="13" name="TextBox 12"/>
          <p:cNvSpPr txBox="1"/>
          <p:nvPr/>
        </p:nvSpPr>
        <p:spPr>
          <a:xfrm>
            <a:off x="5372098" y="3196725"/>
            <a:ext cx="3695701" cy="1615827"/>
          </a:xfrm>
          <a:prstGeom prst="rect">
            <a:avLst/>
          </a:prstGeom>
          <a:noFill/>
          <a:ln w="57150">
            <a:solidFill>
              <a:srgbClr val="FF0000"/>
            </a:solidFill>
          </a:ln>
        </p:spPr>
        <p:txBody>
          <a:bodyPr wrap="square" rtlCol="0">
            <a:spAutoFit/>
          </a:bodyPr>
          <a:lstStyle/>
          <a:p>
            <a:pPr marL="174625" indent="-174625">
              <a:buFont typeface="Arial" pitchFamily="34" charset="0"/>
              <a:buChar char="•"/>
              <a:tabLst>
                <a:tab pos="174625" algn="l"/>
              </a:tabLst>
            </a:pPr>
            <a:r>
              <a:rPr lang="th-TH" sz="1650" b="1" dirty="0">
                <a:latin typeface="TH SarabunPSK" pitchFamily="34" charset="-34"/>
                <a:cs typeface="TH SarabunPSK" pitchFamily="34" charset="-34"/>
              </a:rPr>
              <a:t>เริ่มต้น</a:t>
            </a:r>
            <a:r>
              <a:rPr lang="th-TH" sz="1650" b="1" dirty="0" smtClean="0">
                <a:latin typeface="TH SarabunPSK" pitchFamily="34" charset="-34"/>
                <a:cs typeface="TH SarabunPSK" pitchFamily="34" charset="-34"/>
              </a:rPr>
              <a:t>จากด่านถาวร</a:t>
            </a:r>
            <a:r>
              <a:rPr lang="th-TH" sz="1650" b="1" dirty="0" err="1" smtClean="0">
                <a:latin typeface="TH SarabunPSK" pitchFamily="34" charset="-34"/>
                <a:cs typeface="TH SarabunPSK" pitchFamily="34" charset="-34"/>
              </a:rPr>
              <a:t>ภูดู่</a:t>
            </a:r>
            <a:r>
              <a:rPr lang="th-TH" sz="1650" b="1" dirty="0" smtClean="0">
                <a:latin typeface="TH SarabunPSK" pitchFamily="34" charset="-34"/>
                <a:cs typeface="TH SarabunPSK" pitchFamily="34" charset="-34"/>
              </a:rPr>
              <a:t> จ.อุตรดิตถ์ สิ้นสุดที่ บ.แก่งสาว เมืองปากลาย </a:t>
            </a:r>
            <a:r>
              <a:rPr lang="th-TH" sz="1650" b="1" dirty="0">
                <a:latin typeface="TH SarabunPSK" pitchFamily="34" charset="-34"/>
                <a:cs typeface="TH SarabunPSK" pitchFamily="34" charset="-34"/>
              </a:rPr>
              <a:t>ระยะทางรวม </a:t>
            </a:r>
            <a:r>
              <a:rPr lang="th-TH" sz="1650" b="1" dirty="0" smtClean="0">
                <a:latin typeface="TH SarabunPSK" pitchFamily="34" charset="-34"/>
                <a:cs typeface="TH SarabunPSK" pitchFamily="34" charset="-34"/>
              </a:rPr>
              <a:t>27.6 กม.</a:t>
            </a:r>
          </a:p>
          <a:p>
            <a:pPr marL="174625" indent="-174625">
              <a:buFont typeface="Arial" pitchFamily="34" charset="0"/>
              <a:buChar char="•"/>
              <a:tabLst>
                <a:tab pos="174625" algn="l"/>
              </a:tabLst>
            </a:pPr>
            <a:r>
              <a:rPr lang="en-US" sz="1650" b="1" dirty="0" smtClean="0">
                <a:latin typeface="TH SarabunPSK" pitchFamily="34" charset="-34"/>
                <a:cs typeface="TH SarabunPSK" pitchFamily="34" charset="-34"/>
              </a:rPr>
              <a:t>NEDA </a:t>
            </a:r>
            <a:r>
              <a:rPr lang="th-TH" sz="1650" b="1" dirty="0" smtClean="0">
                <a:latin typeface="TH SarabunPSK" pitchFamily="34" charset="-34"/>
                <a:cs typeface="TH SarabunPSK" pitchFamily="34" charset="-34"/>
              </a:rPr>
              <a:t>ให้</a:t>
            </a:r>
            <a:r>
              <a:rPr lang="th-TH" sz="1650" b="1" dirty="0">
                <a:latin typeface="TH SarabunPSK" pitchFamily="34" charset="-34"/>
                <a:cs typeface="TH SarabunPSK" pitchFamily="34" charset="-34"/>
              </a:rPr>
              <a:t>ความช่วยเหลือเป็นแบบให้เปล่าร้อยละ </a:t>
            </a:r>
            <a:r>
              <a:rPr lang="th-TH" sz="1650" b="1" dirty="0" smtClean="0">
                <a:latin typeface="TH SarabunPSK" pitchFamily="34" charset="-34"/>
                <a:cs typeface="TH SarabunPSK" pitchFamily="34" charset="-34"/>
              </a:rPr>
              <a:t>20 </a:t>
            </a:r>
            <a:r>
              <a:rPr lang="th-TH" sz="1650" b="1" dirty="0">
                <a:latin typeface="TH SarabunPSK" pitchFamily="34" charset="-34"/>
                <a:cs typeface="TH SarabunPSK" pitchFamily="34" charset="-34"/>
              </a:rPr>
              <a:t>และเงินกู้ร้อยละ </a:t>
            </a:r>
            <a:r>
              <a:rPr lang="th-TH" sz="1650" b="1" dirty="0" smtClean="0">
                <a:latin typeface="TH SarabunPSK" pitchFamily="34" charset="-34"/>
                <a:cs typeface="TH SarabunPSK" pitchFamily="34" charset="-34"/>
              </a:rPr>
              <a:t>80 จำนวน 718 </a:t>
            </a:r>
            <a:r>
              <a:rPr lang="th-TH" sz="1650" b="1" dirty="0">
                <a:latin typeface="TH SarabunPSK" pitchFamily="34" charset="-34"/>
                <a:cs typeface="TH SarabunPSK" pitchFamily="34" charset="-34"/>
              </a:rPr>
              <a:t>ล้าน</a:t>
            </a:r>
            <a:r>
              <a:rPr lang="th-TH" sz="1650" b="1" dirty="0" smtClean="0">
                <a:latin typeface="TH SarabunPSK" pitchFamily="34" charset="-34"/>
                <a:cs typeface="TH SarabunPSK" pitchFamily="34" charset="-34"/>
              </a:rPr>
              <a:t>บาท</a:t>
            </a:r>
          </a:p>
          <a:p>
            <a:pPr marL="174625" indent="-174625">
              <a:buFont typeface="Arial" pitchFamily="34" charset="0"/>
              <a:buChar char="•"/>
              <a:tabLst>
                <a:tab pos="174625" algn="l"/>
              </a:tabLst>
            </a:pPr>
            <a:r>
              <a:rPr lang="th-TH" sz="1650" b="1" dirty="0" smtClean="0">
                <a:latin typeface="TH SarabunPSK" pitchFamily="34" charset="-34"/>
                <a:cs typeface="TH SarabunPSK" pitchFamily="34" charset="-34"/>
              </a:rPr>
              <a:t>ก่อสร้าง</a:t>
            </a:r>
            <a:r>
              <a:rPr lang="th-TH" sz="1650" b="1" dirty="0">
                <a:latin typeface="TH SarabunPSK" pitchFamily="34" charset="-34"/>
                <a:cs typeface="TH SarabunPSK" pitchFamily="34" charset="-34"/>
              </a:rPr>
              <a:t>แล้วเสร็จ เดือน </a:t>
            </a:r>
            <a:r>
              <a:rPr lang="th-TH" sz="1650" b="1" dirty="0" smtClean="0">
                <a:latin typeface="TH SarabunPSK" pitchFamily="34" charset="-34"/>
                <a:cs typeface="TH SarabunPSK" pitchFamily="34" charset="-34"/>
              </a:rPr>
              <a:t>มิถุนายน 2557</a:t>
            </a:r>
          </a:p>
          <a:p>
            <a:pPr marL="174625" indent="-174625">
              <a:buFont typeface="Arial" pitchFamily="34" charset="0"/>
              <a:buChar char="•"/>
              <a:tabLst>
                <a:tab pos="174625" algn="l"/>
              </a:tabLst>
            </a:pPr>
            <a:endParaRPr lang="en-US" sz="1650" b="1" dirty="0" smtClean="0">
              <a:latin typeface="TH SarabunPSK" pitchFamily="34" charset="-34"/>
              <a:cs typeface="TH SarabunPSK" pitchFamily="34" charset="-34"/>
            </a:endParaRPr>
          </a:p>
        </p:txBody>
      </p:sp>
      <p:pic>
        <p:nvPicPr>
          <p:cNvPr id="3" name="Picture 2"/>
          <p:cNvPicPr>
            <a:picLocks noChangeAspect="1"/>
          </p:cNvPicPr>
          <p:nvPr/>
        </p:nvPicPr>
        <p:blipFill>
          <a:blip r:embed="rId3">
            <a:extLst>
              <a:ext uri="{28A0092B-C50C-407E-A947-70E740481C1C}">
                <a14:useLocalDpi xmlns:a14="http://schemas.microsoft.com/office/drawing/2010/main" xmlns="" val="0"/>
              </a:ext>
            </a:extLst>
          </a:blip>
          <a:stretch>
            <a:fillRect/>
          </a:stretch>
        </p:blipFill>
        <p:spPr>
          <a:xfrm>
            <a:off x="1" y="3104391"/>
            <a:ext cx="5334000" cy="1708161"/>
          </a:xfrm>
          <a:prstGeom prst="rect">
            <a:avLst/>
          </a:prstGeom>
        </p:spPr>
      </p:pic>
    </p:spTree>
    <p:extLst>
      <p:ext uri="{BB962C8B-B14F-4D97-AF65-F5344CB8AC3E}">
        <p14:creationId xmlns:p14="http://schemas.microsoft.com/office/powerpoint/2010/main" xmlns="" val="213941675"/>
      </p:ext>
    </p:extLst>
  </p:cSld>
  <p:clrMapOvr>
    <a:masterClrMapping/>
  </p:clrMapOvr>
  <p:transition>
    <p:fade thruBlk="1"/>
  </p:transition>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a:extLst>
              <a:ext uri="{28A0092B-C50C-407E-A947-70E740481C1C}">
                <a14:useLocalDpi xmlns:a14="http://schemas.microsoft.com/office/drawing/2010/main" xmlns="" val="0"/>
              </a:ext>
            </a:extLst>
          </a:blip>
          <a:stretch>
            <a:fillRect/>
          </a:stretch>
        </p:blipFill>
        <p:spPr>
          <a:xfrm>
            <a:off x="0" y="800100"/>
            <a:ext cx="5410200" cy="2229407"/>
          </a:xfrm>
          <a:prstGeom prst="rect">
            <a:avLst/>
          </a:prstGeom>
        </p:spPr>
      </p:pic>
      <p:sp>
        <p:nvSpPr>
          <p:cNvPr id="6" name="Rounded Rectangle 5"/>
          <p:cNvSpPr/>
          <p:nvPr/>
        </p:nvSpPr>
        <p:spPr>
          <a:xfrm>
            <a:off x="0" y="0"/>
            <a:ext cx="9144000" cy="400050"/>
          </a:xfrm>
          <a:prstGeom prst="roundRect">
            <a:avLst>
              <a:gd name="adj" fmla="val 0"/>
            </a:avLst>
          </a:prstGeom>
          <a:solidFill>
            <a:schemeClr val="accent4">
              <a:lumMod val="50000"/>
            </a:schemeClr>
          </a:solidFill>
        </p:spPr>
        <p:style>
          <a:lnRef idx="3">
            <a:schemeClr val="lt1"/>
          </a:lnRef>
          <a:fillRef idx="1">
            <a:schemeClr val="accent1"/>
          </a:fillRef>
          <a:effectRef idx="1">
            <a:schemeClr val="accent1"/>
          </a:effectRef>
          <a:fontRef idx="minor">
            <a:schemeClr val="lt1"/>
          </a:fontRef>
        </p:style>
        <p:txBody>
          <a:bodyPr anchor="ctr"/>
          <a:lstStyle/>
          <a:p>
            <a:pPr indent="-463550" algn="ctr">
              <a:defRPr/>
            </a:pPr>
            <a:r>
              <a:rPr lang="th-TH" b="1" dirty="0" smtClean="0">
                <a:solidFill>
                  <a:schemeClr val="bg1"/>
                </a:solidFill>
                <a:latin typeface="TH SarabunPSK" pitchFamily="34" charset="-34"/>
                <a:cs typeface="TH SarabunPSK" pitchFamily="34" charset="-34"/>
                <a:sym typeface="Wingdings"/>
              </a:rPr>
              <a:t>การพัฒนาโครงข่ายถนน</a:t>
            </a:r>
            <a:endParaRPr lang="th-TH" b="1" dirty="0">
              <a:solidFill>
                <a:schemeClr val="bg1"/>
              </a:solidFill>
              <a:latin typeface="TH SarabunPSK" pitchFamily="34" charset="-34"/>
              <a:cs typeface="TH SarabunPSK" pitchFamily="34" charset="-34"/>
              <a:sym typeface="Wingdings"/>
            </a:endParaRPr>
          </a:p>
        </p:txBody>
      </p:sp>
      <p:sp>
        <p:nvSpPr>
          <p:cNvPr id="32" name="TextBox 31"/>
          <p:cNvSpPr txBox="1"/>
          <p:nvPr/>
        </p:nvSpPr>
        <p:spPr>
          <a:xfrm>
            <a:off x="5410200" y="873026"/>
            <a:ext cx="3657600" cy="2062103"/>
          </a:xfrm>
          <a:prstGeom prst="rect">
            <a:avLst/>
          </a:prstGeom>
          <a:noFill/>
          <a:ln w="57150">
            <a:solidFill>
              <a:srgbClr val="FF0000"/>
            </a:solidFill>
          </a:ln>
        </p:spPr>
        <p:txBody>
          <a:bodyPr wrap="square" rtlCol="0">
            <a:spAutoFit/>
          </a:bodyPr>
          <a:lstStyle/>
          <a:p>
            <a:pPr marL="174625" indent="-174625">
              <a:buFont typeface="Arial" pitchFamily="34" charset="0"/>
              <a:buChar char="•"/>
            </a:pPr>
            <a:r>
              <a:rPr lang="en-US" sz="1600" b="1" dirty="0" smtClean="0">
                <a:latin typeface="TH SarabunPSK" pitchFamily="34" charset="-34"/>
                <a:cs typeface="TH SarabunPSK" pitchFamily="34" charset="-34"/>
              </a:rPr>
              <a:t>NEDA </a:t>
            </a:r>
            <a:r>
              <a:rPr lang="th-TH" sz="1600" b="1" dirty="0" smtClean="0">
                <a:latin typeface="TH SarabunPSK" pitchFamily="34" charset="-34"/>
                <a:cs typeface="TH SarabunPSK" pitchFamily="34" charset="-34"/>
              </a:rPr>
              <a:t>ให้ความช่วยเหลือในการก่อสร้าง</a:t>
            </a:r>
            <a:r>
              <a:rPr lang="th-TH" sz="1600" b="1" dirty="0" smtClean="0">
                <a:latin typeface="TH SarabunPSK"/>
                <a:cs typeface="TH SarabunPSK"/>
              </a:rPr>
              <a:t>เส้นทาง</a:t>
            </a:r>
            <a:r>
              <a:rPr lang="th-TH" sz="1600" b="1" dirty="0">
                <a:latin typeface="TH SarabunPSK"/>
                <a:cs typeface="TH SarabunPSK"/>
              </a:rPr>
              <a:t>หมายเลข 11 (</a:t>
            </a:r>
            <a:r>
              <a:rPr lang="th-TH" sz="1600" b="1" dirty="0" smtClean="0">
                <a:latin typeface="TH SarabunPSK"/>
                <a:cs typeface="TH SarabunPSK"/>
              </a:rPr>
              <a:t>บ.ตาด</a:t>
            </a:r>
            <a:r>
              <a:rPr lang="th-TH" sz="1600" b="1" dirty="0">
                <a:latin typeface="TH SarabunPSK"/>
                <a:cs typeface="TH SarabunPSK"/>
              </a:rPr>
              <a:t>ทอง-เมืองสังข์ทอง-</a:t>
            </a:r>
            <a:r>
              <a:rPr lang="th-TH" sz="1600" b="1" dirty="0" smtClean="0">
                <a:latin typeface="TH SarabunPSK"/>
                <a:cs typeface="TH SarabunPSK"/>
              </a:rPr>
              <a:t>บ.น้ำ</a:t>
            </a:r>
            <a:r>
              <a:rPr lang="th-TH" sz="1600" b="1" dirty="0" err="1">
                <a:latin typeface="TH SarabunPSK"/>
                <a:cs typeface="TH SarabunPSK"/>
              </a:rPr>
              <a:t>สัง</a:t>
            </a:r>
            <a:r>
              <a:rPr lang="th-TH" sz="1600" b="1" dirty="0" smtClean="0">
                <a:latin typeface="TH SarabunPSK"/>
                <a:cs typeface="TH SarabunPSK"/>
              </a:rPr>
              <a:t>) ระยะทาง 82 กม. วงเงิน 1</a:t>
            </a:r>
            <a:r>
              <a:rPr lang="en-US" sz="1600" b="1" dirty="0" smtClean="0">
                <a:latin typeface="TH SarabunPSK"/>
                <a:cs typeface="TH SarabunPSK"/>
              </a:rPr>
              <a:t>,</a:t>
            </a:r>
            <a:r>
              <a:rPr lang="th-TH" sz="1600" b="1" dirty="0" smtClean="0">
                <a:latin typeface="TH SarabunPSK"/>
                <a:cs typeface="TH SarabunPSK"/>
              </a:rPr>
              <a:t>392 ลบ.</a:t>
            </a:r>
            <a:endParaRPr lang="en-US" sz="1600" b="1" dirty="0">
              <a:latin typeface="TH SarabunPSK"/>
              <a:cs typeface="TH SarabunPSK"/>
            </a:endParaRPr>
          </a:p>
          <a:p>
            <a:pPr marL="174625" indent="-174625">
              <a:buFont typeface="Arial" pitchFamily="34" charset="0"/>
              <a:buChar char="•"/>
              <a:tabLst>
                <a:tab pos="174625" algn="l"/>
              </a:tabLst>
            </a:pPr>
            <a:r>
              <a:rPr lang="th-TH" sz="1600" b="1" dirty="0">
                <a:latin typeface="TH SarabunPSK" pitchFamily="34" charset="-34"/>
                <a:cs typeface="TH SarabunPSK" pitchFamily="34" charset="-34"/>
              </a:rPr>
              <a:t>มีจุดเริ่มต้นบริเวณบ้านตาดทอง ถึงบ้านน้ำ</a:t>
            </a:r>
            <a:r>
              <a:rPr lang="th-TH" sz="1600" b="1" dirty="0" err="1">
                <a:latin typeface="TH SarabunPSK" pitchFamily="34" charset="-34"/>
                <a:cs typeface="TH SarabunPSK" pitchFamily="34" charset="-34"/>
              </a:rPr>
              <a:t>สัง</a:t>
            </a:r>
            <a:r>
              <a:rPr lang="th-TH" sz="1600" b="1" dirty="0">
                <a:latin typeface="TH SarabunPSK" pitchFamily="34" charset="-34"/>
                <a:cs typeface="TH SarabunPSK" pitchFamily="34" charset="-34"/>
              </a:rPr>
              <a:t> ระยะทางรวม 56 </a:t>
            </a:r>
            <a:r>
              <a:rPr lang="th-TH" sz="1600" b="1" dirty="0" smtClean="0">
                <a:latin typeface="TH SarabunPSK" pitchFamily="34" charset="-34"/>
                <a:cs typeface="TH SarabunPSK" pitchFamily="34" charset="-34"/>
              </a:rPr>
              <a:t>กม. และเชื่อม</a:t>
            </a:r>
            <a:r>
              <a:rPr lang="th-TH" sz="1600" b="1" dirty="0">
                <a:latin typeface="TH SarabunPSK" pitchFamily="34" charset="-34"/>
                <a:cs typeface="TH SarabunPSK" pitchFamily="34" charset="-34"/>
              </a:rPr>
              <a:t>จากเส้นทางหลักที่บ้านปากตอน ไปยัง</a:t>
            </a:r>
            <a:r>
              <a:rPr lang="th-TH" sz="1600" b="1" dirty="0" err="1">
                <a:latin typeface="TH SarabunPSK" pitchFamily="34" charset="-34"/>
                <a:cs typeface="TH SarabunPSK" pitchFamily="34" charset="-34"/>
              </a:rPr>
              <a:t>เมืองสัง</a:t>
            </a:r>
            <a:r>
              <a:rPr lang="th-TH" sz="1600" b="1" dirty="0">
                <a:latin typeface="TH SarabunPSK" pitchFamily="34" charset="-34"/>
                <a:cs typeface="TH SarabunPSK" pitchFamily="34" charset="-34"/>
              </a:rPr>
              <a:t>ทอง </a:t>
            </a:r>
            <a:r>
              <a:rPr lang="th-TH" sz="1600" b="1" dirty="0" smtClean="0">
                <a:latin typeface="TH SarabunPSK" pitchFamily="34" charset="-34"/>
                <a:cs typeface="TH SarabunPSK" pitchFamily="34" charset="-34"/>
              </a:rPr>
              <a:t>(17 กม.) และ</a:t>
            </a:r>
            <a:r>
              <a:rPr lang="th-TH" sz="1600" b="1" dirty="0">
                <a:latin typeface="TH SarabunPSK" pitchFamily="34" charset="-34"/>
                <a:cs typeface="TH SarabunPSK" pitchFamily="34" charset="-34"/>
              </a:rPr>
              <a:t>จาก</a:t>
            </a:r>
            <a:r>
              <a:rPr lang="th-TH" sz="1600" b="1" dirty="0" err="1">
                <a:latin typeface="TH SarabunPSK" pitchFamily="34" charset="-34"/>
                <a:cs typeface="TH SarabunPSK" pitchFamily="34" charset="-34"/>
              </a:rPr>
              <a:t>เมืองสัง</a:t>
            </a:r>
            <a:r>
              <a:rPr lang="th-TH" sz="1600" b="1" dirty="0">
                <a:latin typeface="TH SarabunPSK" pitchFamily="34" charset="-34"/>
                <a:cs typeface="TH SarabunPSK" pitchFamily="34" charset="-34"/>
              </a:rPr>
              <a:t>ทองกลับมาบรรจบถนนเส้นทางหลักที่บ้านโคกแห้ </a:t>
            </a:r>
            <a:r>
              <a:rPr lang="th-TH" sz="1600" b="1" dirty="0" smtClean="0">
                <a:latin typeface="TH SarabunPSK" pitchFamily="34" charset="-34"/>
                <a:cs typeface="TH SarabunPSK" pitchFamily="34" charset="-34"/>
              </a:rPr>
              <a:t>(9 กม.) รวม </a:t>
            </a:r>
            <a:r>
              <a:rPr lang="th-TH" sz="1600" b="1" dirty="0">
                <a:latin typeface="TH SarabunPSK" pitchFamily="34" charset="-34"/>
                <a:cs typeface="TH SarabunPSK" pitchFamily="34" charset="-34"/>
              </a:rPr>
              <a:t>26 </a:t>
            </a:r>
            <a:r>
              <a:rPr lang="th-TH" sz="1600" b="1" dirty="0" smtClean="0">
                <a:latin typeface="TH SarabunPSK" pitchFamily="34" charset="-34"/>
                <a:cs typeface="TH SarabunPSK" pitchFamily="34" charset="-34"/>
              </a:rPr>
              <a:t>กม. </a:t>
            </a:r>
          </a:p>
          <a:p>
            <a:pPr marL="174625" indent="-174625">
              <a:buFont typeface="Arial" pitchFamily="34" charset="0"/>
              <a:buChar char="•"/>
              <a:tabLst>
                <a:tab pos="174625" algn="l"/>
              </a:tabLst>
            </a:pPr>
            <a:r>
              <a:rPr lang="th-TH" sz="1600" b="1" dirty="0" smtClean="0">
                <a:latin typeface="TH SarabunPSK" pitchFamily="34" charset="-34"/>
                <a:cs typeface="TH SarabunPSK" pitchFamily="34" charset="-34"/>
              </a:rPr>
              <a:t>ก่อสร้างแล้วเสร็จเมื่อ มิถุนายน 2557</a:t>
            </a:r>
          </a:p>
        </p:txBody>
      </p:sp>
      <p:sp>
        <p:nvSpPr>
          <p:cNvPr id="42" name="Rectangle 41"/>
          <p:cNvSpPr/>
          <p:nvPr/>
        </p:nvSpPr>
        <p:spPr>
          <a:xfrm>
            <a:off x="4724400" y="400050"/>
            <a:ext cx="4419600" cy="400051"/>
          </a:xfrm>
          <a:prstGeom prst="rect">
            <a:avLst/>
          </a:prstGeom>
          <a:solidFill>
            <a:schemeClr val="accent3">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th-TH" sz="2000" b="1" dirty="0" smtClean="0">
                <a:solidFill>
                  <a:schemeClr val="tx1"/>
                </a:solidFill>
                <a:latin typeface="TH SarabunPSK" pitchFamily="34" charset="-34"/>
                <a:cs typeface="TH SarabunPSK" pitchFamily="34" charset="-34"/>
              </a:rPr>
              <a:t>โทรคมนาคม</a:t>
            </a:r>
            <a:endParaRPr lang="th-TH" sz="2000" b="1" dirty="0">
              <a:solidFill>
                <a:schemeClr val="tx1"/>
              </a:solidFill>
              <a:latin typeface="TH SarabunPSK" pitchFamily="34" charset="-34"/>
              <a:cs typeface="TH SarabunPSK" pitchFamily="34" charset="-34"/>
            </a:endParaRPr>
          </a:p>
        </p:txBody>
      </p:sp>
      <p:sp>
        <p:nvSpPr>
          <p:cNvPr id="44" name="Down Arrow Callout 43"/>
          <p:cNvSpPr/>
          <p:nvPr/>
        </p:nvSpPr>
        <p:spPr>
          <a:xfrm>
            <a:off x="0" y="408384"/>
            <a:ext cx="2590800" cy="507314"/>
          </a:xfrm>
          <a:prstGeom prst="downArrowCallout">
            <a:avLst>
              <a:gd name="adj1" fmla="val 35939"/>
              <a:gd name="adj2" fmla="val 28417"/>
              <a:gd name="adj3" fmla="val 15924"/>
              <a:gd name="adj4" fmla="val 70231"/>
            </a:avLst>
          </a:prstGeom>
          <a:solidFill>
            <a:schemeClr val="accent4">
              <a:lumMod val="50000"/>
            </a:schemeClr>
          </a:solidFill>
        </p:spPr>
        <p:style>
          <a:lnRef idx="3">
            <a:schemeClr val="lt1"/>
          </a:lnRef>
          <a:fillRef idx="1">
            <a:schemeClr val="accent1"/>
          </a:fillRef>
          <a:effectRef idx="1">
            <a:schemeClr val="accent1"/>
          </a:effectRef>
          <a:fontRef idx="minor">
            <a:schemeClr val="lt1"/>
          </a:fontRef>
        </p:style>
        <p:txBody>
          <a:bodyPr anchor="ctr"/>
          <a:lstStyle/>
          <a:p>
            <a:pPr indent="-463550" algn="ctr" fontAlgn="auto">
              <a:spcBef>
                <a:spcPts val="0"/>
              </a:spcBef>
              <a:spcAft>
                <a:spcPts val="0"/>
              </a:spcAft>
              <a:defRPr/>
            </a:pPr>
            <a:r>
              <a:rPr lang="th-TH" b="1" dirty="0" smtClean="0">
                <a:solidFill>
                  <a:schemeClr val="bg1"/>
                </a:solidFill>
                <a:latin typeface="TH SarabunPSK" pitchFamily="34" charset="-34"/>
                <a:cs typeface="TH SarabunPSK" pitchFamily="34" charset="-34"/>
                <a:sym typeface="Wingdings"/>
              </a:rPr>
              <a:t>คมนาคม</a:t>
            </a:r>
            <a:r>
              <a:rPr lang="en-US" b="1" dirty="0" smtClean="0">
                <a:solidFill>
                  <a:schemeClr val="bg1"/>
                </a:solidFill>
                <a:latin typeface="TH SarabunPSK" pitchFamily="34" charset="-34"/>
                <a:cs typeface="TH SarabunPSK" pitchFamily="34" charset="-34"/>
                <a:sym typeface="Wingdings"/>
              </a:rPr>
              <a:t> </a:t>
            </a:r>
            <a:endParaRPr lang="th-TH" b="1" dirty="0">
              <a:solidFill>
                <a:schemeClr val="bg1"/>
              </a:solidFill>
              <a:latin typeface="TH SarabunPSK" pitchFamily="34" charset="-34"/>
              <a:cs typeface="TH SarabunPSK" pitchFamily="34" charset="-34"/>
              <a:sym typeface="Wingdings"/>
            </a:endParaRPr>
          </a:p>
        </p:txBody>
      </p:sp>
      <p:sp>
        <p:nvSpPr>
          <p:cNvPr id="45" name="Rectangle 44"/>
          <p:cNvSpPr/>
          <p:nvPr/>
        </p:nvSpPr>
        <p:spPr>
          <a:xfrm>
            <a:off x="2590800" y="400051"/>
            <a:ext cx="3048000" cy="400050"/>
          </a:xfrm>
          <a:prstGeom prst="rect">
            <a:avLst/>
          </a:prstGeom>
          <a:solidFill>
            <a:schemeClr val="accent3">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th-TH" sz="2000" b="1" dirty="0" smtClean="0">
                <a:solidFill>
                  <a:schemeClr val="tx1"/>
                </a:solidFill>
                <a:latin typeface="TH SarabunPSK" pitchFamily="34" charset="-34"/>
                <a:cs typeface="TH SarabunPSK" pitchFamily="34" charset="-34"/>
              </a:rPr>
              <a:t>พลังงาน</a:t>
            </a:r>
            <a:endParaRPr lang="th-TH" sz="2000" b="1" dirty="0">
              <a:solidFill>
                <a:schemeClr val="tx1"/>
              </a:solidFill>
              <a:latin typeface="TH SarabunPSK" pitchFamily="34" charset="-34"/>
              <a:cs typeface="TH SarabunPSK" pitchFamily="34" charset="-34"/>
            </a:endParaRPr>
          </a:p>
        </p:txBody>
      </p:sp>
      <p:sp>
        <p:nvSpPr>
          <p:cNvPr id="13" name="TextBox 12"/>
          <p:cNvSpPr txBox="1"/>
          <p:nvPr/>
        </p:nvSpPr>
        <p:spPr>
          <a:xfrm>
            <a:off x="5410200" y="3118068"/>
            <a:ext cx="3657601" cy="1815882"/>
          </a:xfrm>
          <a:prstGeom prst="rect">
            <a:avLst/>
          </a:prstGeom>
          <a:noFill/>
          <a:ln w="57150">
            <a:solidFill>
              <a:srgbClr val="FF0000"/>
            </a:solidFill>
          </a:ln>
        </p:spPr>
        <p:txBody>
          <a:bodyPr wrap="square" rtlCol="0">
            <a:spAutoFit/>
          </a:bodyPr>
          <a:lstStyle/>
          <a:p>
            <a:pPr marL="174625" indent="-174625">
              <a:buFont typeface="Arial" pitchFamily="34" charset="0"/>
              <a:buChar char="•"/>
              <a:tabLst>
                <a:tab pos="174625" algn="l"/>
              </a:tabLst>
            </a:pPr>
            <a:r>
              <a:rPr lang="en-US" sz="1600" b="1" dirty="0" smtClean="0">
                <a:latin typeface="TH SarabunPSK" pitchFamily="34" charset="-34"/>
                <a:cs typeface="TH SarabunPSK" pitchFamily="34" charset="-34"/>
              </a:rPr>
              <a:t>NEDA </a:t>
            </a:r>
            <a:r>
              <a:rPr lang="th-TH" sz="1600" b="1" dirty="0">
                <a:latin typeface="TH SarabunPSK" pitchFamily="34" charset="-34"/>
                <a:cs typeface="TH SarabunPSK" pitchFamily="34" charset="-34"/>
              </a:rPr>
              <a:t>ให้ความช่วยเหลือเป็นแบบให้เปล่าร้อยละ </a:t>
            </a:r>
            <a:r>
              <a:rPr lang="th-TH" sz="1600" b="1" dirty="0" smtClean="0">
                <a:latin typeface="TH SarabunPSK" pitchFamily="34" charset="-34"/>
                <a:cs typeface="TH SarabunPSK" pitchFamily="34" charset="-34"/>
              </a:rPr>
              <a:t>30 </a:t>
            </a:r>
            <a:r>
              <a:rPr lang="th-TH" sz="1600" b="1" dirty="0">
                <a:latin typeface="TH SarabunPSK" pitchFamily="34" charset="-34"/>
                <a:cs typeface="TH SarabunPSK" pitchFamily="34" charset="-34"/>
              </a:rPr>
              <a:t>และเงินกู้ร้อยละ </a:t>
            </a:r>
            <a:r>
              <a:rPr lang="th-TH" sz="1600" b="1" dirty="0" smtClean="0">
                <a:latin typeface="TH SarabunPSK" pitchFamily="34" charset="-34"/>
                <a:cs typeface="TH SarabunPSK" pitchFamily="34" charset="-34"/>
              </a:rPr>
              <a:t>70 </a:t>
            </a:r>
            <a:r>
              <a:rPr lang="th-TH" sz="1600" b="1" dirty="0">
                <a:latin typeface="TH SarabunPSK" pitchFamily="34" charset="-34"/>
                <a:cs typeface="TH SarabunPSK" pitchFamily="34" charset="-34"/>
              </a:rPr>
              <a:t>จำนวน </a:t>
            </a:r>
            <a:r>
              <a:rPr lang="th-TH" sz="1600" b="1" dirty="0" smtClean="0">
                <a:latin typeface="TH SarabunPSK" pitchFamily="34" charset="-34"/>
                <a:cs typeface="TH SarabunPSK" pitchFamily="34" charset="-34"/>
              </a:rPr>
              <a:t>735 </a:t>
            </a:r>
            <a:r>
              <a:rPr lang="th-TH" sz="1600" b="1" dirty="0">
                <a:latin typeface="TH SarabunPSK" pitchFamily="34" charset="-34"/>
                <a:cs typeface="TH SarabunPSK" pitchFamily="34" charset="-34"/>
              </a:rPr>
              <a:t>ล้าน</a:t>
            </a:r>
            <a:r>
              <a:rPr lang="th-TH" sz="1600" b="1" dirty="0" smtClean="0">
                <a:latin typeface="TH SarabunPSK" pitchFamily="34" charset="-34"/>
                <a:cs typeface="TH SarabunPSK" pitchFamily="34" charset="-34"/>
              </a:rPr>
              <a:t>บาท</a:t>
            </a:r>
          </a:p>
          <a:p>
            <a:pPr marL="174625" indent="-174625">
              <a:buFont typeface="Arial" pitchFamily="34" charset="0"/>
              <a:buChar char="•"/>
              <a:tabLst>
                <a:tab pos="174625" algn="l"/>
              </a:tabLst>
            </a:pPr>
            <a:r>
              <a:rPr lang="th-TH" sz="1600" b="1" dirty="0">
                <a:latin typeface="TH SarabunPSK" pitchFamily="34" charset="-34"/>
                <a:cs typeface="TH SarabunPSK" pitchFamily="34" charset="-34"/>
              </a:rPr>
              <a:t>เริ่มต้น</a:t>
            </a:r>
            <a:r>
              <a:rPr lang="th-TH" sz="1600" b="1" dirty="0" smtClean="0">
                <a:latin typeface="TH SarabunPSK" pitchFamily="34" charset="-34"/>
                <a:cs typeface="TH SarabunPSK" pitchFamily="34" charset="-34"/>
              </a:rPr>
              <a:t>จากด่านห้วยโก๋น จ.น่าน - เมือง</a:t>
            </a:r>
            <a:r>
              <a:rPr lang="th-TH" sz="1600" b="1" dirty="0">
                <a:latin typeface="TH SarabunPSK" pitchFamily="34" charset="-34"/>
                <a:cs typeface="TH SarabunPSK" pitchFamily="34" charset="-34"/>
              </a:rPr>
              <a:t>เงิน แขวงไชยบุรี สิ้นสุดที่บ้านปากแบ่ง แขวงอุดมไชย ระยะทางรวม 49.22  </a:t>
            </a:r>
            <a:r>
              <a:rPr lang="th-TH" sz="1600" b="1" dirty="0" smtClean="0">
                <a:latin typeface="TH SarabunPSK" pitchFamily="34" charset="-34"/>
                <a:cs typeface="TH SarabunPSK" pitchFamily="34" charset="-34"/>
              </a:rPr>
              <a:t>กม.</a:t>
            </a:r>
          </a:p>
          <a:p>
            <a:pPr marL="174625" indent="-174625">
              <a:buFont typeface="Arial" pitchFamily="34" charset="0"/>
              <a:buChar char="•"/>
              <a:tabLst>
                <a:tab pos="174625" algn="l"/>
              </a:tabLst>
            </a:pPr>
            <a:r>
              <a:rPr lang="th-TH" sz="1600" b="1" dirty="0" smtClean="0">
                <a:latin typeface="TH SarabunPSK" pitchFamily="34" charset="-34"/>
                <a:cs typeface="TH SarabunPSK" pitchFamily="34" charset="-34"/>
              </a:rPr>
              <a:t>ก่อสร้าง</a:t>
            </a:r>
            <a:r>
              <a:rPr lang="th-TH" sz="1600" b="1" dirty="0">
                <a:latin typeface="TH SarabunPSK" pitchFamily="34" charset="-34"/>
                <a:cs typeface="TH SarabunPSK" pitchFamily="34" charset="-34"/>
              </a:rPr>
              <a:t>แล้วเสร็จ เดือน </a:t>
            </a:r>
            <a:r>
              <a:rPr lang="th-TH" sz="1600" b="1" dirty="0" smtClean="0">
                <a:latin typeface="TH SarabunPSK" pitchFamily="34" charset="-34"/>
                <a:cs typeface="TH SarabunPSK" pitchFamily="34" charset="-34"/>
              </a:rPr>
              <a:t>มกราคม 2553</a:t>
            </a:r>
          </a:p>
          <a:p>
            <a:pPr>
              <a:tabLst>
                <a:tab pos="174625" algn="l"/>
              </a:tabLst>
            </a:pPr>
            <a:endParaRPr lang="th-TH" sz="1600" b="1" dirty="0" smtClean="0">
              <a:latin typeface="TH SarabunPSK" pitchFamily="34" charset="-34"/>
              <a:cs typeface="TH SarabunPSK" pitchFamily="34" charset="-34"/>
            </a:endParaRPr>
          </a:p>
        </p:txBody>
      </p:sp>
      <p:pic>
        <p:nvPicPr>
          <p:cNvPr id="4" name="Picture 3"/>
          <p:cNvPicPr>
            <a:picLocks noChangeAspect="1"/>
          </p:cNvPicPr>
          <p:nvPr/>
        </p:nvPicPr>
        <p:blipFill>
          <a:blip r:embed="rId3">
            <a:extLst>
              <a:ext uri="{28A0092B-C50C-407E-A947-70E740481C1C}">
                <a14:useLocalDpi xmlns:a14="http://schemas.microsoft.com/office/drawing/2010/main" xmlns="" val="0"/>
              </a:ext>
            </a:extLst>
          </a:blip>
          <a:stretch>
            <a:fillRect/>
          </a:stretch>
        </p:blipFill>
        <p:spPr>
          <a:xfrm>
            <a:off x="0" y="3118067"/>
            <a:ext cx="5257800" cy="1815883"/>
          </a:xfrm>
          <a:prstGeom prst="rect">
            <a:avLst/>
          </a:prstGeom>
        </p:spPr>
      </p:pic>
    </p:spTree>
    <p:extLst>
      <p:ext uri="{BB962C8B-B14F-4D97-AF65-F5344CB8AC3E}">
        <p14:creationId xmlns:p14="http://schemas.microsoft.com/office/powerpoint/2010/main" xmlns="" val="2015737290"/>
      </p:ext>
    </p:extLst>
  </p:cSld>
  <p:clrMapOvr>
    <a:masterClrMapping/>
  </p:clrMapOvr>
  <p:transition>
    <p:fade thruBlk="1"/>
  </p:transition>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ounded Rectangle 3"/>
          <p:cNvSpPr/>
          <p:nvPr/>
        </p:nvSpPr>
        <p:spPr>
          <a:xfrm>
            <a:off x="89207" y="900101"/>
            <a:ext cx="1928826" cy="900119"/>
          </a:xfrm>
          <a:prstGeom prst="roundRect">
            <a:avLst/>
          </a:prstGeom>
          <a:solidFill>
            <a:schemeClr val="accent6">
              <a:lumMod val="75000"/>
            </a:schemeClr>
          </a:solidFill>
          <a:ln>
            <a:solidFill>
              <a:schemeClr val="accent6">
                <a:lumMod val="75000"/>
              </a:schemeClr>
            </a:solidFill>
          </a:ln>
          <a:effectLst>
            <a:reflection blurRad="6350" stA="50000" endA="300" endPos="550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th-TH" sz="2400" b="1" dirty="0" smtClean="0">
                <a:solidFill>
                  <a:prstClr val="white"/>
                </a:solidFill>
                <a:latin typeface="TH SarabunPSK" pitchFamily="34" charset="-34"/>
                <a:cs typeface="TH SarabunPSK" pitchFamily="34" charset="-34"/>
              </a:rPr>
              <a:t>การปรับปรุงกฏระเบียบ</a:t>
            </a:r>
            <a:endParaRPr lang="en-US" sz="2400" b="1" dirty="0">
              <a:solidFill>
                <a:prstClr val="white"/>
              </a:solidFill>
              <a:latin typeface="TH SarabunPSK" pitchFamily="34" charset="-34"/>
              <a:cs typeface="TH SarabunPSK" pitchFamily="34" charset="-34"/>
            </a:endParaRPr>
          </a:p>
        </p:txBody>
      </p:sp>
      <p:sp>
        <p:nvSpPr>
          <p:cNvPr id="5" name="Rounded Rectangle 4"/>
          <p:cNvSpPr/>
          <p:nvPr/>
        </p:nvSpPr>
        <p:spPr>
          <a:xfrm>
            <a:off x="76200" y="3086104"/>
            <a:ext cx="1928826" cy="900119"/>
          </a:xfrm>
          <a:prstGeom prst="roundRect">
            <a:avLst/>
          </a:prstGeom>
          <a:solidFill>
            <a:schemeClr val="accent3">
              <a:lumMod val="50000"/>
            </a:schemeClr>
          </a:solidFill>
          <a:ln>
            <a:solidFill>
              <a:schemeClr val="accent3">
                <a:lumMod val="75000"/>
              </a:schemeClr>
            </a:solidFill>
          </a:ln>
          <a:effectLst>
            <a:reflection blurRad="6350" stA="50000" endA="300" endPos="55000" dir="5400000" sy="-100000" algn="bl" rotWithShape="0"/>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th-TH" sz="2000" b="1" dirty="0" smtClean="0">
                <a:solidFill>
                  <a:prstClr val="white"/>
                </a:solidFill>
                <a:latin typeface="TH SarabunPSK" pitchFamily="34" charset="-34"/>
                <a:cs typeface="TH SarabunPSK" pitchFamily="34" charset="-34"/>
              </a:rPr>
              <a:t>โครงการนำร่อง</a:t>
            </a:r>
            <a:br>
              <a:rPr lang="th-TH" sz="2000" b="1" dirty="0" smtClean="0">
                <a:solidFill>
                  <a:prstClr val="white"/>
                </a:solidFill>
                <a:latin typeface="TH SarabunPSK" pitchFamily="34" charset="-34"/>
                <a:cs typeface="TH SarabunPSK" pitchFamily="34" charset="-34"/>
              </a:rPr>
            </a:br>
            <a:r>
              <a:rPr lang="th-TH" sz="2000" b="1" dirty="0" smtClean="0">
                <a:solidFill>
                  <a:prstClr val="white"/>
                </a:solidFill>
                <a:latin typeface="TH SarabunPSK" pitchFamily="34" charset="-34"/>
                <a:cs typeface="TH SarabunPSK" pitchFamily="34" charset="-34"/>
              </a:rPr>
              <a:t>ใน</a:t>
            </a:r>
            <a:r>
              <a:rPr lang="en-US" sz="2000" b="1" dirty="0" smtClean="0">
                <a:solidFill>
                  <a:prstClr val="white"/>
                </a:solidFill>
                <a:latin typeface="TH SarabunPSK" pitchFamily="34" charset="-34"/>
                <a:cs typeface="TH SarabunPSK" pitchFamily="34" charset="-34"/>
              </a:rPr>
              <a:t> GMS</a:t>
            </a:r>
            <a:endParaRPr lang="en-US" sz="2000" b="1" dirty="0">
              <a:solidFill>
                <a:prstClr val="white"/>
              </a:solidFill>
              <a:latin typeface="TH SarabunPSK" pitchFamily="34" charset="-34"/>
              <a:cs typeface="TH SarabunPSK" pitchFamily="34" charset="-34"/>
            </a:endParaRPr>
          </a:p>
        </p:txBody>
      </p:sp>
      <p:sp>
        <p:nvSpPr>
          <p:cNvPr id="14" name="Rectangle 13"/>
          <p:cNvSpPr/>
          <p:nvPr/>
        </p:nvSpPr>
        <p:spPr>
          <a:xfrm>
            <a:off x="2133600" y="2269779"/>
            <a:ext cx="3596092" cy="291086"/>
          </a:xfrm>
          <a:prstGeom prst="rect">
            <a:avLst/>
          </a:prstGeom>
          <a:solidFill>
            <a:schemeClr val="accent3">
              <a:lumMod val="40000"/>
              <a:lumOff val="60000"/>
            </a:schemeClr>
          </a:solidFill>
          <a:ln>
            <a:solidFill>
              <a:schemeClr val="accent6">
                <a:lumMod val="40000"/>
                <a:lumOff val="60000"/>
              </a:schemeClr>
            </a:solidFill>
          </a:ln>
        </p:spPr>
        <p:style>
          <a:lnRef idx="0">
            <a:scrgbClr r="0" g="0" b="0"/>
          </a:lnRef>
          <a:fillRef idx="0">
            <a:scrgbClr r="0" g="0" b="0"/>
          </a:fillRef>
          <a:effectRef idx="0">
            <a:scrgbClr r="0" g="0" b="0"/>
          </a:effectRef>
          <a:fontRef idx="minor">
            <a:schemeClr val="lt1"/>
          </a:fontRef>
        </p:style>
        <p:txBody>
          <a:bodyPr spcFirstLastPara="0" vert="horz" wrap="square" lIns="128016" tIns="73152" rIns="128016" bIns="73152" numCol="1" spcCol="1270" anchor="ctr" anchorCtr="0">
            <a:noAutofit/>
          </a:bodyPr>
          <a:lstStyle/>
          <a:p>
            <a:pPr lvl="0" algn="ctr" defTabSz="800100">
              <a:lnSpc>
                <a:spcPct val="90000"/>
              </a:lnSpc>
              <a:spcBef>
                <a:spcPct val="0"/>
              </a:spcBef>
              <a:spcAft>
                <a:spcPct val="35000"/>
              </a:spcAft>
            </a:pPr>
            <a:r>
              <a:rPr lang="th-TH" sz="1800" b="1" dirty="0" smtClean="0">
                <a:solidFill>
                  <a:schemeClr val="tx1"/>
                </a:solidFill>
                <a:latin typeface="TH SarabunPSK" pitchFamily="34" charset="-34"/>
                <a:cs typeface="TH SarabunPSK" pitchFamily="34" charset="-34"/>
              </a:rPr>
              <a:t>การแลกเปลี่ยนสิทธิจราจร</a:t>
            </a:r>
            <a:endParaRPr lang="th-TH" sz="1800" b="1" kern="1200" dirty="0">
              <a:solidFill>
                <a:schemeClr val="tx1"/>
              </a:solidFill>
              <a:latin typeface="TH SarabunPSK" pitchFamily="34" charset="-34"/>
              <a:cs typeface="TH SarabunPSK" pitchFamily="34" charset="-34"/>
            </a:endParaRPr>
          </a:p>
        </p:txBody>
      </p:sp>
      <p:sp>
        <p:nvSpPr>
          <p:cNvPr id="18" name="Title 1"/>
          <p:cNvSpPr>
            <a:spLocks noGrp="1"/>
          </p:cNvSpPr>
          <p:nvPr>
            <p:ph type="title"/>
          </p:nvPr>
        </p:nvSpPr>
        <p:spPr>
          <a:xfrm>
            <a:off x="0" y="0"/>
            <a:ext cx="9144000" cy="754380"/>
          </a:xfrm>
          <a:solidFill>
            <a:schemeClr val="accent6">
              <a:lumMod val="20000"/>
              <a:lumOff val="80000"/>
            </a:schemeClr>
          </a:solidFill>
        </p:spPr>
        <p:style>
          <a:lnRef idx="3">
            <a:schemeClr val="lt1"/>
          </a:lnRef>
          <a:fillRef idx="1">
            <a:schemeClr val="accent5"/>
          </a:fillRef>
          <a:effectRef idx="1">
            <a:schemeClr val="accent5"/>
          </a:effectRef>
          <a:fontRef idx="minor">
            <a:schemeClr val="lt1"/>
          </a:fontRef>
        </p:style>
        <p:txBody>
          <a:bodyPr anchor="ctr">
            <a:noAutofit/>
          </a:bodyPr>
          <a:lstStyle/>
          <a:p>
            <a:pPr algn="ctr">
              <a:lnSpc>
                <a:spcPts val="3500"/>
              </a:lnSpc>
              <a:spcBef>
                <a:spcPts val="600"/>
              </a:spcBef>
              <a:defRPr/>
            </a:pPr>
            <a:r>
              <a:rPr lang="en-US" sz="3600" b="1" dirty="0">
                <a:solidFill>
                  <a:srgbClr val="C00000"/>
                </a:solidFill>
                <a:effectLst>
                  <a:outerShdw blurRad="38100" dist="38100" dir="2700000" algn="tl">
                    <a:srgbClr val="000000">
                      <a:alpha val="43137"/>
                    </a:srgbClr>
                  </a:outerShdw>
                </a:effectLst>
                <a:latin typeface="TH SarabunPSK" pitchFamily="34" charset="-34"/>
                <a:cs typeface="TH SarabunPSK" pitchFamily="34" charset="-34"/>
              </a:rPr>
              <a:t/>
            </a:r>
            <a:br>
              <a:rPr lang="en-US" sz="3600" b="1" dirty="0">
                <a:solidFill>
                  <a:srgbClr val="C00000"/>
                </a:solidFill>
                <a:effectLst>
                  <a:outerShdw blurRad="38100" dist="38100" dir="2700000" algn="tl">
                    <a:srgbClr val="000000">
                      <a:alpha val="43137"/>
                    </a:srgbClr>
                  </a:outerShdw>
                </a:effectLst>
                <a:latin typeface="TH SarabunPSK" pitchFamily="34" charset="-34"/>
                <a:cs typeface="TH SarabunPSK" pitchFamily="34" charset="-34"/>
              </a:rPr>
            </a:br>
            <a:r>
              <a:rPr lang="th-TH" sz="3600" b="1" dirty="0" smtClean="0">
                <a:solidFill>
                  <a:srgbClr val="C00000"/>
                </a:solidFill>
                <a:effectLst>
                  <a:outerShdw blurRad="38100" dist="38100" dir="2700000" algn="tl">
                    <a:srgbClr val="000000">
                      <a:alpha val="43137"/>
                    </a:srgbClr>
                  </a:outerShdw>
                </a:effectLst>
                <a:latin typeface="TH SarabunPSK" pitchFamily="34" charset="-34"/>
                <a:cs typeface="TH SarabunPSK" pitchFamily="34" charset="-34"/>
              </a:rPr>
              <a:t>การอำนวยความสะดวกด้านการขนส่งข้ามแดนใน </a:t>
            </a:r>
            <a:r>
              <a:rPr lang="en-US" sz="3600" b="1" dirty="0" smtClean="0">
                <a:solidFill>
                  <a:srgbClr val="C00000"/>
                </a:solidFill>
                <a:effectLst>
                  <a:outerShdw blurRad="38100" dist="38100" dir="2700000" algn="tl">
                    <a:srgbClr val="000000">
                      <a:alpha val="43137"/>
                    </a:srgbClr>
                  </a:outerShdw>
                </a:effectLst>
                <a:latin typeface="TH SarabunPSK" pitchFamily="34" charset="-34"/>
                <a:cs typeface="TH SarabunPSK" pitchFamily="34" charset="-34"/>
              </a:rPr>
              <a:t>GMS</a:t>
            </a:r>
            <a:r>
              <a:rPr lang="en-US" sz="3600" b="1" dirty="0">
                <a:solidFill>
                  <a:srgbClr val="C00000"/>
                </a:solidFill>
                <a:effectLst>
                  <a:outerShdw blurRad="38100" dist="38100" dir="2700000" algn="tl">
                    <a:srgbClr val="000000">
                      <a:alpha val="43137"/>
                    </a:srgbClr>
                  </a:outerShdw>
                </a:effectLst>
                <a:latin typeface="TH SarabunPSK" pitchFamily="34" charset="-34"/>
                <a:cs typeface="TH SarabunPSK" pitchFamily="34" charset="-34"/>
              </a:rPr>
              <a:t/>
            </a:r>
            <a:br>
              <a:rPr lang="en-US" sz="3600" b="1" dirty="0">
                <a:solidFill>
                  <a:srgbClr val="C00000"/>
                </a:solidFill>
                <a:effectLst>
                  <a:outerShdw blurRad="38100" dist="38100" dir="2700000" algn="tl">
                    <a:srgbClr val="000000">
                      <a:alpha val="43137"/>
                    </a:srgbClr>
                  </a:outerShdw>
                </a:effectLst>
                <a:latin typeface="TH SarabunPSK" pitchFamily="34" charset="-34"/>
                <a:cs typeface="TH SarabunPSK" pitchFamily="34" charset="-34"/>
              </a:rPr>
            </a:br>
            <a:endParaRPr lang="en-US" sz="3600" b="1" dirty="0">
              <a:solidFill>
                <a:srgbClr val="C00000"/>
              </a:solidFill>
              <a:effectLst>
                <a:outerShdw blurRad="38100" dist="38100" dir="2700000" algn="tl">
                  <a:srgbClr val="000000">
                    <a:alpha val="43137"/>
                  </a:srgbClr>
                </a:outerShdw>
              </a:effectLst>
              <a:latin typeface="TH SarabunPSK" pitchFamily="34" charset="-34"/>
              <a:cs typeface="TH SarabunPSK" pitchFamily="34" charset="-34"/>
            </a:endParaRPr>
          </a:p>
        </p:txBody>
      </p:sp>
      <p:pic>
        <p:nvPicPr>
          <p:cNvPr id="19" name="Picture 4" descr="07-0109 hj"/>
          <p:cNvPicPr>
            <a:picLocks noChangeAspect="1" noChangeArrowheads="1"/>
          </p:cNvPicPr>
          <p:nvPr/>
        </p:nvPicPr>
        <p:blipFill>
          <a:blip r:embed="rId3" cstate="print"/>
          <a:srcRect/>
          <a:stretch>
            <a:fillRect/>
          </a:stretch>
        </p:blipFill>
        <p:spPr bwMode="auto">
          <a:xfrm>
            <a:off x="5715001" y="800101"/>
            <a:ext cx="3393685" cy="4229099"/>
          </a:xfrm>
          <a:prstGeom prst="rect">
            <a:avLst/>
          </a:prstGeom>
          <a:noFill/>
          <a:ln w="9525">
            <a:noFill/>
            <a:miter lim="800000"/>
            <a:headEnd/>
            <a:tailEnd/>
          </a:ln>
        </p:spPr>
      </p:pic>
      <p:pic>
        <p:nvPicPr>
          <p:cNvPr id="20" name="Picture 22" descr="https://encrypted-tbn2.google.com/images?q=tbn:ANd9GcQW8voloDuesbIZjEVb4bb2lNr2VvWhxtX1mCFGQPupovJ7RXpi"/>
          <p:cNvPicPr>
            <a:picLocks noChangeAspect="1" noChangeArrowheads="1"/>
          </p:cNvPicPr>
          <p:nvPr/>
        </p:nvPicPr>
        <p:blipFill>
          <a:blip r:embed="rId4" cstate="print"/>
          <a:srcRect/>
          <a:stretch>
            <a:fillRect/>
          </a:stretch>
        </p:blipFill>
        <p:spPr bwMode="auto">
          <a:xfrm>
            <a:off x="1066800" y="3921929"/>
            <a:ext cx="953734" cy="642942"/>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pic>
        <p:nvPicPr>
          <p:cNvPr id="21" name="Picture 6" descr="http://www.thebestcolleges.org/wp-content/uploads/2011/06/law-school.jpg"/>
          <p:cNvPicPr>
            <a:picLocks noChangeAspect="1" noChangeArrowheads="1"/>
          </p:cNvPicPr>
          <p:nvPr/>
        </p:nvPicPr>
        <p:blipFill>
          <a:blip r:embed="rId5" cstate="print">
            <a:lum bright="20000"/>
          </a:blip>
          <a:srcRect/>
          <a:stretch>
            <a:fillRect/>
          </a:stretch>
        </p:blipFill>
        <p:spPr bwMode="auto">
          <a:xfrm>
            <a:off x="914400" y="1735925"/>
            <a:ext cx="1071570" cy="723311"/>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
        <p:nvSpPr>
          <p:cNvPr id="22" name="Oval 12"/>
          <p:cNvSpPr>
            <a:spLocks noChangeArrowheads="1"/>
          </p:cNvSpPr>
          <p:nvPr/>
        </p:nvSpPr>
        <p:spPr bwMode="auto">
          <a:xfrm>
            <a:off x="7692865" y="2785246"/>
            <a:ext cx="285752" cy="240023"/>
          </a:xfrm>
          <a:prstGeom prst="ellipse">
            <a:avLst/>
          </a:prstGeom>
          <a:ln>
            <a:headEnd/>
            <a:tailEnd/>
          </a:ln>
        </p:spPr>
        <p:style>
          <a:lnRef idx="2">
            <a:schemeClr val="accent4"/>
          </a:lnRef>
          <a:fillRef idx="1">
            <a:schemeClr val="lt1"/>
          </a:fillRef>
          <a:effectRef idx="0">
            <a:schemeClr val="accent4"/>
          </a:effectRef>
          <a:fontRef idx="minor">
            <a:schemeClr val="dk1"/>
          </a:fontRef>
        </p:style>
        <p:txBody>
          <a:bodyPr wrap="none" anchor="ctr"/>
          <a:lstStyle/>
          <a:p>
            <a:pPr marL="47625" indent="-12700" algn="ctr" fontAlgn="auto">
              <a:spcBef>
                <a:spcPts val="0"/>
              </a:spcBef>
              <a:spcAft>
                <a:spcPts val="0"/>
              </a:spcAft>
              <a:defRPr/>
            </a:pPr>
            <a:r>
              <a:rPr lang="en-US" sz="1400" dirty="0" smtClean="0">
                <a:latin typeface="TH SarabunPSK" pitchFamily="34" charset="-34"/>
                <a:cs typeface="TH SarabunPSK" pitchFamily="34" charset="-34"/>
              </a:rPr>
              <a:t> </a:t>
            </a:r>
            <a:r>
              <a:rPr lang="en-US" sz="1200" dirty="0" smtClean="0">
                <a:latin typeface="TH SarabunPSK" pitchFamily="34" charset="-34"/>
                <a:cs typeface="TH SarabunPSK" pitchFamily="34" charset="-34"/>
              </a:rPr>
              <a:t>1</a:t>
            </a:r>
            <a:endParaRPr lang="th-TH" sz="1400" dirty="0">
              <a:latin typeface="TH SarabunPSK" pitchFamily="34" charset="-34"/>
              <a:cs typeface="TH SarabunPSK" pitchFamily="34" charset="-34"/>
            </a:endParaRPr>
          </a:p>
        </p:txBody>
      </p:sp>
      <p:sp>
        <p:nvSpPr>
          <p:cNvPr id="23" name="Oval 12"/>
          <p:cNvSpPr>
            <a:spLocks noChangeArrowheads="1"/>
          </p:cNvSpPr>
          <p:nvPr/>
        </p:nvSpPr>
        <p:spPr bwMode="auto">
          <a:xfrm>
            <a:off x="6907047" y="2382327"/>
            <a:ext cx="285752" cy="240023"/>
          </a:xfrm>
          <a:prstGeom prst="ellipse">
            <a:avLst/>
          </a:prstGeom>
          <a:ln>
            <a:headEnd/>
            <a:tailEnd/>
          </a:ln>
        </p:spPr>
        <p:style>
          <a:lnRef idx="2">
            <a:schemeClr val="accent4"/>
          </a:lnRef>
          <a:fillRef idx="1">
            <a:schemeClr val="lt1"/>
          </a:fillRef>
          <a:effectRef idx="0">
            <a:schemeClr val="accent4"/>
          </a:effectRef>
          <a:fontRef idx="minor">
            <a:schemeClr val="dk1"/>
          </a:fontRef>
        </p:style>
        <p:txBody>
          <a:bodyPr wrap="none" anchor="ctr"/>
          <a:lstStyle/>
          <a:p>
            <a:pPr marL="47625" indent="-12700" algn="ctr" fontAlgn="auto">
              <a:spcBef>
                <a:spcPts val="0"/>
              </a:spcBef>
              <a:spcAft>
                <a:spcPts val="0"/>
              </a:spcAft>
              <a:defRPr/>
            </a:pPr>
            <a:r>
              <a:rPr lang="en-US" sz="1400" dirty="0" smtClean="0">
                <a:latin typeface="TH SarabunPSK" pitchFamily="34" charset="-34"/>
                <a:cs typeface="TH SarabunPSK" pitchFamily="34" charset="-34"/>
              </a:rPr>
              <a:t>3</a:t>
            </a:r>
            <a:endParaRPr lang="th-TH" sz="1400" dirty="0">
              <a:latin typeface="TH SarabunPSK" pitchFamily="34" charset="-34"/>
              <a:cs typeface="TH SarabunPSK" pitchFamily="34" charset="-34"/>
            </a:endParaRPr>
          </a:p>
        </p:txBody>
      </p:sp>
      <p:sp>
        <p:nvSpPr>
          <p:cNvPr id="24" name="Oval 12"/>
          <p:cNvSpPr>
            <a:spLocks noChangeArrowheads="1"/>
          </p:cNvSpPr>
          <p:nvPr/>
        </p:nvSpPr>
        <p:spPr bwMode="auto">
          <a:xfrm>
            <a:off x="7335675" y="3235306"/>
            <a:ext cx="285752" cy="240023"/>
          </a:xfrm>
          <a:prstGeom prst="ellipse">
            <a:avLst/>
          </a:prstGeom>
          <a:ln>
            <a:headEnd/>
            <a:tailEnd/>
          </a:ln>
        </p:spPr>
        <p:style>
          <a:lnRef idx="2">
            <a:schemeClr val="accent4"/>
          </a:lnRef>
          <a:fillRef idx="1">
            <a:schemeClr val="lt1"/>
          </a:fillRef>
          <a:effectRef idx="0">
            <a:schemeClr val="accent4"/>
          </a:effectRef>
          <a:fontRef idx="minor">
            <a:schemeClr val="dk1"/>
          </a:fontRef>
        </p:style>
        <p:txBody>
          <a:bodyPr wrap="none" anchor="ctr"/>
          <a:lstStyle/>
          <a:p>
            <a:pPr marL="47625" indent="-12700" algn="ctr" fontAlgn="auto">
              <a:spcBef>
                <a:spcPts val="0"/>
              </a:spcBef>
              <a:spcAft>
                <a:spcPts val="0"/>
              </a:spcAft>
              <a:defRPr/>
            </a:pPr>
            <a:r>
              <a:rPr lang="en-US" sz="1400" dirty="0" smtClean="0">
                <a:latin typeface="TH SarabunPSK" pitchFamily="34" charset="-34"/>
                <a:cs typeface="TH SarabunPSK" pitchFamily="34" charset="-34"/>
              </a:rPr>
              <a:t> </a:t>
            </a:r>
            <a:r>
              <a:rPr lang="en-US" sz="1200" dirty="0" smtClean="0">
                <a:latin typeface="TH SarabunPSK" pitchFamily="34" charset="-34"/>
                <a:cs typeface="TH SarabunPSK" pitchFamily="34" charset="-34"/>
              </a:rPr>
              <a:t>2</a:t>
            </a:r>
            <a:endParaRPr lang="th-TH" sz="1400" dirty="0">
              <a:latin typeface="TH SarabunPSK" pitchFamily="34" charset="-34"/>
              <a:cs typeface="TH SarabunPSK" pitchFamily="34" charset="-34"/>
            </a:endParaRPr>
          </a:p>
        </p:txBody>
      </p:sp>
      <p:sp>
        <p:nvSpPr>
          <p:cNvPr id="17" name="Rectangle 16"/>
          <p:cNvSpPr/>
          <p:nvPr/>
        </p:nvSpPr>
        <p:spPr>
          <a:xfrm>
            <a:off x="2133600" y="2571750"/>
            <a:ext cx="3596092" cy="2541101"/>
          </a:xfrm>
          <a:prstGeom prst="rect">
            <a:avLst/>
          </a:prstGeom>
          <a:noFill/>
          <a:ln w="28575">
            <a:solidFill>
              <a:schemeClr val="accent6">
                <a:lumMod val="40000"/>
                <a:lumOff val="60000"/>
              </a:schemeClr>
            </a:solidFill>
            <a:prstDash val="solid"/>
          </a:ln>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96012" tIns="96012" rIns="128016" bIns="144018" numCol="1" spcCol="1270" anchor="t" anchorCtr="0">
            <a:noAutofit/>
          </a:bodyPr>
          <a:lstStyle/>
          <a:p>
            <a:pPr marL="87313" indent="-87313" defTabSz="800100">
              <a:lnSpc>
                <a:spcPts val="1700"/>
              </a:lnSpc>
              <a:buSzPct val="87000"/>
            </a:pPr>
            <a:r>
              <a:rPr lang="th-TH" sz="1400" b="1" spc="-20" dirty="0" smtClean="0">
                <a:latin typeface="TH SarabunPSK" pitchFamily="34" charset="-34"/>
                <a:cs typeface="TH SarabunPSK" pitchFamily="34" charset="-34"/>
              </a:rPr>
              <a:t>• ไทย – สปป.ลาว – เวียดนาม เริ่มใช้ตั้งแต่เดือนมิถุนายน 2552 ตามแนวระเบียง </a:t>
            </a:r>
            <a:r>
              <a:rPr lang="en-US" sz="1400" b="1" spc="-20" dirty="0" smtClean="0">
                <a:latin typeface="TH SarabunPSK" pitchFamily="34" charset="-34"/>
                <a:cs typeface="TH SarabunPSK" pitchFamily="34" charset="-34"/>
              </a:rPr>
              <a:t>EWEC </a:t>
            </a:r>
            <a:r>
              <a:rPr lang="th-TH" sz="1400" b="1" spc="-20" dirty="0" smtClean="0">
                <a:latin typeface="TH SarabunPSK" pitchFamily="34" charset="-34"/>
                <a:cs typeface="TH SarabunPSK" pitchFamily="34" charset="-34"/>
              </a:rPr>
              <a:t>เพื่อรองรับการเปิดเส้นทางเชื่อมระหว่าง กรุงเทพฯ เวียงจันทน์ ฮานอย และโครงการ</a:t>
            </a:r>
            <a:r>
              <a:rPr lang="en-US" sz="1400" b="1" spc="-20" dirty="0" smtClean="0">
                <a:latin typeface="TH SarabunPSK" pitchFamily="34" charset="-34"/>
                <a:cs typeface="TH SarabunPSK" pitchFamily="34" charset="-34"/>
              </a:rPr>
              <a:t> Eastern Seaboard</a:t>
            </a:r>
          </a:p>
          <a:p>
            <a:pPr marL="87313" indent="-87313" defTabSz="800100">
              <a:lnSpc>
                <a:spcPts val="1700"/>
              </a:lnSpc>
              <a:buSzPct val="87000"/>
              <a:buFont typeface="Arial" pitchFamily="34" charset="0"/>
              <a:buChar char="•"/>
            </a:pPr>
            <a:r>
              <a:rPr lang="en-US" sz="1400" b="1" spc="-20" dirty="0" smtClean="0">
                <a:latin typeface="TH SarabunPSK" pitchFamily="34" charset="-34"/>
                <a:cs typeface="TH SarabunPSK" pitchFamily="34" charset="-34"/>
              </a:rPr>
              <a:t> </a:t>
            </a:r>
            <a:r>
              <a:rPr lang="th-TH" sz="1400" b="1" spc="-20" dirty="0" smtClean="0">
                <a:latin typeface="TH SarabunPSK" pitchFamily="34" charset="-34"/>
                <a:cs typeface="TH SarabunPSK" pitchFamily="34" charset="-34"/>
              </a:rPr>
              <a:t>ไทย – กัมพูชา ณ จุดข้ามแดน อรัญประเทศ-ปอย</a:t>
            </a:r>
            <a:r>
              <a:rPr lang="th-TH" sz="1400" b="1" spc="-20" dirty="0" err="1">
                <a:latin typeface="TH SarabunPSK" pitchFamily="34" charset="-34"/>
                <a:cs typeface="TH SarabunPSK" pitchFamily="34" charset="-34"/>
              </a:rPr>
              <a:t>เปต</a:t>
            </a:r>
            <a:r>
              <a:rPr lang="th-TH" sz="1400" b="1" spc="-20" dirty="0">
                <a:latin typeface="TH SarabunPSK" pitchFamily="34" charset="-34"/>
                <a:cs typeface="TH SarabunPSK" pitchFamily="34" charset="-34"/>
              </a:rPr>
              <a:t> </a:t>
            </a:r>
            <a:r>
              <a:rPr lang="th-TH" sz="1400" b="1" spc="-20" dirty="0" smtClean="0">
                <a:latin typeface="TH SarabunPSK" pitchFamily="34" charset="-34"/>
                <a:cs typeface="TH SarabunPSK" pitchFamily="34" charset="-34"/>
              </a:rPr>
              <a:t>ได้เพิ่มใบอนุญาตจาก </a:t>
            </a:r>
            <a:r>
              <a:rPr lang="th-TH" sz="1400" b="1" spc="-20" dirty="0">
                <a:latin typeface="TH SarabunPSK" pitchFamily="34" charset="-34"/>
                <a:cs typeface="TH SarabunPSK" pitchFamily="34" charset="-34"/>
              </a:rPr>
              <a:t>40 </a:t>
            </a:r>
            <a:r>
              <a:rPr lang="th-TH" sz="1400" b="1" spc="-20" dirty="0" smtClean="0">
                <a:latin typeface="TH SarabunPSK" pitchFamily="34" charset="-34"/>
                <a:cs typeface="TH SarabunPSK" pitchFamily="34" charset="-34"/>
              </a:rPr>
              <a:t>คัน เป็น 500 คัน</a:t>
            </a:r>
          </a:p>
          <a:p>
            <a:pPr marL="87313" indent="-87313" defTabSz="800100">
              <a:lnSpc>
                <a:spcPts val="1700"/>
              </a:lnSpc>
              <a:buSzPct val="87000"/>
              <a:buFont typeface="Arial" pitchFamily="34" charset="0"/>
              <a:buChar char="•"/>
            </a:pPr>
            <a:r>
              <a:rPr lang="th-TH" sz="1400" b="1" spc="-20" dirty="0" smtClean="0">
                <a:latin typeface="TH SarabunPSK" pitchFamily="34" charset="-34"/>
                <a:cs typeface="TH SarabunPSK" pitchFamily="34" charset="-34"/>
              </a:rPr>
              <a:t> ไทย</a:t>
            </a:r>
            <a:r>
              <a:rPr lang="en-US" sz="1400" b="1" spc="-20" dirty="0" smtClean="0">
                <a:latin typeface="TH SarabunPSK" pitchFamily="34" charset="-34"/>
                <a:cs typeface="TH SarabunPSK" pitchFamily="34" charset="-34"/>
              </a:rPr>
              <a:t> –</a:t>
            </a:r>
            <a:r>
              <a:rPr lang="th-TH" sz="1400" b="1" spc="-20" dirty="0" smtClean="0">
                <a:latin typeface="TH SarabunPSK" pitchFamily="34" charset="-34"/>
                <a:cs typeface="TH SarabunPSK" pitchFamily="34" charset="-34"/>
              </a:rPr>
              <a:t> สปป.ลาว – </a:t>
            </a:r>
            <a:r>
              <a:rPr lang="th-TH" sz="1400" b="1" spc="-20" dirty="0">
                <a:latin typeface="TH SarabunPSK" pitchFamily="34" charset="-34"/>
                <a:cs typeface="TH SarabunPSK" pitchFamily="34" charset="-34"/>
              </a:rPr>
              <a:t>จีน </a:t>
            </a:r>
            <a:r>
              <a:rPr lang="th-TH" sz="1400" b="1" spc="-20" dirty="0" smtClean="0">
                <a:latin typeface="TH SarabunPSK" pitchFamily="34" charset="-34"/>
                <a:cs typeface="TH SarabunPSK" pitchFamily="34" charset="-34"/>
              </a:rPr>
              <a:t>บันทึก</a:t>
            </a:r>
            <a:r>
              <a:rPr lang="th-TH" sz="1400" b="1" spc="-20" dirty="0">
                <a:latin typeface="TH SarabunPSK" pitchFamily="34" charset="-34"/>
                <a:cs typeface="TH SarabunPSK" pitchFamily="34" charset="-34"/>
              </a:rPr>
              <a:t>ความ</a:t>
            </a:r>
            <a:r>
              <a:rPr lang="th-TH" sz="1400" b="1" spc="-20" dirty="0" smtClean="0">
                <a:latin typeface="TH SarabunPSK" pitchFamily="34" charset="-34"/>
                <a:cs typeface="TH SarabunPSK" pitchFamily="34" charset="-34"/>
              </a:rPr>
              <a:t>เข้าใจฯ ตาม</a:t>
            </a:r>
            <a:r>
              <a:rPr lang="th-TH" sz="1400" b="1" spc="-20" dirty="0">
                <a:latin typeface="TH SarabunPSK" pitchFamily="34" charset="-34"/>
                <a:cs typeface="TH SarabunPSK" pitchFamily="34" charset="-34"/>
              </a:rPr>
              <a:t>เส้นทาง </a:t>
            </a:r>
            <a:r>
              <a:rPr lang="en-US" sz="1400" b="1" spc="-20" dirty="0">
                <a:latin typeface="TH SarabunPSK" pitchFamily="34" charset="-34"/>
                <a:cs typeface="TH SarabunPSK" pitchFamily="34" charset="-34"/>
              </a:rPr>
              <a:t>NSEC </a:t>
            </a:r>
            <a:r>
              <a:rPr lang="th-TH" sz="1400" b="1" spc="-20" dirty="0">
                <a:latin typeface="TH SarabunPSK" pitchFamily="34" charset="-34"/>
                <a:cs typeface="TH SarabunPSK" pitchFamily="34" charset="-34"/>
              </a:rPr>
              <a:t>ผ่านจุดผ่านแดน เชียงของ-ห้วยทราย และ บ่อเต็น-โมฮัน </a:t>
            </a:r>
            <a:r>
              <a:rPr lang="th-TH" sz="1400" b="1" spc="-20" dirty="0" smtClean="0">
                <a:latin typeface="TH SarabunPSK" pitchFamily="34" charset="-34"/>
                <a:cs typeface="TH SarabunPSK" pitchFamily="34" charset="-34"/>
              </a:rPr>
              <a:t>ได้รับการเห็นชอบ</a:t>
            </a:r>
            <a:r>
              <a:rPr lang="th-TH" sz="1400" b="1" spc="-20" dirty="0">
                <a:latin typeface="TH SarabunPSK" pitchFamily="34" charset="-34"/>
                <a:cs typeface="TH SarabunPSK" pitchFamily="34" charset="-34"/>
              </a:rPr>
              <a:t>ร่วมกัน</a:t>
            </a:r>
            <a:r>
              <a:rPr lang="th-TH" sz="1400" b="1" spc="-20" dirty="0" smtClean="0">
                <a:latin typeface="TH SarabunPSK" pitchFamily="34" charset="-34"/>
                <a:cs typeface="TH SarabunPSK" pitchFamily="34" charset="-34"/>
              </a:rPr>
              <a:t>แล้ว โดยกำหนดจำนวนโควตา</a:t>
            </a:r>
            <a:r>
              <a:rPr lang="th-TH" sz="1400" b="1" spc="-20" dirty="0">
                <a:latin typeface="TH SarabunPSK" pitchFamily="34" charset="-34"/>
                <a:cs typeface="TH SarabunPSK" pitchFamily="34" charset="-34"/>
              </a:rPr>
              <a:t>รถ 100 คัน ในปี</a:t>
            </a:r>
            <a:r>
              <a:rPr lang="th-TH" sz="1400" b="1" spc="-20" dirty="0" smtClean="0">
                <a:latin typeface="TH SarabunPSK" pitchFamily="34" charset="-34"/>
                <a:cs typeface="TH SarabunPSK" pitchFamily="34" charset="-34"/>
              </a:rPr>
              <a:t>แรก อยู่ระหว่างการเจรจาในรายละเอียดบันทึกความเข้าใจฯ </a:t>
            </a:r>
          </a:p>
          <a:p>
            <a:pPr marL="87313" indent="-87313" defTabSz="800100">
              <a:lnSpc>
                <a:spcPts val="1700"/>
              </a:lnSpc>
              <a:buSzPct val="87000"/>
              <a:buFont typeface="Arial" pitchFamily="34" charset="0"/>
              <a:buChar char="•"/>
            </a:pPr>
            <a:r>
              <a:rPr lang="th-TH" sz="1400" b="1" spc="-20" dirty="0" smtClean="0">
                <a:latin typeface="TH SarabunPSK" pitchFamily="34" charset="-34"/>
                <a:cs typeface="TH SarabunPSK" pitchFamily="34" charset="-34"/>
              </a:rPr>
              <a:t> ไทย-เมียนมา อยู่ระหว่างรอฝ่าย</a:t>
            </a:r>
            <a:r>
              <a:rPr lang="th-TH" sz="1400" b="1" spc="-20" dirty="0" err="1" smtClean="0">
                <a:latin typeface="TH SarabunPSK" pitchFamily="34" charset="-34"/>
                <a:cs typeface="TH SarabunPSK" pitchFamily="34" charset="-34"/>
              </a:rPr>
              <a:t>เมียนมา</a:t>
            </a:r>
            <a:r>
              <a:rPr lang="th-TH" sz="1400" b="1" spc="-20" dirty="0" smtClean="0">
                <a:latin typeface="TH SarabunPSK" pitchFamily="34" charset="-34"/>
                <a:cs typeface="TH SarabunPSK" pitchFamily="34" charset="-34"/>
              </a:rPr>
              <a:t>พิจารณาร่างบันทึกความเข้าใจฯ โดย </a:t>
            </a:r>
            <a:r>
              <a:rPr lang="en-US" sz="1400" b="1" spc="-20" dirty="0" smtClean="0">
                <a:latin typeface="TH SarabunPSK" pitchFamily="34" charset="-34"/>
                <a:cs typeface="TH SarabunPSK" pitchFamily="34" charset="-34"/>
              </a:rPr>
              <a:t>ADB</a:t>
            </a:r>
            <a:endParaRPr lang="th-TH" sz="1400" b="1" spc="-20" dirty="0" smtClean="0">
              <a:latin typeface="TH SarabunPSK" pitchFamily="34" charset="-34"/>
              <a:cs typeface="TH SarabunPSK" pitchFamily="34" charset="-34"/>
            </a:endParaRPr>
          </a:p>
        </p:txBody>
      </p:sp>
      <p:sp>
        <p:nvSpPr>
          <p:cNvPr id="25" name="Rectangle 24"/>
          <p:cNvSpPr/>
          <p:nvPr/>
        </p:nvSpPr>
        <p:spPr>
          <a:xfrm>
            <a:off x="2133600" y="1135849"/>
            <a:ext cx="3596092" cy="1093001"/>
          </a:xfrm>
          <a:prstGeom prst="rect">
            <a:avLst/>
          </a:prstGeom>
          <a:noFill/>
          <a:ln>
            <a:solidFill>
              <a:schemeClr val="accent6">
                <a:lumMod val="40000"/>
                <a:lumOff val="60000"/>
              </a:schemeClr>
            </a:solidFill>
          </a:ln>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96012" tIns="96012" rIns="128016" bIns="144018" numCol="1" spcCol="1270" anchor="t" anchorCtr="0">
            <a:noAutofit/>
          </a:bodyPr>
          <a:lstStyle/>
          <a:p>
            <a:pPr marL="171450" lvl="1" indent="-171450" algn="l" defTabSz="800100">
              <a:lnSpc>
                <a:spcPct val="90000"/>
              </a:lnSpc>
              <a:spcBef>
                <a:spcPct val="0"/>
              </a:spcBef>
              <a:spcAft>
                <a:spcPct val="15000"/>
              </a:spcAft>
              <a:buChar char="••"/>
            </a:pPr>
            <a:r>
              <a:rPr lang="th-TH" sz="1400" b="1" dirty="0" smtClean="0">
                <a:latin typeface="TH SarabunPSK" pitchFamily="34" charset="-34"/>
                <a:cs typeface="TH SarabunPSK" pitchFamily="34" charset="-34"/>
              </a:rPr>
              <a:t>ประเทศไทยให้สัตยาบันครบทุกภาคผนวกและพิธีสารเมื่อเดือนมีนาคม 2558 ที่ผ่านมา</a:t>
            </a:r>
            <a:endParaRPr lang="th-TH" sz="1400" b="1" kern="1200" dirty="0" smtClean="0">
              <a:latin typeface="TH SarabunPSK" pitchFamily="34" charset="-34"/>
              <a:cs typeface="TH SarabunPSK" pitchFamily="34" charset="-34"/>
            </a:endParaRPr>
          </a:p>
          <a:p>
            <a:pPr marL="171450" lvl="1" indent="-171450" defTabSz="800100">
              <a:spcBef>
                <a:spcPct val="0"/>
              </a:spcBef>
              <a:spcAft>
                <a:spcPct val="15000"/>
              </a:spcAft>
              <a:buChar char="••"/>
            </a:pPr>
            <a:r>
              <a:rPr lang="th-TH" sz="1200" b="1" dirty="0" err="1" smtClean="0">
                <a:latin typeface="TH SarabunPSK" pitchFamily="34" charset="-34"/>
                <a:cs typeface="TH SarabunPSK" pitchFamily="34" charset="-34"/>
              </a:rPr>
              <a:t>เมียนมา</a:t>
            </a:r>
            <a:r>
              <a:rPr lang="th-TH" sz="1200" b="1" dirty="0" smtClean="0">
                <a:latin typeface="TH SarabunPSK" pitchFamily="34" charset="-34"/>
                <a:cs typeface="TH SarabunPSK" pitchFamily="34" charset="-34"/>
              </a:rPr>
              <a:t>ได้ดำเนินการออกกฎหมายที่เกี่ยวข้องแล้วเสร็จ </a:t>
            </a:r>
            <a:br>
              <a:rPr lang="th-TH" sz="1200" b="1" dirty="0" smtClean="0">
                <a:latin typeface="TH SarabunPSK" pitchFamily="34" charset="-34"/>
                <a:cs typeface="TH SarabunPSK" pitchFamily="34" charset="-34"/>
              </a:rPr>
            </a:br>
            <a:r>
              <a:rPr lang="th-TH" sz="1200" b="1" dirty="0" smtClean="0">
                <a:latin typeface="TH SarabunPSK" pitchFamily="34" charset="-34"/>
                <a:cs typeface="TH SarabunPSK" pitchFamily="34" charset="-34"/>
              </a:rPr>
              <a:t>อยู่ระหว่างดำเนินการจัดทำสัตยาบันสาร และคาดว่าจะสามารถเวียนแจ้งการให้สัตยาบันได้ภายในเดือน พ.ย. 2558  </a:t>
            </a:r>
            <a:endParaRPr lang="th-TH" sz="1200" kern="1200" dirty="0">
              <a:latin typeface="TH SarabunPSK" pitchFamily="34" charset="-34"/>
              <a:cs typeface="TH SarabunPSK" pitchFamily="34" charset="-34"/>
            </a:endParaRPr>
          </a:p>
        </p:txBody>
      </p:sp>
      <p:sp>
        <p:nvSpPr>
          <p:cNvPr id="26" name="Rectangle 25"/>
          <p:cNvSpPr/>
          <p:nvPr/>
        </p:nvSpPr>
        <p:spPr>
          <a:xfrm>
            <a:off x="2133600" y="800100"/>
            <a:ext cx="3596092" cy="357178"/>
          </a:xfrm>
          <a:prstGeom prst="rect">
            <a:avLst/>
          </a:prstGeom>
          <a:solidFill>
            <a:schemeClr val="accent3">
              <a:lumMod val="40000"/>
              <a:lumOff val="60000"/>
            </a:schemeClr>
          </a:solidFill>
          <a:ln>
            <a:solidFill>
              <a:schemeClr val="accent6">
                <a:lumMod val="40000"/>
                <a:lumOff val="60000"/>
              </a:schemeClr>
            </a:solidFill>
          </a:ln>
        </p:spPr>
        <p:style>
          <a:lnRef idx="0">
            <a:scrgbClr r="0" g="0" b="0"/>
          </a:lnRef>
          <a:fillRef idx="0">
            <a:scrgbClr r="0" g="0" b="0"/>
          </a:fillRef>
          <a:effectRef idx="0">
            <a:scrgbClr r="0" g="0" b="0"/>
          </a:effectRef>
          <a:fontRef idx="minor">
            <a:schemeClr val="lt1"/>
          </a:fontRef>
        </p:style>
        <p:txBody>
          <a:bodyPr spcFirstLastPara="0" vert="horz" wrap="square" lIns="128016" tIns="73152" rIns="128016" bIns="73152" numCol="1" spcCol="1270" anchor="ctr" anchorCtr="0">
            <a:noAutofit/>
          </a:bodyPr>
          <a:lstStyle/>
          <a:p>
            <a:pPr lvl="0" algn="ctr" defTabSz="800100">
              <a:lnSpc>
                <a:spcPct val="90000"/>
              </a:lnSpc>
              <a:spcBef>
                <a:spcPct val="0"/>
              </a:spcBef>
              <a:spcAft>
                <a:spcPct val="35000"/>
              </a:spcAft>
            </a:pPr>
            <a:r>
              <a:rPr lang="th-TH" sz="1600" b="1" dirty="0" smtClean="0">
                <a:solidFill>
                  <a:schemeClr val="tx1"/>
                </a:solidFill>
                <a:latin typeface="TH SarabunPSK" pitchFamily="34" charset="-34"/>
                <a:cs typeface="TH SarabunPSK" pitchFamily="34" charset="-34"/>
              </a:rPr>
              <a:t>การให้สัตยาบันภาคผนวกและพิธีสาร</a:t>
            </a:r>
            <a:r>
              <a:rPr lang="en-US" sz="1600" b="1" dirty="0">
                <a:solidFill>
                  <a:schemeClr val="tx1"/>
                </a:solidFill>
                <a:latin typeface="TH SarabunPSK" pitchFamily="34" charset="-34"/>
                <a:cs typeface="TH SarabunPSK" pitchFamily="34" charset="-34"/>
              </a:rPr>
              <a:t> </a:t>
            </a:r>
            <a:r>
              <a:rPr lang="en-US" sz="1600" b="1" dirty="0" smtClean="0">
                <a:solidFill>
                  <a:schemeClr val="tx1"/>
                </a:solidFill>
                <a:latin typeface="TH SarabunPSK" pitchFamily="34" charset="-34"/>
                <a:cs typeface="TH SarabunPSK" pitchFamily="34" charset="-34"/>
              </a:rPr>
              <a:t>C</a:t>
            </a:r>
            <a:r>
              <a:rPr lang="en-US" sz="1600" b="1" kern="1200" dirty="0" smtClean="0">
                <a:solidFill>
                  <a:schemeClr val="tx1"/>
                </a:solidFill>
                <a:latin typeface="TH SarabunPSK" pitchFamily="34" charset="-34"/>
                <a:cs typeface="TH SarabunPSK" pitchFamily="34" charset="-34"/>
              </a:rPr>
              <a:t>BTA</a:t>
            </a:r>
            <a:endParaRPr lang="th-TH" sz="1600" b="1" kern="1200" dirty="0">
              <a:solidFill>
                <a:schemeClr val="tx1"/>
              </a:solidFill>
              <a:latin typeface="TH SarabunPSK" pitchFamily="34" charset="-34"/>
              <a:cs typeface="TH SarabunPSK" pitchFamily="34" charset="-34"/>
            </a:endParaRPr>
          </a:p>
        </p:txBody>
      </p:sp>
    </p:spTree>
    <p:extLst>
      <p:ext uri="{BB962C8B-B14F-4D97-AF65-F5344CB8AC3E}">
        <p14:creationId xmlns:p14="http://schemas.microsoft.com/office/powerpoint/2010/main" xmlns="" val="1012271203"/>
      </p:ext>
    </p:extLst>
  </p:cSld>
  <p:clrMapOvr>
    <a:masterClrMapping/>
  </p:clrMapOvr>
  <mc:AlternateContent xmlns:mc="http://schemas.openxmlformats.org/markup-compatibility/2006">
    <mc:Choice xmlns:p14="http://schemas.microsoft.com/office/powerpoint/2010/main" xmlns="" Requires="p14">
      <p:transition spd="slow" p14:dur="2000"/>
    </mc:Choice>
    <mc:Fallback>
      <p:transition spd="slow"/>
    </mc:Fallback>
  </mc:AlternateContent>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266" name="Picture 2"/>
          <p:cNvPicPr>
            <a:picLocks noChangeAspect="1" noChangeArrowheads="1"/>
          </p:cNvPicPr>
          <p:nvPr/>
        </p:nvPicPr>
        <p:blipFill rotWithShape="1">
          <a:blip r:embed="rId2">
            <a:extLst>
              <a:ext uri="{28A0092B-C50C-407E-A947-70E740481C1C}">
                <a14:useLocalDpi xmlns:a14="http://schemas.microsoft.com/office/drawing/2010/main" xmlns="" val="0"/>
              </a:ext>
            </a:extLst>
          </a:blip>
          <a:srcRect l="10979" t="14638" r="8730" b="8642"/>
          <a:stretch/>
        </p:blipFill>
        <p:spPr bwMode="auto">
          <a:xfrm>
            <a:off x="152400" y="1143000"/>
            <a:ext cx="8991600" cy="398458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34" name="Rounded Rectangle 33"/>
          <p:cNvSpPr/>
          <p:nvPr/>
        </p:nvSpPr>
        <p:spPr>
          <a:xfrm>
            <a:off x="0" y="0"/>
            <a:ext cx="9144000" cy="400050"/>
          </a:xfrm>
          <a:prstGeom prst="roundRect">
            <a:avLst>
              <a:gd name="adj" fmla="val 0"/>
            </a:avLst>
          </a:prstGeom>
          <a:solidFill>
            <a:schemeClr val="accent4">
              <a:lumMod val="50000"/>
            </a:schemeClr>
          </a:solidFill>
        </p:spPr>
        <p:style>
          <a:lnRef idx="3">
            <a:schemeClr val="lt1"/>
          </a:lnRef>
          <a:fillRef idx="1">
            <a:schemeClr val="accent1"/>
          </a:fillRef>
          <a:effectRef idx="1">
            <a:schemeClr val="accent1"/>
          </a:effectRef>
          <a:fontRef idx="minor">
            <a:schemeClr val="lt1"/>
          </a:fontRef>
        </p:style>
        <p:txBody>
          <a:bodyPr anchor="ctr"/>
          <a:lstStyle/>
          <a:p>
            <a:pPr indent="-463550" algn="ctr" fontAlgn="auto">
              <a:spcAft>
                <a:spcPts val="0"/>
              </a:spcAft>
              <a:defRPr/>
            </a:pPr>
            <a:r>
              <a:rPr lang="th-TH" b="1" dirty="0" smtClean="0">
                <a:solidFill>
                  <a:schemeClr val="bg1"/>
                </a:solidFill>
                <a:latin typeface="TH SarabunPSK" pitchFamily="34" charset="-34"/>
                <a:cs typeface="TH SarabunPSK" pitchFamily="34" charset="-34"/>
              </a:rPr>
              <a:t>การพัฒนาโครงสร้างพื้นฐานเครือข่ายระบบราง</a:t>
            </a:r>
            <a:endParaRPr lang="th-TH" b="1" dirty="0">
              <a:solidFill>
                <a:schemeClr val="bg1"/>
              </a:solidFill>
              <a:latin typeface="TH SarabunPSK" pitchFamily="34" charset="-34"/>
              <a:cs typeface="TH SarabunPSK" pitchFamily="34" charset="-34"/>
            </a:endParaRPr>
          </a:p>
        </p:txBody>
      </p:sp>
      <p:sp>
        <p:nvSpPr>
          <p:cNvPr id="41" name="Rectangle 40"/>
          <p:cNvSpPr/>
          <p:nvPr/>
        </p:nvSpPr>
        <p:spPr>
          <a:xfrm>
            <a:off x="5562600" y="557892"/>
            <a:ext cx="3581400" cy="508996"/>
          </a:xfrm>
          <a:prstGeom prst="rect">
            <a:avLst/>
          </a:prstGeom>
          <a:solidFill>
            <a:schemeClr val="accent3">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th-TH" b="1" dirty="0" smtClean="0">
                <a:solidFill>
                  <a:schemeClr val="tx1"/>
                </a:solidFill>
                <a:latin typeface="TH SarabunPSK" pitchFamily="34" charset="-34"/>
                <a:cs typeface="TH SarabunPSK" pitchFamily="34" charset="-34"/>
              </a:rPr>
              <a:t>โทรคมนาคม</a:t>
            </a:r>
            <a:endParaRPr lang="th-TH" b="1" dirty="0">
              <a:solidFill>
                <a:schemeClr val="tx1"/>
              </a:solidFill>
              <a:latin typeface="TH SarabunPSK" pitchFamily="34" charset="-34"/>
              <a:cs typeface="TH SarabunPSK" pitchFamily="34" charset="-34"/>
            </a:endParaRPr>
          </a:p>
        </p:txBody>
      </p:sp>
      <p:sp>
        <p:nvSpPr>
          <p:cNvPr id="43" name="Down Arrow Callout 42"/>
          <p:cNvSpPr/>
          <p:nvPr/>
        </p:nvSpPr>
        <p:spPr>
          <a:xfrm>
            <a:off x="0" y="530319"/>
            <a:ext cx="2590800" cy="734617"/>
          </a:xfrm>
          <a:prstGeom prst="downArrowCallout">
            <a:avLst>
              <a:gd name="adj1" fmla="val 35939"/>
              <a:gd name="adj2" fmla="val 28417"/>
              <a:gd name="adj3" fmla="val 15924"/>
              <a:gd name="adj4" fmla="val 70231"/>
            </a:avLst>
          </a:prstGeom>
          <a:solidFill>
            <a:schemeClr val="accent4">
              <a:lumMod val="50000"/>
            </a:schemeClr>
          </a:solidFill>
        </p:spPr>
        <p:style>
          <a:lnRef idx="3">
            <a:schemeClr val="lt1"/>
          </a:lnRef>
          <a:fillRef idx="1">
            <a:schemeClr val="accent1"/>
          </a:fillRef>
          <a:effectRef idx="1">
            <a:schemeClr val="accent1"/>
          </a:effectRef>
          <a:fontRef idx="minor">
            <a:schemeClr val="lt1"/>
          </a:fontRef>
        </p:style>
        <p:txBody>
          <a:bodyPr anchor="ctr"/>
          <a:lstStyle/>
          <a:p>
            <a:pPr indent="-463550" algn="ctr">
              <a:spcBef>
                <a:spcPts val="0"/>
              </a:spcBef>
              <a:defRPr/>
            </a:pPr>
            <a:r>
              <a:rPr lang="th-TH" b="1" dirty="0" smtClean="0">
                <a:solidFill>
                  <a:schemeClr val="bg1"/>
                </a:solidFill>
                <a:latin typeface="TH SarabunPSK" pitchFamily="34" charset="-34"/>
                <a:cs typeface="TH SarabunPSK" pitchFamily="34" charset="-34"/>
              </a:rPr>
              <a:t>คมนาคม</a:t>
            </a:r>
            <a:r>
              <a:rPr lang="en-US" b="1" dirty="0" smtClean="0">
                <a:solidFill>
                  <a:schemeClr val="bg1"/>
                </a:solidFill>
                <a:latin typeface="TH SarabunPSK" pitchFamily="34" charset="-34"/>
                <a:cs typeface="TH SarabunPSK" pitchFamily="34" charset="-34"/>
              </a:rPr>
              <a:t> </a:t>
            </a:r>
            <a:endParaRPr lang="th-TH" b="1" dirty="0">
              <a:solidFill>
                <a:schemeClr val="bg1"/>
              </a:solidFill>
              <a:latin typeface="TH SarabunPSK" pitchFamily="34" charset="-34"/>
              <a:cs typeface="TH SarabunPSK" pitchFamily="34" charset="-34"/>
            </a:endParaRPr>
          </a:p>
        </p:txBody>
      </p:sp>
      <p:sp>
        <p:nvSpPr>
          <p:cNvPr id="44" name="Rectangle 43"/>
          <p:cNvSpPr/>
          <p:nvPr/>
        </p:nvSpPr>
        <p:spPr>
          <a:xfrm>
            <a:off x="2590800" y="555084"/>
            <a:ext cx="2971800" cy="508996"/>
          </a:xfrm>
          <a:prstGeom prst="rect">
            <a:avLst/>
          </a:prstGeom>
          <a:solidFill>
            <a:schemeClr val="accent3">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th-TH" b="1" dirty="0" smtClean="0">
                <a:solidFill>
                  <a:schemeClr val="tx1"/>
                </a:solidFill>
                <a:latin typeface="TH SarabunPSK" pitchFamily="34" charset="-34"/>
                <a:cs typeface="TH SarabunPSK" pitchFamily="34" charset="-34"/>
              </a:rPr>
              <a:t>พลังงาน</a:t>
            </a:r>
            <a:endParaRPr lang="th-TH" b="1" dirty="0">
              <a:solidFill>
                <a:schemeClr val="tx1"/>
              </a:solidFill>
              <a:latin typeface="TH SarabunPSK" pitchFamily="34" charset="-34"/>
              <a:cs typeface="TH SarabunPSK" pitchFamily="34" charset="-34"/>
            </a:endParaRPr>
          </a:p>
        </p:txBody>
      </p:sp>
    </p:spTree>
    <p:extLst>
      <p:ext uri="{BB962C8B-B14F-4D97-AF65-F5344CB8AC3E}">
        <p14:creationId xmlns:p14="http://schemas.microsoft.com/office/powerpoint/2010/main" xmlns="" val="1375882924"/>
      </p:ext>
    </p:extLst>
  </p:cSld>
  <p:clrMapOvr>
    <a:masterClrMapping/>
  </p:clrMapOvr>
  <p:transition>
    <p:fade thruBlk="1"/>
  </p:transition>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 name="Rounded Rectangle 39"/>
          <p:cNvSpPr/>
          <p:nvPr/>
        </p:nvSpPr>
        <p:spPr>
          <a:xfrm>
            <a:off x="2500298" y="1264935"/>
            <a:ext cx="6500858" cy="1821165"/>
          </a:xfrm>
          <a:prstGeom prst="roundRect">
            <a:avLst/>
          </a:prstGeom>
          <a:solidFill>
            <a:schemeClr val="bg1"/>
          </a:solidFill>
          <a:ln w="76200"/>
        </p:spPr>
        <p:style>
          <a:lnRef idx="2">
            <a:schemeClr val="accent1">
              <a:shade val="50000"/>
            </a:schemeClr>
          </a:lnRef>
          <a:fillRef idx="1">
            <a:schemeClr val="accent1"/>
          </a:fillRef>
          <a:effectRef idx="0">
            <a:schemeClr val="accent1"/>
          </a:effectRef>
          <a:fontRef idx="minor">
            <a:schemeClr val="lt1"/>
          </a:fontRef>
        </p:style>
        <p:txBody>
          <a:bodyPr anchor="ctr"/>
          <a:lstStyle/>
          <a:p>
            <a:pPr fontAlgn="auto">
              <a:spcAft>
                <a:spcPts val="0"/>
              </a:spcAft>
              <a:defRPr/>
            </a:pPr>
            <a:r>
              <a:rPr lang="th-TH" sz="2000" b="1" dirty="0" smtClean="0">
                <a:solidFill>
                  <a:schemeClr val="tx1"/>
                </a:solidFill>
                <a:latin typeface="TH SarabunPSK" pitchFamily="34" charset="-34"/>
                <a:cs typeface="TH SarabunPSK" pitchFamily="34" charset="-34"/>
              </a:rPr>
              <a:t>การขนส่งทางอากาศ</a:t>
            </a:r>
            <a:endParaRPr lang="en-US" sz="2000" b="1" dirty="0" smtClean="0">
              <a:solidFill>
                <a:schemeClr val="tx1"/>
              </a:solidFill>
              <a:latin typeface="TH SarabunPSK" pitchFamily="34" charset="-34"/>
              <a:cs typeface="TH SarabunPSK" pitchFamily="34" charset="-34"/>
            </a:endParaRPr>
          </a:p>
          <a:p>
            <a:pPr fontAlgn="auto">
              <a:spcAft>
                <a:spcPts val="0"/>
              </a:spcAft>
              <a:defRPr/>
            </a:pPr>
            <a:r>
              <a:rPr lang="en-US" sz="2000" b="1" dirty="0" smtClean="0">
                <a:solidFill>
                  <a:schemeClr val="tx1"/>
                </a:solidFill>
                <a:latin typeface="TH SarabunPSK" pitchFamily="34" charset="-34"/>
                <a:cs typeface="TH SarabunPSK" pitchFamily="34" charset="-34"/>
              </a:rPr>
              <a:t>  </a:t>
            </a:r>
            <a:r>
              <a:rPr lang="en-US" sz="2000" b="1" dirty="0" smtClean="0">
                <a:solidFill>
                  <a:srgbClr val="C00000"/>
                </a:solidFill>
                <a:latin typeface="TH SarabunPSK" pitchFamily="34" charset="-34"/>
                <a:cs typeface="TH SarabunPSK" pitchFamily="34" charset="-34"/>
              </a:rPr>
              <a:t>“</a:t>
            </a:r>
            <a:r>
              <a:rPr lang="th-TH" sz="2000" b="1" dirty="0" smtClean="0">
                <a:solidFill>
                  <a:srgbClr val="C00000"/>
                </a:solidFill>
                <a:latin typeface="TH SarabunPSK" pitchFamily="34" charset="-34"/>
                <a:cs typeface="TH SarabunPSK" pitchFamily="34" charset="-34"/>
              </a:rPr>
              <a:t>สนามบินสุวรรณภูมิ จะเป็นสนามบินหลักที่สำคัญของภูมิภาค</a:t>
            </a:r>
            <a:r>
              <a:rPr lang="en-US" sz="2000" b="1" dirty="0" smtClean="0">
                <a:solidFill>
                  <a:srgbClr val="C00000"/>
                </a:solidFill>
                <a:latin typeface="TH SarabunPSK" pitchFamily="34" charset="-34"/>
                <a:cs typeface="TH SarabunPSK" pitchFamily="34" charset="-34"/>
              </a:rPr>
              <a:t>”</a:t>
            </a:r>
          </a:p>
          <a:p>
            <a:pPr marL="285750" indent="-285750" fontAlgn="auto">
              <a:spcAft>
                <a:spcPts val="0"/>
              </a:spcAft>
              <a:buFont typeface="Wingdings" pitchFamily="2" charset="2"/>
              <a:buChar char="v"/>
              <a:defRPr/>
            </a:pPr>
            <a:r>
              <a:rPr lang="th-TH" sz="2000" b="1" dirty="0" smtClean="0">
                <a:solidFill>
                  <a:schemeClr val="tx1"/>
                </a:solidFill>
                <a:latin typeface="TH SarabunPSK" pitchFamily="34" charset="-34"/>
                <a:cs typeface="TH SarabunPSK" pitchFamily="34" charset="-34"/>
              </a:rPr>
              <a:t>เพิ่มศักยภาพและคุณภาพบริการเพื่อรองรับกับปริมาณการใช้ที่เพิ่มขึ้นอย่างต่อเนื่อง</a:t>
            </a:r>
            <a:r>
              <a:rPr lang="en-US" sz="2000" b="1" dirty="0" smtClean="0">
                <a:solidFill>
                  <a:schemeClr val="tx1"/>
                </a:solidFill>
                <a:latin typeface="TH SarabunPSK" pitchFamily="34" charset="-34"/>
                <a:cs typeface="TH SarabunPSK" pitchFamily="34" charset="-34"/>
              </a:rPr>
              <a:t> </a:t>
            </a:r>
            <a:r>
              <a:rPr lang="th-TH" sz="2000" b="1" dirty="0">
                <a:solidFill>
                  <a:schemeClr val="tx1"/>
                </a:solidFill>
                <a:latin typeface="TH SarabunPSK" pitchFamily="34" charset="-34"/>
                <a:cs typeface="TH SarabunPSK" pitchFamily="34" charset="-34"/>
              </a:rPr>
              <a:t> </a:t>
            </a:r>
            <a:r>
              <a:rPr lang="th-TH" sz="2000" b="1" dirty="0" smtClean="0">
                <a:solidFill>
                  <a:schemeClr val="tx1"/>
                </a:solidFill>
                <a:latin typeface="TH SarabunPSK" pitchFamily="34" charset="-34"/>
                <a:cs typeface="TH SarabunPSK" pitchFamily="34" charset="-34"/>
              </a:rPr>
              <a:t>โดยมีจำนวนกว่า 65 พันล้านคนต่อปี </a:t>
            </a:r>
            <a:endParaRPr lang="en-US" sz="2000" b="1" dirty="0" smtClean="0">
              <a:solidFill>
                <a:schemeClr val="tx1"/>
              </a:solidFill>
              <a:latin typeface="TH SarabunPSK" pitchFamily="34" charset="-34"/>
              <a:cs typeface="TH SarabunPSK" pitchFamily="34" charset="-34"/>
            </a:endParaRPr>
          </a:p>
          <a:p>
            <a:pPr marL="285750" indent="-285750" fontAlgn="auto">
              <a:spcAft>
                <a:spcPts val="0"/>
              </a:spcAft>
              <a:buFont typeface="Wingdings" pitchFamily="2" charset="2"/>
              <a:buChar char="v"/>
              <a:defRPr/>
            </a:pPr>
            <a:r>
              <a:rPr lang="th-TH" sz="2000" b="1" dirty="0" smtClean="0">
                <a:solidFill>
                  <a:schemeClr val="tx1"/>
                </a:solidFill>
                <a:latin typeface="TH SarabunPSK" pitchFamily="34" charset="-34"/>
                <a:cs typeface="TH SarabunPSK" pitchFamily="34" charset="-34"/>
              </a:rPr>
              <a:t>ใช้ประโยชน์จากเทคโนโลยีสารสนเทศและการสื่อสารเพื่อยกระดับการให้บริการสู่มาตรฐานสากล</a:t>
            </a:r>
            <a:endParaRPr lang="en-US" sz="2000" b="1" dirty="0" smtClean="0">
              <a:solidFill>
                <a:schemeClr val="tx1"/>
              </a:solidFill>
              <a:latin typeface="TH SarabunPSK" pitchFamily="34" charset="-34"/>
              <a:cs typeface="TH SarabunPSK" pitchFamily="34" charset="-34"/>
            </a:endParaRPr>
          </a:p>
        </p:txBody>
      </p:sp>
      <p:sp>
        <p:nvSpPr>
          <p:cNvPr id="21" name="Rounded Rectangle 20"/>
          <p:cNvSpPr/>
          <p:nvPr/>
        </p:nvSpPr>
        <p:spPr>
          <a:xfrm>
            <a:off x="2500298" y="3237715"/>
            <a:ext cx="6500858" cy="1660934"/>
          </a:xfrm>
          <a:prstGeom prst="roundRect">
            <a:avLst/>
          </a:prstGeom>
          <a:solidFill>
            <a:schemeClr val="bg1"/>
          </a:solidFill>
          <a:ln w="76200"/>
        </p:spPr>
        <p:style>
          <a:lnRef idx="2">
            <a:schemeClr val="accent1">
              <a:shade val="50000"/>
            </a:schemeClr>
          </a:lnRef>
          <a:fillRef idx="1">
            <a:schemeClr val="accent1"/>
          </a:fillRef>
          <a:effectRef idx="0">
            <a:schemeClr val="accent1"/>
          </a:effectRef>
          <a:fontRef idx="minor">
            <a:schemeClr val="lt1"/>
          </a:fontRef>
        </p:style>
        <p:txBody>
          <a:bodyPr anchor="ctr"/>
          <a:lstStyle/>
          <a:p>
            <a:pPr fontAlgn="auto">
              <a:spcAft>
                <a:spcPts val="0"/>
              </a:spcAft>
              <a:defRPr/>
            </a:pPr>
            <a:r>
              <a:rPr lang="th-TH" sz="2000" b="1" dirty="0" smtClean="0">
                <a:solidFill>
                  <a:schemeClr val="tx1"/>
                </a:solidFill>
                <a:latin typeface="TH SarabunPSK" pitchFamily="34" charset="-34"/>
                <a:cs typeface="TH SarabunPSK" pitchFamily="34" charset="-34"/>
              </a:rPr>
              <a:t>การขนส่งทางน้ำ</a:t>
            </a:r>
            <a:endParaRPr lang="en-US" sz="2000" b="1" dirty="0" smtClean="0">
              <a:solidFill>
                <a:schemeClr val="tx1"/>
              </a:solidFill>
              <a:latin typeface="TH SarabunPSK" pitchFamily="34" charset="-34"/>
              <a:cs typeface="TH SarabunPSK" pitchFamily="34" charset="-34"/>
            </a:endParaRPr>
          </a:p>
          <a:p>
            <a:pPr fontAlgn="auto">
              <a:spcAft>
                <a:spcPts val="0"/>
              </a:spcAft>
              <a:defRPr/>
            </a:pPr>
            <a:r>
              <a:rPr lang="en-US" sz="2000" b="1" dirty="0" smtClean="0">
                <a:solidFill>
                  <a:schemeClr val="tx1"/>
                </a:solidFill>
                <a:latin typeface="TH SarabunPSK" pitchFamily="34" charset="-34"/>
                <a:cs typeface="TH SarabunPSK" pitchFamily="34" charset="-34"/>
              </a:rPr>
              <a:t>       </a:t>
            </a:r>
            <a:r>
              <a:rPr lang="en-US" sz="2000" b="1" dirty="0" smtClean="0">
                <a:solidFill>
                  <a:srgbClr val="C00000"/>
                </a:solidFill>
                <a:latin typeface="TH SarabunPSK" pitchFamily="34" charset="-34"/>
                <a:cs typeface="TH SarabunPSK" pitchFamily="34" charset="-34"/>
              </a:rPr>
              <a:t>“</a:t>
            </a:r>
            <a:r>
              <a:rPr lang="th-TH" sz="2000" b="1" dirty="0" smtClean="0">
                <a:solidFill>
                  <a:srgbClr val="C00000"/>
                </a:solidFill>
                <a:latin typeface="TH SarabunPSK" pitchFamily="34" charset="-34"/>
                <a:cs typeface="TH SarabunPSK" pitchFamily="34" charset="-34"/>
              </a:rPr>
              <a:t>ท่าเรือแหลมฉบัง จะเป็นหนึ่งในท่าเรือหลักของอาเซียน</a:t>
            </a:r>
            <a:r>
              <a:rPr lang="en-US" sz="2000" b="1" dirty="0" smtClean="0">
                <a:solidFill>
                  <a:srgbClr val="C00000"/>
                </a:solidFill>
                <a:latin typeface="TH SarabunPSK" pitchFamily="34" charset="-34"/>
                <a:cs typeface="TH SarabunPSK" pitchFamily="34" charset="-34"/>
              </a:rPr>
              <a:t>”</a:t>
            </a:r>
            <a:endParaRPr lang="en-US" sz="2000" b="1" dirty="0">
              <a:solidFill>
                <a:srgbClr val="C00000"/>
              </a:solidFill>
              <a:latin typeface="TH SarabunPSK" pitchFamily="34" charset="-34"/>
              <a:cs typeface="TH SarabunPSK" pitchFamily="34" charset="-34"/>
            </a:endParaRPr>
          </a:p>
          <a:p>
            <a:pPr marL="285750" indent="-285750" fontAlgn="auto">
              <a:spcAft>
                <a:spcPts val="0"/>
              </a:spcAft>
              <a:buFont typeface="Wingdings" pitchFamily="2" charset="2"/>
              <a:buChar char="v"/>
              <a:defRPr/>
            </a:pPr>
            <a:r>
              <a:rPr lang="th-TH" sz="2000" b="1" dirty="0" smtClean="0">
                <a:solidFill>
                  <a:schemeClr val="tx1"/>
                </a:solidFill>
                <a:latin typeface="TH SarabunPSK" pitchFamily="34" charset="-34"/>
                <a:cs typeface="TH SarabunPSK" pitchFamily="34" charset="-34"/>
              </a:rPr>
              <a:t>ปรับปรุงการบริหารท่าเรือแหลมฉบังให้มีความทันสมัย</a:t>
            </a:r>
            <a:endParaRPr lang="en-US" sz="2000" b="1" dirty="0" smtClean="0">
              <a:solidFill>
                <a:schemeClr val="tx1"/>
              </a:solidFill>
              <a:latin typeface="TH SarabunPSK" pitchFamily="34" charset="-34"/>
              <a:cs typeface="TH SarabunPSK" pitchFamily="34" charset="-34"/>
            </a:endParaRPr>
          </a:p>
          <a:p>
            <a:pPr marL="285750" indent="-285750" fontAlgn="auto">
              <a:spcAft>
                <a:spcPts val="0"/>
              </a:spcAft>
              <a:buFont typeface="Wingdings" pitchFamily="2" charset="2"/>
              <a:buChar char="v"/>
              <a:defRPr/>
            </a:pPr>
            <a:r>
              <a:rPr lang="th-TH" sz="2000" b="1" dirty="0" smtClean="0">
                <a:solidFill>
                  <a:schemeClr val="tx1"/>
                </a:solidFill>
                <a:latin typeface="TH SarabunPSK" pitchFamily="34" charset="-34"/>
                <a:cs typeface="TH SarabunPSK" pitchFamily="34" charset="-34"/>
              </a:rPr>
              <a:t>ใช้ระบบเทคโนโลยีสารสนเทศในการยกระดับท่าเรือสู่การเป็นท่าเรืออิเล็กทรอนิกส์และเชื่อมโยงกับท่าเรือสากลต่างๆ</a:t>
            </a:r>
            <a:endParaRPr lang="th-TH" sz="2000" b="1" dirty="0">
              <a:solidFill>
                <a:schemeClr val="tx1"/>
              </a:solidFill>
              <a:latin typeface="TH SarabunPSK" pitchFamily="34" charset="-34"/>
              <a:cs typeface="TH SarabunPSK" pitchFamily="34" charset="-34"/>
            </a:endParaRPr>
          </a:p>
        </p:txBody>
      </p:sp>
      <p:pic>
        <p:nvPicPr>
          <p:cNvPr id="15" name="Picture 8" descr="http://t0.gstatic.com/images?q=tbn:OYr89BGFMQXk_M:http://img.alibaba.com/photo/101629507/Transportation_Logistics_Ocean_Rail_Trucking_Services.jpg">
            <a:hlinkClick r:id="rId3"/>
          </p:cNvPr>
          <p:cNvPicPr>
            <a:picLocks noChangeAspect="1" noChangeArrowheads="1"/>
          </p:cNvPicPr>
          <p:nvPr/>
        </p:nvPicPr>
        <p:blipFill>
          <a:blip r:embed="rId4" cstate="print"/>
          <a:srcRect/>
          <a:stretch>
            <a:fillRect/>
          </a:stretch>
        </p:blipFill>
        <p:spPr bwMode="auto">
          <a:xfrm>
            <a:off x="76201" y="3375428"/>
            <a:ext cx="2262773" cy="1385508"/>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26625" name="Picture 1"/>
          <p:cNvPicPr>
            <a:picLocks noChangeAspect="1" noChangeArrowheads="1"/>
          </p:cNvPicPr>
          <p:nvPr/>
        </p:nvPicPr>
        <p:blipFill>
          <a:blip r:embed="rId5" cstate="print"/>
          <a:srcRect/>
          <a:stretch>
            <a:fillRect/>
          </a:stretch>
        </p:blipFill>
        <p:spPr bwMode="auto">
          <a:xfrm>
            <a:off x="112154" y="1543050"/>
            <a:ext cx="2250046" cy="1278735"/>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sp>
        <p:nvSpPr>
          <p:cNvPr id="18" name="Rounded Rectangle 17"/>
          <p:cNvSpPr/>
          <p:nvPr/>
        </p:nvSpPr>
        <p:spPr>
          <a:xfrm>
            <a:off x="0" y="0"/>
            <a:ext cx="9144000" cy="400050"/>
          </a:xfrm>
          <a:prstGeom prst="roundRect">
            <a:avLst>
              <a:gd name="adj" fmla="val 0"/>
            </a:avLst>
          </a:prstGeom>
          <a:solidFill>
            <a:schemeClr val="accent4">
              <a:lumMod val="50000"/>
            </a:schemeClr>
          </a:solidFill>
        </p:spPr>
        <p:style>
          <a:lnRef idx="3">
            <a:schemeClr val="lt1"/>
          </a:lnRef>
          <a:fillRef idx="1">
            <a:schemeClr val="accent1"/>
          </a:fillRef>
          <a:effectRef idx="1">
            <a:schemeClr val="accent1"/>
          </a:effectRef>
          <a:fontRef idx="minor">
            <a:schemeClr val="lt1"/>
          </a:fontRef>
        </p:style>
        <p:txBody>
          <a:bodyPr anchor="ctr"/>
          <a:lstStyle/>
          <a:p>
            <a:pPr indent="-463550" algn="ctr" fontAlgn="auto">
              <a:spcAft>
                <a:spcPts val="0"/>
              </a:spcAft>
              <a:defRPr/>
            </a:pPr>
            <a:r>
              <a:rPr lang="th-TH" b="1" dirty="0" smtClean="0">
                <a:solidFill>
                  <a:schemeClr val="bg1"/>
                </a:solidFill>
                <a:latin typeface="TH SarabunPSK" pitchFamily="34" charset="-34"/>
                <a:cs typeface="TH SarabunPSK" pitchFamily="34" charset="-34"/>
              </a:rPr>
              <a:t>การพัฒนาโครงสร้างพื้นฐาน สนามบินและท่าเรือ</a:t>
            </a:r>
            <a:endParaRPr lang="th-TH" b="1" dirty="0">
              <a:solidFill>
                <a:schemeClr val="bg1"/>
              </a:solidFill>
              <a:latin typeface="TH SarabunPSK" pitchFamily="34" charset="-34"/>
              <a:cs typeface="TH SarabunPSK" pitchFamily="34" charset="-34"/>
            </a:endParaRPr>
          </a:p>
        </p:txBody>
      </p:sp>
      <p:sp>
        <p:nvSpPr>
          <p:cNvPr id="22" name="Rectangle 21"/>
          <p:cNvSpPr/>
          <p:nvPr/>
        </p:nvSpPr>
        <p:spPr>
          <a:xfrm>
            <a:off x="5750726" y="557892"/>
            <a:ext cx="3393273" cy="508996"/>
          </a:xfrm>
          <a:prstGeom prst="rect">
            <a:avLst/>
          </a:prstGeom>
          <a:solidFill>
            <a:schemeClr val="accent3">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th-TH" b="1" dirty="0" smtClean="0">
                <a:solidFill>
                  <a:schemeClr val="tx1"/>
                </a:solidFill>
                <a:latin typeface="TH SarabunPSK" pitchFamily="34" charset="-34"/>
                <a:cs typeface="TH SarabunPSK" pitchFamily="34" charset="-34"/>
              </a:rPr>
              <a:t>โทรคมนาคม</a:t>
            </a:r>
            <a:endParaRPr lang="th-TH" b="1" dirty="0">
              <a:solidFill>
                <a:schemeClr val="tx1"/>
              </a:solidFill>
              <a:latin typeface="TH SarabunPSK" pitchFamily="34" charset="-34"/>
              <a:cs typeface="TH SarabunPSK" pitchFamily="34" charset="-34"/>
            </a:endParaRPr>
          </a:p>
        </p:txBody>
      </p:sp>
      <p:sp>
        <p:nvSpPr>
          <p:cNvPr id="24" name="Down Arrow Callout 23"/>
          <p:cNvSpPr/>
          <p:nvPr/>
        </p:nvSpPr>
        <p:spPr>
          <a:xfrm>
            <a:off x="0" y="530319"/>
            <a:ext cx="2590800" cy="734617"/>
          </a:xfrm>
          <a:prstGeom prst="downArrowCallout">
            <a:avLst>
              <a:gd name="adj1" fmla="val 35939"/>
              <a:gd name="adj2" fmla="val 28417"/>
              <a:gd name="adj3" fmla="val 15924"/>
              <a:gd name="adj4" fmla="val 70231"/>
            </a:avLst>
          </a:prstGeom>
          <a:solidFill>
            <a:schemeClr val="accent4">
              <a:lumMod val="50000"/>
            </a:schemeClr>
          </a:solidFill>
        </p:spPr>
        <p:style>
          <a:lnRef idx="3">
            <a:schemeClr val="lt1"/>
          </a:lnRef>
          <a:fillRef idx="1">
            <a:schemeClr val="accent1"/>
          </a:fillRef>
          <a:effectRef idx="1">
            <a:schemeClr val="accent1"/>
          </a:effectRef>
          <a:fontRef idx="minor">
            <a:schemeClr val="lt1"/>
          </a:fontRef>
        </p:style>
        <p:txBody>
          <a:bodyPr anchor="ctr"/>
          <a:lstStyle/>
          <a:p>
            <a:pPr algn="ctr">
              <a:defRPr/>
            </a:pPr>
            <a:r>
              <a:rPr lang="th-TH" b="1" dirty="0" smtClean="0">
                <a:solidFill>
                  <a:schemeClr val="bg1"/>
                </a:solidFill>
                <a:latin typeface="TH SarabunPSK" pitchFamily="34" charset="-34"/>
                <a:cs typeface="TH SarabunPSK" pitchFamily="34" charset="-34"/>
              </a:rPr>
              <a:t>คมนาคม</a:t>
            </a:r>
            <a:r>
              <a:rPr lang="en-US" b="1" dirty="0" smtClean="0">
                <a:solidFill>
                  <a:schemeClr val="bg1"/>
                </a:solidFill>
                <a:latin typeface="TH SarabunPSK" pitchFamily="34" charset="-34"/>
                <a:cs typeface="TH SarabunPSK" pitchFamily="34" charset="-34"/>
              </a:rPr>
              <a:t> </a:t>
            </a:r>
            <a:endParaRPr lang="th-TH" b="1" dirty="0">
              <a:solidFill>
                <a:schemeClr val="bg1"/>
              </a:solidFill>
              <a:latin typeface="TH SarabunPSK" pitchFamily="34" charset="-34"/>
              <a:cs typeface="TH SarabunPSK" pitchFamily="34" charset="-34"/>
            </a:endParaRPr>
          </a:p>
        </p:txBody>
      </p:sp>
      <p:sp>
        <p:nvSpPr>
          <p:cNvPr id="25" name="Rectangle 24"/>
          <p:cNvSpPr/>
          <p:nvPr/>
        </p:nvSpPr>
        <p:spPr>
          <a:xfrm>
            <a:off x="2590800" y="555084"/>
            <a:ext cx="3159926" cy="508996"/>
          </a:xfrm>
          <a:prstGeom prst="rect">
            <a:avLst/>
          </a:prstGeom>
          <a:solidFill>
            <a:schemeClr val="accent3">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th-TH" b="1" dirty="0" smtClean="0">
                <a:solidFill>
                  <a:schemeClr val="tx1"/>
                </a:solidFill>
                <a:latin typeface="TH SarabunPSK" pitchFamily="34" charset="-34"/>
                <a:cs typeface="TH SarabunPSK" pitchFamily="34" charset="-34"/>
              </a:rPr>
              <a:t>พลังงาน</a:t>
            </a:r>
            <a:endParaRPr lang="th-TH" b="1" dirty="0">
              <a:solidFill>
                <a:schemeClr val="tx1"/>
              </a:solidFill>
              <a:latin typeface="TH SarabunPSK" pitchFamily="34" charset="-34"/>
              <a:cs typeface="TH SarabunPSK" pitchFamily="34" charset="-34"/>
            </a:endParaRPr>
          </a:p>
        </p:txBody>
      </p:sp>
    </p:spTree>
    <p:extLst>
      <p:ext uri="{BB962C8B-B14F-4D97-AF65-F5344CB8AC3E}">
        <p14:creationId xmlns:p14="http://schemas.microsoft.com/office/powerpoint/2010/main" xmlns="" val="2163917830"/>
      </p:ext>
    </p:extLst>
  </p:cSld>
  <p:clrMapOvr>
    <a:masterClrMapping/>
  </p:clrMapOvr>
  <p:transition>
    <p:fade thruBlk="1"/>
  </p:transition>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290" name="Picture 2"/>
          <p:cNvPicPr>
            <a:picLocks noChangeAspect="1" noChangeArrowheads="1"/>
          </p:cNvPicPr>
          <p:nvPr/>
        </p:nvPicPr>
        <p:blipFill rotWithShape="1">
          <a:blip r:embed="rId3">
            <a:extLst>
              <a:ext uri="{28A0092B-C50C-407E-A947-70E740481C1C}">
                <a14:useLocalDpi xmlns:a14="http://schemas.microsoft.com/office/drawing/2010/main" xmlns="" val="0"/>
              </a:ext>
            </a:extLst>
          </a:blip>
          <a:srcRect l="6084" t="18576" r="5159" b="9171"/>
          <a:stretch/>
        </p:blipFill>
        <p:spPr bwMode="auto">
          <a:xfrm>
            <a:off x="384629" y="1257301"/>
            <a:ext cx="8378371" cy="3836504"/>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34" name="Rounded Rectangle 33"/>
          <p:cNvSpPr/>
          <p:nvPr/>
        </p:nvSpPr>
        <p:spPr>
          <a:xfrm>
            <a:off x="0" y="0"/>
            <a:ext cx="9144000" cy="400050"/>
          </a:xfrm>
          <a:prstGeom prst="roundRect">
            <a:avLst>
              <a:gd name="adj" fmla="val 0"/>
            </a:avLst>
          </a:prstGeom>
          <a:solidFill>
            <a:schemeClr val="accent4">
              <a:lumMod val="50000"/>
            </a:schemeClr>
          </a:solidFill>
          <a:scene3d>
            <a:camera prst="orthographicFront"/>
            <a:lightRig rig="threePt" dir="t"/>
          </a:scene3d>
          <a:sp3d>
            <a:bevelT w="114300" prst="artDeco"/>
          </a:sp3d>
        </p:spPr>
        <p:style>
          <a:lnRef idx="3">
            <a:schemeClr val="lt1"/>
          </a:lnRef>
          <a:fillRef idx="1">
            <a:schemeClr val="accent1"/>
          </a:fillRef>
          <a:effectRef idx="1">
            <a:schemeClr val="accent1"/>
          </a:effectRef>
          <a:fontRef idx="minor">
            <a:schemeClr val="lt1"/>
          </a:fontRef>
        </p:style>
        <p:txBody>
          <a:bodyPr vert="horz" lIns="91440" tIns="45720" rIns="91440" bIns="45720" rtlCol="0" anchor="ctr">
            <a:noAutofit/>
          </a:bodyPr>
          <a:lstStyle/>
          <a:p>
            <a:pPr marL="463550" indent="-463550" algn="ctr" fontAlgn="auto">
              <a:spcAft>
                <a:spcPts val="0"/>
              </a:spcAft>
              <a:defRPr/>
            </a:pPr>
            <a:r>
              <a:rPr lang="th-TH" sz="3200" b="1" dirty="0" smtClean="0">
                <a:solidFill>
                  <a:schemeClr val="bg1"/>
                </a:solidFill>
                <a:effectLst>
                  <a:outerShdw blurRad="38100" dist="38100" dir="2700000" algn="tl">
                    <a:srgbClr val="000000">
                      <a:alpha val="43137"/>
                    </a:srgbClr>
                  </a:outerShdw>
                </a:effectLst>
                <a:latin typeface="TH SarabunPSK" pitchFamily="34" charset="-34"/>
                <a:cs typeface="TH SarabunPSK" pitchFamily="34" charset="-34"/>
              </a:rPr>
              <a:t>การพัฒนาโครงสร้างพื้นฐานด้านพลังงาน</a:t>
            </a:r>
            <a:endParaRPr lang="th-TH" sz="3200" b="1" dirty="0">
              <a:solidFill>
                <a:schemeClr val="bg1"/>
              </a:solidFill>
              <a:effectLst>
                <a:outerShdw blurRad="38100" dist="38100" dir="2700000" algn="tl">
                  <a:srgbClr val="000000">
                    <a:alpha val="43137"/>
                  </a:srgbClr>
                </a:outerShdw>
              </a:effectLst>
              <a:latin typeface="TH SarabunPSK" pitchFamily="34" charset="-34"/>
              <a:cs typeface="TH SarabunPSK" pitchFamily="34" charset="-34"/>
            </a:endParaRPr>
          </a:p>
        </p:txBody>
      </p:sp>
      <p:sp>
        <p:nvSpPr>
          <p:cNvPr id="45" name="Rectangle 44"/>
          <p:cNvSpPr/>
          <p:nvPr/>
        </p:nvSpPr>
        <p:spPr>
          <a:xfrm>
            <a:off x="5410200" y="550257"/>
            <a:ext cx="3657600" cy="508996"/>
          </a:xfrm>
          <a:prstGeom prst="rect">
            <a:avLst/>
          </a:prstGeom>
          <a:solidFill>
            <a:schemeClr val="accent3">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th-TH" b="1" dirty="0" smtClean="0">
                <a:solidFill>
                  <a:schemeClr val="tx1"/>
                </a:solidFill>
                <a:latin typeface="TH SarabunPSK" pitchFamily="34" charset="-34"/>
                <a:cs typeface="TH SarabunPSK" pitchFamily="34" charset="-34"/>
              </a:rPr>
              <a:t>โทรคมนาคม</a:t>
            </a:r>
            <a:endParaRPr lang="th-TH" b="1" dirty="0">
              <a:solidFill>
                <a:schemeClr val="tx1"/>
              </a:solidFill>
              <a:latin typeface="TH SarabunPSK" pitchFamily="34" charset="-34"/>
              <a:cs typeface="TH SarabunPSK" pitchFamily="34" charset="-34"/>
            </a:endParaRPr>
          </a:p>
        </p:txBody>
      </p:sp>
      <p:sp>
        <p:nvSpPr>
          <p:cNvPr id="48" name="Down Arrow Callout 47"/>
          <p:cNvSpPr/>
          <p:nvPr/>
        </p:nvSpPr>
        <p:spPr>
          <a:xfrm>
            <a:off x="2438400" y="522684"/>
            <a:ext cx="2971800" cy="734617"/>
          </a:xfrm>
          <a:prstGeom prst="downArrowCallout">
            <a:avLst>
              <a:gd name="adj1" fmla="val 35939"/>
              <a:gd name="adj2" fmla="val 28417"/>
              <a:gd name="adj3" fmla="val 15924"/>
              <a:gd name="adj4" fmla="val 70231"/>
            </a:avLst>
          </a:prstGeom>
          <a:solidFill>
            <a:schemeClr val="accent4">
              <a:lumMod val="50000"/>
            </a:schemeClr>
          </a:solidFill>
        </p:spPr>
        <p:style>
          <a:lnRef idx="3">
            <a:schemeClr val="lt1"/>
          </a:lnRef>
          <a:fillRef idx="1">
            <a:schemeClr val="accent1"/>
          </a:fillRef>
          <a:effectRef idx="1">
            <a:schemeClr val="accent1"/>
          </a:effectRef>
          <a:fontRef idx="minor">
            <a:schemeClr val="lt1"/>
          </a:fontRef>
        </p:style>
        <p:txBody>
          <a:bodyPr anchor="ctr"/>
          <a:lstStyle/>
          <a:p>
            <a:pPr algn="ctr" fontAlgn="auto">
              <a:spcBef>
                <a:spcPts val="0"/>
              </a:spcBef>
              <a:spcAft>
                <a:spcPts val="0"/>
              </a:spcAft>
              <a:defRPr/>
            </a:pPr>
            <a:r>
              <a:rPr lang="th-TH" b="1" dirty="0" smtClean="0">
                <a:solidFill>
                  <a:schemeClr val="bg1"/>
                </a:solidFill>
                <a:latin typeface="TH SarabunPSK" pitchFamily="34" charset="-34"/>
                <a:cs typeface="TH SarabunPSK" pitchFamily="34" charset="-34"/>
              </a:rPr>
              <a:t>พลังงาน</a:t>
            </a:r>
            <a:endParaRPr lang="th-TH" b="1" dirty="0">
              <a:solidFill>
                <a:schemeClr val="bg1"/>
              </a:solidFill>
              <a:latin typeface="TH SarabunPSK" pitchFamily="34" charset="-34"/>
              <a:cs typeface="TH SarabunPSK" pitchFamily="34" charset="-34"/>
            </a:endParaRPr>
          </a:p>
        </p:txBody>
      </p:sp>
      <p:sp>
        <p:nvSpPr>
          <p:cNvPr id="49" name="Rectangle 48"/>
          <p:cNvSpPr/>
          <p:nvPr/>
        </p:nvSpPr>
        <p:spPr>
          <a:xfrm>
            <a:off x="0" y="536121"/>
            <a:ext cx="2438400" cy="508996"/>
          </a:xfrm>
          <a:prstGeom prst="rect">
            <a:avLst/>
          </a:prstGeom>
          <a:solidFill>
            <a:schemeClr val="accent3">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th-TH" b="1" dirty="0" smtClean="0">
                <a:solidFill>
                  <a:schemeClr val="tx1"/>
                </a:solidFill>
                <a:latin typeface="TH SarabunPSK" pitchFamily="34" charset="-34"/>
                <a:cs typeface="TH SarabunPSK" pitchFamily="34" charset="-34"/>
              </a:rPr>
              <a:t>คมนาคม</a:t>
            </a:r>
            <a:endParaRPr lang="th-TH" b="1" dirty="0">
              <a:solidFill>
                <a:schemeClr val="tx1"/>
              </a:solidFill>
              <a:latin typeface="TH SarabunPSK" pitchFamily="34" charset="-34"/>
              <a:cs typeface="TH SarabunPSK" pitchFamily="34" charset="-34"/>
            </a:endParaRPr>
          </a:p>
        </p:txBody>
      </p:sp>
    </p:spTree>
    <p:extLst>
      <p:ext uri="{BB962C8B-B14F-4D97-AF65-F5344CB8AC3E}">
        <p14:creationId xmlns:p14="http://schemas.microsoft.com/office/powerpoint/2010/main" xmlns="" val="4292120968"/>
      </p:ext>
    </p:extLst>
  </p:cSld>
  <p:clrMapOvr>
    <a:masterClrMapping/>
  </p:clrMapOvr>
  <p:transition>
    <p:fade thruBlk="1"/>
  </p:transition>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 name="Picture 14"/>
          <p:cNvPicPr>
            <a:picLocks noChangeAspect="1" noChangeArrowheads="1"/>
          </p:cNvPicPr>
          <p:nvPr/>
        </p:nvPicPr>
        <p:blipFill>
          <a:blip r:embed="rId3" cstate="print"/>
          <a:srcRect/>
          <a:stretch>
            <a:fillRect/>
          </a:stretch>
        </p:blipFill>
        <p:spPr bwMode="auto">
          <a:xfrm>
            <a:off x="6324600" y="2766412"/>
            <a:ext cx="2643174" cy="1821669"/>
          </a:xfrm>
          <a:prstGeom prst="rect">
            <a:avLst/>
          </a:prstGeom>
          <a:noFill/>
          <a:ln w="9525">
            <a:noFill/>
            <a:miter lim="800000"/>
            <a:headEnd/>
            <a:tailEnd/>
          </a:ln>
        </p:spPr>
      </p:pic>
      <p:sp>
        <p:nvSpPr>
          <p:cNvPr id="21" name="Rounded Rectangle 20"/>
          <p:cNvSpPr/>
          <p:nvPr/>
        </p:nvSpPr>
        <p:spPr>
          <a:xfrm>
            <a:off x="3473849" y="1510329"/>
            <a:ext cx="3786214" cy="1071570"/>
          </a:xfrm>
          <a:prstGeom prst="roundRect">
            <a:avLst/>
          </a:prstGeom>
          <a:solidFill>
            <a:schemeClr val="bg1"/>
          </a:solidFill>
          <a:ln w="76200"/>
        </p:spPr>
        <p:style>
          <a:lnRef idx="2">
            <a:schemeClr val="accent1">
              <a:shade val="50000"/>
            </a:schemeClr>
          </a:lnRef>
          <a:fillRef idx="1">
            <a:schemeClr val="accent1"/>
          </a:fillRef>
          <a:effectRef idx="0">
            <a:schemeClr val="accent1"/>
          </a:effectRef>
          <a:fontRef idx="minor">
            <a:schemeClr val="lt1"/>
          </a:fontRef>
        </p:style>
        <p:txBody>
          <a:bodyPr anchor="ctr"/>
          <a:lstStyle/>
          <a:p>
            <a:pPr fontAlgn="auto">
              <a:spcBef>
                <a:spcPts val="1200"/>
              </a:spcBef>
              <a:spcAft>
                <a:spcPts val="0"/>
              </a:spcAft>
              <a:defRPr/>
            </a:pPr>
            <a:endParaRPr lang="th-TH" sz="1800" b="1" dirty="0"/>
          </a:p>
        </p:txBody>
      </p:sp>
      <p:sp>
        <p:nvSpPr>
          <p:cNvPr id="52" name="TextBox 51"/>
          <p:cNvSpPr txBox="1"/>
          <p:nvPr/>
        </p:nvSpPr>
        <p:spPr>
          <a:xfrm>
            <a:off x="3571868" y="1717819"/>
            <a:ext cx="3714776" cy="656590"/>
          </a:xfrm>
          <a:prstGeom prst="rect">
            <a:avLst/>
          </a:prstGeom>
          <a:noFill/>
        </p:spPr>
        <p:txBody>
          <a:bodyPr wrap="square" rtlCol="0">
            <a:spAutoFit/>
          </a:bodyPr>
          <a:lstStyle/>
          <a:p>
            <a:pPr marL="342900" indent="-342900">
              <a:lnSpc>
                <a:spcPts val="2200"/>
              </a:lnSpc>
              <a:buFont typeface="Wingdings" pitchFamily="2" charset="2"/>
              <a:buChar char="v"/>
            </a:pPr>
            <a:r>
              <a:rPr lang="th-TH" sz="2000" b="1" dirty="0" smtClean="0">
                <a:latin typeface="TH SarabunPSK" pitchFamily="34" charset="-34"/>
                <a:cs typeface="TH SarabunPSK" pitchFamily="34" charset="-34"/>
              </a:rPr>
              <a:t>การพัฒนาโครงสร้างพื้นฐานทางโทรคมนาคม</a:t>
            </a:r>
            <a:endParaRPr lang="en-US" sz="2000" b="1" dirty="0" smtClean="0">
              <a:latin typeface="TH SarabunPSK" pitchFamily="34" charset="-34"/>
              <a:cs typeface="TH SarabunPSK" pitchFamily="34" charset="-34"/>
            </a:endParaRPr>
          </a:p>
          <a:p>
            <a:pPr marL="342900" indent="-342900">
              <a:lnSpc>
                <a:spcPts val="2200"/>
              </a:lnSpc>
              <a:buFont typeface="Wingdings" pitchFamily="2" charset="2"/>
              <a:buChar char="v"/>
            </a:pPr>
            <a:r>
              <a:rPr lang="th-TH" sz="2000" b="1" dirty="0" smtClean="0">
                <a:latin typeface="TH SarabunPSK" pitchFamily="34" charset="-34"/>
                <a:cs typeface="TH SarabunPSK" pitchFamily="34" charset="-34"/>
              </a:rPr>
              <a:t>ระบบเทคโนโลยีสารสนเทศเพื่อการสื่อสาร</a:t>
            </a:r>
            <a:endParaRPr lang="en-US" sz="2000" b="1" dirty="0" smtClean="0">
              <a:latin typeface="TH SarabunPSK" pitchFamily="34" charset="-34"/>
              <a:cs typeface="TH SarabunPSK" pitchFamily="34" charset="-34"/>
            </a:endParaRPr>
          </a:p>
        </p:txBody>
      </p:sp>
      <p:sp>
        <p:nvSpPr>
          <p:cNvPr id="18" name="TextBox 17"/>
          <p:cNvSpPr txBox="1"/>
          <p:nvPr/>
        </p:nvSpPr>
        <p:spPr>
          <a:xfrm>
            <a:off x="4038600" y="2724150"/>
            <a:ext cx="2081019" cy="707886"/>
          </a:xfrm>
          <a:prstGeom prst="rect">
            <a:avLst/>
          </a:prstGeom>
          <a:noFill/>
        </p:spPr>
        <p:txBody>
          <a:bodyPr wrap="none" rtlCol="0">
            <a:spAutoFit/>
          </a:bodyPr>
          <a:lstStyle/>
          <a:p>
            <a:r>
              <a:rPr lang="th-TH" sz="2000" b="1" dirty="0" smtClean="0">
                <a:latin typeface="TH SarabunPSK" pitchFamily="34" charset="-34"/>
                <a:cs typeface="TH SarabunPSK" pitchFamily="34" charset="-34"/>
              </a:rPr>
              <a:t>อินเตอร์เนตความเร็วสูง</a:t>
            </a:r>
            <a:endParaRPr lang="en-US" sz="2000" b="1" dirty="0" smtClean="0">
              <a:latin typeface="TH SarabunPSK" pitchFamily="34" charset="-34"/>
              <a:cs typeface="TH SarabunPSK" pitchFamily="34" charset="-34"/>
            </a:endParaRPr>
          </a:p>
          <a:p>
            <a:r>
              <a:rPr lang="th-TH" sz="2000" b="1" dirty="0" smtClean="0">
                <a:latin typeface="TH SarabunPSK" pitchFamily="34" charset="-34"/>
                <a:cs typeface="TH SarabunPSK" pitchFamily="34" charset="-34"/>
              </a:rPr>
              <a:t>และเครือข่าย</a:t>
            </a:r>
            <a:r>
              <a:rPr lang="en-US" sz="2000" b="1" dirty="0">
                <a:latin typeface="TH SarabunPSK" pitchFamily="34" charset="-34"/>
                <a:cs typeface="TH SarabunPSK" pitchFamily="34" charset="-34"/>
              </a:rPr>
              <a:t> </a:t>
            </a:r>
            <a:r>
              <a:rPr lang="en-US" sz="2000" b="1" dirty="0" smtClean="0">
                <a:latin typeface="TH SarabunPSK" pitchFamily="34" charset="-34"/>
                <a:cs typeface="TH SarabunPSK" pitchFamily="34" charset="-34"/>
              </a:rPr>
              <a:t>broadband</a:t>
            </a:r>
            <a:endParaRPr lang="th-TH" sz="2000" b="1" dirty="0">
              <a:latin typeface="TH SarabunPSK" pitchFamily="34" charset="-34"/>
              <a:cs typeface="TH SarabunPSK" pitchFamily="34" charset="-34"/>
            </a:endParaRPr>
          </a:p>
        </p:txBody>
      </p:sp>
      <p:sp>
        <p:nvSpPr>
          <p:cNvPr id="22" name="TextBox 21"/>
          <p:cNvSpPr txBox="1"/>
          <p:nvPr/>
        </p:nvSpPr>
        <p:spPr>
          <a:xfrm>
            <a:off x="4038600" y="3467040"/>
            <a:ext cx="2786066" cy="400110"/>
          </a:xfrm>
          <a:prstGeom prst="rect">
            <a:avLst/>
          </a:prstGeom>
          <a:noFill/>
        </p:spPr>
        <p:txBody>
          <a:bodyPr wrap="square" rtlCol="0">
            <a:spAutoFit/>
          </a:bodyPr>
          <a:lstStyle/>
          <a:p>
            <a:r>
              <a:rPr lang="en-US" sz="2000" b="1" dirty="0" smtClean="0">
                <a:latin typeface="TH SarabunPSK" pitchFamily="34" charset="-34"/>
                <a:cs typeface="TH SarabunPSK" pitchFamily="34" charset="-34"/>
              </a:rPr>
              <a:t>National Single Window </a:t>
            </a:r>
            <a:endParaRPr lang="th-TH" sz="2000" b="1" dirty="0">
              <a:latin typeface="TH SarabunPSK" pitchFamily="34" charset="-34"/>
              <a:cs typeface="TH SarabunPSK" pitchFamily="34" charset="-34"/>
            </a:endParaRPr>
          </a:p>
        </p:txBody>
      </p:sp>
      <p:cxnSp>
        <p:nvCxnSpPr>
          <p:cNvPr id="24" name="Straight Connector 23"/>
          <p:cNvCxnSpPr/>
          <p:nvPr/>
        </p:nvCxnSpPr>
        <p:spPr>
          <a:xfrm rot="5400000" flipH="1" flipV="1">
            <a:off x="2858282" y="3504412"/>
            <a:ext cx="1714512" cy="1588"/>
          </a:xfrm>
          <a:prstGeom prst="line">
            <a:avLst/>
          </a:prstGeom>
          <a:ln w="38100">
            <a:solidFill>
              <a:schemeClr val="tx2">
                <a:lumMod val="75000"/>
              </a:schemeClr>
            </a:solidFill>
            <a:headEnd type="oval"/>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p:nvCxnSpPr>
        <p:spPr>
          <a:xfrm>
            <a:off x="3714744" y="2876550"/>
            <a:ext cx="285752" cy="1191"/>
          </a:xfrm>
          <a:prstGeom prst="line">
            <a:avLst/>
          </a:prstGeom>
          <a:ln>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p:nvCxnSpPr>
        <p:spPr>
          <a:xfrm>
            <a:off x="3714744" y="3638550"/>
            <a:ext cx="285752" cy="1191"/>
          </a:xfrm>
          <a:prstGeom prst="line">
            <a:avLst/>
          </a:prstGeom>
          <a:ln>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pic>
        <p:nvPicPr>
          <p:cNvPr id="16" name="Picture 1"/>
          <p:cNvPicPr>
            <a:picLocks noChangeAspect="1"/>
          </p:cNvPicPr>
          <p:nvPr/>
        </p:nvPicPr>
        <p:blipFill>
          <a:blip r:embed="rId4" cstate="print"/>
          <a:srcRect/>
          <a:stretch>
            <a:fillRect/>
          </a:stretch>
        </p:blipFill>
        <p:spPr bwMode="auto">
          <a:xfrm>
            <a:off x="71438" y="1270737"/>
            <a:ext cx="3357554" cy="3676815"/>
          </a:xfrm>
          <a:prstGeom prst="rect">
            <a:avLst/>
          </a:prstGeom>
          <a:ln>
            <a:noFill/>
          </a:ln>
          <a:effectLst>
            <a:softEdge rad="112500"/>
          </a:effectLst>
        </p:spPr>
      </p:pic>
      <p:sp>
        <p:nvSpPr>
          <p:cNvPr id="23" name="TextBox 22"/>
          <p:cNvSpPr txBox="1"/>
          <p:nvPr/>
        </p:nvSpPr>
        <p:spPr>
          <a:xfrm>
            <a:off x="4038600" y="3867150"/>
            <a:ext cx="2703176" cy="707886"/>
          </a:xfrm>
          <a:prstGeom prst="rect">
            <a:avLst/>
          </a:prstGeom>
          <a:noFill/>
        </p:spPr>
        <p:txBody>
          <a:bodyPr wrap="square" rtlCol="0">
            <a:spAutoFit/>
          </a:bodyPr>
          <a:lstStyle/>
          <a:p>
            <a:r>
              <a:rPr lang="th-TH" sz="2000" b="1" dirty="0" smtClean="0">
                <a:latin typeface="TH SarabunPSK" pitchFamily="34" charset="-34"/>
                <a:cs typeface="TH SarabunPSK" pitchFamily="34" charset="-34"/>
              </a:rPr>
              <a:t>การใช้ระบบ </a:t>
            </a:r>
            <a:r>
              <a:rPr lang="en-US" sz="2000" b="1" dirty="0" smtClean="0">
                <a:latin typeface="TH SarabunPSK" pitchFamily="34" charset="-34"/>
                <a:cs typeface="TH SarabunPSK" pitchFamily="34" charset="-34"/>
              </a:rPr>
              <a:t>ICT </a:t>
            </a:r>
            <a:r>
              <a:rPr lang="th-TH" sz="2000" b="1" dirty="0" smtClean="0">
                <a:latin typeface="TH SarabunPSK" pitchFamily="34" charset="-34"/>
                <a:cs typeface="TH SarabunPSK" pitchFamily="34" charset="-34"/>
              </a:rPr>
              <a:t>สนับสนุนทางการค้าและโลจิสติกส์</a:t>
            </a:r>
            <a:endParaRPr lang="th-TH" sz="2000" b="1" dirty="0">
              <a:latin typeface="TH SarabunPSK" pitchFamily="34" charset="-34"/>
              <a:cs typeface="TH SarabunPSK" pitchFamily="34" charset="-34"/>
            </a:endParaRPr>
          </a:p>
        </p:txBody>
      </p:sp>
      <p:cxnSp>
        <p:nvCxnSpPr>
          <p:cNvPr id="27" name="Straight Connector 26"/>
          <p:cNvCxnSpPr/>
          <p:nvPr/>
        </p:nvCxnSpPr>
        <p:spPr>
          <a:xfrm>
            <a:off x="3714744" y="4095750"/>
            <a:ext cx="285752" cy="1191"/>
          </a:xfrm>
          <a:prstGeom prst="line">
            <a:avLst/>
          </a:prstGeom>
          <a:ln>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pic>
        <p:nvPicPr>
          <p:cNvPr id="28" name="Picture 12" descr="http://t1.gstatic.com/images?q=tbn:ANd9GcT-C2L6l4hOnfBN1wZTiYcUmrXR6wuhsCC4EV1_DIs6lveyW6S1BQ"/>
          <p:cNvPicPr>
            <a:picLocks noChangeAspect="1" noChangeArrowheads="1"/>
          </p:cNvPicPr>
          <p:nvPr/>
        </p:nvPicPr>
        <p:blipFill>
          <a:blip r:embed="rId5" cstate="print"/>
          <a:srcRect/>
          <a:stretch>
            <a:fillRect/>
          </a:stretch>
        </p:blipFill>
        <p:spPr bwMode="auto">
          <a:xfrm>
            <a:off x="7476346" y="1510329"/>
            <a:ext cx="1507341" cy="964413"/>
          </a:xfrm>
          <a:prstGeom prst="rect">
            <a:avLst/>
          </a:prstGeom>
          <a:noFill/>
          <a:ln w="9525">
            <a:noFill/>
            <a:miter lim="800000"/>
            <a:headEnd/>
            <a:tailEnd/>
          </a:ln>
        </p:spPr>
      </p:pic>
      <p:sp>
        <p:nvSpPr>
          <p:cNvPr id="31" name="Rounded Rectangle 30"/>
          <p:cNvSpPr/>
          <p:nvPr/>
        </p:nvSpPr>
        <p:spPr>
          <a:xfrm>
            <a:off x="0" y="0"/>
            <a:ext cx="9144000" cy="400050"/>
          </a:xfrm>
          <a:prstGeom prst="roundRect">
            <a:avLst>
              <a:gd name="adj" fmla="val 0"/>
            </a:avLst>
          </a:prstGeom>
          <a:solidFill>
            <a:schemeClr val="accent4">
              <a:lumMod val="50000"/>
            </a:schemeClr>
          </a:solidFill>
          <a:scene3d>
            <a:camera prst="orthographicFront"/>
            <a:lightRig rig="threePt" dir="t"/>
          </a:scene3d>
          <a:sp3d>
            <a:bevelT w="114300" prst="artDeco"/>
          </a:sp3d>
        </p:spPr>
        <p:style>
          <a:lnRef idx="3">
            <a:schemeClr val="lt1"/>
          </a:lnRef>
          <a:fillRef idx="1">
            <a:schemeClr val="accent1"/>
          </a:fillRef>
          <a:effectRef idx="1">
            <a:schemeClr val="accent1"/>
          </a:effectRef>
          <a:fontRef idx="minor">
            <a:schemeClr val="lt1"/>
          </a:fontRef>
        </p:style>
        <p:txBody>
          <a:bodyPr vert="horz" lIns="91440" tIns="45720" rIns="91440" bIns="45720" rtlCol="0" anchor="ctr">
            <a:noAutofit/>
          </a:bodyPr>
          <a:lstStyle/>
          <a:p>
            <a:pPr marL="463550" indent="-463550" algn="ctr" fontAlgn="auto">
              <a:spcAft>
                <a:spcPts val="0"/>
              </a:spcAft>
              <a:defRPr/>
            </a:pPr>
            <a:r>
              <a:rPr lang="th-TH" sz="3200" b="1" dirty="0" smtClean="0">
                <a:solidFill>
                  <a:schemeClr val="bg1"/>
                </a:solidFill>
                <a:effectLst>
                  <a:outerShdw blurRad="38100" dist="38100" dir="2700000" algn="tl">
                    <a:srgbClr val="000000">
                      <a:alpha val="43137"/>
                    </a:srgbClr>
                  </a:outerShdw>
                </a:effectLst>
                <a:latin typeface="TH SarabunPSK" pitchFamily="34" charset="-34"/>
                <a:cs typeface="TH SarabunPSK" pitchFamily="34" charset="-34"/>
              </a:rPr>
              <a:t>การพัฒนาโครงสร้างพื้นฐานด้านโทรคมนาคม</a:t>
            </a:r>
            <a:endParaRPr lang="th-TH" sz="3200" b="1" dirty="0">
              <a:solidFill>
                <a:schemeClr val="bg1"/>
              </a:solidFill>
              <a:effectLst>
                <a:outerShdw blurRad="38100" dist="38100" dir="2700000" algn="tl">
                  <a:srgbClr val="000000">
                    <a:alpha val="43137"/>
                  </a:srgbClr>
                </a:outerShdw>
              </a:effectLst>
              <a:latin typeface="TH SarabunPSK" pitchFamily="34" charset="-34"/>
              <a:cs typeface="TH SarabunPSK" pitchFamily="34" charset="-34"/>
            </a:endParaRPr>
          </a:p>
        </p:txBody>
      </p:sp>
      <p:sp>
        <p:nvSpPr>
          <p:cNvPr id="32" name="Rectangle 31"/>
          <p:cNvSpPr/>
          <p:nvPr/>
        </p:nvSpPr>
        <p:spPr>
          <a:xfrm>
            <a:off x="-10887" y="557892"/>
            <a:ext cx="3179135" cy="508996"/>
          </a:xfrm>
          <a:prstGeom prst="rect">
            <a:avLst/>
          </a:prstGeom>
          <a:solidFill>
            <a:schemeClr val="accent3">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th-TH" b="1" dirty="0" smtClean="0">
                <a:solidFill>
                  <a:schemeClr val="tx1"/>
                </a:solidFill>
                <a:latin typeface="TH SarabunPSK" pitchFamily="34" charset="-34"/>
                <a:cs typeface="TH SarabunPSK" pitchFamily="34" charset="-34"/>
              </a:rPr>
              <a:t>คมนาคม</a:t>
            </a:r>
            <a:endParaRPr lang="th-TH" b="1" dirty="0">
              <a:solidFill>
                <a:schemeClr val="tx1"/>
              </a:solidFill>
              <a:latin typeface="TH SarabunPSK" pitchFamily="34" charset="-34"/>
              <a:cs typeface="TH SarabunPSK" pitchFamily="34" charset="-34"/>
            </a:endParaRPr>
          </a:p>
        </p:txBody>
      </p:sp>
      <p:sp>
        <p:nvSpPr>
          <p:cNvPr id="34" name="Down Arrow Callout 33"/>
          <p:cNvSpPr/>
          <p:nvPr/>
        </p:nvSpPr>
        <p:spPr>
          <a:xfrm>
            <a:off x="6553200" y="536120"/>
            <a:ext cx="2590800" cy="734617"/>
          </a:xfrm>
          <a:prstGeom prst="downArrowCallout">
            <a:avLst>
              <a:gd name="adj1" fmla="val 35939"/>
              <a:gd name="adj2" fmla="val 28417"/>
              <a:gd name="adj3" fmla="val 15924"/>
              <a:gd name="adj4" fmla="val 70231"/>
            </a:avLst>
          </a:prstGeom>
          <a:solidFill>
            <a:schemeClr val="accent4">
              <a:lumMod val="50000"/>
            </a:schemeClr>
          </a:solidFill>
        </p:spPr>
        <p:style>
          <a:lnRef idx="3">
            <a:schemeClr val="lt1"/>
          </a:lnRef>
          <a:fillRef idx="1">
            <a:schemeClr val="accent1"/>
          </a:fillRef>
          <a:effectRef idx="1">
            <a:schemeClr val="accent1"/>
          </a:effectRef>
          <a:fontRef idx="minor">
            <a:schemeClr val="lt1"/>
          </a:fontRef>
        </p:style>
        <p:txBody>
          <a:bodyPr anchor="ctr"/>
          <a:lstStyle/>
          <a:p>
            <a:pPr algn="ctr">
              <a:defRPr/>
            </a:pPr>
            <a:r>
              <a:rPr lang="th-TH" b="1" dirty="0" smtClean="0">
                <a:solidFill>
                  <a:schemeClr val="bg1">
                    <a:lumMod val="95000"/>
                  </a:schemeClr>
                </a:solidFill>
                <a:latin typeface="TH SarabunPSK" pitchFamily="34" charset="-34"/>
                <a:cs typeface="TH SarabunPSK" pitchFamily="34" charset="-34"/>
              </a:rPr>
              <a:t>โทรคมนาคม</a:t>
            </a:r>
            <a:r>
              <a:rPr lang="en-US" b="1" dirty="0" smtClean="0">
                <a:solidFill>
                  <a:schemeClr val="bg1">
                    <a:lumMod val="95000"/>
                  </a:schemeClr>
                </a:solidFill>
                <a:latin typeface="TH SarabunPSK" pitchFamily="34" charset="-34"/>
                <a:cs typeface="TH SarabunPSK" pitchFamily="34" charset="-34"/>
              </a:rPr>
              <a:t> </a:t>
            </a:r>
            <a:endParaRPr lang="th-TH" b="1" dirty="0">
              <a:solidFill>
                <a:schemeClr val="bg1">
                  <a:lumMod val="95000"/>
                </a:schemeClr>
              </a:solidFill>
              <a:latin typeface="TH SarabunPSK" pitchFamily="34" charset="-34"/>
              <a:cs typeface="TH SarabunPSK" pitchFamily="34" charset="-34"/>
            </a:endParaRPr>
          </a:p>
        </p:txBody>
      </p:sp>
      <p:sp>
        <p:nvSpPr>
          <p:cNvPr id="35" name="Rectangle 34"/>
          <p:cNvSpPr/>
          <p:nvPr/>
        </p:nvSpPr>
        <p:spPr>
          <a:xfrm>
            <a:off x="3168248" y="557892"/>
            <a:ext cx="3384951" cy="508996"/>
          </a:xfrm>
          <a:prstGeom prst="rect">
            <a:avLst/>
          </a:prstGeom>
          <a:solidFill>
            <a:schemeClr val="accent3">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th-TH" b="1" dirty="0" smtClean="0">
                <a:solidFill>
                  <a:schemeClr val="tx1"/>
                </a:solidFill>
                <a:latin typeface="TH SarabunPSK" pitchFamily="34" charset="-34"/>
                <a:cs typeface="TH SarabunPSK" pitchFamily="34" charset="-34"/>
              </a:rPr>
              <a:t>พลังงาน</a:t>
            </a:r>
            <a:endParaRPr lang="th-TH" b="1" dirty="0">
              <a:solidFill>
                <a:schemeClr val="tx1"/>
              </a:solidFill>
              <a:latin typeface="TH SarabunPSK" pitchFamily="34" charset="-34"/>
              <a:cs typeface="TH SarabunPSK" pitchFamily="34" charset="-34"/>
            </a:endParaRPr>
          </a:p>
        </p:txBody>
      </p:sp>
    </p:spTree>
    <p:extLst>
      <p:ext uri="{BB962C8B-B14F-4D97-AF65-F5344CB8AC3E}">
        <p14:creationId xmlns:p14="http://schemas.microsoft.com/office/powerpoint/2010/main" xmlns="" val="2888966725"/>
      </p:ext>
    </p:extLst>
  </p:cSld>
  <p:clrMapOvr>
    <a:masterClrMapping/>
  </p:clrMapOvr>
  <p:transition>
    <p:fade thruBlk="1"/>
  </p:transition>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170" name="Picture 3"/>
          <p:cNvPicPr>
            <a:picLocks noChangeAspect="1" noChangeArrowheads="1"/>
          </p:cNvPicPr>
          <p:nvPr/>
        </p:nvPicPr>
        <p:blipFill>
          <a:blip r:embed="rId2">
            <a:extLst>
              <a:ext uri="{28A0092B-C50C-407E-A947-70E740481C1C}">
                <a14:useLocalDpi xmlns:a14="http://schemas.microsoft.com/office/drawing/2010/main" xmlns="" val="0"/>
              </a:ext>
            </a:extLst>
          </a:blip>
          <a:srcRect b="5704"/>
          <a:stretch>
            <a:fillRect/>
          </a:stretch>
        </p:blipFill>
        <p:spPr bwMode="auto">
          <a:xfrm>
            <a:off x="25628" y="0"/>
            <a:ext cx="9107487" cy="490418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4098" name="Picture 2"/>
          <p:cNvPicPr>
            <a:picLocks noChangeAspect="1" noChangeArrowheads="1"/>
          </p:cNvPicPr>
          <p:nvPr/>
        </p:nvPicPr>
        <p:blipFill>
          <a:blip r:embed="rId3">
            <a:extLst>
              <a:ext uri="{28A0092B-C50C-407E-A947-70E740481C1C}">
                <a14:useLocalDpi xmlns:a14="http://schemas.microsoft.com/office/drawing/2010/main" xmlns="" val="0"/>
              </a:ext>
            </a:extLst>
          </a:blip>
          <a:srcRect/>
          <a:stretch>
            <a:fillRect/>
          </a:stretch>
        </p:blipFill>
        <p:spPr bwMode="auto">
          <a:xfrm>
            <a:off x="25628" y="342900"/>
            <a:ext cx="4553743" cy="456128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Tree>
    <p:extLst>
      <p:ext uri="{BB962C8B-B14F-4D97-AF65-F5344CB8AC3E}">
        <p14:creationId xmlns:p14="http://schemas.microsoft.com/office/powerpoint/2010/main" xmlns="" val="2636228752"/>
      </p:ext>
    </p:extLst>
  </p:cSld>
  <p:clrMapOvr>
    <a:masterClrMapping/>
  </p:clrMapOvr>
  <mc:AlternateContent xmlns:mc="http://schemas.openxmlformats.org/markup-compatibility/2006">
    <mc:Choice xmlns:p14="http://schemas.microsoft.com/office/powerpoint/2010/main" xmlns="" Requires="p14">
      <p:transition spd="slow" p14:dur="2000"/>
    </mc:Choice>
    <mc:Fallback>
      <p:transition spd="slow"/>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Group 7"/>
          <p:cNvGrpSpPr/>
          <p:nvPr/>
        </p:nvGrpSpPr>
        <p:grpSpPr>
          <a:xfrm>
            <a:off x="107504" y="483518"/>
            <a:ext cx="8928992" cy="4500000"/>
            <a:chOff x="107504" y="515417"/>
            <a:chExt cx="8928992" cy="4500000"/>
          </a:xfrm>
        </p:grpSpPr>
        <p:sp>
          <p:nvSpPr>
            <p:cNvPr id="3" name="Rectangle 2"/>
            <p:cNvSpPr/>
            <p:nvPr/>
          </p:nvSpPr>
          <p:spPr>
            <a:xfrm>
              <a:off x="107504" y="515417"/>
              <a:ext cx="8928992" cy="4500000"/>
            </a:xfrm>
            <a:prstGeom prst="rect">
              <a:avLst/>
            </a:prstGeom>
            <a:solidFill>
              <a:srgbClr val="00B0F0">
                <a:alpha val="7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th-TH" smtClean="0">
                <a:solidFill>
                  <a:prstClr val="white"/>
                </a:solidFill>
              </a:endParaRPr>
            </a:p>
          </p:txBody>
        </p:sp>
        <p:sp>
          <p:nvSpPr>
            <p:cNvPr id="4" name="Rectangle 3"/>
            <p:cNvSpPr/>
            <p:nvPr/>
          </p:nvSpPr>
          <p:spPr>
            <a:xfrm>
              <a:off x="251520" y="596916"/>
              <a:ext cx="8640960" cy="435109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th-TH" smtClean="0">
                <a:solidFill>
                  <a:prstClr val="white"/>
                </a:solidFill>
              </a:endParaRPr>
            </a:p>
          </p:txBody>
        </p:sp>
        <p:cxnSp>
          <p:nvCxnSpPr>
            <p:cNvPr id="6" name="Straight Connector 5"/>
            <p:cNvCxnSpPr/>
            <p:nvPr/>
          </p:nvCxnSpPr>
          <p:spPr>
            <a:xfrm>
              <a:off x="323528" y="1851670"/>
              <a:ext cx="8352928" cy="0"/>
            </a:xfrm>
            <a:prstGeom prst="line">
              <a:avLst/>
            </a:prstGeom>
            <a:ln w="25400">
              <a:solidFill>
                <a:schemeClr val="tx1"/>
              </a:solidFill>
            </a:ln>
          </p:spPr>
          <p:style>
            <a:lnRef idx="1">
              <a:schemeClr val="accent1"/>
            </a:lnRef>
            <a:fillRef idx="0">
              <a:schemeClr val="accent1"/>
            </a:fillRef>
            <a:effectRef idx="0">
              <a:schemeClr val="accent1"/>
            </a:effectRef>
            <a:fontRef idx="minor">
              <a:schemeClr val="tx1"/>
            </a:fontRef>
          </p:style>
        </p:cxnSp>
        <p:sp>
          <p:nvSpPr>
            <p:cNvPr id="7" name="Rectangle 6"/>
            <p:cNvSpPr/>
            <p:nvPr/>
          </p:nvSpPr>
          <p:spPr>
            <a:xfrm>
              <a:off x="323528" y="3147814"/>
              <a:ext cx="8352928" cy="216024"/>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th-TH" smtClean="0">
                <a:solidFill>
                  <a:prstClr val="white"/>
                </a:solidFill>
              </a:endParaRPr>
            </a:p>
          </p:txBody>
        </p:sp>
      </p:grpSp>
      <p:grpSp>
        <p:nvGrpSpPr>
          <p:cNvPr id="21" name="Group 20"/>
          <p:cNvGrpSpPr/>
          <p:nvPr/>
        </p:nvGrpSpPr>
        <p:grpSpPr>
          <a:xfrm>
            <a:off x="466927" y="3187967"/>
            <a:ext cx="1710190" cy="144015"/>
            <a:chOff x="1349642" y="2931790"/>
            <a:chExt cx="1710190" cy="144015"/>
          </a:xfrm>
        </p:grpSpPr>
        <p:sp>
          <p:nvSpPr>
            <p:cNvPr id="9" name="Isosceles Triangle 8"/>
            <p:cNvSpPr/>
            <p:nvPr/>
          </p:nvSpPr>
          <p:spPr>
            <a:xfrm rot="5400000">
              <a:off x="1345139" y="2945289"/>
              <a:ext cx="135019" cy="126014"/>
            </a:xfrm>
            <a:prstGeom prst="triangle">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th-TH" smtClean="0">
                <a:solidFill>
                  <a:prstClr val="white"/>
                </a:solidFill>
              </a:endParaRPr>
            </a:p>
          </p:txBody>
        </p:sp>
        <p:sp>
          <p:nvSpPr>
            <p:cNvPr id="10" name="Isosceles Triangle 9"/>
            <p:cNvSpPr/>
            <p:nvPr/>
          </p:nvSpPr>
          <p:spPr>
            <a:xfrm rot="5400000">
              <a:off x="1497539" y="2936293"/>
              <a:ext cx="135019" cy="126014"/>
            </a:xfrm>
            <a:prstGeom prst="triangle">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th-TH" smtClean="0">
                <a:solidFill>
                  <a:prstClr val="white"/>
                </a:solidFill>
              </a:endParaRPr>
            </a:p>
          </p:txBody>
        </p:sp>
        <p:sp>
          <p:nvSpPr>
            <p:cNvPr id="11" name="Isosceles Triangle 10"/>
            <p:cNvSpPr/>
            <p:nvPr/>
          </p:nvSpPr>
          <p:spPr>
            <a:xfrm rot="5400000">
              <a:off x="1624787" y="2945289"/>
              <a:ext cx="135019" cy="126014"/>
            </a:xfrm>
            <a:prstGeom prst="triangle">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th-TH" smtClean="0">
                <a:solidFill>
                  <a:prstClr val="white"/>
                </a:solidFill>
              </a:endParaRPr>
            </a:p>
          </p:txBody>
        </p:sp>
        <p:sp>
          <p:nvSpPr>
            <p:cNvPr id="12" name="Isosceles Triangle 11"/>
            <p:cNvSpPr/>
            <p:nvPr/>
          </p:nvSpPr>
          <p:spPr>
            <a:xfrm rot="5400000">
              <a:off x="1777187" y="2936293"/>
              <a:ext cx="135019" cy="126014"/>
            </a:xfrm>
            <a:prstGeom prst="triangle">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th-TH" smtClean="0">
                <a:solidFill>
                  <a:prstClr val="white"/>
                </a:solidFill>
              </a:endParaRPr>
            </a:p>
          </p:txBody>
        </p:sp>
        <p:sp>
          <p:nvSpPr>
            <p:cNvPr id="13" name="Isosceles Triangle 12"/>
            <p:cNvSpPr/>
            <p:nvPr/>
          </p:nvSpPr>
          <p:spPr>
            <a:xfrm rot="5400000">
              <a:off x="1921203" y="2945289"/>
              <a:ext cx="135019" cy="126014"/>
            </a:xfrm>
            <a:prstGeom prst="triangle">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th-TH" smtClean="0">
                <a:solidFill>
                  <a:prstClr val="white"/>
                </a:solidFill>
              </a:endParaRPr>
            </a:p>
          </p:txBody>
        </p:sp>
        <p:sp>
          <p:nvSpPr>
            <p:cNvPr id="14" name="Isosceles Triangle 13"/>
            <p:cNvSpPr/>
            <p:nvPr/>
          </p:nvSpPr>
          <p:spPr>
            <a:xfrm rot="5400000">
              <a:off x="2073603" y="2936293"/>
              <a:ext cx="135019" cy="126014"/>
            </a:xfrm>
            <a:prstGeom prst="triangle">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th-TH" smtClean="0">
                <a:solidFill>
                  <a:prstClr val="white"/>
                </a:solidFill>
              </a:endParaRPr>
            </a:p>
          </p:txBody>
        </p:sp>
        <p:sp>
          <p:nvSpPr>
            <p:cNvPr id="15" name="Isosceles Triangle 14"/>
            <p:cNvSpPr/>
            <p:nvPr/>
          </p:nvSpPr>
          <p:spPr>
            <a:xfrm rot="5400000">
              <a:off x="2200851" y="2945289"/>
              <a:ext cx="135019" cy="126014"/>
            </a:xfrm>
            <a:prstGeom prst="triangle">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th-TH" smtClean="0">
                <a:solidFill>
                  <a:prstClr val="white"/>
                </a:solidFill>
              </a:endParaRPr>
            </a:p>
          </p:txBody>
        </p:sp>
        <p:sp>
          <p:nvSpPr>
            <p:cNvPr id="16" name="Isosceles Triangle 15"/>
            <p:cNvSpPr/>
            <p:nvPr/>
          </p:nvSpPr>
          <p:spPr>
            <a:xfrm rot="5400000">
              <a:off x="2353251" y="2936293"/>
              <a:ext cx="135019" cy="126014"/>
            </a:xfrm>
            <a:prstGeom prst="triangle">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th-TH" smtClean="0">
                <a:solidFill>
                  <a:prstClr val="white"/>
                </a:solidFill>
              </a:endParaRPr>
            </a:p>
          </p:txBody>
        </p:sp>
        <p:sp>
          <p:nvSpPr>
            <p:cNvPr id="17" name="Isosceles Triangle 16"/>
            <p:cNvSpPr/>
            <p:nvPr/>
          </p:nvSpPr>
          <p:spPr>
            <a:xfrm rot="5400000">
              <a:off x="2497267" y="2945289"/>
              <a:ext cx="135019" cy="126014"/>
            </a:xfrm>
            <a:prstGeom prst="triangle">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th-TH" smtClean="0">
                <a:solidFill>
                  <a:prstClr val="white"/>
                </a:solidFill>
              </a:endParaRPr>
            </a:p>
          </p:txBody>
        </p:sp>
        <p:sp>
          <p:nvSpPr>
            <p:cNvPr id="18" name="Isosceles Triangle 17"/>
            <p:cNvSpPr/>
            <p:nvPr/>
          </p:nvSpPr>
          <p:spPr>
            <a:xfrm rot="5400000">
              <a:off x="2649667" y="2936293"/>
              <a:ext cx="135019" cy="126014"/>
            </a:xfrm>
            <a:prstGeom prst="triangle">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th-TH" smtClean="0">
                <a:solidFill>
                  <a:prstClr val="white"/>
                </a:solidFill>
              </a:endParaRPr>
            </a:p>
          </p:txBody>
        </p:sp>
        <p:sp>
          <p:nvSpPr>
            <p:cNvPr id="19" name="Isosceles Triangle 18"/>
            <p:cNvSpPr/>
            <p:nvPr/>
          </p:nvSpPr>
          <p:spPr>
            <a:xfrm rot="5400000">
              <a:off x="2776915" y="2945289"/>
              <a:ext cx="135019" cy="126014"/>
            </a:xfrm>
            <a:prstGeom prst="triangle">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th-TH" smtClean="0">
                <a:solidFill>
                  <a:prstClr val="white"/>
                </a:solidFill>
              </a:endParaRPr>
            </a:p>
          </p:txBody>
        </p:sp>
        <p:sp>
          <p:nvSpPr>
            <p:cNvPr id="20" name="Isosceles Triangle 19"/>
            <p:cNvSpPr/>
            <p:nvPr/>
          </p:nvSpPr>
          <p:spPr>
            <a:xfrm rot="5400000">
              <a:off x="2929315" y="2936293"/>
              <a:ext cx="135019" cy="126014"/>
            </a:xfrm>
            <a:prstGeom prst="triangle">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th-TH" smtClean="0">
                <a:solidFill>
                  <a:prstClr val="white"/>
                </a:solidFill>
              </a:endParaRPr>
            </a:p>
          </p:txBody>
        </p:sp>
      </p:grpSp>
      <p:grpSp>
        <p:nvGrpSpPr>
          <p:cNvPr id="22" name="Group 21"/>
          <p:cNvGrpSpPr/>
          <p:nvPr/>
        </p:nvGrpSpPr>
        <p:grpSpPr>
          <a:xfrm flipH="1">
            <a:off x="6894258" y="3187967"/>
            <a:ext cx="1710190" cy="144015"/>
            <a:chOff x="1349642" y="2931790"/>
            <a:chExt cx="1710190" cy="144015"/>
          </a:xfrm>
        </p:grpSpPr>
        <p:sp>
          <p:nvSpPr>
            <p:cNvPr id="23" name="Isosceles Triangle 22"/>
            <p:cNvSpPr/>
            <p:nvPr/>
          </p:nvSpPr>
          <p:spPr>
            <a:xfrm rot="5400000">
              <a:off x="1345139" y="2945289"/>
              <a:ext cx="135019" cy="126014"/>
            </a:xfrm>
            <a:prstGeom prst="triangle">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th-TH" smtClean="0">
                <a:solidFill>
                  <a:prstClr val="white"/>
                </a:solidFill>
              </a:endParaRPr>
            </a:p>
          </p:txBody>
        </p:sp>
        <p:sp>
          <p:nvSpPr>
            <p:cNvPr id="24" name="Isosceles Triangle 23"/>
            <p:cNvSpPr/>
            <p:nvPr/>
          </p:nvSpPr>
          <p:spPr>
            <a:xfrm rot="5400000">
              <a:off x="1497539" y="2936293"/>
              <a:ext cx="135019" cy="126014"/>
            </a:xfrm>
            <a:prstGeom prst="triangle">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th-TH" smtClean="0">
                <a:solidFill>
                  <a:prstClr val="white"/>
                </a:solidFill>
              </a:endParaRPr>
            </a:p>
          </p:txBody>
        </p:sp>
        <p:sp>
          <p:nvSpPr>
            <p:cNvPr id="25" name="Isosceles Triangle 24"/>
            <p:cNvSpPr/>
            <p:nvPr/>
          </p:nvSpPr>
          <p:spPr>
            <a:xfrm rot="5400000">
              <a:off x="1624787" y="2945289"/>
              <a:ext cx="135019" cy="126014"/>
            </a:xfrm>
            <a:prstGeom prst="triangle">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th-TH" smtClean="0">
                <a:solidFill>
                  <a:prstClr val="white"/>
                </a:solidFill>
              </a:endParaRPr>
            </a:p>
          </p:txBody>
        </p:sp>
        <p:sp>
          <p:nvSpPr>
            <p:cNvPr id="26" name="Isosceles Triangle 25"/>
            <p:cNvSpPr/>
            <p:nvPr/>
          </p:nvSpPr>
          <p:spPr>
            <a:xfrm rot="5400000">
              <a:off x="1777187" y="2936293"/>
              <a:ext cx="135019" cy="126014"/>
            </a:xfrm>
            <a:prstGeom prst="triangle">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th-TH" smtClean="0">
                <a:solidFill>
                  <a:prstClr val="white"/>
                </a:solidFill>
              </a:endParaRPr>
            </a:p>
          </p:txBody>
        </p:sp>
        <p:sp>
          <p:nvSpPr>
            <p:cNvPr id="27" name="Isosceles Triangle 26"/>
            <p:cNvSpPr/>
            <p:nvPr/>
          </p:nvSpPr>
          <p:spPr>
            <a:xfrm rot="5400000">
              <a:off x="1921203" y="2945289"/>
              <a:ext cx="135019" cy="126014"/>
            </a:xfrm>
            <a:prstGeom prst="triangle">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th-TH" smtClean="0">
                <a:solidFill>
                  <a:prstClr val="white"/>
                </a:solidFill>
              </a:endParaRPr>
            </a:p>
          </p:txBody>
        </p:sp>
        <p:sp>
          <p:nvSpPr>
            <p:cNvPr id="28" name="Isosceles Triangle 27"/>
            <p:cNvSpPr/>
            <p:nvPr/>
          </p:nvSpPr>
          <p:spPr>
            <a:xfrm rot="5400000">
              <a:off x="2073603" y="2936293"/>
              <a:ext cx="135019" cy="126014"/>
            </a:xfrm>
            <a:prstGeom prst="triangle">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th-TH" smtClean="0">
                <a:solidFill>
                  <a:prstClr val="white"/>
                </a:solidFill>
              </a:endParaRPr>
            </a:p>
          </p:txBody>
        </p:sp>
        <p:sp>
          <p:nvSpPr>
            <p:cNvPr id="29" name="Isosceles Triangle 28"/>
            <p:cNvSpPr/>
            <p:nvPr/>
          </p:nvSpPr>
          <p:spPr>
            <a:xfrm rot="5400000">
              <a:off x="2200851" y="2945289"/>
              <a:ext cx="135019" cy="126014"/>
            </a:xfrm>
            <a:prstGeom prst="triangle">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th-TH" smtClean="0">
                <a:solidFill>
                  <a:prstClr val="white"/>
                </a:solidFill>
              </a:endParaRPr>
            </a:p>
          </p:txBody>
        </p:sp>
        <p:sp>
          <p:nvSpPr>
            <p:cNvPr id="30" name="Isosceles Triangle 29"/>
            <p:cNvSpPr/>
            <p:nvPr/>
          </p:nvSpPr>
          <p:spPr>
            <a:xfrm rot="5400000">
              <a:off x="2353251" y="2936293"/>
              <a:ext cx="135019" cy="126014"/>
            </a:xfrm>
            <a:prstGeom prst="triangle">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th-TH" smtClean="0">
                <a:solidFill>
                  <a:prstClr val="white"/>
                </a:solidFill>
              </a:endParaRPr>
            </a:p>
          </p:txBody>
        </p:sp>
        <p:sp>
          <p:nvSpPr>
            <p:cNvPr id="31" name="Isosceles Triangle 30"/>
            <p:cNvSpPr/>
            <p:nvPr/>
          </p:nvSpPr>
          <p:spPr>
            <a:xfrm rot="5400000">
              <a:off x="2497267" y="2945289"/>
              <a:ext cx="135019" cy="126014"/>
            </a:xfrm>
            <a:prstGeom prst="triangle">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th-TH" smtClean="0">
                <a:solidFill>
                  <a:prstClr val="white"/>
                </a:solidFill>
              </a:endParaRPr>
            </a:p>
          </p:txBody>
        </p:sp>
        <p:sp>
          <p:nvSpPr>
            <p:cNvPr id="32" name="Isosceles Triangle 31"/>
            <p:cNvSpPr/>
            <p:nvPr/>
          </p:nvSpPr>
          <p:spPr>
            <a:xfrm rot="5400000">
              <a:off x="2649667" y="2936293"/>
              <a:ext cx="135019" cy="126014"/>
            </a:xfrm>
            <a:prstGeom prst="triangle">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th-TH" smtClean="0">
                <a:solidFill>
                  <a:prstClr val="white"/>
                </a:solidFill>
              </a:endParaRPr>
            </a:p>
          </p:txBody>
        </p:sp>
        <p:sp>
          <p:nvSpPr>
            <p:cNvPr id="33" name="Isosceles Triangle 32"/>
            <p:cNvSpPr/>
            <p:nvPr/>
          </p:nvSpPr>
          <p:spPr>
            <a:xfrm rot="5400000">
              <a:off x="2776915" y="2945289"/>
              <a:ext cx="135019" cy="126014"/>
            </a:xfrm>
            <a:prstGeom prst="triangle">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th-TH" smtClean="0">
                <a:solidFill>
                  <a:prstClr val="white"/>
                </a:solidFill>
              </a:endParaRPr>
            </a:p>
          </p:txBody>
        </p:sp>
        <p:sp>
          <p:nvSpPr>
            <p:cNvPr id="34" name="Isosceles Triangle 33"/>
            <p:cNvSpPr/>
            <p:nvPr/>
          </p:nvSpPr>
          <p:spPr>
            <a:xfrm rot="5400000">
              <a:off x="2929315" y="2936293"/>
              <a:ext cx="135019" cy="126014"/>
            </a:xfrm>
            <a:prstGeom prst="triangle">
              <a:avLst/>
            </a:prstGeom>
            <a:solidFill>
              <a:srgbClr val="92D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th-TH" smtClean="0">
                <a:solidFill>
                  <a:prstClr val="white"/>
                </a:solidFill>
              </a:endParaRPr>
            </a:p>
          </p:txBody>
        </p:sp>
      </p:grpSp>
      <p:graphicFrame>
        <p:nvGraphicFramePr>
          <p:cNvPr id="35" name="Table 34"/>
          <p:cNvGraphicFramePr>
            <a:graphicFrameLocks noGrp="1"/>
          </p:cNvGraphicFramePr>
          <p:nvPr>
            <p:extLst>
              <p:ext uri="{D42A27DB-BD31-4B8C-83A1-F6EECF244321}">
                <p14:modId xmlns:p14="http://schemas.microsoft.com/office/powerpoint/2010/main" xmlns="" val="812690602"/>
              </p:ext>
            </p:extLst>
          </p:nvPr>
        </p:nvGraphicFramePr>
        <p:xfrm>
          <a:off x="395536" y="3403521"/>
          <a:ext cx="4989883" cy="1510333"/>
        </p:xfrm>
        <a:graphic>
          <a:graphicData uri="http://schemas.openxmlformats.org/drawingml/2006/table">
            <a:tbl>
              <a:tblPr firstRow="1" firstCol="1" bandRow="1">
                <a:tableStyleId>{5C22544A-7EE6-4342-B048-85BDC9FD1C3A}</a:tableStyleId>
              </a:tblPr>
              <a:tblGrid>
                <a:gridCol w="1181735"/>
                <a:gridCol w="432397"/>
                <a:gridCol w="432397"/>
                <a:gridCol w="432397"/>
                <a:gridCol w="432397"/>
                <a:gridCol w="432397"/>
                <a:gridCol w="432397"/>
                <a:gridCol w="432397"/>
                <a:gridCol w="781369"/>
              </a:tblGrid>
              <a:tr h="486395">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th-TH" sz="1400" baseline="0" dirty="0" smtClean="0">
                          <a:effectLst/>
                          <a:latin typeface="TH SarabunPSK" pitchFamily="34" charset="-34"/>
                          <a:ea typeface="Calibri"/>
                          <a:cs typeface="TH SarabunPSK" pitchFamily="34" charset="-34"/>
                        </a:rPr>
                        <a:t>(ล้านล้านบาท)</a:t>
                      </a:r>
                      <a:endParaRPr lang="en-US" sz="1400" dirty="0" smtClean="0">
                        <a:effectLst/>
                        <a:latin typeface="TH SarabunPSK" pitchFamily="34" charset="-34"/>
                        <a:ea typeface="Calibri"/>
                        <a:cs typeface="TH SarabunPSK" pitchFamily="34" charset="-34"/>
                      </a:endParaRPr>
                    </a:p>
                  </a:txBody>
                  <a:tcPr marL="68580" marR="68580" marT="0" marB="0" anchor="ctr">
                    <a:lnB w="12700" cap="flat" cmpd="sng" algn="ctr">
                      <a:solidFill>
                        <a:schemeClr val="bg1"/>
                      </a:solidFill>
                      <a:prstDash val="solid"/>
                      <a:round/>
                      <a:headEnd type="none" w="med" len="med"/>
                      <a:tailEnd type="none" w="med" len="med"/>
                    </a:lnB>
                  </a:tcPr>
                </a:tc>
                <a:tc>
                  <a:txBody>
                    <a:bodyPr/>
                    <a:lstStyle/>
                    <a:p>
                      <a:pPr algn="ctr">
                        <a:lnSpc>
                          <a:spcPct val="115000"/>
                        </a:lnSpc>
                        <a:spcAft>
                          <a:spcPts val="0"/>
                        </a:spcAft>
                      </a:pPr>
                      <a:r>
                        <a:rPr lang="th-TH" sz="1400" dirty="0" smtClean="0">
                          <a:effectLst/>
                          <a:latin typeface="TH SarabunPSK" pitchFamily="34" charset="-34"/>
                          <a:ea typeface="Calibri"/>
                          <a:cs typeface="TH SarabunPSK" pitchFamily="34" charset="-34"/>
                        </a:rPr>
                        <a:t>2558</a:t>
                      </a:r>
                      <a:endParaRPr lang="en-US" sz="1400" dirty="0">
                        <a:effectLst/>
                        <a:latin typeface="TH SarabunPSK" pitchFamily="34" charset="-34"/>
                        <a:ea typeface="Calibri"/>
                        <a:cs typeface="TH SarabunPSK" pitchFamily="34" charset="-34"/>
                      </a:endParaRPr>
                    </a:p>
                  </a:txBody>
                  <a:tcPr marL="68580" marR="68580" marT="0" marB="0" anchor="ctr">
                    <a:lnB w="12700" cap="flat" cmpd="sng" algn="ctr">
                      <a:solidFill>
                        <a:schemeClr val="bg1"/>
                      </a:solidFill>
                      <a:prstDash val="solid"/>
                      <a:round/>
                      <a:headEnd type="none" w="med" len="med"/>
                      <a:tailEnd type="none" w="med" len="med"/>
                    </a:lnB>
                  </a:tcPr>
                </a:tc>
                <a:tc>
                  <a:txBody>
                    <a:bodyPr/>
                    <a:lstStyle/>
                    <a:p>
                      <a:pPr algn="ctr">
                        <a:lnSpc>
                          <a:spcPct val="115000"/>
                        </a:lnSpc>
                        <a:spcAft>
                          <a:spcPts val="0"/>
                        </a:spcAft>
                      </a:pPr>
                      <a:r>
                        <a:rPr lang="th-TH" sz="1400" dirty="0" smtClean="0">
                          <a:effectLst/>
                          <a:latin typeface="TH SarabunPSK" pitchFamily="34" charset="-34"/>
                          <a:ea typeface="Calibri"/>
                          <a:cs typeface="TH SarabunPSK" pitchFamily="34" charset="-34"/>
                        </a:rPr>
                        <a:t>2559</a:t>
                      </a:r>
                      <a:endParaRPr lang="en-US" sz="1400" dirty="0">
                        <a:effectLst/>
                        <a:latin typeface="TH SarabunPSK" pitchFamily="34" charset="-34"/>
                        <a:ea typeface="Calibri"/>
                        <a:cs typeface="TH SarabunPSK" pitchFamily="34" charset="-34"/>
                      </a:endParaRPr>
                    </a:p>
                  </a:txBody>
                  <a:tcPr marL="68580" marR="68580" marT="0" marB="0" anchor="ctr">
                    <a:lnB w="12700" cap="flat" cmpd="sng" algn="ctr">
                      <a:solidFill>
                        <a:schemeClr val="bg1"/>
                      </a:solidFill>
                      <a:prstDash val="solid"/>
                      <a:round/>
                      <a:headEnd type="none" w="med" len="med"/>
                      <a:tailEnd type="none" w="med" len="med"/>
                    </a:lnB>
                  </a:tcPr>
                </a:tc>
                <a:tc>
                  <a:txBody>
                    <a:bodyPr/>
                    <a:lstStyle/>
                    <a:p>
                      <a:pPr algn="ctr">
                        <a:lnSpc>
                          <a:spcPct val="115000"/>
                        </a:lnSpc>
                        <a:spcAft>
                          <a:spcPts val="0"/>
                        </a:spcAft>
                      </a:pPr>
                      <a:r>
                        <a:rPr lang="th-TH" sz="1400" dirty="0" smtClean="0">
                          <a:effectLst/>
                          <a:latin typeface="TH SarabunPSK" pitchFamily="34" charset="-34"/>
                          <a:cs typeface="TH SarabunPSK" pitchFamily="34" charset="-34"/>
                        </a:rPr>
                        <a:t>2560</a:t>
                      </a:r>
                      <a:endParaRPr lang="en-US" sz="1400" dirty="0">
                        <a:effectLst/>
                        <a:latin typeface="TH SarabunPSK" pitchFamily="34" charset="-34"/>
                        <a:ea typeface="Calibri"/>
                        <a:cs typeface="TH SarabunPSK" pitchFamily="34" charset="-34"/>
                      </a:endParaRPr>
                    </a:p>
                  </a:txBody>
                  <a:tcPr marL="68580" marR="68580" marT="0" marB="0" anchor="ctr">
                    <a:lnB w="12700" cap="flat" cmpd="sng" algn="ctr">
                      <a:solidFill>
                        <a:schemeClr val="bg1"/>
                      </a:solidFill>
                      <a:prstDash val="solid"/>
                      <a:round/>
                      <a:headEnd type="none" w="med" len="med"/>
                      <a:tailEnd type="none" w="med" len="med"/>
                    </a:lnB>
                  </a:tcPr>
                </a:tc>
                <a:tc>
                  <a:txBody>
                    <a:bodyPr/>
                    <a:lstStyle/>
                    <a:p>
                      <a:pPr algn="ctr">
                        <a:lnSpc>
                          <a:spcPct val="115000"/>
                        </a:lnSpc>
                        <a:spcAft>
                          <a:spcPts val="0"/>
                        </a:spcAft>
                      </a:pPr>
                      <a:r>
                        <a:rPr lang="th-TH" sz="1400" dirty="0" smtClean="0">
                          <a:effectLst/>
                          <a:latin typeface="TH SarabunPSK" pitchFamily="34" charset="-34"/>
                          <a:cs typeface="TH SarabunPSK" pitchFamily="34" charset="-34"/>
                        </a:rPr>
                        <a:t>2561</a:t>
                      </a:r>
                      <a:endParaRPr lang="en-US" sz="1400" dirty="0">
                        <a:effectLst/>
                        <a:latin typeface="TH SarabunPSK" pitchFamily="34" charset="-34"/>
                        <a:ea typeface="Calibri"/>
                        <a:cs typeface="TH SarabunPSK" pitchFamily="34" charset="-34"/>
                      </a:endParaRPr>
                    </a:p>
                  </a:txBody>
                  <a:tcPr marL="68580" marR="68580" marT="0" marB="0" anchor="ctr">
                    <a:lnB w="12700" cap="flat" cmpd="sng" algn="ctr">
                      <a:solidFill>
                        <a:schemeClr val="bg1"/>
                      </a:solidFill>
                      <a:prstDash val="solid"/>
                      <a:round/>
                      <a:headEnd type="none" w="med" len="med"/>
                      <a:tailEnd type="none" w="med" len="med"/>
                    </a:lnB>
                  </a:tcPr>
                </a:tc>
                <a:tc>
                  <a:txBody>
                    <a:bodyPr/>
                    <a:lstStyle/>
                    <a:p>
                      <a:pPr algn="ctr">
                        <a:lnSpc>
                          <a:spcPct val="115000"/>
                        </a:lnSpc>
                        <a:spcAft>
                          <a:spcPts val="0"/>
                        </a:spcAft>
                      </a:pPr>
                      <a:r>
                        <a:rPr lang="th-TH" sz="1400" dirty="0" smtClean="0">
                          <a:effectLst/>
                          <a:latin typeface="TH SarabunPSK" pitchFamily="34" charset="-34"/>
                          <a:cs typeface="TH SarabunPSK" pitchFamily="34" charset="-34"/>
                        </a:rPr>
                        <a:t>2562</a:t>
                      </a:r>
                      <a:endParaRPr lang="en-US" sz="1400" dirty="0">
                        <a:effectLst/>
                        <a:latin typeface="TH SarabunPSK" pitchFamily="34" charset="-34"/>
                        <a:ea typeface="Calibri"/>
                        <a:cs typeface="TH SarabunPSK" pitchFamily="34" charset="-34"/>
                      </a:endParaRPr>
                    </a:p>
                  </a:txBody>
                  <a:tcPr marL="68580" marR="68580" marT="0" marB="0" anchor="ctr">
                    <a:lnB w="12700" cap="flat" cmpd="sng" algn="ctr">
                      <a:solidFill>
                        <a:schemeClr val="bg1"/>
                      </a:solidFill>
                      <a:prstDash val="solid"/>
                      <a:round/>
                      <a:headEnd type="none" w="med" len="med"/>
                      <a:tailEnd type="none" w="med" len="med"/>
                    </a:lnB>
                  </a:tcPr>
                </a:tc>
                <a:tc>
                  <a:txBody>
                    <a:bodyPr/>
                    <a:lstStyle/>
                    <a:p>
                      <a:pPr algn="ctr">
                        <a:lnSpc>
                          <a:spcPct val="115000"/>
                        </a:lnSpc>
                        <a:spcAft>
                          <a:spcPts val="0"/>
                        </a:spcAft>
                      </a:pPr>
                      <a:r>
                        <a:rPr lang="th-TH" sz="1400" dirty="0" smtClean="0">
                          <a:effectLst/>
                          <a:latin typeface="TH SarabunPSK" pitchFamily="34" charset="-34"/>
                          <a:cs typeface="TH SarabunPSK" pitchFamily="34" charset="-34"/>
                        </a:rPr>
                        <a:t>2563</a:t>
                      </a:r>
                      <a:endParaRPr lang="en-US" sz="1400" dirty="0">
                        <a:effectLst/>
                        <a:latin typeface="TH SarabunPSK" pitchFamily="34" charset="-34"/>
                        <a:ea typeface="Calibri"/>
                        <a:cs typeface="TH SarabunPSK" pitchFamily="34" charset="-34"/>
                      </a:endParaRPr>
                    </a:p>
                  </a:txBody>
                  <a:tcPr marL="68580" marR="68580" marT="0" marB="0" anchor="ctr">
                    <a:lnB w="12700" cap="flat" cmpd="sng" algn="ctr">
                      <a:solidFill>
                        <a:schemeClr val="bg1"/>
                      </a:solidFill>
                      <a:prstDash val="solid"/>
                      <a:round/>
                      <a:headEnd type="none" w="med" len="med"/>
                      <a:tailEnd type="none" w="med" len="med"/>
                    </a:lnB>
                  </a:tcPr>
                </a:tc>
                <a:tc>
                  <a:txBody>
                    <a:bodyPr/>
                    <a:lstStyle/>
                    <a:p>
                      <a:pPr algn="ctr">
                        <a:lnSpc>
                          <a:spcPct val="115000"/>
                        </a:lnSpc>
                        <a:spcAft>
                          <a:spcPts val="0"/>
                        </a:spcAft>
                      </a:pPr>
                      <a:r>
                        <a:rPr lang="th-TH" sz="1400" dirty="0" smtClean="0">
                          <a:effectLst/>
                          <a:latin typeface="TH SarabunPSK" pitchFamily="34" charset="-34"/>
                          <a:cs typeface="TH SarabunPSK" pitchFamily="34" charset="-34"/>
                        </a:rPr>
                        <a:t>2564</a:t>
                      </a:r>
                      <a:endParaRPr lang="en-US" sz="1400" dirty="0">
                        <a:effectLst/>
                        <a:latin typeface="TH SarabunPSK" pitchFamily="34" charset="-34"/>
                        <a:ea typeface="Calibri"/>
                        <a:cs typeface="TH SarabunPSK" pitchFamily="34" charset="-34"/>
                      </a:endParaRPr>
                    </a:p>
                  </a:txBody>
                  <a:tcPr marL="68580" marR="68580" marT="0" marB="0" anchor="ctr">
                    <a:lnB w="12700" cap="flat" cmpd="sng" algn="ctr">
                      <a:solidFill>
                        <a:schemeClr val="bg1"/>
                      </a:solidFill>
                      <a:prstDash val="solid"/>
                      <a:round/>
                      <a:headEnd type="none" w="med" len="med"/>
                      <a:tailEnd type="none" w="med" len="med"/>
                    </a:lnB>
                  </a:tcPr>
                </a:tc>
                <a:tc>
                  <a:txBody>
                    <a:bodyPr/>
                    <a:lstStyle/>
                    <a:p>
                      <a:pPr marL="0" marR="0" indent="0" algn="ctr" defTabSz="914400" rtl="0" eaLnBrk="1" fontAlgn="auto" latinLnBrk="0" hangingPunct="1">
                        <a:lnSpc>
                          <a:spcPct val="115000"/>
                        </a:lnSpc>
                        <a:spcBef>
                          <a:spcPts val="0"/>
                        </a:spcBef>
                        <a:spcAft>
                          <a:spcPts val="0"/>
                        </a:spcAft>
                        <a:buClrTx/>
                        <a:buSzTx/>
                        <a:buFontTx/>
                        <a:buNone/>
                        <a:tabLst/>
                        <a:defRPr/>
                      </a:pPr>
                      <a:r>
                        <a:rPr lang="th-TH" sz="1400" dirty="0" smtClean="0">
                          <a:effectLst/>
                          <a:latin typeface="TH SarabunPSK" pitchFamily="34" charset="-34"/>
                          <a:cs typeface="TH SarabunPSK" pitchFamily="34" charset="-34"/>
                        </a:rPr>
                        <a:t>รวมแผนฯ</a:t>
                      </a:r>
                      <a:r>
                        <a:rPr lang="th-TH" sz="1400" baseline="0" dirty="0" smtClean="0">
                          <a:effectLst/>
                          <a:latin typeface="TH SarabunPSK" pitchFamily="34" charset="-34"/>
                          <a:cs typeface="TH SarabunPSK" pitchFamily="34" charset="-34"/>
                        </a:rPr>
                        <a:t>12</a:t>
                      </a:r>
                      <a:endParaRPr lang="en-US" sz="1400" dirty="0" smtClean="0">
                        <a:effectLst/>
                        <a:latin typeface="TH SarabunPSK" pitchFamily="34" charset="-34"/>
                        <a:ea typeface="Calibri"/>
                        <a:cs typeface="TH SarabunPSK" pitchFamily="34" charset="-34"/>
                      </a:endParaRPr>
                    </a:p>
                  </a:txBody>
                  <a:tcPr marL="68580" marR="68580" marT="0" marB="0" anchor="ctr">
                    <a:lnB w="12700" cap="flat" cmpd="sng" algn="ctr">
                      <a:solidFill>
                        <a:schemeClr val="bg1"/>
                      </a:solidFill>
                      <a:prstDash val="solid"/>
                      <a:round/>
                      <a:headEnd type="none" w="med" len="med"/>
                      <a:tailEnd type="none" w="med" len="med"/>
                    </a:lnB>
                  </a:tcPr>
                </a:tc>
              </a:tr>
              <a:tr h="243505">
                <a:tc>
                  <a:txBody>
                    <a:bodyPr/>
                    <a:lstStyle/>
                    <a:p>
                      <a:pPr>
                        <a:lnSpc>
                          <a:spcPct val="115000"/>
                        </a:lnSpc>
                        <a:spcAft>
                          <a:spcPts val="0"/>
                        </a:spcAft>
                      </a:pPr>
                      <a:r>
                        <a:rPr lang="th-TH" sz="1400" dirty="0" smtClean="0">
                          <a:effectLst/>
                          <a:latin typeface="TH SarabunPSK" pitchFamily="34" charset="-34"/>
                          <a:cs typeface="TH SarabunPSK" pitchFamily="34" charset="-34"/>
                        </a:rPr>
                        <a:t>การลงทุนภาคเอกชน</a:t>
                      </a:r>
                      <a:endParaRPr lang="en-US" sz="1400" dirty="0">
                        <a:effectLst/>
                        <a:latin typeface="TH SarabunPSK" pitchFamily="34" charset="-34"/>
                        <a:ea typeface="Calibri"/>
                        <a:cs typeface="TH SarabunPSK" pitchFamily="34" charset="-34"/>
                      </a:endParaRPr>
                    </a:p>
                  </a:txBody>
                  <a:tcPr marL="68580" marR="68580" marT="0" marB="0">
                    <a:lnT w="12700" cap="flat" cmpd="sng" algn="ctr">
                      <a:solidFill>
                        <a:schemeClr val="bg1"/>
                      </a:solidFill>
                      <a:prstDash val="solid"/>
                      <a:round/>
                      <a:headEnd type="none" w="med" len="med"/>
                      <a:tailEnd type="none" w="med" len="med"/>
                    </a:lnT>
                  </a:tcPr>
                </a:tc>
                <a:tc>
                  <a:txBody>
                    <a:bodyPr/>
                    <a:lstStyle/>
                    <a:p>
                      <a:pPr marL="0" algn="ctr" defTabSz="914400" rtl="0" eaLnBrk="1" fontAlgn="b" latinLnBrk="0" hangingPunct="1">
                        <a:lnSpc>
                          <a:spcPct val="115000"/>
                        </a:lnSpc>
                        <a:spcAft>
                          <a:spcPts val="0"/>
                        </a:spcAft>
                      </a:pPr>
                      <a:r>
                        <a:rPr lang="th-TH" sz="1400" b="1" kern="1200" dirty="0">
                          <a:solidFill>
                            <a:schemeClr val="dk1"/>
                          </a:solidFill>
                          <a:effectLst/>
                          <a:latin typeface="TH SarabunPSK" pitchFamily="34" charset="-34"/>
                          <a:ea typeface="+mn-ea"/>
                          <a:cs typeface="TH SarabunPSK" pitchFamily="34" charset="-34"/>
                        </a:rPr>
                        <a:t>2.59</a:t>
                      </a:r>
                    </a:p>
                  </a:txBody>
                  <a:tcPr marL="9525" marR="9525" marT="9525" marB="0" anchor="b">
                    <a:lnT w="12700" cap="flat" cmpd="sng" algn="ctr">
                      <a:solidFill>
                        <a:schemeClr val="bg1"/>
                      </a:solidFill>
                      <a:prstDash val="solid"/>
                      <a:round/>
                      <a:headEnd type="none" w="med" len="med"/>
                      <a:tailEnd type="none" w="med" len="med"/>
                    </a:lnT>
                  </a:tcPr>
                </a:tc>
                <a:tc>
                  <a:txBody>
                    <a:bodyPr/>
                    <a:lstStyle/>
                    <a:p>
                      <a:pPr marL="0" algn="ctr" defTabSz="914400" rtl="0" eaLnBrk="1" fontAlgn="b" latinLnBrk="0" hangingPunct="1">
                        <a:lnSpc>
                          <a:spcPct val="115000"/>
                        </a:lnSpc>
                        <a:spcAft>
                          <a:spcPts val="0"/>
                        </a:spcAft>
                      </a:pPr>
                      <a:r>
                        <a:rPr lang="th-TH" sz="1400" b="1" kern="1200" dirty="0">
                          <a:solidFill>
                            <a:schemeClr val="dk1"/>
                          </a:solidFill>
                          <a:effectLst/>
                          <a:latin typeface="TH SarabunPSK" pitchFamily="34" charset="-34"/>
                          <a:ea typeface="+mn-ea"/>
                          <a:cs typeface="TH SarabunPSK" pitchFamily="34" charset="-34"/>
                        </a:rPr>
                        <a:t>2.86</a:t>
                      </a:r>
                    </a:p>
                  </a:txBody>
                  <a:tcPr marL="9525" marR="9525" marT="9525" marB="0" anchor="b">
                    <a:lnT w="12700" cap="flat" cmpd="sng" algn="ctr">
                      <a:solidFill>
                        <a:schemeClr val="bg1"/>
                      </a:solidFill>
                      <a:prstDash val="solid"/>
                      <a:round/>
                      <a:headEnd type="none" w="med" len="med"/>
                      <a:tailEnd type="none" w="med" len="med"/>
                    </a:lnT>
                  </a:tcPr>
                </a:tc>
                <a:tc>
                  <a:txBody>
                    <a:bodyPr/>
                    <a:lstStyle/>
                    <a:p>
                      <a:pPr marL="0" algn="ctr" defTabSz="914400" rtl="0" eaLnBrk="1" fontAlgn="b" latinLnBrk="0" hangingPunct="1">
                        <a:lnSpc>
                          <a:spcPct val="115000"/>
                        </a:lnSpc>
                        <a:spcAft>
                          <a:spcPts val="0"/>
                        </a:spcAft>
                      </a:pPr>
                      <a:r>
                        <a:rPr lang="th-TH" sz="1400" b="1" kern="1200" dirty="0">
                          <a:solidFill>
                            <a:schemeClr val="dk1"/>
                          </a:solidFill>
                          <a:effectLst/>
                          <a:latin typeface="TH SarabunPSK" pitchFamily="34" charset="-34"/>
                          <a:ea typeface="+mn-ea"/>
                          <a:cs typeface="TH SarabunPSK" pitchFamily="34" charset="-34"/>
                        </a:rPr>
                        <a:t>3.16</a:t>
                      </a:r>
                    </a:p>
                  </a:txBody>
                  <a:tcPr marL="9525" marR="9525" marT="9525" marB="0" anchor="b">
                    <a:lnT w="12700" cap="flat" cmpd="sng" algn="ctr">
                      <a:solidFill>
                        <a:schemeClr val="bg1"/>
                      </a:solidFill>
                      <a:prstDash val="solid"/>
                      <a:round/>
                      <a:headEnd type="none" w="med" len="med"/>
                      <a:tailEnd type="none" w="med" len="med"/>
                    </a:lnT>
                  </a:tcPr>
                </a:tc>
                <a:tc>
                  <a:txBody>
                    <a:bodyPr/>
                    <a:lstStyle/>
                    <a:p>
                      <a:pPr marL="0" algn="ctr" defTabSz="914400" rtl="0" eaLnBrk="1" fontAlgn="b" latinLnBrk="0" hangingPunct="1">
                        <a:lnSpc>
                          <a:spcPct val="115000"/>
                        </a:lnSpc>
                        <a:spcAft>
                          <a:spcPts val="0"/>
                        </a:spcAft>
                      </a:pPr>
                      <a:r>
                        <a:rPr lang="th-TH" sz="1400" b="1" kern="1200" dirty="0">
                          <a:solidFill>
                            <a:schemeClr val="dk1"/>
                          </a:solidFill>
                          <a:effectLst/>
                          <a:latin typeface="TH SarabunPSK" pitchFamily="34" charset="-34"/>
                          <a:ea typeface="+mn-ea"/>
                          <a:cs typeface="TH SarabunPSK" pitchFamily="34" charset="-34"/>
                        </a:rPr>
                        <a:t>3.49</a:t>
                      </a:r>
                    </a:p>
                  </a:txBody>
                  <a:tcPr marL="9525" marR="9525" marT="9525" marB="0" anchor="b">
                    <a:lnT w="12700" cap="flat" cmpd="sng" algn="ctr">
                      <a:solidFill>
                        <a:schemeClr val="bg1"/>
                      </a:solidFill>
                      <a:prstDash val="solid"/>
                      <a:round/>
                      <a:headEnd type="none" w="med" len="med"/>
                      <a:tailEnd type="none" w="med" len="med"/>
                    </a:lnT>
                  </a:tcPr>
                </a:tc>
                <a:tc>
                  <a:txBody>
                    <a:bodyPr/>
                    <a:lstStyle/>
                    <a:p>
                      <a:pPr marL="0" algn="ctr" defTabSz="914400" rtl="0" eaLnBrk="1" fontAlgn="b" latinLnBrk="0" hangingPunct="1">
                        <a:lnSpc>
                          <a:spcPct val="115000"/>
                        </a:lnSpc>
                        <a:spcAft>
                          <a:spcPts val="0"/>
                        </a:spcAft>
                      </a:pPr>
                      <a:r>
                        <a:rPr lang="th-TH" sz="1400" b="1" kern="1200" dirty="0">
                          <a:solidFill>
                            <a:schemeClr val="dk1"/>
                          </a:solidFill>
                          <a:effectLst/>
                          <a:latin typeface="TH SarabunPSK" pitchFamily="34" charset="-34"/>
                          <a:ea typeface="+mn-ea"/>
                          <a:cs typeface="TH SarabunPSK" pitchFamily="34" charset="-34"/>
                        </a:rPr>
                        <a:t>3.86</a:t>
                      </a:r>
                    </a:p>
                  </a:txBody>
                  <a:tcPr marL="9525" marR="9525" marT="9525" marB="0" anchor="b">
                    <a:lnT w="12700" cap="flat" cmpd="sng" algn="ctr">
                      <a:solidFill>
                        <a:schemeClr val="bg1"/>
                      </a:solidFill>
                      <a:prstDash val="solid"/>
                      <a:round/>
                      <a:headEnd type="none" w="med" len="med"/>
                      <a:tailEnd type="none" w="med" len="med"/>
                    </a:lnT>
                  </a:tcPr>
                </a:tc>
                <a:tc>
                  <a:txBody>
                    <a:bodyPr/>
                    <a:lstStyle/>
                    <a:p>
                      <a:pPr marL="0" algn="ctr" defTabSz="914400" rtl="0" eaLnBrk="1" fontAlgn="b" latinLnBrk="0" hangingPunct="1">
                        <a:lnSpc>
                          <a:spcPct val="115000"/>
                        </a:lnSpc>
                        <a:spcAft>
                          <a:spcPts val="0"/>
                        </a:spcAft>
                      </a:pPr>
                      <a:r>
                        <a:rPr lang="th-TH" sz="1400" b="1" kern="1200" dirty="0">
                          <a:solidFill>
                            <a:schemeClr val="dk1"/>
                          </a:solidFill>
                          <a:effectLst/>
                          <a:latin typeface="TH SarabunPSK" pitchFamily="34" charset="-34"/>
                          <a:ea typeface="+mn-ea"/>
                          <a:cs typeface="TH SarabunPSK" pitchFamily="34" charset="-34"/>
                        </a:rPr>
                        <a:t>4.26</a:t>
                      </a:r>
                    </a:p>
                  </a:txBody>
                  <a:tcPr marL="9525" marR="9525" marT="9525" marB="0" anchor="b">
                    <a:lnT w="12700" cap="flat" cmpd="sng" algn="ctr">
                      <a:solidFill>
                        <a:schemeClr val="bg1"/>
                      </a:solidFill>
                      <a:prstDash val="solid"/>
                      <a:round/>
                      <a:headEnd type="none" w="med" len="med"/>
                      <a:tailEnd type="none" w="med" len="med"/>
                    </a:lnT>
                  </a:tcPr>
                </a:tc>
                <a:tc>
                  <a:txBody>
                    <a:bodyPr/>
                    <a:lstStyle/>
                    <a:p>
                      <a:pPr marL="0" algn="ctr" defTabSz="914400" rtl="0" eaLnBrk="1" fontAlgn="b" latinLnBrk="0" hangingPunct="1">
                        <a:lnSpc>
                          <a:spcPct val="115000"/>
                        </a:lnSpc>
                        <a:spcAft>
                          <a:spcPts val="0"/>
                        </a:spcAft>
                      </a:pPr>
                      <a:r>
                        <a:rPr lang="th-TH" sz="1400" b="1" kern="1200" dirty="0">
                          <a:solidFill>
                            <a:schemeClr val="dk1"/>
                          </a:solidFill>
                          <a:effectLst/>
                          <a:latin typeface="TH SarabunPSK" pitchFamily="34" charset="-34"/>
                          <a:ea typeface="+mn-ea"/>
                          <a:cs typeface="TH SarabunPSK" pitchFamily="34" charset="-34"/>
                        </a:rPr>
                        <a:t>4.71</a:t>
                      </a:r>
                    </a:p>
                  </a:txBody>
                  <a:tcPr marL="9525" marR="9525" marT="9525" marB="0" anchor="b">
                    <a:lnT w="12700" cap="flat" cmpd="sng" algn="ctr">
                      <a:solidFill>
                        <a:schemeClr val="bg1"/>
                      </a:solidFill>
                      <a:prstDash val="solid"/>
                      <a:round/>
                      <a:headEnd type="none" w="med" len="med"/>
                      <a:tailEnd type="none" w="med" len="med"/>
                    </a:lnT>
                  </a:tcPr>
                </a:tc>
                <a:tc>
                  <a:txBody>
                    <a:bodyPr/>
                    <a:lstStyle/>
                    <a:p>
                      <a:pPr marL="0" algn="ctr" defTabSz="914400" rtl="0" eaLnBrk="1" fontAlgn="b" latinLnBrk="0" hangingPunct="1">
                        <a:lnSpc>
                          <a:spcPct val="115000"/>
                        </a:lnSpc>
                        <a:spcAft>
                          <a:spcPts val="0"/>
                        </a:spcAft>
                      </a:pPr>
                      <a:r>
                        <a:rPr lang="th-TH" sz="1400" b="1" kern="1200" dirty="0">
                          <a:solidFill>
                            <a:schemeClr val="dk1"/>
                          </a:solidFill>
                          <a:effectLst/>
                          <a:latin typeface="TH SarabunPSK" pitchFamily="34" charset="-34"/>
                          <a:ea typeface="+mn-ea"/>
                          <a:cs typeface="TH SarabunPSK" pitchFamily="34" charset="-34"/>
                        </a:rPr>
                        <a:t>19.47</a:t>
                      </a:r>
                    </a:p>
                  </a:txBody>
                  <a:tcPr marL="9525" marR="9525" marT="9525" marB="0" anchor="b">
                    <a:lnT w="12700" cap="flat" cmpd="sng" algn="ctr">
                      <a:solidFill>
                        <a:schemeClr val="bg1"/>
                      </a:solidFill>
                      <a:prstDash val="solid"/>
                      <a:round/>
                      <a:headEnd type="none" w="med" len="med"/>
                      <a:tailEnd type="none" w="med" len="med"/>
                    </a:lnT>
                  </a:tcPr>
                </a:tc>
              </a:tr>
              <a:tr h="214314">
                <a:tc>
                  <a:txBody>
                    <a:bodyPr/>
                    <a:lstStyle/>
                    <a:p>
                      <a:pPr>
                        <a:lnSpc>
                          <a:spcPct val="115000"/>
                        </a:lnSpc>
                        <a:spcAft>
                          <a:spcPts val="0"/>
                        </a:spcAft>
                      </a:pPr>
                      <a:r>
                        <a:rPr lang="th-TH" sz="1400" dirty="0" smtClean="0">
                          <a:effectLst/>
                          <a:latin typeface="TH SarabunPSK" pitchFamily="34" charset="-34"/>
                          <a:cs typeface="TH SarabunPSK" pitchFamily="34" charset="-34"/>
                        </a:rPr>
                        <a:t>การลงทุนภาครัฐ</a:t>
                      </a:r>
                      <a:endParaRPr lang="en-US" sz="1400" dirty="0">
                        <a:effectLst/>
                        <a:latin typeface="TH SarabunPSK" pitchFamily="34" charset="-34"/>
                        <a:ea typeface="Calibri"/>
                        <a:cs typeface="TH SarabunPSK" pitchFamily="34" charset="-34"/>
                      </a:endParaRPr>
                    </a:p>
                  </a:txBody>
                  <a:tcPr marL="68580" marR="68580" marT="0" marB="0"/>
                </a:tc>
                <a:tc>
                  <a:txBody>
                    <a:bodyPr/>
                    <a:lstStyle/>
                    <a:p>
                      <a:pPr marL="0" algn="ctr" defTabSz="914400" rtl="0" eaLnBrk="1" fontAlgn="b" latinLnBrk="0" hangingPunct="1">
                        <a:lnSpc>
                          <a:spcPct val="115000"/>
                        </a:lnSpc>
                        <a:spcAft>
                          <a:spcPts val="0"/>
                        </a:spcAft>
                      </a:pPr>
                      <a:r>
                        <a:rPr lang="th-TH" sz="1400" b="1" kern="1200" dirty="0">
                          <a:solidFill>
                            <a:schemeClr val="dk1"/>
                          </a:solidFill>
                          <a:effectLst/>
                          <a:latin typeface="TH SarabunPSK" pitchFamily="34" charset="-34"/>
                          <a:ea typeface="+mn-ea"/>
                          <a:cs typeface="TH SarabunPSK" pitchFamily="34" charset="-34"/>
                        </a:rPr>
                        <a:t>0.83</a:t>
                      </a:r>
                    </a:p>
                  </a:txBody>
                  <a:tcPr marL="9525" marR="9525" marT="9525" marB="0" anchor="b"/>
                </a:tc>
                <a:tc>
                  <a:txBody>
                    <a:bodyPr/>
                    <a:lstStyle/>
                    <a:p>
                      <a:pPr marL="0" algn="ctr" defTabSz="914400" rtl="0" eaLnBrk="1" fontAlgn="b" latinLnBrk="0" hangingPunct="1">
                        <a:lnSpc>
                          <a:spcPct val="115000"/>
                        </a:lnSpc>
                        <a:spcAft>
                          <a:spcPts val="0"/>
                        </a:spcAft>
                      </a:pPr>
                      <a:r>
                        <a:rPr lang="th-TH" sz="1400" b="1" kern="1200" dirty="0">
                          <a:solidFill>
                            <a:schemeClr val="dk1"/>
                          </a:solidFill>
                          <a:effectLst/>
                          <a:latin typeface="TH SarabunPSK" pitchFamily="34" charset="-34"/>
                          <a:ea typeface="+mn-ea"/>
                          <a:cs typeface="TH SarabunPSK" pitchFamily="34" charset="-34"/>
                        </a:rPr>
                        <a:t>0.94</a:t>
                      </a:r>
                    </a:p>
                  </a:txBody>
                  <a:tcPr marL="9525" marR="9525" marT="9525" marB="0" anchor="b"/>
                </a:tc>
                <a:tc>
                  <a:txBody>
                    <a:bodyPr/>
                    <a:lstStyle/>
                    <a:p>
                      <a:pPr marL="0" algn="ctr" defTabSz="914400" rtl="0" eaLnBrk="1" fontAlgn="b" latinLnBrk="0" hangingPunct="1">
                        <a:lnSpc>
                          <a:spcPct val="115000"/>
                        </a:lnSpc>
                        <a:spcAft>
                          <a:spcPts val="0"/>
                        </a:spcAft>
                      </a:pPr>
                      <a:r>
                        <a:rPr lang="th-TH" sz="1400" b="1" kern="1200" dirty="0">
                          <a:solidFill>
                            <a:schemeClr val="dk1"/>
                          </a:solidFill>
                          <a:effectLst/>
                          <a:latin typeface="TH SarabunPSK" pitchFamily="34" charset="-34"/>
                          <a:ea typeface="+mn-ea"/>
                          <a:cs typeface="TH SarabunPSK" pitchFamily="34" charset="-34"/>
                        </a:rPr>
                        <a:t>1.06</a:t>
                      </a:r>
                    </a:p>
                  </a:txBody>
                  <a:tcPr marL="9525" marR="9525" marT="9525" marB="0" anchor="b"/>
                </a:tc>
                <a:tc>
                  <a:txBody>
                    <a:bodyPr/>
                    <a:lstStyle/>
                    <a:p>
                      <a:pPr marL="0" algn="ctr" defTabSz="914400" rtl="0" eaLnBrk="1" fontAlgn="b" latinLnBrk="0" hangingPunct="1">
                        <a:lnSpc>
                          <a:spcPct val="115000"/>
                        </a:lnSpc>
                        <a:spcAft>
                          <a:spcPts val="0"/>
                        </a:spcAft>
                      </a:pPr>
                      <a:r>
                        <a:rPr lang="th-TH" sz="1400" b="1" kern="1200" dirty="0">
                          <a:solidFill>
                            <a:schemeClr val="dk1"/>
                          </a:solidFill>
                          <a:effectLst/>
                          <a:latin typeface="TH SarabunPSK" pitchFamily="34" charset="-34"/>
                          <a:ea typeface="+mn-ea"/>
                          <a:cs typeface="TH SarabunPSK" pitchFamily="34" charset="-34"/>
                        </a:rPr>
                        <a:t>1.20</a:t>
                      </a:r>
                    </a:p>
                  </a:txBody>
                  <a:tcPr marL="9525" marR="9525" marT="9525" marB="0" anchor="b"/>
                </a:tc>
                <a:tc>
                  <a:txBody>
                    <a:bodyPr/>
                    <a:lstStyle/>
                    <a:p>
                      <a:pPr marL="0" algn="ctr" defTabSz="914400" rtl="0" eaLnBrk="1" fontAlgn="b" latinLnBrk="0" hangingPunct="1">
                        <a:lnSpc>
                          <a:spcPct val="115000"/>
                        </a:lnSpc>
                        <a:spcAft>
                          <a:spcPts val="0"/>
                        </a:spcAft>
                      </a:pPr>
                      <a:r>
                        <a:rPr lang="th-TH" sz="1400" b="1" kern="1200" dirty="0">
                          <a:solidFill>
                            <a:schemeClr val="dk1"/>
                          </a:solidFill>
                          <a:effectLst/>
                          <a:latin typeface="TH SarabunPSK" pitchFamily="34" charset="-34"/>
                          <a:ea typeface="+mn-ea"/>
                          <a:cs typeface="TH SarabunPSK" pitchFamily="34" charset="-34"/>
                        </a:rPr>
                        <a:t>1.36</a:t>
                      </a:r>
                    </a:p>
                  </a:txBody>
                  <a:tcPr marL="9525" marR="9525" marT="9525" marB="0" anchor="b"/>
                </a:tc>
                <a:tc>
                  <a:txBody>
                    <a:bodyPr/>
                    <a:lstStyle/>
                    <a:p>
                      <a:pPr marL="0" algn="ctr" defTabSz="914400" rtl="0" eaLnBrk="1" fontAlgn="b" latinLnBrk="0" hangingPunct="1">
                        <a:lnSpc>
                          <a:spcPct val="115000"/>
                        </a:lnSpc>
                        <a:spcAft>
                          <a:spcPts val="0"/>
                        </a:spcAft>
                      </a:pPr>
                      <a:r>
                        <a:rPr lang="th-TH" sz="1400" b="1" kern="1200">
                          <a:solidFill>
                            <a:schemeClr val="dk1"/>
                          </a:solidFill>
                          <a:effectLst/>
                          <a:latin typeface="TH SarabunPSK" pitchFamily="34" charset="-34"/>
                          <a:ea typeface="+mn-ea"/>
                          <a:cs typeface="TH SarabunPSK" pitchFamily="34" charset="-34"/>
                        </a:rPr>
                        <a:t>1.53</a:t>
                      </a:r>
                    </a:p>
                  </a:txBody>
                  <a:tcPr marL="9525" marR="9525" marT="9525" marB="0" anchor="b"/>
                </a:tc>
                <a:tc>
                  <a:txBody>
                    <a:bodyPr/>
                    <a:lstStyle/>
                    <a:p>
                      <a:pPr marL="0" algn="ctr" defTabSz="914400" rtl="0" eaLnBrk="1" fontAlgn="b" latinLnBrk="0" hangingPunct="1">
                        <a:lnSpc>
                          <a:spcPct val="115000"/>
                        </a:lnSpc>
                        <a:spcAft>
                          <a:spcPts val="0"/>
                        </a:spcAft>
                      </a:pPr>
                      <a:r>
                        <a:rPr lang="th-TH" sz="1400" b="1" kern="1200">
                          <a:solidFill>
                            <a:schemeClr val="dk1"/>
                          </a:solidFill>
                          <a:effectLst/>
                          <a:latin typeface="TH SarabunPSK" pitchFamily="34" charset="-34"/>
                          <a:ea typeface="+mn-ea"/>
                          <a:cs typeface="TH SarabunPSK" pitchFamily="34" charset="-34"/>
                        </a:rPr>
                        <a:t>1.73</a:t>
                      </a:r>
                    </a:p>
                  </a:txBody>
                  <a:tcPr marL="9525" marR="9525" marT="9525" marB="0" anchor="b"/>
                </a:tc>
                <a:tc>
                  <a:txBody>
                    <a:bodyPr/>
                    <a:lstStyle/>
                    <a:p>
                      <a:pPr marL="0" algn="ctr" defTabSz="914400" rtl="0" eaLnBrk="1" fontAlgn="b" latinLnBrk="0" hangingPunct="1">
                        <a:lnSpc>
                          <a:spcPct val="115000"/>
                        </a:lnSpc>
                        <a:spcAft>
                          <a:spcPts val="0"/>
                        </a:spcAft>
                      </a:pPr>
                      <a:r>
                        <a:rPr lang="th-TH" sz="1400" b="1" kern="1200" dirty="0">
                          <a:solidFill>
                            <a:schemeClr val="dk1"/>
                          </a:solidFill>
                          <a:effectLst/>
                          <a:latin typeface="TH SarabunPSK" pitchFamily="34" charset="-34"/>
                          <a:ea typeface="+mn-ea"/>
                          <a:cs typeface="TH SarabunPSK" pitchFamily="34" charset="-34"/>
                        </a:rPr>
                        <a:t>6.89</a:t>
                      </a:r>
                    </a:p>
                  </a:txBody>
                  <a:tcPr marL="9525" marR="9525" marT="9525" marB="0" anchor="b"/>
                </a:tc>
              </a:tr>
              <a:tr h="259271">
                <a:tc>
                  <a:txBody>
                    <a:bodyPr/>
                    <a:lstStyle/>
                    <a:p>
                      <a:pPr marL="357188" indent="-174625">
                        <a:lnSpc>
                          <a:spcPct val="115000"/>
                        </a:lnSpc>
                        <a:spcAft>
                          <a:spcPts val="0"/>
                        </a:spcAft>
                        <a:buFont typeface="Arial" pitchFamily="34" charset="0"/>
                        <a:buChar char="•"/>
                      </a:pPr>
                      <a:r>
                        <a:rPr lang="th-TH" sz="1400" dirty="0" smtClean="0">
                          <a:effectLst/>
                          <a:latin typeface="TH SarabunPSK" pitchFamily="34" charset="-34"/>
                          <a:ea typeface="Calibri"/>
                          <a:cs typeface="TH SarabunPSK" pitchFamily="34" charset="-34"/>
                        </a:rPr>
                        <a:t>รัฐบาล</a:t>
                      </a:r>
                      <a:endParaRPr lang="en-US" sz="1400" dirty="0">
                        <a:effectLst/>
                        <a:latin typeface="TH SarabunPSK" pitchFamily="34" charset="-34"/>
                        <a:ea typeface="Calibri"/>
                        <a:cs typeface="TH SarabunPSK" pitchFamily="34" charset="-34"/>
                      </a:endParaRPr>
                    </a:p>
                  </a:txBody>
                  <a:tcPr marL="68580" marR="68580" marT="0" marB="0"/>
                </a:tc>
                <a:tc>
                  <a:txBody>
                    <a:bodyPr/>
                    <a:lstStyle/>
                    <a:p>
                      <a:pPr marL="0" algn="ctr" defTabSz="914400" rtl="0" eaLnBrk="1" fontAlgn="b" latinLnBrk="0" hangingPunct="1">
                        <a:lnSpc>
                          <a:spcPct val="115000"/>
                        </a:lnSpc>
                        <a:spcAft>
                          <a:spcPts val="0"/>
                        </a:spcAft>
                      </a:pPr>
                      <a:r>
                        <a:rPr lang="th-TH" sz="1400" b="1" kern="1200" dirty="0">
                          <a:solidFill>
                            <a:schemeClr val="dk1"/>
                          </a:solidFill>
                          <a:effectLst/>
                          <a:latin typeface="TH SarabunPSK" pitchFamily="34" charset="-34"/>
                          <a:ea typeface="+mn-ea"/>
                          <a:cs typeface="TH SarabunPSK" pitchFamily="34" charset="-34"/>
                        </a:rPr>
                        <a:t>0.50</a:t>
                      </a:r>
                    </a:p>
                  </a:txBody>
                  <a:tcPr marL="9525" marR="9525" marT="9525" marB="0" anchor="b"/>
                </a:tc>
                <a:tc>
                  <a:txBody>
                    <a:bodyPr/>
                    <a:lstStyle/>
                    <a:p>
                      <a:pPr marL="0" algn="ctr" defTabSz="914400" rtl="0" eaLnBrk="1" fontAlgn="b" latinLnBrk="0" hangingPunct="1">
                        <a:lnSpc>
                          <a:spcPct val="115000"/>
                        </a:lnSpc>
                        <a:spcAft>
                          <a:spcPts val="0"/>
                        </a:spcAft>
                      </a:pPr>
                      <a:r>
                        <a:rPr lang="th-TH" sz="1400" b="1" kern="1200" dirty="0">
                          <a:solidFill>
                            <a:schemeClr val="dk1"/>
                          </a:solidFill>
                          <a:effectLst/>
                          <a:latin typeface="TH SarabunPSK" pitchFamily="34" charset="-34"/>
                          <a:ea typeface="+mn-ea"/>
                          <a:cs typeface="TH SarabunPSK" pitchFamily="34" charset="-34"/>
                        </a:rPr>
                        <a:t>0.56</a:t>
                      </a:r>
                    </a:p>
                  </a:txBody>
                  <a:tcPr marL="9525" marR="9525" marT="9525" marB="0" anchor="b"/>
                </a:tc>
                <a:tc>
                  <a:txBody>
                    <a:bodyPr/>
                    <a:lstStyle/>
                    <a:p>
                      <a:pPr marL="0" algn="ctr" defTabSz="914400" rtl="0" eaLnBrk="1" fontAlgn="b" latinLnBrk="0" hangingPunct="1">
                        <a:lnSpc>
                          <a:spcPct val="115000"/>
                        </a:lnSpc>
                        <a:spcAft>
                          <a:spcPts val="0"/>
                        </a:spcAft>
                      </a:pPr>
                      <a:r>
                        <a:rPr lang="th-TH" sz="1400" b="1" kern="1200" dirty="0">
                          <a:solidFill>
                            <a:schemeClr val="dk1"/>
                          </a:solidFill>
                          <a:effectLst/>
                          <a:latin typeface="TH SarabunPSK" pitchFamily="34" charset="-34"/>
                          <a:ea typeface="+mn-ea"/>
                          <a:cs typeface="TH SarabunPSK" pitchFamily="34" charset="-34"/>
                        </a:rPr>
                        <a:t>0.64</a:t>
                      </a:r>
                    </a:p>
                  </a:txBody>
                  <a:tcPr marL="9525" marR="9525" marT="9525" marB="0" anchor="b"/>
                </a:tc>
                <a:tc>
                  <a:txBody>
                    <a:bodyPr/>
                    <a:lstStyle/>
                    <a:p>
                      <a:pPr marL="0" algn="ctr" defTabSz="914400" rtl="0" eaLnBrk="1" fontAlgn="b" latinLnBrk="0" hangingPunct="1">
                        <a:lnSpc>
                          <a:spcPct val="115000"/>
                        </a:lnSpc>
                        <a:spcAft>
                          <a:spcPts val="0"/>
                        </a:spcAft>
                      </a:pPr>
                      <a:r>
                        <a:rPr lang="th-TH" sz="1400" b="1" kern="1200">
                          <a:solidFill>
                            <a:schemeClr val="dk1"/>
                          </a:solidFill>
                          <a:effectLst/>
                          <a:latin typeface="TH SarabunPSK" pitchFamily="34" charset="-34"/>
                          <a:ea typeface="+mn-ea"/>
                          <a:cs typeface="TH SarabunPSK" pitchFamily="34" charset="-34"/>
                        </a:rPr>
                        <a:t>0.72</a:t>
                      </a:r>
                    </a:p>
                  </a:txBody>
                  <a:tcPr marL="9525" marR="9525" marT="9525" marB="0" anchor="b"/>
                </a:tc>
                <a:tc>
                  <a:txBody>
                    <a:bodyPr/>
                    <a:lstStyle/>
                    <a:p>
                      <a:pPr marL="0" algn="ctr" defTabSz="914400" rtl="0" eaLnBrk="1" fontAlgn="b" latinLnBrk="0" hangingPunct="1">
                        <a:lnSpc>
                          <a:spcPct val="115000"/>
                        </a:lnSpc>
                        <a:spcAft>
                          <a:spcPts val="0"/>
                        </a:spcAft>
                      </a:pPr>
                      <a:r>
                        <a:rPr lang="th-TH" sz="1400" b="1" kern="1200" dirty="0">
                          <a:solidFill>
                            <a:schemeClr val="dk1"/>
                          </a:solidFill>
                          <a:effectLst/>
                          <a:latin typeface="TH SarabunPSK" pitchFamily="34" charset="-34"/>
                          <a:ea typeface="+mn-ea"/>
                          <a:cs typeface="TH SarabunPSK" pitchFamily="34" charset="-34"/>
                        </a:rPr>
                        <a:t>0.81</a:t>
                      </a:r>
                    </a:p>
                  </a:txBody>
                  <a:tcPr marL="9525" marR="9525" marT="9525" marB="0" anchor="b"/>
                </a:tc>
                <a:tc>
                  <a:txBody>
                    <a:bodyPr/>
                    <a:lstStyle/>
                    <a:p>
                      <a:pPr marL="0" algn="ctr" defTabSz="914400" rtl="0" eaLnBrk="1" fontAlgn="b" latinLnBrk="0" hangingPunct="1">
                        <a:lnSpc>
                          <a:spcPct val="115000"/>
                        </a:lnSpc>
                        <a:spcAft>
                          <a:spcPts val="0"/>
                        </a:spcAft>
                      </a:pPr>
                      <a:r>
                        <a:rPr lang="th-TH" sz="1400" b="1" kern="1200" dirty="0">
                          <a:solidFill>
                            <a:schemeClr val="dk1"/>
                          </a:solidFill>
                          <a:effectLst/>
                          <a:latin typeface="TH SarabunPSK" pitchFamily="34" charset="-34"/>
                          <a:ea typeface="+mn-ea"/>
                          <a:cs typeface="TH SarabunPSK" pitchFamily="34" charset="-34"/>
                        </a:rPr>
                        <a:t>0.92</a:t>
                      </a:r>
                    </a:p>
                  </a:txBody>
                  <a:tcPr marL="9525" marR="9525" marT="9525" marB="0" anchor="b"/>
                </a:tc>
                <a:tc>
                  <a:txBody>
                    <a:bodyPr/>
                    <a:lstStyle/>
                    <a:p>
                      <a:pPr marL="0" algn="ctr" defTabSz="914400" rtl="0" eaLnBrk="1" fontAlgn="b" latinLnBrk="0" hangingPunct="1">
                        <a:lnSpc>
                          <a:spcPct val="115000"/>
                        </a:lnSpc>
                        <a:spcAft>
                          <a:spcPts val="0"/>
                        </a:spcAft>
                      </a:pPr>
                      <a:r>
                        <a:rPr lang="th-TH" sz="1400" b="1" kern="1200" dirty="0">
                          <a:solidFill>
                            <a:schemeClr val="dk1"/>
                          </a:solidFill>
                          <a:effectLst/>
                          <a:latin typeface="TH SarabunPSK" pitchFamily="34" charset="-34"/>
                          <a:ea typeface="+mn-ea"/>
                          <a:cs typeface="TH SarabunPSK" pitchFamily="34" charset="-34"/>
                        </a:rPr>
                        <a:t>1.04</a:t>
                      </a:r>
                    </a:p>
                  </a:txBody>
                  <a:tcPr marL="9525" marR="9525" marT="9525" marB="0" anchor="b"/>
                </a:tc>
                <a:tc>
                  <a:txBody>
                    <a:bodyPr/>
                    <a:lstStyle/>
                    <a:p>
                      <a:pPr marL="0" algn="ctr" defTabSz="914400" rtl="0" eaLnBrk="1" fontAlgn="b" latinLnBrk="0" hangingPunct="1">
                        <a:lnSpc>
                          <a:spcPct val="115000"/>
                        </a:lnSpc>
                        <a:spcAft>
                          <a:spcPts val="0"/>
                        </a:spcAft>
                      </a:pPr>
                      <a:r>
                        <a:rPr lang="th-TH" sz="1400" b="1" kern="1200">
                          <a:solidFill>
                            <a:schemeClr val="dk1"/>
                          </a:solidFill>
                          <a:effectLst/>
                          <a:latin typeface="TH SarabunPSK" pitchFamily="34" charset="-34"/>
                          <a:ea typeface="+mn-ea"/>
                          <a:cs typeface="TH SarabunPSK" pitchFamily="34" charset="-34"/>
                        </a:rPr>
                        <a:t>4.13</a:t>
                      </a:r>
                    </a:p>
                  </a:txBody>
                  <a:tcPr marL="9525" marR="9525" marT="9525" marB="0" anchor="b"/>
                </a:tc>
              </a:tr>
              <a:tr h="222572">
                <a:tc>
                  <a:txBody>
                    <a:bodyPr/>
                    <a:lstStyle/>
                    <a:p>
                      <a:pPr marL="357188" indent="-174625">
                        <a:lnSpc>
                          <a:spcPct val="115000"/>
                        </a:lnSpc>
                        <a:spcAft>
                          <a:spcPts val="0"/>
                        </a:spcAft>
                        <a:buFont typeface="Arial" pitchFamily="34" charset="0"/>
                        <a:buChar char="•"/>
                      </a:pPr>
                      <a:r>
                        <a:rPr lang="th-TH" sz="1400" dirty="0" smtClean="0">
                          <a:effectLst/>
                          <a:latin typeface="TH SarabunPSK" pitchFamily="34" charset="-34"/>
                          <a:ea typeface="Calibri"/>
                          <a:cs typeface="TH SarabunPSK" pitchFamily="34" charset="-34"/>
                        </a:rPr>
                        <a:t>รัฐวิสาหกิจ</a:t>
                      </a:r>
                      <a:endParaRPr lang="en-US" sz="1400" dirty="0">
                        <a:effectLst/>
                        <a:latin typeface="TH SarabunPSK" pitchFamily="34" charset="-34"/>
                        <a:ea typeface="Calibri"/>
                        <a:cs typeface="TH SarabunPSK" pitchFamily="34" charset="-34"/>
                      </a:endParaRPr>
                    </a:p>
                  </a:txBody>
                  <a:tcPr marL="68580" marR="68580" marT="0" marB="0"/>
                </a:tc>
                <a:tc>
                  <a:txBody>
                    <a:bodyPr/>
                    <a:lstStyle/>
                    <a:p>
                      <a:pPr marL="0" algn="ctr" defTabSz="914400" rtl="0" eaLnBrk="1" fontAlgn="b" latinLnBrk="0" hangingPunct="1">
                        <a:lnSpc>
                          <a:spcPct val="115000"/>
                        </a:lnSpc>
                        <a:spcAft>
                          <a:spcPts val="0"/>
                        </a:spcAft>
                      </a:pPr>
                      <a:r>
                        <a:rPr lang="th-TH" sz="1400" b="1" kern="1200" dirty="0">
                          <a:solidFill>
                            <a:schemeClr val="dk1"/>
                          </a:solidFill>
                          <a:effectLst/>
                          <a:latin typeface="TH SarabunPSK" pitchFamily="34" charset="-34"/>
                          <a:ea typeface="+mn-ea"/>
                          <a:cs typeface="TH SarabunPSK" pitchFamily="34" charset="-34"/>
                        </a:rPr>
                        <a:t>0.33</a:t>
                      </a:r>
                    </a:p>
                  </a:txBody>
                  <a:tcPr marL="9525" marR="9525" marT="9525" marB="0" anchor="b"/>
                </a:tc>
                <a:tc>
                  <a:txBody>
                    <a:bodyPr/>
                    <a:lstStyle/>
                    <a:p>
                      <a:pPr marL="0" algn="ctr" defTabSz="914400" rtl="0" eaLnBrk="1" fontAlgn="b" latinLnBrk="0" hangingPunct="1">
                        <a:lnSpc>
                          <a:spcPct val="115000"/>
                        </a:lnSpc>
                        <a:spcAft>
                          <a:spcPts val="0"/>
                        </a:spcAft>
                      </a:pPr>
                      <a:r>
                        <a:rPr lang="th-TH" sz="1400" b="1" kern="1200" dirty="0">
                          <a:solidFill>
                            <a:schemeClr val="dk1"/>
                          </a:solidFill>
                          <a:effectLst/>
                          <a:latin typeface="TH SarabunPSK" pitchFamily="34" charset="-34"/>
                          <a:ea typeface="+mn-ea"/>
                          <a:cs typeface="TH SarabunPSK" pitchFamily="34" charset="-34"/>
                        </a:rPr>
                        <a:t>0.38</a:t>
                      </a:r>
                    </a:p>
                  </a:txBody>
                  <a:tcPr marL="9525" marR="9525" marT="9525" marB="0" anchor="b"/>
                </a:tc>
                <a:tc>
                  <a:txBody>
                    <a:bodyPr/>
                    <a:lstStyle/>
                    <a:p>
                      <a:pPr marL="0" algn="ctr" defTabSz="914400" rtl="0" eaLnBrk="1" fontAlgn="b" latinLnBrk="0" hangingPunct="1">
                        <a:lnSpc>
                          <a:spcPct val="115000"/>
                        </a:lnSpc>
                        <a:spcAft>
                          <a:spcPts val="0"/>
                        </a:spcAft>
                      </a:pPr>
                      <a:r>
                        <a:rPr lang="th-TH" sz="1400" b="1" kern="1200" dirty="0">
                          <a:solidFill>
                            <a:schemeClr val="dk1"/>
                          </a:solidFill>
                          <a:effectLst/>
                          <a:latin typeface="TH SarabunPSK" pitchFamily="34" charset="-34"/>
                          <a:ea typeface="+mn-ea"/>
                          <a:cs typeface="TH SarabunPSK" pitchFamily="34" charset="-34"/>
                        </a:rPr>
                        <a:t>0.43</a:t>
                      </a:r>
                    </a:p>
                  </a:txBody>
                  <a:tcPr marL="9525" marR="9525" marT="9525" marB="0" anchor="b"/>
                </a:tc>
                <a:tc>
                  <a:txBody>
                    <a:bodyPr/>
                    <a:lstStyle/>
                    <a:p>
                      <a:pPr marL="0" algn="ctr" defTabSz="914400" rtl="0" eaLnBrk="1" fontAlgn="b" latinLnBrk="0" hangingPunct="1">
                        <a:lnSpc>
                          <a:spcPct val="115000"/>
                        </a:lnSpc>
                        <a:spcAft>
                          <a:spcPts val="0"/>
                        </a:spcAft>
                      </a:pPr>
                      <a:r>
                        <a:rPr lang="th-TH" sz="1400" b="1" kern="1200" dirty="0">
                          <a:solidFill>
                            <a:schemeClr val="dk1"/>
                          </a:solidFill>
                          <a:effectLst/>
                          <a:latin typeface="TH SarabunPSK" pitchFamily="34" charset="-34"/>
                          <a:ea typeface="+mn-ea"/>
                          <a:cs typeface="TH SarabunPSK" pitchFamily="34" charset="-34"/>
                        </a:rPr>
                        <a:t>0.48</a:t>
                      </a:r>
                    </a:p>
                  </a:txBody>
                  <a:tcPr marL="9525" marR="9525" marT="9525" marB="0" anchor="b"/>
                </a:tc>
                <a:tc>
                  <a:txBody>
                    <a:bodyPr/>
                    <a:lstStyle/>
                    <a:p>
                      <a:pPr marL="0" algn="ctr" defTabSz="914400" rtl="0" eaLnBrk="1" fontAlgn="b" latinLnBrk="0" hangingPunct="1">
                        <a:lnSpc>
                          <a:spcPct val="115000"/>
                        </a:lnSpc>
                        <a:spcAft>
                          <a:spcPts val="0"/>
                        </a:spcAft>
                      </a:pPr>
                      <a:r>
                        <a:rPr lang="th-TH" sz="1400" b="1" kern="1200" dirty="0">
                          <a:solidFill>
                            <a:schemeClr val="dk1"/>
                          </a:solidFill>
                          <a:effectLst/>
                          <a:latin typeface="TH SarabunPSK" pitchFamily="34" charset="-34"/>
                          <a:ea typeface="+mn-ea"/>
                          <a:cs typeface="TH SarabunPSK" pitchFamily="34" charset="-34"/>
                        </a:rPr>
                        <a:t>0.54</a:t>
                      </a:r>
                    </a:p>
                  </a:txBody>
                  <a:tcPr marL="9525" marR="9525" marT="9525" marB="0" anchor="b"/>
                </a:tc>
                <a:tc>
                  <a:txBody>
                    <a:bodyPr/>
                    <a:lstStyle/>
                    <a:p>
                      <a:pPr marL="0" algn="ctr" defTabSz="914400" rtl="0" eaLnBrk="1" fontAlgn="b" latinLnBrk="0" hangingPunct="1">
                        <a:lnSpc>
                          <a:spcPct val="115000"/>
                        </a:lnSpc>
                        <a:spcAft>
                          <a:spcPts val="0"/>
                        </a:spcAft>
                      </a:pPr>
                      <a:r>
                        <a:rPr lang="th-TH" sz="1400" b="1" kern="1200">
                          <a:solidFill>
                            <a:schemeClr val="dk1"/>
                          </a:solidFill>
                          <a:effectLst/>
                          <a:latin typeface="TH SarabunPSK" pitchFamily="34" charset="-34"/>
                          <a:ea typeface="+mn-ea"/>
                          <a:cs typeface="TH SarabunPSK" pitchFamily="34" charset="-34"/>
                        </a:rPr>
                        <a:t>0.61</a:t>
                      </a:r>
                    </a:p>
                  </a:txBody>
                  <a:tcPr marL="9525" marR="9525" marT="9525" marB="0" anchor="b"/>
                </a:tc>
                <a:tc>
                  <a:txBody>
                    <a:bodyPr/>
                    <a:lstStyle/>
                    <a:p>
                      <a:pPr marL="0" algn="ctr" defTabSz="914400" rtl="0" eaLnBrk="1" fontAlgn="b" latinLnBrk="0" hangingPunct="1">
                        <a:lnSpc>
                          <a:spcPct val="115000"/>
                        </a:lnSpc>
                        <a:spcAft>
                          <a:spcPts val="0"/>
                        </a:spcAft>
                      </a:pPr>
                      <a:r>
                        <a:rPr lang="th-TH" sz="1400" b="1" kern="1200" dirty="0">
                          <a:solidFill>
                            <a:schemeClr val="dk1"/>
                          </a:solidFill>
                          <a:effectLst/>
                          <a:latin typeface="TH SarabunPSK" pitchFamily="34" charset="-34"/>
                          <a:ea typeface="+mn-ea"/>
                          <a:cs typeface="TH SarabunPSK" pitchFamily="34" charset="-34"/>
                        </a:rPr>
                        <a:t>0.69</a:t>
                      </a:r>
                    </a:p>
                  </a:txBody>
                  <a:tcPr marL="9525" marR="9525" marT="9525" marB="0" anchor="b"/>
                </a:tc>
                <a:tc>
                  <a:txBody>
                    <a:bodyPr/>
                    <a:lstStyle/>
                    <a:p>
                      <a:pPr marL="0" algn="ctr" defTabSz="914400" rtl="0" eaLnBrk="1" fontAlgn="b" latinLnBrk="0" hangingPunct="1">
                        <a:lnSpc>
                          <a:spcPct val="115000"/>
                        </a:lnSpc>
                        <a:spcAft>
                          <a:spcPts val="0"/>
                        </a:spcAft>
                      </a:pPr>
                      <a:r>
                        <a:rPr lang="th-TH" sz="1400" b="1" kern="1200" dirty="0">
                          <a:solidFill>
                            <a:schemeClr val="dk1"/>
                          </a:solidFill>
                          <a:effectLst/>
                          <a:latin typeface="TH SarabunPSK" pitchFamily="34" charset="-34"/>
                          <a:ea typeface="+mn-ea"/>
                          <a:cs typeface="TH SarabunPSK" pitchFamily="34" charset="-34"/>
                        </a:rPr>
                        <a:t>2.75</a:t>
                      </a:r>
                    </a:p>
                  </a:txBody>
                  <a:tcPr marL="9525" marR="9525" marT="9525" marB="0" anchor="b"/>
                </a:tc>
              </a:tr>
            </a:tbl>
          </a:graphicData>
        </a:graphic>
      </p:graphicFrame>
      <p:sp>
        <p:nvSpPr>
          <p:cNvPr id="36" name="Rectangle 35"/>
          <p:cNvSpPr/>
          <p:nvPr/>
        </p:nvSpPr>
        <p:spPr>
          <a:xfrm>
            <a:off x="2443659" y="3417457"/>
            <a:ext cx="2916000" cy="1440000"/>
          </a:xfrm>
          <a:prstGeom prst="rect">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th-TH">
              <a:solidFill>
                <a:prstClr val="white"/>
              </a:solidFill>
            </a:endParaRPr>
          </a:p>
        </p:txBody>
      </p:sp>
      <p:graphicFrame>
        <p:nvGraphicFramePr>
          <p:cNvPr id="37" name="Chart 36"/>
          <p:cNvGraphicFramePr/>
          <p:nvPr>
            <p:extLst>
              <p:ext uri="{D42A27DB-BD31-4B8C-83A1-F6EECF244321}">
                <p14:modId xmlns:p14="http://schemas.microsoft.com/office/powerpoint/2010/main" xmlns="" val="213978511"/>
              </p:ext>
            </p:extLst>
          </p:nvPr>
        </p:nvGraphicFramePr>
        <p:xfrm>
          <a:off x="5448261" y="3423033"/>
          <a:ext cx="3228219" cy="1493087"/>
        </p:xfrm>
        <a:graphic>
          <a:graphicData uri="http://schemas.openxmlformats.org/drawingml/2006/chart">
            <c:chart xmlns:c="http://schemas.openxmlformats.org/drawingml/2006/chart" xmlns:r="http://schemas.openxmlformats.org/officeDocument/2006/relationships" r:id="rId2"/>
          </a:graphicData>
        </a:graphic>
      </p:graphicFrame>
      <p:sp>
        <p:nvSpPr>
          <p:cNvPr id="2" name="TextBox 1"/>
          <p:cNvSpPr txBox="1"/>
          <p:nvPr/>
        </p:nvSpPr>
        <p:spPr>
          <a:xfrm>
            <a:off x="2812413" y="3039261"/>
            <a:ext cx="4248472" cy="338554"/>
          </a:xfrm>
          <a:prstGeom prst="rect">
            <a:avLst/>
          </a:prstGeom>
          <a:noFill/>
        </p:spPr>
        <p:txBody>
          <a:bodyPr wrap="square" rtlCol="0">
            <a:spAutoFit/>
          </a:bodyPr>
          <a:lstStyle/>
          <a:p>
            <a:r>
              <a:rPr lang="th-TH" sz="1600" b="1" dirty="0">
                <a:solidFill>
                  <a:schemeClr val="lt1"/>
                </a:solidFill>
                <a:latin typeface="TH SarabunPSK" pitchFamily="34" charset="-34"/>
                <a:cs typeface="TH SarabunPSK" pitchFamily="34" charset="-34"/>
              </a:rPr>
              <a:t>ความต้องการเงินลงทุนในช่วง</a:t>
            </a:r>
            <a:r>
              <a:rPr lang="th-TH" sz="1600" b="1" dirty="0" smtClean="0">
                <a:solidFill>
                  <a:schemeClr val="lt1"/>
                </a:solidFill>
                <a:latin typeface="TH SarabunPSK" pitchFamily="34" charset="-34"/>
                <a:cs typeface="TH SarabunPSK" pitchFamily="34" charset="-34"/>
              </a:rPr>
              <a:t>แผนฯ </a:t>
            </a:r>
            <a:r>
              <a:rPr lang="th-TH" sz="1600" b="1" dirty="0">
                <a:solidFill>
                  <a:schemeClr val="lt1"/>
                </a:solidFill>
                <a:latin typeface="TH SarabunPSK" pitchFamily="34" charset="-34"/>
                <a:cs typeface="TH SarabunPSK" pitchFamily="34" charset="-34"/>
              </a:rPr>
              <a:t>12</a:t>
            </a:r>
          </a:p>
        </p:txBody>
      </p:sp>
      <p:sp>
        <p:nvSpPr>
          <p:cNvPr id="67" name="Title 1"/>
          <p:cNvSpPr txBox="1">
            <a:spLocks/>
          </p:cNvSpPr>
          <p:nvPr/>
        </p:nvSpPr>
        <p:spPr>
          <a:xfrm>
            <a:off x="43706" y="-171573"/>
            <a:ext cx="9100294" cy="757130"/>
          </a:xfrm>
          <a:prstGeom prst="rect">
            <a:avLst/>
          </a:prstGeom>
          <a:ln>
            <a:noFill/>
          </a:ln>
          <a:effectLst/>
          <a:scene3d>
            <a:camera prst="orthographicFront">
              <a:rot lat="0" lon="0" rev="0"/>
            </a:camera>
            <a:lightRig rig="brightRoom" dir="t">
              <a:rot lat="0" lon="0" rev="600000"/>
            </a:lightRig>
          </a:scene3d>
          <a:sp3d prstMaterial="metal">
            <a:bevelT w="38100" h="57150" prst="angle"/>
          </a:sp3d>
        </p:spPr>
        <p:txBody>
          <a:bodyPr wrap="square" anchor="ctr">
            <a:spAutoFit/>
          </a:bodyPr>
          <a:lstStyle/>
          <a:p>
            <a:pPr indent="-2509838">
              <a:lnSpc>
                <a:spcPct val="80000"/>
              </a:lnSpc>
              <a:spcBef>
                <a:spcPct val="50000"/>
              </a:spcBef>
              <a:defRPr/>
            </a:pPr>
            <a:r>
              <a:rPr lang="th-TH" sz="5400" b="1" dirty="0" smtClean="0">
                <a:solidFill>
                  <a:srgbClr val="0070C0"/>
                </a:solidFill>
                <a:latin typeface="TH SarabunPSK" pitchFamily="34" charset="-34"/>
                <a:cs typeface="TH SarabunPSK" pitchFamily="34" charset="-34"/>
              </a:rPr>
              <a:t>ก</a:t>
            </a:r>
            <a:r>
              <a:rPr lang="th-TH" b="1" dirty="0">
                <a:solidFill>
                  <a:srgbClr val="0070C0"/>
                </a:solidFill>
                <a:latin typeface="TH SarabunPSK" pitchFamily="34" charset="-34"/>
                <a:cs typeface="TH SarabunPSK" pitchFamily="34" charset="-34"/>
              </a:rPr>
              <a:t>าร</a:t>
            </a:r>
            <a:r>
              <a:rPr lang="th-TH" b="1" dirty="0" smtClean="0">
                <a:solidFill>
                  <a:srgbClr val="0070C0"/>
                </a:solidFill>
                <a:latin typeface="TH SarabunPSK" pitchFamily="34" charset="-34"/>
                <a:cs typeface="TH SarabunPSK" pitchFamily="34" charset="-34"/>
              </a:rPr>
              <a:t>ลงทุนกับเศรษฐกิจไทย</a:t>
            </a:r>
            <a:r>
              <a:rPr lang="en-US" b="1" dirty="0" smtClean="0">
                <a:solidFill>
                  <a:srgbClr val="0070C0"/>
                </a:solidFill>
                <a:latin typeface="TH SarabunPSK" pitchFamily="34" charset="-34"/>
                <a:cs typeface="TH SarabunPSK" pitchFamily="34" charset="-34"/>
              </a:rPr>
              <a:t>: </a:t>
            </a:r>
            <a:endParaRPr lang="th-TH" b="1" dirty="0">
              <a:solidFill>
                <a:srgbClr val="0070C0"/>
              </a:solidFill>
              <a:latin typeface="TH SarabunPSK" pitchFamily="34" charset="-34"/>
              <a:cs typeface="TH SarabunPSK" pitchFamily="34" charset="-34"/>
            </a:endParaRPr>
          </a:p>
        </p:txBody>
      </p:sp>
      <p:sp>
        <p:nvSpPr>
          <p:cNvPr id="68" name="Rectangle 67"/>
          <p:cNvSpPr>
            <a:spLocks noChangeArrowheads="1"/>
          </p:cNvSpPr>
          <p:nvPr/>
        </p:nvSpPr>
        <p:spPr bwMode="auto">
          <a:xfrm>
            <a:off x="2820916" y="1"/>
            <a:ext cx="7007668" cy="541174"/>
          </a:xfrm>
          <a:prstGeom prst="rect">
            <a:avLst/>
          </a:prstGeom>
          <a:noFill/>
          <a:ln w="9525">
            <a:noFill/>
            <a:miter lim="800000"/>
            <a:headEnd/>
            <a:tailEnd/>
          </a:ln>
        </p:spPr>
        <p:txBody>
          <a:bodyPr wrap="square">
            <a:spAutoFit/>
          </a:bodyPr>
          <a:lstStyle/>
          <a:p>
            <a:pPr algn="thaiDist">
              <a:lnSpc>
                <a:spcPts val="3500"/>
              </a:lnSpc>
              <a:spcBef>
                <a:spcPts val="600"/>
              </a:spcBef>
              <a:spcAft>
                <a:spcPts val="600"/>
              </a:spcAft>
              <a:defRPr/>
            </a:pPr>
            <a:r>
              <a:rPr lang="th-TH" b="1" dirty="0" smtClean="0">
                <a:solidFill>
                  <a:srgbClr val="F79646">
                    <a:lumMod val="75000"/>
                  </a:srgbClr>
                </a:solidFill>
                <a:latin typeface="TH SarabunPSK" pitchFamily="34" charset="-34"/>
                <a:ea typeface="Tahoma" pitchFamily="34" charset="0"/>
                <a:cs typeface="TH SarabunPSK" pitchFamily="34" charset="-34"/>
              </a:rPr>
              <a:t>เป้าหมายด้านการลงทุน</a:t>
            </a:r>
          </a:p>
        </p:txBody>
      </p:sp>
      <p:sp>
        <p:nvSpPr>
          <p:cNvPr id="74" name="Oval 73"/>
          <p:cNvSpPr/>
          <p:nvPr/>
        </p:nvSpPr>
        <p:spPr>
          <a:xfrm>
            <a:off x="359385" y="1855828"/>
            <a:ext cx="350421" cy="323984"/>
          </a:xfrm>
          <a:prstGeom prst="ellipse">
            <a:avLst/>
          </a:prstGeom>
          <a:solidFill>
            <a:srgbClr val="0070C0"/>
          </a:solidFill>
          <a:ln w="9525">
            <a:noFill/>
            <a:miter lim="800000"/>
            <a:headEnd/>
            <a:tailEnd/>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txBody>
          <a:bodyPr wrap="square" anchor="ctr">
            <a:noAutofit/>
          </a:bodyPr>
          <a:lstStyle/>
          <a:p>
            <a:pPr algn="ctr">
              <a:spcBef>
                <a:spcPts val="600"/>
              </a:spcBef>
            </a:pPr>
            <a:r>
              <a:rPr lang="en-US" sz="2000" b="1" spc="-50" dirty="0" smtClean="0">
                <a:solidFill>
                  <a:prstClr val="white"/>
                </a:solidFill>
                <a:latin typeface="TH SarabunPSK" pitchFamily="34" charset="-34"/>
                <a:cs typeface="TH SarabunPSK" pitchFamily="34" charset="-34"/>
              </a:rPr>
              <a:t>1</a:t>
            </a:r>
            <a:endParaRPr lang="en-US" sz="2000" b="1" spc="-50" dirty="0">
              <a:solidFill>
                <a:prstClr val="white"/>
              </a:solidFill>
              <a:latin typeface="TH SarabunPSK" pitchFamily="34" charset="-34"/>
              <a:cs typeface="TH SarabunPSK" pitchFamily="34" charset="-34"/>
            </a:endParaRPr>
          </a:p>
        </p:txBody>
      </p:sp>
      <p:sp>
        <p:nvSpPr>
          <p:cNvPr id="75" name="Oval 74"/>
          <p:cNvSpPr/>
          <p:nvPr/>
        </p:nvSpPr>
        <p:spPr>
          <a:xfrm>
            <a:off x="3285475" y="1855828"/>
            <a:ext cx="350421" cy="323984"/>
          </a:xfrm>
          <a:prstGeom prst="ellipse">
            <a:avLst/>
          </a:prstGeom>
          <a:solidFill>
            <a:srgbClr val="0070C0"/>
          </a:solidFill>
          <a:ln w="9525">
            <a:noFill/>
            <a:miter lim="800000"/>
            <a:headEnd/>
            <a:tailEnd/>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txBody>
          <a:bodyPr wrap="square" anchor="ctr">
            <a:noAutofit/>
          </a:bodyPr>
          <a:lstStyle/>
          <a:p>
            <a:pPr algn="ctr">
              <a:spcBef>
                <a:spcPts val="600"/>
              </a:spcBef>
            </a:pPr>
            <a:r>
              <a:rPr lang="en-US" sz="2000" b="1" spc="-50" dirty="0" smtClean="0">
                <a:solidFill>
                  <a:prstClr val="white"/>
                </a:solidFill>
                <a:latin typeface="TH SarabunPSK" pitchFamily="34" charset="-34"/>
                <a:cs typeface="TH SarabunPSK" pitchFamily="34" charset="-34"/>
              </a:rPr>
              <a:t>2</a:t>
            </a:r>
            <a:endParaRPr lang="en-US" sz="2000" b="1" spc="-50" dirty="0">
              <a:solidFill>
                <a:prstClr val="white"/>
              </a:solidFill>
              <a:latin typeface="TH SarabunPSK" pitchFamily="34" charset="-34"/>
              <a:cs typeface="TH SarabunPSK" pitchFamily="34" charset="-34"/>
            </a:endParaRPr>
          </a:p>
        </p:txBody>
      </p:sp>
      <p:sp>
        <p:nvSpPr>
          <p:cNvPr id="76" name="Oval 75"/>
          <p:cNvSpPr/>
          <p:nvPr/>
        </p:nvSpPr>
        <p:spPr>
          <a:xfrm>
            <a:off x="6165805" y="1864045"/>
            <a:ext cx="350421" cy="323984"/>
          </a:xfrm>
          <a:prstGeom prst="ellipse">
            <a:avLst/>
          </a:prstGeom>
          <a:solidFill>
            <a:srgbClr val="0070C0"/>
          </a:solidFill>
          <a:ln w="9525">
            <a:noFill/>
            <a:miter lim="800000"/>
            <a:headEnd/>
            <a:tailEnd/>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txBody>
          <a:bodyPr wrap="square" anchor="ctr">
            <a:noAutofit/>
          </a:bodyPr>
          <a:lstStyle/>
          <a:p>
            <a:pPr algn="ctr">
              <a:spcBef>
                <a:spcPts val="600"/>
              </a:spcBef>
            </a:pPr>
            <a:r>
              <a:rPr lang="en-US" sz="2000" b="1" spc="-50" dirty="0" smtClean="0">
                <a:solidFill>
                  <a:prstClr val="white"/>
                </a:solidFill>
                <a:latin typeface="TH SarabunPSK" pitchFamily="34" charset="-34"/>
                <a:cs typeface="TH SarabunPSK" pitchFamily="34" charset="-34"/>
              </a:rPr>
              <a:t>3</a:t>
            </a:r>
            <a:endParaRPr lang="en-US" sz="2000" b="1" spc="-50" dirty="0">
              <a:solidFill>
                <a:prstClr val="white"/>
              </a:solidFill>
              <a:latin typeface="TH SarabunPSK" pitchFamily="34" charset="-34"/>
              <a:cs typeface="TH SarabunPSK" pitchFamily="34" charset="-34"/>
            </a:endParaRPr>
          </a:p>
        </p:txBody>
      </p:sp>
      <p:sp>
        <p:nvSpPr>
          <p:cNvPr id="70" name="Rectangle 69"/>
          <p:cNvSpPr/>
          <p:nvPr/>
        </p:nvSpPr>
        <p:spPr>
          <a:xfrm>
            <a:off x="746574" y="1795097"/>
            <a:ext cx="1484702" cy="384721"/>
          </a:xfrm>
          <a:prstGeom prst="rect">
            <a:avLst/>
          </a:prstGeom>
        </p:spPr>
        <p:txBody>
          <a:bodyPr wrap="none">
            <a:spAutoFit/>
          </a:bodyPr>
          <a:lstStyle/>
          <a:p>
            <a:pPr>
              <a:lnSpc>
                <a:spcPct val="95000"/>
              </a:lnSpc>
              <a:spcBef>
                <a:spcPct val="5000"/>
              </a:spcBef>
              <a:defRPr/>
            </a:pPr>
            <a:r>
              <a:rPr lang="th-TH" sz="2000" b="1" dirty="0">
                <a:latin typeface="TH SarabunPSK" pitchFamily="34" charset="-34"/>
                <a:cs typeface="TH SarabunPSK" pitchFamily="34" charset="-34"/>
              </a:rPr>
              <a:t>ปริมาณการส่งออก</a:t>
            </a:r>
            <a:endParaRPr lang="en-US" sz="2400" b="1" dirty="0">
              <a:latin typeface="TH SarabunPSK" pitchFamily="34" charset="-34"/>
              <a:cs typeface="TH SarabunPSK" pitchFamily="34" charset="-34"/>
            </a:endParaRPr>
          </a:p>
        </p:txBody>
      </p:sp>
      <p:sp>
        <p:nvSpPr>
          <p:cNvPr id="86" name="Rectangle 85"/>
          <p:cNvSpPr/>
          <p:nvPr/>
        </p:nvSpPr>
        <p:spPr>
          <a:xfrm>
            <a:off x="3732429" y="1814762"/>
            <a:ext cx="1633781" cy="384721"/>
          </a:xfrm>
          <a:prstGeom prst="rect">
            <a:avLst/>
          </a:prstGeom>
        </p:spPr>
        <p:txBody>
          <a:bodyPr wrap="none">
            <a:spAutoFit/>
          </a:bodyPr>
          <a:lstStyle/>
          <a:p>
            <a:pPr>
              <a:lnSpc>
                <a:spcPct val="95000"/>
              </a:lnSpc>
              <a:spcBef>
                <a:spcPct val="5000"/>
              </a:spcBef>
              <a:defRPr/>
            </a:pPr>
            <a:r>
              <a:rPr lang="th-TH" sz="2000" b="1" dirty="0" smtClean="0">
                <a:latin typeface="TH SarabunPSK" pitchFamily="34" charset="-34"/>
                <a:cs typeface="TH SarabunPSK" pitchFamily="34" charset="-34"/>
              </a:rPr>
              <a:t>การลงทุนภาคเอกชน</a:t>
            </a:r>
            <a:endParaRPr lang="en-US" sz="2400" b="1" dirty="0">
              <a:latin typeface="TH SarabunPSK" pitchFamily="34" charset="-34"/>
              <a:cs typeface="TH SarabunPSK" pitchFamily="34" charset="-34"/>
            </a:endParaRPr>
          </a:p>
        </p:txBody>
      </p:sp>
      <p:sp>
        <p:nvSpPr>
          <p:cNvPr id="87" name="Rectangle 86"/>
          <p:cNvSpPr/>
          <p:nvPr/>
        </p:nvSpPr>
        <p:spPr>
          <a:xfrm>
            <a:off x="6588224" y="1819776"/>
            <a:ext cx="1343638" cy="384721"/>
          </a:xfrm>
          <a:prstGeom prst="rect">
            <a:avLst/>
          </a:prstGeom>
        </p:spPr>
        <p:txBody>
          <a:bodyPr wrap="none">
            <a:spAutoFit/>
          </a:bodyPr>
          <a:lstStyle/>
          <a:p>
            <a:pPr>
              <a:lnSpc>
                <a:spcPct val="95000"/>
              </a:lnSpc>
              <a:spcBef>
                <a:spcPct val="5000"/>
              </a:spcBef>
              <a:defRPr/>
            </a:pPr>
            <a:r>
              <a:rPr lang="th-TH" sz="2000" b="1" dirty="0" smtClean="0">
                <a:latin typeface="TH SarabunPSK" pitchFamily="34" charset="-34"/>
                <a:cs typeface="TH SarabunPSK" pitchFamily="34" charset="-34"/>
              </a:rPr>
              <a:t>การลงทุนภาครัฐ</a:t>
            </a:r>
            <a:endParaRPr lang="en-US" sz="2400" b="1" dirty="0">
              <a:latin typeface="TH SarabunPSK" pitchFamily="34" charset="-34"/>
              <a:cs typeface="TH SarabunPSK" pitchFamily="34" charset="-34"/>
            </a:endParaRPr>
          </a:p>
        </p:txBody>
      </p:sp>
      <p:grpSp>
        <p:nvGrpSpPr>
          <p:cNvPr id="78" name="Group 77"/>
          <p:cNvGrpSpPr/>
          <p:nvPr/>
        </p:nvGrpSpPr>
        <p:grpSpPr>
          <a:xfrm>
            <a:off x="370183" y="2191289"/>
            <a:ext cx="8115707" cy="847974"/>
            <a:chOff x="370181" y="2223186"/>
            <a:chExt cx="8115707" cy="847974"/>
          </a:xfrm>
        </p:grpSpPr>
        <p:pic>
          <p:nvPicPr>
            <p:cNvPr id="3078" name="Picture 6" descr="https://cdn0.iconfinder.com/data/icons/triconify-business-finance/32/delivery-truck-2-512.png"/>
            <p:cNvPicPr>
              <a:picLocks noChangeAspect="1" noChangeArrowheads="1"/>
            </p:cNvPicPr>
            <p:nvPr/>
          </p:nvPicPr>
          <p:blipFill>
            <a:blip r:embed="rId3" cstate="print">
              <a:duotone>
                <a:schemeClr val="accent4">
                  <a:shade val="45000"/>
                  <a:satMod val="135000"/>
                </a:schemeClr>
                <a:prstClr val="white"/>
              </a:duotone>
              <a:extLst>
                <a:ext uri="{28A0092B-C50C-407E-A947-70E740481C1C}">
                  <a14:useLocalDpi xmlns:a14="http://schemas.microsoft.com/office/drawing/2010/main" xmlns="" val="0"/>
                </a:ext>
              </a:extLst>
            </a:blip>
            <a:srcRect/>
            <a:stretch>
              <a:fillRect/>
            </a:stretch>
          </p:blipFill>
          <p:spPr bwMode="auto">
            <a:xfrm flipH="1">
              <a:off x="1373743" y="2231374"/>
              <a:ext cx="852286" cy="490046"/>
            </a:xfrm>
            <a:prstGeom prst="rect">
              <a:avLst/>
            </a:prstGeom>
            <a:noFill/>
            <a:extLst>
              <a:ext uri="{909E8E84-426E-40DD-AFC4-6F175D3DCCD1}">
                <a14:hiddenFill xmlns:a14="http://schemas.microsoft.com/office/drawing/2010/main" xmlns="">
                  <a:solidFill>
                    <a:srgbClr val="FFFFFF"/>
                  </a:solidFill>
                </a14:hiddenFill>
              </a:ext>
            </a:extLst>
          </p:spPr>
        </p:pic>
        <p:pic>
          <p:nvPicPr>
            <p:cNvPr id="81" name="Picture 6" descr="https://cdn0.iconfinder.com/data/icons/triconify-business-finance/32/delivery-truck-2-512.png"/>
            <p:cNvPicPr>
              <a:picLocks noChangeAspect="1" noChangeArrowheads="1"/>
            </p:cNvPicPr>
            <p:nvPr/>
          </p:nvPicPr>
          <p:blipFill>
            <a:blip r:embed="rId4" cstate="print">
              <a:duotone>
                <a:schemeClr val="accent5">
                  <a:shade val="45000"/>
                  <a:satMod val="135000"/>
                </a:schemeClr>
                <a:prstClr val="white"/>
              </a:duotone>
              <a:extLst>
                <a:ext uri="{28A0092B-C50C-407E-A947-70E740481C1C}">
                  <a14:useLocalDpi xmlns:a14="http://schemas.microsoft.com/office/drawing/2010/main" xmlns="" val="0"/>
                </a:ext>
              </a:extLst>
            </a:blip>
            <a:srcRect/>
            <a:stretch>
              <a:fillRect/>
            </a:stretch>
          </p:blipFill>
          <p:spPr bwMode="auto">
            <a:xfrm flipH="1">
              <a:off x="1419380" y="2751770"/>
              <a:ext cx="472574" cy="271720"/>
            </a:xfrm>
            <a:prstGeom prst="rect">
              <a:avLst/>
            </a:prstGeom>
            <a:noFill/>
            <a:extLst>
              <a:ext uri="{909E8E84-426E-40DD-AFC4-6F175D3DCCD1}">
                <a14:hiddenFill xmlns:a14="http://schemas.microsoft.com/office/drawing/2010/main" xmlns="">
                  <a:solidFill>
                    <a:srgbClr val="FFFFFF"/>
                  </a:solidFill>
                </a14:hiddenFill>
              </a:ext>
            </a:extLst>
          </p:spPr>
        </p:pic>
        <p:pic>
          <p:nvPicPr>
            <p:cNvPr id="82" name="Picture 6" descr="https://cdn0.iconfinder.com/data/icons/triconify-business-finance/32/delivery-truck-2-512.png"/>
            <p:cNvPicPr>
              <a:picLocks noChangeAspect="1" noChangeArrowheads="1"/>
            </p:cNvPicPr>
            <p:nvPr/>
          </p:nvPicPr>
          <p:blipFill>
            <a:blip r:embed="rId4" cstate="print">
              <a:duotone>
                <a:schemeClr val="accent5">
                  <a:shade val="45000"/>
                  <a:satMod val="135000"/>
                </a:schemeClr>
                <a:prstClr val="white"/>
              </a:duotone>
              <a:extLst>
                <a:ext uri="{28A0092B-C50C-407E-A947-70E740481C1C}">
                  <a14:useLocalDpi xmlns:a14="http://schemas.microsoft.com/office/drawing/2010/main" xmlns="" val="0"/>
                </a:ext>
              </a:extLst>
            </a:blip>
            <a:srcRect/>
            <a:stretch>
              <a:fillRect/>
            </a:stretch>
          </p:blipFill>
          <p:spPr bwMode="auto">
            <a:xfrm flipH="1">
              <a:off x="1877822" y="2751770"/>
              <a:ext cx="472574" cy="271720"/>
            </a:xfrm>
            <a:prstGeom prst="rect">
              <a:avLst/>
            </a:prstGeom>
            <a:noFill/>
            <a:extLst>
              <a:ext uri="{909E8E84-426E-40DD-AFC4-6F175D3DCCD1}">
                <a14:hiddenFill xmlns:a14="http://schemas.microsoft.com/office/drawing/2010/main" xmlns="">
                  <a:solidFill>
                    <a:srgbClr val="FFFFFF"/>
                  </a:solidFill>
                </a14:hiddenFill>
              </a:ext>
            </a:extLst>
          </p:spPr>
        </p:pic>
        <p:pic>
          <p:nvPicPr>
            <p:cNvPr id="83" name="Picture 6" descr="https://cdn0.iconfinder.com/data/icons/triconify-business-finance/32/delivery-truck-2-512.png"/>
            <p:cNvPicPr>
              <a:picLocks noChangeAspect="1" noChangeArrowheads="1"/>
            </p:cNvPicPr>
            <p:nvPr/>
          </p:nvPicPr>
          <p:blipFill>
            <a:blip r:embed="rId5" cstate="print">
              <a:duotone>
                <a:schemeClr val="accent5">
                  <a:shade val="45000"/>
                  <a:satMod val="135000"/>
                </a:schemeClr>
                <a:prstClr val="white"/>
              </a:duotone>
              <a:extLst>
                <a:ext uri="{28A0092B-C50C-407E-A947-70E740481C1C}">
                  <a14:useLocalDpi xmlns:a14="http://schemas.microsoft.com/office/drawing/2010/main" xmlns="" val="0"/>
                </a:ext>
              </a:extLst>
            </a:blip>
            <a:srcRect/>
            <a:stretch>
              <a:fillRect/>
            </a:stretch>
          </p:blipFill>
          <p:spPr bwMode="auto">
            <a:xfrm flipH="1">
              <a:off x="2169378" y="2347113"/>
              <a:ext cx="484763" cy="278728"/>
            </a:xfrm>
            <a:prstGeom prst="rect">
              <a:avLst/>
            </a:prstGeom>
            <a:noFill/>
            <a:extLst>
              <a:ext uri="{909E8E84-426E-40DD-AFC4-6F175D3DCCD1}">
                <a14:hiddenFill xmlns:a14="http://schemas.microsoft.com/office/drawing/2010/main" xmlns="">
                  <a:solidFill>
                    <a:srgbClr val="FFFFFF"/>
                  </a:solidFill>
                </a14:hiddenFill>
              </a:ext>
            </a:extLst>
          </p:spPr>
        </p:pic>
        <p:pic>
          <p:nvPicPr>
            <p:cNvPr id="84" name="Picture 6" descr="https://cdn0.iconfinder.com/data/icons/triconify-business-finance/32/delivery-truck-2-512.png"/>
            <p:cNvPicPr>
              <a:picLocks noChangeAspect="1" noChangeArrowheads="1"/>
            </p:cNvPicPr>
            <p:nvPr/>
          </p:nvPicPr>
          <p:blipFill>
            <a:blip r:embed="rId6" cstate="print">
              <a:duotone>
                <a:schemeClr val="accent5">
                  <a:shade val="45000"/>
                  <a:satMod val="135000"/>
                </a:schemeClr>
                <a:prstClr val="white"/>
              </a:duotone>
              <a:extLst>
                <a:ext uri="{28A0092B-C50C-407E-A947-70E740481C1C}">
                  <a14:useLocalDpi xmlns:a14="http://schemas.microsoft.com/office/drawing/2010/main" xmlns="" val="0"/>
                </a:ext>
              </a:extLst>
            </a:blip>
            <a:srcRect/>
            <a:stretch>
              <a:fillRect/>
            </a:stretch>
          </p:blipFill>
          <p:spPr bwMode="auto">
            <a:xfrm flipH="1">
              <a:off x="2314361" y="2761294"/>
              <a:ext cx="442938" cy="254680"/>
            </a:xfrm>
            <a:prstGeom prst="rect">
              <a:avLst/>
            </a:prstGeom>
            <a:noFill/>
            <a:extLst>
              <a:ext uri="{909E8E84-426E-40DD-AFC4-6F175D3DCCD1}">
                <a14:hiddenFill xmlns:a14="http://schemas.microsoft.com/office/drawing/2010/main" xmlns="">
                  <a:solidFill>
                    <a:srgbClr val="FFFFFF"/>
                  </a:solidFill>
                </a14:hiddenFill>
              </a:ext>
            </a:extLst>
          </p:spPr>
        </p:pic>
        <p:sp>
          <p:nvSpPr>
            <p:cNvPr id="85" name="TextBox 84"/>
            <p:cNvSpPr txBox="1"/>
            <p:nvPr/>
          </p:nvSpPr>
          <p:spPr>
            <a:xfrm>
              <a:off x="370181" y="2352446"/>
              <a:ext cx="1105473" cy="502702"/>
            </a:xfrm>
            <a:prstGeom prst="rect">
              <a:avLst/>
            </a:prstGeom>
            <a:noFill/>
          </p:spPr>
          <p:txBody>
            <a:bodyPr wrap="square" rtlCol="0">
              <a:spAutoFit/>
            </a:bodyPr>
            <a:lstStyle/>
            <a:p>
              <a:pPr algn="thaiDist">
                <a:lnSpc>
                  <a:spcPts val="1300"/>
                </a:lnSpc>
                <a:spcBef>
                  <a:spcPts val="300"/>
                </a:spcBef>
                <a:spcAft>
                  <a:spcPts val="300"/>
                </a:spcAft>
                <a:tabLst>
                  <a:tab pos="182563" algn="l"/>
                </a:tabLst>
              </a:pPr>
              <a:endParaRPr lang="th-TH" b="1" dirty="0" smtClean="0">
                <a:solidFill>
                  <a:srgbClr val="FF0000"/>
                </a:solidFill>
                <a:latin typeface="TH SarabunPSK" pitchFamily="34" charset="-34"/>
                <a:cs typeface="TH SarabunPSK" pitchFamily="34" charset="-34"/>
              </a:endParaRPr>
            </a:p>
            <a:p>
              <a:pPr algn="thaiDist">
                <a:lnSpc>
                  <a:spcPts val="1300"/>
                </a:lnSpc>
                <a:spcBef>
                  <a:spcPts val="300"/>
                </a:spcBef>
                <a:spcAft>
                  <a:spcPts val="300"/>
                </a:spcAft>
                <a:tabLst>
                  <a:tab pos="182563" algn="l"/>
                </a:tabLst>
              </a:pPr>
              <a:r>
                <a:rPr lang="en-US" b="1" dirty="0" smtClean="0">
                  <a:solidFill>
                    <a:srgbClr val="FF0000"/>
                  </a:solidFill>
                  <a:latin typeface="TH SarabunPSK" pitchFamily="34" charset="-34"/>
                  <a:cs typeface="TH SarabunPSK" pitchFamily="34" charset="-34"/>
                </a:rPr>
                <a:t>&gt;4.0 %</a:t>
              </a:r>
              <a:endParaRPr lang="en-US" b="1" dirty="0">
                <a:solidFill>
                  <a:srgbClr val="FF0000"/>
                </a:solidFill>
                <a:latin typeface="TH SarabunPSK" pitchFamily="34" charset="-34"/>
                <a:cs typeface="TH SarabunPSK" pitchFamily="34" charset="-34"/>
              </a:endParaRPr>
            </a:p>
          </p:txBody>
        </p:sp>
        <p:sp>
          <p:nvSpPr>
            <p:cNvPr id="88" name="AutoShape 18"/>
            <p:cNvSpPr>
              <a:spLocks noChangeArrowheads="1"/>
            </p:cNvSpPr>
            <p:nvPr/>
          </p:nvSpPr>
          <p:spPr bwMode="auto">
            <a:xfrm rot="16200000" flipV="1">
              <a:off x="2763501" y="2544063"/>
              <a:ext cx="761224" cy="119470"/>
            </a:xfrm>
            <a:prstGeom prst="triangle">
              <a:avLst>
                <a:gd name="adj" fmla="val 48579"/>
              </a:avLst>
            </a:prstGeom>
            <a:solidFill>
              <a:schemeClr val="bg1">
                <a:lumMod val="65000"/>
              </a:schemeClr>
            </a:solidFill>
            <a:ln w="9525">
              <a:noFill/>
              <a:miter lim="800000"/>
              <a:headEnd/>
              <a:tailEnd/>
            </a:ln>
            <a:effectLst/>
          </p:spPr>
          <p:txBody>
            <a:bodyPr wrap="none" anchor="ctr"/>
            <a:lstStyle/>
            <a:p>
              <a:pPr>
                <a:defRPr/>
              </a:pPr>
              <a:endParaRPr lang="th-TH" sz="3600">
                <a:solidFill>
                  <a:prstClr val="black"/>
                </a:solidFill>
                <a:latin typeface="TH SarabunPSK" pitchFamily="34" charset="-34"/>
                <a:cs typeface="TH SarabunPSK" pitchFamily="34" charset="-34"/>
              </a:endParaRPr>
            </a:p>
          </p:txBody>
        </p:sp>
        <p:sp>
          <p:nvSpPr>
            <p:cNvPr id="89" name="AutoShape 18"/>
            <p:cNvSpPr>
              <a:spLocks noChangeArrowheads="1"/>
            </p:cNvSpPr>
            <p:nvPr/>
          </p:nvSpPr>
          <p:spPr bwMode="auto">
            <a:xfrm rot="16200000" flipV="1">
              <a:off x="5571813" y="2566103"/>
              <a:ext cx="761224" cy="119470"/>
            </a:xfrm>
            <a:prstGeom prst="triangle">
              <a:avLst>
                <a:gd name="adj" fmla="val 48579"/>
              </a:avLst>
            </a:prstGeom>
            <a:solidFill>
              <a:schemeClr val="bg1">
                <a:lumMod val="65000"/>
              </a:schemeClr>
            </a:solidFill>
            <a:ln w="9525">
              <a:noFill/>
              <a:miter lim="800000"/>
              <a:headEnd/>
              <a:tailEnd/>
            </a:ln>
            <a:effectLst/>
          </p:spPr>
          <p:txBody>
            <a:bodyPr wrap="none" anchor="ctr"/>
            <a:lstStyle/>
            <a:p>
              <a:pPr>
                <a:defRPr/>
              </a:pPr>
              <a:endParaRPr lang="th-TH" sz="3600">
                <a:solidFill>
                  <a:prstClr val="black"/>
                </a:solidFill>
                <a:latin typeface="TH SarabunPSK" pitchFamily="34" charset="-34"/>
                <a:cs typeface="TH SarabunPSK" pitchFamily="34" charset="-34"/>
              </a:endParaRPr>
            </a:p>
          </p:txBody>
        </p:sp>
        <p:sp>
          <p:nvSpPr>
            <p:cNvPr id="90" name="TextBox 89"/>
            <p:cNvSpPr txBox="1"/>
            <p:nvPr/>
          </p:nvSpPr>
          <p:spPr>
            <a:xfrm>
              <a:off x="3203848" y="2375294"/>
              <a:ext cx="996555" cy="502702"/>
            </a:xfrm>
            <a:prstGeom prst="rect">
              <a:avLst/>
            </a:prstGeom>
            <a:noFill/>
          </p:spPr>
          <p:txBody>
            <a:bodyPr wrap="square" rtlCol="0">
              <a:spAutoFit/>
            </a:bodyPr>
            <a:lstStyle/>
            <a:p>
              <a:pPr algn="thaiDist">
                <a:lnSpc>
                  <a:spcPts val="1300"/>
                </a:lnSpc>
                <a:spcBef>
                  <a:spcPts val="300"/>
                </a:spcBef>
                <a:spcAft>
                  <a:spcPts val="300"/>
                </a:spcAft>
                <a:tabLst>
                  <a:tab pos="182563" algn="l"/>
                </a:tabLst>
              </a:pPr>
              <a:endParaRPr lang="th-TH" b="1" dirty="0" smtClean="0">
                <a:solidFill>
                  <a:srgbClr val="FF0000"/>
                </a:solidFill>
                <a:latin typeface="TH SarabunPSK" pitchFamily="34" charset="-34"/>
                <a:cs typeface="TH SarabunPSK" pitchFamily="34" charset="-34"/>
              </a:endParaRPr>
            </a:p>
            <a:p>
              <a:pPr algn="thaiDist">
                <a:lnSpc>
                  <a:spcPts val="1300"/>
                </a:lnSpc>
                <a:spcBef>
                  <a:spcPts val="300"/>
                </a:spcBef>
                <a:spcAft>
                  <a:spcPts val="300"/>
                </a:spcAft>
                <a:tabLst>
                  <a:tab pos="182563" algn="l"/>
                </a:tabLst>
              </a:pPr>
              <a:r>
                <a:rPr lang="en-US" b="1" dirty="0" smtClean="0">
                  <a:solidFill>
                    <a:srgbClr val="FF0000"/>
                  </a:solidFill>
                  <a:latin typeface="TH SarabunPSK" pitchFamily="34" charset="-34"/>
                  <a:cs typeface="TH SarabunPSK" pitchFamily="34" charset="-34"/>
                </a:rPr>
                <a:t>7.5 %</a:t>
              </a:r>
              <a:endParaRPr lang="en-US" b="1" dirty="0">
                <a:solidFill>
                  <a:srgbClr val="FF0000"/>
                </a:solidFill>
                <a:latin typeface="TH SarabunPSK" pitchFamily="34" charset="-34"/>
                <a:cs typeface="TH SarabunPSK" pitchFamily="34" charset="-34"/>
              </a:endParaRPr>
            </a:p>
          </p:txBody>
        </p:sp>
        <p:sp>
          <p:nvSpPr>
            <p:cNvPr id="91" name="TextBox 90"/>
            <p:cNvSpPr txBox="1"/>
            <p:nvPr/>
          </p:nvSpPr>
          <p:spPr>
            <a:xfrm>
              <a:off x="6064330" y="2347113"/>
              <a:ext cx="996555" cy="502702"/>
            </a:xfrm>
            <a:prstGeom prst="rect">
              <a:avLst/>
            </a:prstGeom>
            <a:noFill/>
          </p:spPr>
          <p:txBody>
            <a:bodyPr wrap="square" rtlCol="0">
              <a:spAutoFit/>
            </a:bodyPr>
            <a:lstStyle/>
            <a:p>
              <a:pPr algn="thaiDist">
                <a:lnSpc>
                  <a:spcPts val="1300"/>
                </a:lnSpc>
                <a:spcBef>
                  <a:spcPts val="300"/>
                </a:spcBef>
                <a:spcAft>
                  <a:spcPts val="300"/>
                </a:spcAft>
                <a:tabLst>
                  <a:tab pos="182563" algn="l"/>
                </a:tabLst>
              </a:pPr>
              <a:endParaRPr lang="th-TH" b="1" dirty="0" smtClean="0">
                <a:solidFill>
                  <a:srgbClr val="FF0000"/>
                </a:solidFill>
                <a:latin typeface="TH SarabunPSK" pitchFamily="34" charset="-34"/>
                <a:cs typeface="TH SarabunPSK" pitchFamily="34" charset="-34"/>
              </a:endParaRPr>
            </a:p>
            <a:p>
              <a:pPr algn="thaiDist">
                <a:lnSpc>
                  <a:spcPts val="1300"/>
                </a:lnSpc>
                <a:spcBef>
                  <a:spcPts val="300"/>
                </a:spcBef>
                <a:spcAft>
                  <a:spcPts val="300"/>
                </a:spcAft>
                <a:tabLst>
                  <a:tab pos="182563" algn="l"/>
                </a:tabLst>
              </a:pPr>
              <a:r>
                <a:rPr lang="en-US" b="1" dirty="0" smtClean="0">
                  <a:solidFill>
                    <a:srgbClr val="FF0000"/>
                  </a:solidFill>
                  <a:latin typeface="TH SarabunPSK" pitchFamily="34" charset="-34"/>
                  <a:cs typeface="TH SarabunPSK" pitchFamily="34" charset="-34"/>
                </a:rPr>
                <a:t>10.0 %</a:t>
              </a:r>
              <a:endParaRPr lang="en-US" b="1" dirty="0">
                <a:solidFill>
                  <a:srgbClr val="FF0000"/>
                </a:solidFill>
                <a:latin typeface="TH SarabunPSK" pitchFamily="34" charset="-34"/>
                <a:cs typeface="TH SarabunPSK" pitchFamily="34" charset="-34"/>
              </a:endParaRPr>
            </a:p>
          </p:txBody>
        </p:sp>
        <p:pic>
          <p:nvPicPr>
            <p:cNvPr id="3080" name="Picture 8" descr="http://www.its.fsu.edu/var/ezwebin_site/storage/images/information-technology-services/employees/computer-icon/1023677-1-eng-US/Computer-Icon_imagelarge.png"/>
            <p:cNvPicPr>
              <a:picLocks noChangeAspect="1" noChangeArrowheads="1"/>
            </p:cNvPicPr>
            <p:nvPr/>
          </p:nvPicPr>
          <p:blipFill>
            <a:blip r:embed="rId7" cstate="print">
              <a:extLst>
                <a:ext uri="{28A0092B-C50C-407E-A947-70E740481C1C}">
                  <a14:useLocalDpi xmlns:a14="http://schemas.microsoft.com/office/drawing/2010/main" xmlns="" val="0"/>
                </a:ext>
              </a:extLst>
            </a:blip>
            <a:srcRect/>
            <a:stretch>
              <a:fillRect/>
            </a:stretch>
          </p:blipFill>
          <p:spPr bwMode="auto">
            <a:xfrm>
              <a:off x="4105373" y="2514724"/>
              <a:ext cx="466627" cy="466627"/>
            </a:xfrm>
            <a:prstGeom prst="rect">
              <a:avLst/>
            </a:prstGeom>
            <a:noFill/>
            <a:extLst>
              <a:ext uri="{909E8E84-426E-40DD-AFC4-6F175D3DCCD1}">
                <a14:hiddenFill xmlns:a14="http://schemas.microsoft.com/office/drawing/2010/main" xmlns="">
                  <a:solidFill>
                    <a:srgbClr val="FFFFFF"/>
                  </a:solidFill>
                </a14:hiddenFill>
              </a:ext>
            </a:extLst>
          </p:spPr>
        </p:pic>
        <p:pic>
          <p:nvPicPr>
            <p:cNvPr id="3082" name="Picture 10" descr="http://dcdlbd.com/wp-content/uploads/2013/10/meStudying_app_icon.png"/>
            <p:cNvPicPr>
              <a:picLocks noChangeAspect="1" noChangeArrowheads="1"/>
            </p:cNvPicPr>
            <p:nvPr/>
          </p:nvPicPr>
          <p:blipFill>
            <a:blip r:embed="rId8" cstate="print">
              <a:extLst>
                <a:ext uri="{28A0092B-C50C-407E-A947-70E740481C1C}">
                  <a14:useLocalDpi xmlns:a14="http://schemas.microsoft.com/office/drawing/2010/main" xmlns="" val="0"/>
                </a:ext>
              </a:extLst>
            </a:blip>
            <a:srcRect/>
            <a:stretch>
              <a:fillRect/>
            </a:stretch>
          </p:blipFill>
          <p:spPr bwMode="auto">
            <a:xfrm>
              <a:off x="4639147" y="2486477"/>
              <a:ext cx="456875" cy="456875"/>
            </a:xfrm>
            <a:prstGeom prst="rect">
              <a:avLst/>
            </a:prstGeom>
            <a:noFill/>
            <a:extLst>
              <a:ext uri="{909E8E84-426E-40DD-AFC4-6F175D3DCCD1}">
                <a14:hiddenFill xmlns:a14="http://schemas.microsoft.com/office/drawing/2010/main" xmlns="">
                  <a:solidFill>
                    <a:srgbClr val="FFFFFF"/>
                  </a:solidFill>
                </a14:hiddenFill>
              </a:ext>
            </a:extLst>
          </p:spPr>
        </p:pic>
        <p:pic>
          <p:nvPicPr>
            <p:cNvPr id="3084" name="Picture 12" descr="http://www.ministerioselim.net/storage/thumbnails/tv%20vector%20icon.png"/>
            <p:cNvPicPr>
              <a:picLocks noChangeAspect="1" noChangeArrowheads="1"/>
            </p:cNvPicPr>
            <p:nvPr/>
          </p:nvPicPr>
          <p:blipFill>
            <a:blip r:embed="rId9" cstate="print">
              <a:extLst>
                <a:ext uri="{28A0092B-C50C-407E-A947-70E740481C1C}">
                  <a14:useLocalDpi xmlns:a14="http://schemas.microsoft.com/office/drawing/2010/main" xmlns="" val="0"/>
                </a:ext>
              </a:extLst>
            </a:blip>
            <a:srcRect/>
            <a:stretch>
              <a:fillRect/>
            </a:stretch>
          </p:blipFill>
          <p:spPr bwMode="auto">
            <a:xfrm>
              <a:off x="5043731" y="2448255"/>
              <a:ext cx="640713" cy="495097"/>
            </a:xfrm>
            <a:prstGeom prst="rect">
              <a:avLst/>
            </a:prstGeom>
            <a:noFill/>
            <a:extLst>
              <a:ext uri="{909E8E84-426E-40DD-AFC4-6F175D3DCCD1}">
                <a14:hiddenFill xmlns:a14="http://schemas.microsoft.com/office/drawing/2010/main" xmlns="">
                  <a:solidFill>
                    <a:srgbClr val="FFFFFF"/>
                  </a:solidFill>
                </a14:hiddenFill>
              </a:ext>
            </a:extLst>
          </p:spPr>
        </p:pic>
        <p:pic>
          <p:nvPicPr>
            <p:cNvPr id="3086" name="Picture 14" descr="http://cdn.mysitemyway.com/etc-mysitemyway/icons/legacy-previews/icons-256/3d-glossy-blue-orbs-icons-transport-travel/036391-3d-glossy-blue-orb-icon-transport-travel-transportation-train4.png"/>
            <p:cNvPicPr>
              <a:picLocks noChangeAspect="1" noChangeArrowheads="1"/>
            </p:cNvPicPr>
            <p:nvPr/>
          </p:nvPicPr>
          <p:blipFill>
            <a:blip r:embed="rId10" cstate="print">
              <a:extLst>
                <a:ext uri="{28A0092B-C50C-407E-A947-70E740481C1C}">
                  <a14:useLocalDpi xmlns:a14="http://schemas.microsoft.com/office/drawing/2010/main" xmlns="" val="0"/>
                </a:ext>
              </a:extLst>
            </a:blip>
            <a:srcRect/>
            <a:stretch>
              <a:fillRect/>
            </a:stretch>
          </p:blipFill>
          <p:spPr bwMode="auto">
            <a:xfrm>
              <a:off x="6874145" y="2259576"/>
              <a:ext cx="811584" cy="811584"/>
            </a:xfrm>
            <a:prstGeom prst="rect">
              <a:avLst/>
            </a:prstGeom>
            <a:noFill/>
            <a:extLst>
              <a:ext uri="{909E8E84-426E-40DD-AFC4-6F175D3DCCD1}">
                <a14:hiddenFill xmlns:a14="http://schemas.microsoft.com/office/drawing/2010/main" xmlns="">
                  <a:solidFill>
                    <a:srgbClr val="FFFFFF"/>
                  </a:solidFill>
                </a14:hiddenFill>
              </a:ext>
            </a:extLst>
          </p:spPr>
        </p:pic>
        <p:pic>
          <p:nvPicPr>
            <p:cNvPr id="3088" name="Picture 16" descr="http://nurburgringdrivers.com/wp-content/uploads/2012/04/129970-simple-red-square-icon-transport-travel-transportation-airplane3-300x300.png"/>
            <p:cNvPicPr>
              <a:picLocks noChangeAspect="1" noChangeArrowheads="1"/>
            </p:cNvPicPr>
            <p:nvPr/>
          </p:nvPicPr>
          <p:blipFill>
            <a:blip r:embed="rId11" cstate="print">
              <a:duotone>
                <a:schemeClr val="accent1">
                  <a:shade val="45000"/>
                  <a:satMod val="135000"/>
                </a:schemeClr>
                <a:prstClr val="white"/>
              </a:duotone>
              <a:extLst>
                <a:ext uri="{28A0092B-C50C-407E-A947-70E740481C1C}">
                  <a14:useLocalDpi xmlns:a14="http://schemas.microsoft.com/office/drawing/2010/main" xmlns="" val="0"/>
                </a:ext>
              </a:extLst>
            </a:blip>
            <a:srcRect/>
            <a:stretch>
              <a:fillRect/>
            </a:stretch>
          </p:blipFill>
          <p:spPr bwMode="auto">
            <a:xfrm flipH="1">
              <a:off x="7497707" y="2375294"/>
              <a:ext cx="562862" cy="642766"/>
            </a:xfrm>
            <a:prstGeom prst="rect">
              <a:avLst/>
            </a:prstGeom>
            <a:noFill/>
            <a:extLst>
              <a:ext uri="{909E8E84-426E-40DD-AFC4-6F175D3DCCD1}">
                <a14:hiddenFill xmlns:a14="http://schemas.microsoft.com/office/drawing/2010/main" xmlns="">
                  <a:solidFill>
                    <a:srgbClr val="FFFFFF"/>
                  </a:solidFill>
                </a14:hiddenFill>
              </a:ext>
            </a:extLst>
          </p:spPr>
        </p:pic>
        <p:pic>
          <p:nvPicPr>
            <p:cNvPr id="3090" name="Picture 18" descr="http://whalewatchcabo.com/wp-content/uploads/Boat-Icon.jpg"/>
            <p:cNvPicPr>
              <a:picLocks noChangeAspect="1" noChangeArrowheads="1"/>
            </p:cNvPicPr>
            <p:nvPr/>
          </p:nvPicPr>
          <p:blipFill>
            <a:blip r:embed="rId12" cstate="print">
              <a:duotone>
                <a:schemeClr val="accent5">
                  <a:shade val="45000"/>
                  <a:satMod val="135000"/>
                </a:schemeClr>
                <a:prstClr val="white"/>
              </a:duotone>
              <a:extLst>
                <a:ext uri="{BEBA8EAE-BF5A-486C-A8C5-ECC9F3942E4B}">
                  <a14:imgProps xmlns:a14="http://schemas.microsoft.com/office/drawing/2010/main" xmlns="">
                    <a14:imgLayer r:embed="rId13">
                      <a14:imgEffect>
                        <a14:backgroundRemoval t="0" b="100000" l="0" r="100000">
                          <a14:foregroundMark x1="52500" y1="28333" x2="52500" y2="28333"/>
                          <a14:foregroundMark x1="60000" y1="30000" x2="60000" y2="30000"/>
                          <a14:foregroundMark x1="58333" y1="50000" x2="58333" y2="50000"/>
                          <a14:foregroundMark x1="49167" y1="39167" x2="49167" y2="39167"/>
                          <a14:foregroundMark x1="32500" y1="34167" x2="32500" y2="34167"/>
                          <a14:foregroundMark x1="42500" y1="49167" x2="42500" y2="49167"/>
                          <a14:foregroundMark x1="34167" y1="47500" x2="34167" y2="47500"/>
                          <a14:foregroundMark x1="44167" y1="41667" x2="44167" y2="41667"/>
                          <a14:foregroundMark x1="64167" y1="44167" x2="64167" y2="44167"/>
                          <a14:foregroundMark x1="59167" y1="65833" x2="59167" y2="65833"/>
                          <a14:foregroundMark x1="53333" y1="66667" x2="53333" y2="66667"/>
                          <a14:foregroundMark x1="44167" y1="67500" x2="44167" y2="67500"/>
                          <a14:foregroundMark x1="38333" y1="66667" x2="38333" y2="66667"/>
                          <a14:foregroundMark x1="30833" y1="66667" x2="30833" y2="66667"/>
                          <a14:foregroundMark x1="65833" y1="67500" x2="65833" y2="67500"/>
                          <a14:foregroundMark x1="65000" y1="58333" x2="65000" y2="58333"/>
                        </a14:backgroundRemoval>
                      </a14:imgEffect>
                      <a14:imgEffect>
                        <a14:colorTemperature colorTemp="5300"/>
                      </a14:imgEffect>
                    </a14:imgLayer>
                  </a14:imgProps>
                </a:ext>
                <a:ext uri="{28A0092B-C50C-407E-A947-70E740481C1C}">
                  <a14:useLocalDpi xmlns:a14="http://schemas.microsoft.com/office/drawing/2010/main" xmlns="" val="0"/>
                </a:ext>
              </a:extLst>
            </a:blip>
            <a:srcRect/>
            <a:stretch>
              <a:fillRect/>
            </a:stretch>
          </p:blipFill>
          <p:spPr bwMode="auto">
            <a:xfrm>
              <a:off x="8018108" y="2461912"/>
              <a:ext cx="467780" cy="467781"/>
            </a:xfrm>
            <a:prstGeom prst="rect">
              <a:avLst/>
            </a:prstGeom>
            <a:noFill/>
            <a:extLst>
              <a:ext uri="{909E8E84-426E-40DD-AFC4-6F175D3DCCD1}">
                <a14:hiddenFill xmlns:a14="http://schemas.microsoft.com/office/drawing/2010/main" xmlns="">
                  <a:solidFill>
                    <a:srgbClr val="FFFFFF"/>
                  </a:solidFill>
                </a14:hiddenFill>
              </a:ext>
            </a:extLst>
          </p:spPr>
        </p:pic>
      </p:grpSp>
      <p:grpSp>
        <p:nvGrpSpPr>
          <p:cNvPr id="92" name="Group 91"/>
          <p:cNvGrpSpPr/>
          <p:nvPr/>
        </p:nvGrpSpPr>
        <p:grpSpPr>
          <a:xfrm>
            <a:off x="311211" y="416033"/>
            <a:ext cx="9068417" cy="1430595"/>
            <a:chOff x="311209" y="447884"/>
            <a:chExt cx="9068417" cy="1430595"/>
          </a:xfrm>
        </p:grpSpPr>
        <p:sp>
          <p:nvSpPr>
            <p:cNvPr id="62" name="TextBox 61"/>
            <p:cNvSpPr txBox="1"/>
            <p:nvPr/>
          </p:nvSpPr>
          <p:spPr>
            <a:xfrm>
              <a:off x="6166462" y="1414249"/>
              <a:ext cx="2726018" cy="464230"/>
            </a:xfrm>
            <a:prstGeom prst="rect">
              <a:avLst/>
            </a:prstGeom>
            <a:noFill/>
          </p:spPr>
          <p:txBody>
            <a:bodyPr wrap="square" rtlCol="0">
              <a:spAutoFit/>
            </a:bodyPr>
            <a:lstStyle/>
            <a:p>
              <a:pPr algn="ctr">
                <a:lnSpc>
                  <a:spcPts val="2900"/>
                </a:lnSpc>
              </a:pPr>
              <a:r>
                <a:rPr lang="en-US" sz="2000" dirty="0">
                  <a:solidFill>
                    <a:prstClr val="black"/>
                  </a:solidFill>
                </a:rPr>
                <a:t>GNI per capita</a:t>
              </a:r>
              <a:endParaRPr lang="th-TH" sz="2000" b="1" dirty="0">
                <a:solidFill>
                  <a:prstClr val="black"/>
                </a:solidFill>
                <a:latin typeface="TH Chakra Petch" pitchFamily="2" charset="-34"/>
                <a:cs typeface="TH Chakra Petch" pitchFamily="2" charset="-34"/>
              </a:endParaRPr>
            </a:p>
          </p:txBody>
        </p:sp>
        <p:sp>
          <p:nvSpPr>
            <p:cNvPr id="63" name="TextBox 62"/>
            <p:cNvSpPr txBox="1"/>
            <p:nvPr/>
          </p:nvSpPr>
          <p:spPr>
            <a:xfrm>
              <a:off x="5960611" y="1288857"/>
              <a:ext cx="3143501" cy="259045"/>
            </a:xfrm>
            <a:prstGeom prst="rect">
              <a:avLst/>
            </a:prstGeom>
            <a:noFill/>
          </p:spPr>
          <p:txBody>
            <a:bodyPr wrap="square" rtlCol="0">
              <a:spAutoFit/>
            </a:bodyPr>
            <a:lstStyle/>
            <a:p>
              <a:pPr algn="ctr">
                <a:lnSpc>
                  <a:spcPts val="1300"/>
                </a:lnSpc>
                <a:spcBef>
                  <a:spcPts val="300"/>
                </a:spcBef>
                <a:spcAft>
                  <a:spcPts val="300"/>
                </a:spcAft>
                <a:tabLst>
                  <a:tab pos="182563" algn="l"/>
                </a:tabLst>
              </a:pPr>
              <a:r>
                <a:rPr lang="th-TH" sz="2000" b="1" dirty="0">
                  <a:solidFill>
                    <a:srgbClr val="C00000"/>
                  </a:solidFill>
                  <a:latin typeface="TH SarabunPSK" pitchFamily="34" charset="-34"/>
                  <a:cs typeface="TH SarabunPSK" pitchFamily="34" charset="-34"/>
                </a:rPr>
                <a:t>301,199 </a:t>
              </a:r>
              <a:r>
                <a:rPr lang="th-TH" sz="2000" b="1" dirty="0" smtClean="0">
                  <a:solidFill>
                    <a:srgbClr val="C00000"/>
                  </a:solidFill>
                  <a:latin typeface="TH SarabunPSK" pitchFamily="34" charset="-34"/>
                  <a:cs typeface="TH SarabunPSK" pitchFamily="34" charset="-34"/>
                </a:rPr>
                <a:t>บาท (8,859 </a:t>
              </a:r>
              <a:r>
                <a:rPr lang="th-TH" sz="2000" b="1" dirty="0">
                  <a:solidFill>
                    <a:srgbClr val="C00000"/>
                  </a:solidFill>
                  <a:latin typeface="TH SarabunPSK" pitchFamily="34" charset="-34"/>
                  <a:cs typeface="TH SarabunPSK" pitchFamily="34" charset="-34"/>
                </a:rPr>
                <a:t>ดอลลาร์ สรอ.) </a:t>
              </a:r>
              <a:endParaRPr lang="en-US" sz="2000" b="1" dirty="0">
                <a:solidFill>
                  <a:srgbClr val="C00000"/>
                </a:solidFill>
                <a:latin typeface="TH SarabunPSK" pitchFamily="34" charset="-34"/>
                <a:cs typeface="TH SarabunPSK" pitchFamily="34" charset="-34"/>
              </a:endParaRPr>
            </a:p>
          </p:txBody>
        </p:sp>
        <p:sp>
          <p:nvSpPr>
            <p:cNvPr id="65" name="TextBox 64"/>
            <p:cNvSpPr txBox="1"/>
            <p:nvPr/>
          </p:nvSpPr>
          <p:spPr>
            <a:xfrm>
              <a:off x="1619054" y="447884"/>
              <a:ext cx="2088232" cy="502702"/>
            </a:xfrm>
            <a:prstGeom prst="rect">
              <a:avLst/>
            </a:prstGeom>
            <a:noFill/>
          </p:spPr>
          <p:txBody>
            <a:bodyPr wrap="square" rtlCol="0">
              <a:spAutoFit/>
            </a:bodyPr>
            <a:lstStyle/>
            <a:p>
              <a:pPr algn="thaiDist">
                <a:lnSpc>
                  <a:spcPts val="1300"/>
                </a:lnSpc>
                <a:spcBef>
                  <a:spcPts val="300"/>
                </a:spcBef>
                <a:spcAft>
                  <a:spcPts val="300"/>
                </a:spcAft>
                <a:tabLst>
                  <a:tab pos="182563" algn="l"/>
                </a:tabLst>
              </a:pPr>
              <a:endParaRPr lang="th-TH" b="1" dirty="0" smtClean="0">
                <a:solidFill>
                  <a:srgbClr val="FF0000"/>
                </a:solidFill>
                <a:latin typeface="TH SarabunPSK" pitchFamily="34" charset="-34"/>
                <a:cs typeface="TH SarabunPSK" pitchFamily="34" charset="-34"/>
              </a:endParaRPr>
            </a:p>
            <a:p>
              <a:pPr algn="thaiDist">
                <a:lnSpc>
                  <a:spcPts val="1300"/>
                </a:lnSpc>
                <a:spcBef>
                  <a:spcPts val="300"/>
                </a:spcBef>
                <a:spcAft>
                  <a:spcPts val="300"/>
                </a:spcAft>
                <a:tabLst>
                  <a:tab pos="182563" algn="l"/>
                </a:tabLst>
              </a:pPr>
              <a:r>
                <a:rPr lang="th-TH" b="1" dirty="0" smtClean="0">
                  <a:solidFill>
                    <a:srgbClr val="FF0000"/>
                  </a:solidFill>
                  <a:latin typeface="TH SarabunPSK" pitchFamily="34" charset="-34"/>
                  <a:cs typeface="TH SarabunPSK" pitchFamily="34" charset="-34"/>
                </a:rPr>
                <a:t>  ร้อยละ 5</a:t>
              </a:r>
              <a:r>
                <a:rPr lang="en-US" b="1" dirty="0" smtClean="0">
                  <a:solidFill>
                    <a:srgbClr val="FF0000"/>
                  </a:solidFill>
                  <a:latin typeface="TH SarabunPSK" pitchFamily="34" charset="-34"/>
                  <a:cs typeface="TH SarabunPSK" pitchFamily="34" charset="-34"/>
                </a:rPr>
                <a:t>.0</a:t>
              </a:r>
              <a:endParaRPr lang="en-US" b="1" dirty="0">
                <a:solidFill>
                  <a:srgbClr val="FF0000"/>
                </a:solidFill>
                <a:latin typeface="TH SarabunPSK" pitchFamily="34" charset="-34"/>
                <a:cs typeface="TH SarabunPSK" pitchFamily="34" charset="-34"/>
              </a:endParaRPr>
            </a:p>
          </p:txBody>
        </p:sp>
        <p:sp>
          <p:nvSpPr>
            <p:cNvPr id="58" name="TextBox 57"/>
            <p:cNvSpPr txBox="1"/>
            <p:nvPr/>
          </p:nvSpPr>
          <p:spPr>
            <a:xfrm>
              <a:off x="6255863" y="728971"/>
              <a:ext cx="2726018" cy="464230"/>
            </a:xfrm>
            <a:prstGeom prst="rect">
              <a:avLst/>
            </a:prstGeom>
            <a:noFill/>
          </p:spPr>
          <p:txBody>
            <a:bodyPr wrap="square" rtlCol="0">
              <a:spAutoFit/>
            </a:bodyPr>
            <a:lstStyle/>
            <a:p>
              <a:pPr algn="ctr">
                <a:lnSpc>
                  <a:spcPts val="2900"/>
                </a:lnSpc>
              </a:pPr>
              <a:r>
                <a:rPr lang="en-US" sz="2000" dirty="0">
                  <a:solidFill>
                    <a:prstClr val="black"/>
                  </a:solidFill>
                </a:rPr>
                <a:t>GDP per </a:t>
              </a:r>
              <a:r>
                <a:rPr lang="en-US" sz="2000" dirty="0" smtClean="0">
                  <a:solidFill>
                    <a:prstClr val="black"/>
                  </a:solidFill>
                </a:rPr>
                <a:t>capita</a:t>
              </a:r>
              <a:r>
                <a:rPr lang="th-TH" sz="2000" dirty="0" smtClean="0">
                  <a:solidFill>
                    <a:prstClr val="black"/>
                  </a:solidFill>
                </a:rPr>
                <a:t> </a:t>
              </a:r>
              <a:endParaRPr lang="th-TH" sz="2000" b="1" dirty="0">
                <a:solidFill>
                  <a:prstClr val="black"/>
                </a:solidFill>
                <a:latin typeface="TH Chakra Petch" pitchFamily="2" charset="-34"/>
                <a:cs typeface="TH Chakra Petch" pitchFamily="2" charset="-34"/>
              </a:endParaRPr>
            </a:p>
          </p:txBody>
        </p:sp>
        <p:sp>
          <p:nvSpPr>
            <p:cNvPr id="59" name="TextBox 58"/>
            <p:cNvSpPr txBox="1"/>
            <p:nvPr/>
          </p:nvSpPr>
          <p:spPr>
            <a:xfrm>
              <a:off x="5747338" y="656765"/>
              <a:ext cx="3632288" cy="259045"/>
            </a:xfrm>
            <a:prstGeom prst="rect">
              <a:avLst/>
            </a:prstGeom>
            <a:noFill/>
          </p:spPr>
          <p:txBody>
            <a:bodyPr wrap="square" rtlCol="0">
              <a:spAutoFit/>
            </a:bodyPr>
            <a:lstStyle/>
            <a:p>
              <a:pPr algn="ctr">
                <a:lnSpc>
                  <a:spcPts val="1300"/>
                </a:lnSpc>
                <a:spcBef>
                  <a:spcPts val="300"/>
                </a:spcBef>
                <a:spcAft>
                  <a:spcPts val="300"/>
                </a:spcAft>
                <a:tabLst>
                  <a:tab pos="182563" algn="l"/>
                </a:tabLst>
              </a:pPr>
              <a:r>
                <a:rPr lang="th-TH" sz="2000" b="1" dirty="0">
                  <a:solidFill>
                    <a:srgbClr val="C00000"/>
                  </a:solidFill>
                  <a:latin typeface="TH SarabunPSK" pitchFamily="34" charset="-34"/>
                  <a:cs typeface="TH SarabunPSK" pitchFamily="34" charset="-34"/>
                </a:rPr>
                <a:t>317,051 บาท  </a:t>
              </a:r>
              <a:r>
                <a:rPr lang="th-TH" sz="2000" b="1" dirty="0" smtClean="0">
                  <a:solidFill>
                    <a:srgbClr val="C00000"/>
                  </a:solidFill>
                  <a:latin typeface="TH SarabunPSK" pitchFamily="34" charset="-34"/>
                  <a:cs typeface="TH SarabunPSK" pitchFamily="34" charset="-34"/>
                </a:rPr>
                <a:t>(</a:t>
              </a:r>
              <a:r>
                <a:rPr lang="th-TH" sz="2000" b="1" dirty="0">
                  <a:solidFill>
                    <a:srgbClr val="C00000"/>
                  </a:solidFill>
                  <a:latin typeface="TH SarabunPSK" pitchFamily="34" charset="-34"/>
                  <a:cs typeface="TH SarabunPSK" pitchFamily="34" charset="-34"/>
                </a:rPr>
                <a:t>9,325 ดอลลาร์ สรอ.)</a:t>
              </a:r>
              <a:endParaRPr lang="en-US" sz="2000" b="1" dirty="0">
                <a:solidFill>
                  <a:srgbClr val="C00000"/>
                </a:solidFill>
                <a:latin typeface="TH SarabunPSK" pitchFamily="34" charset="-34"/>
                <a:cs typeface="TH SarabunPSK" pitchFamily="34" charset="-34"/>
              </a:endParaRPr>
            </a:p>
          </p:txBody>
        </p:sp>
        <p:sp>
          <p:nvSpPr>
            <p:cNvPr id="69" name="Rectangle 68"/>
            <p:cNvSpPr>
              <a:spLocks noChangeArrowheads="1"/>
            </p:cNvSpPr>
            <p:nvPr/>
          </p:nvSpPr>
          <p:spPr bwMode="auto">
            <a:xfrm flipH="1">
              <a:off x="311209" y="1261438"/>
              <a:ext cx="1572600" cy="475130"/>
            </a:xfrm>
            <a:prstGeom prst="rect">
              <a:avLst/>
            </a:prstGeom>
            <a:noFill/>
            <a:ln w="9525">
              <a:noFill/>
              <a:miter lim="800000"/>
              <a:headEnd/>
              <a:tailEnd/>
            </a:ln>
          </p:spPr>
          <p:txBody>
            <a:bodyPr wrap="square">
              <a:spAutoFit/>
            </a:bodyPr>
            <a:lstStyle/>
            <a:p>
              <a:pPr algn="thaiDist">
                <a:lnSpc>
                  <a:spcPts val="3500"/>
                </a:lnSpc>
                <a:spcBef>
                  <a:spcPts val="600"/>
                </a:spcBef>
                <a:spcAft>
                  <a:spcPts val="600"/>
                </a:spcAft>
                <a:defRPr/>
              </a:pPr>
              <a:r>
                <a:rPr lang="th-TH" sz="1200" b="1" dirty="0">
                  <a:solidFill>
                    <a:prstClr val="black"/>
                  </a:solidFill>
                  <a:latin typeface="TH Chakra Petch" pitchFamily="2" charset="-34"/>
                  <a:cs typeface="TH Chakra Petch" pitchFamily="2" charset="-34"/>
                </a:rPr>
                <a:t>เป้าหมาย แผนฯ 12</a:t>
              </a:r>
              <a:endParaRPr lang="th-TH" sz="1200" b="1" dirty="0" smtClean="0">
                <a:solidFill>
                  <a:srgbClr val="F79646">
                    <a:lumMod val="75000"/>
                  </a:srgbClr>
                </a:solidFill>
                <a:latin typeface="TH SarabunPSK" pitchFamily="34" charset="-34"/>
                <a:ea typeface="Tahoma" pitchFamily="34" charset="0"/>
                <a:cs typeface="TH SarabunPSK" pitchFamily="34" charset="-34"/>
              </a:endParaRPr>
            </a:p>
          </p:txBody>
        </p:sp>
        <p:pic>
          <p:nvPicPr>
            <p:cNvPr id="3074" name="Picture 2" descr="http://www.boscoloromania.ro/new/public_html/uploads/economic-growth-trans-BG.png"/>
            <p:cNvPicPr>
              <a:picLocks noChangeAspect="1" noChangeArrowheads="1"/>
            </p:cNvPicPr>
            <p:nvPr/>
          </p:nvPicPr>
          <p:blipFill>
            <a:blip r:embed="rId14" cstate="print">
              <a:extLst>
                <a:ext uri="{28A0092B-C50C-407E-A947-70E740481C1C}">
                  <a14:useLocalDpi xmlns:a14="http://schemas.microsoft.com/office/drawing/2010/main" xmlns="" val="0"/>
                </a:ext>
              </a:extLst>
            </a:blip>
            <a:srcRect/>
            <a:stretch>
              <a:fillRect/>
            </a:stretch>
          </p:blipFill>
          <p:spPr bwMode="auto">
            <a:xfrm>
              <a:off x="1121527" y="880937"/>
              <a:ext cx="1290233" cy="626537"/>
            </a:xfrm>
            <a:prstGeom prst="rect">
              <a:avLst/>
            </a:prstGeom>
            <a:noFill/>
            <a:extLst>
              <a:ext uri="{909E8E84-426E-40DD-AFC4-6F175D3DCCD1}">
                <a14:hiddenFill xmlns:a14="http://schemas.microsoft.com/office/drawing/2010/main" xmlns="">
                  <a:solidFill>
                    <a:srgbClr val="FFFFFF"/>
                  </a:solidFill>
                </a14:hiddenFill>
              </a:ext>
            </a:extLst>
          </p:spPr>
        </p:pic>
        <p:sp>
          <p:nvSpPr>
            <p:cNvPr id="72" name="AutoShape 18"/>
            <p:cNvSpPr>
              <a:spLocks noChangeArrowheads="1"/>
            </p:cNvSpPr>
            <p:nvPr/>
          </p:nvSpPr>
          <p:spPr bwMode="auto">
            <a:xfrm rot="16200000" flipV="1">
              <a:off x="5579999" y="1178997"/>
              <a:ext cx="761224" cy="119470"/>
            </a:xfrm>
            <a:prstGeom prst="triangle">
              <a:avLst>
                <a:gd name="adj" fmla="val 48579"/>
              </a:avLst>
            </a:prstGeom>
            <a:solidFill>
              <a:schemeClr val="bg1">
                <a:lumMod val="65000"/>
              </a:schemeClr>
            </a:solidFill>
            <a:ln w="9525">
              <a:noFill/>
              <a:miter lim="800000"/>
              <a:headEnd/>
              <a:tailEnd/>
            </a:ln>
            <a:effectLst/>
          </p:spPr>
          <p:txBody>
            <a:bodyPr wrap="none" anchor="ctr"/>
            <a:lstStyle/>
            <a:p>
              <a:pPr>
                <a:defRPr/>
              </a:pPr>
              <a:endParaRPr lang="th-TH" sz="3600">
                <a:solidFill>
                  <a:prstClr val="black"/>
                </a:solidFill>
                <a:latin typeface="TH SarabunPSK" pitchFamily="34" charset="-34"/>
                <a:cs typeface="TH SarabunPSK" pitchFamily="34" charset="-34"/>
              </a:endParaRPr>
            </a:p>
          </p:txBody>
        </p:sp>
        <p:pic>
          <p:nvPicPr>
            <p:cNvPr id="3092" name="Picture 20" descr="http://blog.gotoicon.com/wp-content/uploads/2012/06/UP-red-business-graph-UP.jpg"/>
            <p:cNvPicPr>
              <a:picLocks noChangeAspect="1" noChangeArrowheads="1"/>
            </p:cNvPicPr>
            <p:nvPr/>
          </p:nvPicPr>
          <p:blipFill>
            <a:blip r:embed="rId15" cstate="print">
              <a:extLst>
                <a:ext uri="{28A0092B-C50C-407E-A947-70E740481C1C}">
                  <a14:useLocalDpi xmlns:a14="http://schemas.microsoft.com/office/drawing/2010/main" xmlns="" val="0"/>
                </a:ext>
              </a:extLst>
            </a:blip>
            <a:srcRect/>
            <a:stretch>
              <a:fillRect/>
            </a:stretch>
          </p:blipFill>
          <p:spPr bwMode="auto">
            <a:xfrm>
              <a:off x="3084378" y="596874"/>
              <a:ext cx="2523019" cy="1139405"/>
            </a:xfrm>
            <a:prstGeom prst="rect">
              <a:avLst/>
            </a:prstGeom>
            <a:noFill/>
            <a:extLst>
              <a:ext uri="{909E8E84-426E-40DD-AFC4-6F175D3DCCD1}">
                <a14:hiddenFill xmlns:a14="http://schemas.microsoft.com/office/drawing/2010/main" xmlns="">
                  <a:solidFill>
                    <a:srgbClr val="FFFFFF"/>
                  </a:solidFill>
                </a14:hiddenFill>
              </a:ext>
            </a:extLst>
          </p:spPr>
        </p:pic>
        <p:sp>
          <p:nvSpPr>
            <p:cNvPr id="71" name="AutoShape 18"/>
            <p:cNvSpPr>
              <a:spLocks noChangeArrowheads="1"/>
            </p:cNvSpPr>
            <p:nvPr/>
          </p:nvSpPr>
          <p:spPr bwMode="auto">
            <a:xfrm rot="16200000" flipV="1">
              <a:off x="2666947" y="1236686"/>
              <a:ext cx="761224" cy="119470"/>
            </a:xfrm>
            <a:prstGeom prst="triangle">
              <a:avLst>
                <a:gd name="adj" fmla="val 48579"/>
              </a:avLst>
            </a:prstGeom>
            <a:solidFill>
              <a:schemeClr val="bg1">
                <a:lumMod val="65000"/>
              </a:schemeClr>
            </a:solidFill>
            <a:ln w="9525">
              <a:noFill/>
              <a:miter lim="800000"/>
              <a:headEnd/>
              <a:tailEnd/>
            </a:ln>
            <a:effectLst/>
          </p:spPr>
          <p:txBody>
            <a:bodyPr wrap="none" anchor="ctr"/>
            <a:lstStyle/>
            <a:p>
              <a:pPr>
                <a:defRPr/>
              </a:pPr>
              <a:endParaRPr lang="th-TH" sz="3600">
                <a:solidFill>
                  <a:prstClr val="black"/>
                </a:solidFill>
                <a:latin typeface="TH SarabunPSK" pitchFamily="34" charset="-34"/>
                <a:cs typeface="TH SarabunPSK" pitchFamily="34" charset="-34"/>
              </a:endParaRPr>
            </a:p>
          </p:txBody>
        </p:sp>
      </p:grpSp>
    </p:spTree>
    <p:extLst>
      <p:ext uri="{BB962C8B-B14F-4D97-AF65-F5344CB8AC3E}">
        <p14:creationId xmlns:p14="http://schemas.microsoft.com/office/powerpoint/2010/main" xmlns="" val="418914320"/>
      </p:ext>
    </p:extLst>
  </p:cSld>
  <p:clrMapOvr>
    <a:masterClrMapping/>
  </p:clrMapOvr>
  <p:transition>
    <p:fade thruBlk="1"/>
  </p:transition>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2052" name="Picture 4" descr="IMT-GT Economic Corridor"/>
          <p:cNvPicPr>
            <a:picLocks noChangeAspect="1" noChangeArrowheads="1"/>
          </p:cNvPicPr>
          <p:nvPr/>
        </p:nvPicPr>
        <p:blipFill>
          <a:blip r:embed="rId2">
            <a:extLst>
              <a:ext uri="{28A0092B-C50C-407E-A947-70E740481C1C}">
                <a14:useLocalDpi xmlns:a14="http://schemas.microsoft.com/office/drawing/2010/main" xmlns="" val="0"/>
              </a:ext>
            </a:extLst>
          </a:blip>
          <a:srcRect l="8940" t="14496" r="11826" b="10133"/>
          <a:stretch>
            <a:fillRect/>
          </a:stretch>
        </p:blipFill>
        <p:spPr bwMode="auto">
          <a:xfrm>
            <a:off x="306918" y="87475"/>
            <a:ext cx="8566149" cy="4778276"/>
          </a:xfrm>
          <a:prstGeom prst="rect">
            <a:avLst/>
          </a:prstGeom>
          <a:noFill/>
          <a:extLst>
            <a:ext uri="{909E8E84-426E-40DD-AFC4-6F175D3DCCD1}">
              <a14:hiddenFill xmlns:a14="http://schemas.microsoft.com/office/drawing/2010/main" xmlns="">
                <a:solidFill>
                  <a:srgbClr val="FFFFFF"/>
                </a:solidFill>
              </a14:hiddenFill>
            </a:ext>
          </a:extLst>
        </p:spPr>
      </p:pic>
      <p:sp>
        <p:nvSpPr>
          <p:cNvPr id="2062" name="Rectangle 14"/>
          <p:cNvSpPr>
            <a:spLocks noChangeArrowheads="1"/>
          </p:cNvSpPr>
          <p:nvPr/>
        </p:nvSpPr>
        <p:spPr bwMode="auto">
          <a:xfrm>
            <a:off x="359835" y="3417355"/>
            <a:ext cx="3001433" cy="1435894"/>
          </a:xfrm>
          <a:prstGeom prst="rect">
            <a:avLst/>
          </a:prstGeom>
          <a:solidFill>
            <a:srgbClr val="CCFFFF"/>
          </a:solidFill>
          <a:ln w="9525">
            <a:solidFill>
              <a:schemeClr val="tx1"/>
            </a:solidFill>
            <a:miter lim="800000"/>
            <a:headEnd/>
            <a:tailEnd/>
          </a:ln>
          <a:effectLst>
            <a:outerShdw dist="107763" dir="2700000" algn="ctr" rotWithShape="0">
              <a:schemeClr val="bg2">
                <a:alpha val="50000"/>
              </a:schemeClr>
            </a:outerShdw>
          </a:effectLst>
        </p:spPr>
        <p:txBody>
          <a:bodyPr wrap="none" anchor="ctr"/>
          <a:lstStyle/>
          <a:p>
            <a:endParaRPr lang="en-US" sz="2400"/>
          </a:p>
        </p:txBody>
      </p:sp>
      <p:sp>
        <p:nvSpPr>
          <p:cNvPr id="2063" name="Text Box 15"/>
          <p:cNvSpPr txBox="1">
            <a:spLocks noChangeArrowheads="1"/>
          </p:cNvSpPr>
          <p:nvPr/>
        </p:nvSpPr>
        <p:spPr bwMode="auto">
          <a:xfrm>
            <a:off x="277285" y="3421820"/>
            <a:ext cx="3158067" cy="27699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spAutoFit/>
          </a:bodyPr>
          <a:lstStyle/>
          <a:p>
            <a:r>
              <a:rPr lang="en-US" sz="1200" dirty="0">
                <a:effectLst>
                  <a:outerShdw blurRad="38100" dist="38100" dir="2700000" algn="tl">
                    <a:srgbClr val="C0C0C0"/>
                  </a:outerShdw>
                </a:effectLst>
                <a:latin typeface="Impact" pitchFamily="34" charset="0"/>
                <a:cs typeface="Tahoma" pitchFamily="34" charset="0"/>
              </a:rPr>
              <a:t>IMT-GT Connectivity Corridors</a:t>
            </a:r>
            <a:endParaRPr lang="th-TH" sz="1200" dirty="0">
              <a:effectLst>
                <a:outerShdw blurRad="38100" dist="38100" dir="2700000" algn="tl">
                  <a:srgbClr val="C0C0C0"/>
                </a:outerShdw>
              </a:effectLst>
              <a:latin typeface="Impact" pitchFamily="34" charset="0"/>
              <a:cs typeface="Tahoma" pitchFamily="34" charset="0"/>
            </a:endParaRPr>
          </a:p>
        </p:txBody>
      </p:sp>
      <p:grpSp>
        <p:nvGrpSpPr>
          <p:cNvPr id="2" name="Group 42"/>
          <p:cNvGrpSpPr>
            <a:grpSpLocks/>
          </p:cNvGrpSpPr>
          <p:nvPr/>
        </p:nvGrpSpPr>
        <p:grpSpPr bwMode="auto">
          <a:xfrm>
            <a:off x="421219" y="3603980"/>
            <a:ext cx="2163234" cy="431303"/>
            <a:chOff x="199" y="4186"/>
            <a:chExt cx="1022" cy="483"/>
          </a:xfrm>
        </p:grpSpPr>
        <p:sp>
          <p:nvSpPr>
            <p:cNvPr id="2064" name="Line 16"/>
            <p:cNvSpPr>
              <a:spLocks noChangeShapeType="1"/>
            </p:cNvSpPr>
            <p:nvPr/>
          </p:nvSpPr>
          <p:spPr bwMode="auto">
            <a:xfrm>
              <a:off x="199" y="4315"/>
              <a:ext cx="288" cy="0"/>
            </a:xfrm>
            <a:prstGeom prst="line">
              <a:avLst/>
            </a:prstGeom>
            <a:noFill/>
            <a:ln w="165100">
              <a:solidFill>
                <a:srgbClr val="0000FF">
                  <a:alpha val="39999"/>
                </a:srgbClr>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endParaRPr lang="en-US" sz="2400"/>
            </a:p>
          </p:txBody>
        </p:sp>
        <p:sp>
          <p:nvSpPr>
            <p:cNvPr id="2065" name="Text Box 17"/>
            <p:cNvSpPr txBox="1">
              <a:spLocks noChangeArrowheads="1"/>
            </p:cNvSpPr>
            <p:nvPr/>
          </p:nvSpPr>
          <p:spPr bwMode="auto">
            <a:xfrm>
              <a:off x="461" y="4186"/>
              <a:ext cx="760" cy="483"/>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spAutoFit/>
            </a:bodyPr>
            <a:lstStyle/>
            <a:p>
              <a:r>
                <a:rPr lang="en-US" sz="1100" b="1" dirty="0">
                  <a:latin typeface="Tahoma" pitchFamily="34" charset="0"/>
                  <a:cs typeface="Tahoma" pitchFamily="34" charset="0"/>
                </a:rPr>
                <a:t>Extended </a:t>
              </a:r>
              <a:r>
                <a:rPr lang="en-US" sz="1100" b="1" dirty="0" err="1">
                  <a:latin typeface="Tahoma" pitchFamily="34" charset="0"/>
                  <a:cs typeface="Tahoma" pitchFamily="34" charset="0"/>
                </a:rPr>
                <a:t>Songkhla</a:t>
              </a:r>
              <a:r>
                <a:rPr lang="en-US" sz="1100" b="1" dirty="0">
                  <a:latin typeface="Tahoma" pitchFamily="34" charset="0"/>
                  <a:cs typeface="Tahoma" pitchFamily="34" charset="0"/>
                </a:rPr>
                <a:t>-</a:t>
              </a:r>
            </a:p>
            <a:p>
              <a:r>
                <a:rPr lang="en-US" sz="1100" b="1" dirty="0">
                  <a:latin typeface="Tahoma" pitchFamily="34" charset="0"/>
                  <a:cs typeface="Tahoma" pitchFamily="34" charset="0"/>
                </a:rPr>
                <a:t>Penang-Medan</a:t>
              </a:r>
              <a:endParaRPr lang="th-TH" sz="1100" b="1" dirty="0">
                <a:latin typeface="Tahoma" pitchFamily="34" charset="0"/>
                <a:cs typeface="Tahoma" pitchFamily="34" charset="0"/>
              </a:endParaRPr>
            </a:p>
          </p:txBody>
        </p:sp>
        <p:sp>
          <p:nvSpPr>
            <p:cNvPr id="2073" name="Oval 25"/>
            <p:cNvSpPr>
              <a:spLocks noChangeArrowheads="1"/>
            </p:cNvSpPr>
            <p:nvPr/>
          </p:nvSpPr>
          <p:spPr bwMode="auto">
            <a:xfrm>
              <a:off x="251" y="4230"/>
              <a:ext cx="160" cy="141"/>
            </a:xfrm>
            <a:prstGeom prst="ellipse">
              <a:avLst/>
            </a:prstGeom>
            <a:solidFill>
              <a:srgbClr val="0000FF"/>
            </a:solid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algn="ctr"/>
              <a:r>
                <a:rPr lang="en-US" sz="1400" b="1">
                  <a:solidFill>
                    <a:schemeClr val="bg1"/>
                  </a:solidFill>
                  <a:effectLst>
                    <a:outerShdw blurRad="38100" dist="38100" dir="2700000" algn="tl">
                      <a:srgbClr val="000000"/>
                    </a:outerShdw>
                  </a:effectLst>
                  <a:latin typeface="Verdana" pitchFamily="34" charset="0"/>
                </a:rPr>
                <a:t>1</a:t>
              </a:r>
              <a:endParaRPr lang="th-TH" sz="1400" b="1">
                <a:solidFill>
                  <a:schemeClr val="bg1"/>
                </a:solidFill>
                <a:effectLst>
                  <a:outerShdw blurRad="38100" dist="38100" dir="2700000" algn="tl">
                    <a:srgbClr val="000000"/>
                  </a:outerShdw>
                </a:effectLst>
                <a:latin typeface="Verdana" pitchFamily="34" charset="0"/>
              </a:endParaRPr>
            </a:p>
          </p:txBody>
        </p:sp>
      </p:grpSp>
      <p:grpSp>
        <p:nvGrpSpPr>
          <p:cNvPr id="3" name="Group 43"/>
          <p:cNvGrpSpPr>
            <a:grpSpLocks/>
          </p:cNvGrpSpPr>
          <p:nvPr/>
        </p:nvGrpSpPr>
        <p:grpSpPr bwMode="auto">
          <a:xfrm>
            <a:off x="423334" y="3850441"/>
            <a:ext cx="1921933" cy="261641"/>
            <a:chOff x="200" y="4462"/>
            <a:chExt cx="908" cy="293"/>
          </a:xfrm>
        </p:grpSpPr>
        <p:sp>
          <p:nvSpPr>
            <p:cNvPr id="2066" name="Line 18"/>
            <p:cNvSpPr>
              <a:spLocks noChangeShapeType="1"/>
            </p:cNvSpPr>
            <p:nvPr/>
          </p:nvSpPr>
          <p:spPr bwMode="auto">
            <a:xfrm>
              <a:off x="200" y="4566"/>
              <a:ext cx="283" cy="0"/>
            </a:xfrm>
            <a:prstGeom prst="line">
              <a:avLst/>
            </a:prstGeom>
            <a:noFill/>
            <a:ln w="165100">
              <a:solidFill>
                <a:srgbClr val="0000FF">
                  <a:alpha val="39999"/>
                </a:srgbClr>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endParaRPr lang="en-US" sz="2400"/>
            </a:p>
          </p:txBody>
        </p:sp>
        <p:sp>
          <p:nvSpPr>
            <p:cNvPr id="2067" name="Text Box 19"/>
            <p:cNvSpPr txBox="1">
              <a:spLocks noChangeArrowheads="1"/>
            </p:cNvSpPr>
            <p:nvPr/>
          </p:nvSpPr>
          <p:spPr bwMode="auto">
            <a:xfrm>
              <a:off x="457" y="4462"/>
              <a:ext cx="651" cy="293"/>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spAutoFit/>
            </a:bodyPr>
            <a:lstStyle/>
            <a:p>
              <a:r>
                <a:rPr lang="en-US" sz="1100" b="1" dirty="0">
                  <a:latin typeface="Tahoma" pitchFamily="34" charset="0"/>
                  <a:cs typeface="Tahoma" pitchFamily="34" charset="0"/>
                </a:rPr>
                <a:t>Strait of Malacca</a:t>
              </a:r>
              <a:endParaRPr lang="th-TH" sz="1100" b="1" dirty="0">
                <a:latin typeface="Tahoma" pitchFamily="34" charset="0"/>
                <a:cs typeface="Tahoma" pitchFamily="34" charset="0"/>
              </a:endParaRPr>
            </a:p>
          </p:txBody>
        </p:sp>
        <p:sp>
          <p:nvSpPr>
            <p:cNvPr id="2074" name="Oval 26"/>
            <p:cNvSpPr>
              <a:spLocks noChangeArrowheads="1"/>
            </p:cNvSpPr>
            <p:nvPr/>
          </p:nvSpPr>
          <p:spPr bwMode="auto">
            <a:xfrm>
              <a:off x="252" y="4491"/>
              <a:ext cx="160" cy="141"/>
            </a:xfrm>
            <a:prstGeom prst="ellipse">
              <a:avLst/>
            </a:prstGeom>
            <a:solidFill>
              <a:srgbClr val="0000FF"/>
            </a:solid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algn="ctr"/>
              <a:r>
                <a:rPr lang="en-US" sz="1400" b="1">
                  <a:solidFill>
                    <a:schemeClr val="bg1"/>
                  </a:solidFill>
                  <a:effectLst>
                    <a:outerShdw blurRad="38100" dist="38100" dir="2700000" algn="tl">
                      <a:srgbClr val="000000"/>
                    </a:outerShdw>
                  </a:effectLst>
                  <a:latin typeface="Verdana" pitchFamily="34" charset="0"/>
                </a:rPr>
                <a:t>2</a:t>
              </a:r>
              <a:endParaRPr lang="th-TH" sz="1400" b="1">
                <a:solidFill>
                  <a:schemeClr val="bg1"/>
                </a:solidFill>
                <a:effectLst>
                  <a:outerShdw blurRad="38100" dist="38100" dir="2700000" algn="tl">
                    <a:srgbClr val="000000"/>
                  </a:outerShdw>
                </a:effectLst>
                <a:latin typeface="Verdana" pitchFamily="34" charset="0"/>
              </a:endParaRPr>
            </a:p>
          </p:txBody>
        </p:sp>
      </p:grpSp>
      <p:grpSp>
        <p:nvGrpSpPr>
          <p:cNvPr id="4" name="Group 44"/>
          <p:cNvGrpSpPr>
            <a:grpSpLocks/>
          </p:cNvGrpSpPr>
          <p:nvPr/>
        </p:nvGrpSpPr>
        <p:grpSpPr bwMode="auto">
          <a:xfrm>
            <a:off x="414867" y="4061179"/>
            <a:ext cx="2163234" cy="431303"/>
            <a:chOff x="196" y="4698"/>
            <a:chExt cx="1022" cy="483"/>
          </a:xfrm>
        </p:grpSpPr>
        <p:sp>
          <p:nvSpPr>
            <p:cNvPr id="2068" name="Line 20"/>
            <p:cNvSpPr>
              <a:spLocks noChangeShapeType="1"/>
            </p:cNvSpPr>
            <p:nvPr/>
          </p:nvSpPr>
          <p:spPr bwMode="auto">
            <a:xfrm>
              <a:off x="196" y="4832"/>
              <a:ext cx="288" cy="0"/>
            </a:xfrm>
            <a:prstGeom prst="line">
              <a:avLst/>
            </a:prstGeom>
            <a:noFill/>
            <a:ln w="165100">
              <a:solidFill>
                <a:srgbClr val="0000FF">
                  <a:alpha val="39999"/>
                </a:srgbClr>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endParaRPr lang="en-US" sz="2400"/>
            </a:p>
          </p:txBody>
        </p:sp>
        <p:sp>
          <p:nvSpPr>
            <p:cNvPr id="2069" name="Text Box 21"/>
            <p:cNvSpPr txBox="1">
              <a:spLocks noChangeArrowheads="1"/>
            </p:cNvSpPr>
            <p:nvPr/>
          </p:nvSpPr>
          <p:spPr bwMode="auto">
            <a:xfrm>
              <a:off x="458" y="4698"/>
              <a:ext cx="760" cy="483"/>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spAutoFit/>
            </a:bodyPr>
            <a:lstStyle/>
            <a:p>
              <a:r>
                <a:rPr lang="en-US" sz="1100" b="1">
                  <a:latin typeface="Tahoma" pitchFamily="34" charset="0"/>
                  <a:cs typeface="Tahoma" pitchFamily="34" charset="0"/>
                </a:rPr>
                <a:t>Banda Aceh-Medan-</a:t>
              </a:r>
            </a:p>
            <a:p>
              <a:r>
                <a:rPr lang="en-US" sz="1100" b="1">
                  <a:latin typeface="Tahoma" pitchFamily="34" charset="0"/>
                  <a:cs typeface="Tahoma" pitchFamily="34" charset="0"/>
                </a:rPr>
                <a:t>Dumai-Palembang</a:t>
              </a:r>
              <a:endParaRPr lang="th-TH" sz="1100" b="1">
                <a:latin typeface="Tahoma" pitchFamily="34" charset="0"/>
                <a:cs typeface="Tahoma" pitchFamily="34" charset="0"/>
              </a:endParaRPr>
            </a:p>
          </p:txBody>
        </p:sp>
        <p:sp>
          <p:nvSpPr>
            <p:cNvPr id="2075" name="Oval 27"/>
            <p:cNvSpPr>
              <a:spLocks noChangeArrowheads="1"/>
            </p:cNvSpPr>
            <p:nvPr/>
          </p:nvSpPr>
          <p:spPr bwMode="auto">
            <a:xfrm>
              <a:off x="252" y="4761"/>
              <a:ext cx="160" cy="141"/>
            </a:xfrm>
            <a:prstGeom prst="ellipse">
              <a:avLst/>
            </a:prstGeom>
            <a:solidFill>
              <a:srgbClr val="0000FF"/>
            </a:solid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algn="ctr"/>
              <a:r>
                <a:rPr lang="en-US" sz="1400" b="1">
                  <a:solidFill>
                    <a:schemeClr val="bg1"/>
                  </a:solidFill>
                  <a:effectLst>
                    <a:outerShdw blurRad="38100" dist="38100" dir="2700000" algn="tl">
                      <a:srgbClr val="000000"/>
                    </a:outerShdw>
                  </a:effectLst>
                  <a:latin typeface="Verdana" pitchFamily="34" charset="0"/>
                </a:rPr>
                <a:t>3</a:t>
              </a:r>
              <a:endParaRPr lang="th-TH" sz="1400" b="1">
                <a:solidFill>
                  <a:schemeClr val="bg1"/>
                </a:solidFill>
                <a:effectLst>
                  <a:outerShdw blurRad="38100" dist="38100" dir="2700000" algn="tl">
                    <a:srgbClr val="000000"/>
                  </a:outerShdw>
                </a:effectLst>
                <a:latin typeface="Verdana" pitchFamily="34" charset="0"/>
              </a:endParaRPr>
            </a:p>
          </p:txBody>
        </p:sp>
      </p:grpSp>
      <p:grpSp>
        <p:nvGrpSpPr>
          <p:cNvPr id="5" name="Group 45"/>
          <p:cNvGrpSpPr>
            <a:grpSpLocks/>
          </p:cNvGrpSpPr>
          <p:nvPr/>
        </p:nvGrpSpPr>
        <p:grpSpPr bwMode="auto">
          <a:xfrm>
            <a:off x="416984" y="4334432"/>
            <a:ext cx="1778000" cy="261640"/>
            <a:chOff x="197" y="5004"/>
            <a:chExt cx="840" cy="293"/>
          </a:xfrm>
        </p:grpSpPr>
        <p:sp>
          <p:nvSpPr>
            <p:cNvPr id="2070" name="Line 22"/>
            <p:cNvSpPr>
              <a:spLocks noChangeShapeType="1"/>
            </p:cNvSpPr>
            <p:nvPr/>
          </p:nvSpPr>
          <p:spPr bwMode="auto">
            <a:xfrm>
              <a:off x="197" y="5113"/>
              <a:ext cx="288" cy="0"/>
            </a:xfrm>
            <a:prstGeom prst="line">
              <a:avLst/>
            </a:prstGeom>
            <a:noFill/>
            <a:ln w="165100">
              <a:solidFill>
                <a:srgbClr val="0000FF">
                  <a:alpha val="39999"/>
                </a:srgbClr>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endParaRPr lang="en-US" sz="2400"/>
            </a:p>
          </p:txBody>
        </p:sp>
        <p:sp>
          <p:nvSpPr>
            <p:cNvPr id="2071" name="Text Box 23"/>
            <p:cNvSpPr txBox="1">
              <a:spLocks noChangeArrowheads="1"/>
            </p:cNvSpPr>
            <p:nvPr/>
          </p:nvSpPr>
          <p:spPr bwMode="auto">
            <a:xfrm>
              <a:off x="464" y="5004"/>
              <a:ext cx="573" cy="293"/>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spAutoFit/>
            </a:bodyPr>
            <a:lstStyle/>
            <a:p>
              <a:r>
                <a:rPr lang="en-US" sz="1100" b="1">
                  <a:latin typeface="Tahoma" pitchFamily="34" charset="0"/>
                  <a:cs typeface="Tahoma" pitchFamily="34" charset="0"/>
                </a:rPr>
                <a:t>Melaka-Dumai</a:t>
              </a:r>
              <a:endParaRPr lang="th-TH" sz="1100" b="1">
                <a:latin typeface="Tahoma" pitchFamily="34" charset="0"/>
                <a:cs typeface="Tahoma" pitchFamily="34" charset="0"/>
              </a:endParaRPr>
            </a:p>
          </p:txBody>
        </p:sp>
        <p:sp>
          <p:nvSpPr>
            <p:cNvPr id="2076" name="Oval 28"/>
            <p:cNvSpPr>
              <a:spLocks noChangeArrowheads="1"/>
            </p:cNvSpPr>
            <p:nvPr/>
          </p:nvSpPr>
          <p:spPr bwMode="auto">
            <a:xfrm>
              <a:off x="253" y="5037"/>
              <a:ext cx="160" cy="141"/>
            </a:xfrm>
            <a:prstGeom prst="ellipse">
              <a:avLst/>
            </a:prstGeom>
            <a:solidFill>
              <a:srgbClr val="0000FF"/>
            </a:solid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algn="ctr"/>
              <a:r>
                <a:rPr lang="en-US" sz="1400" b="1">
                  <a:solidFill>
                    <a:schemeClr val="bg1"/>
                  </a:solidFill>
                  <a:effectLst>
                    <a:outerShdw blurRad="38100" dist="38100" dir="2700000" algn="tl">
                      <a:srgbClr val="000000"/>
                    </a:outerShdw>
                  </a:effectLst>
                  <a:latin typeface="Verdana" pitchFamily="34" charset="0"/>
                </a:rPr>
                <a:t>4</a:t>
              </a:r>
              <a:endParaRPr lang="th-TH" sz="1400" b="1">
                <a:solidFill>
                  <a:schemeClr val="bg1"/>
                </a:solidFill>
                <a:effectLst>
                  <a:outerShdw blurRad="38100" dist="38100" dir="2700000" algn="tl">
                    <a:srgbClr val="000000"/>
                  </a:outerShdw>
                </a:effectLst>
                <a:latin typeface="Verdana" pitchFamily="34" charset="0"/>
              </a:endParaRPr>
            </a:p>
          </p:txBody>
        </p:sp>
      </p:grpSp>
      <p:grpSp>
        <p:nvGrpSpPr>
          <p:cNvPr id="6" name="Group 46"/>
          <p:cNvGrpSpPr>
            <a:grpSpLocks/>
          </p:cNvGrpSpPr>
          <p:nvPr/>
        </p:nvGrpSpPr>
        <p:grpSpPr bwMode="auto">
          <a:xfrm>
            <a:off x="410634" y="4515955"/>
            <a:ext cx="2283883" cy="431303"/>
            <a:chOff x="194" y="5247"/>
            <a:chExt cx="1079" cy="483"/>
          </a:xfrm>
        </p:grpSpPr>
        <p:sp>
          <p:nvSpPr>
            <p:cNvPr id="2054" name="Line 6"/>
            <p:cNvSpPr>
              <a:spLocks noChangeShapeType="1"/>
            </p:cNvSpPr>
            <p:nvPr/>
          </p:nvSpPr>
          <p:spPr bwMode="auto">
            <a:xfrm>
              <a:off x="194" y="5376"/>
              <a:ext cx="288" cy="0"/>
            </a:xfrm>
            <a:prstGeom prst="line">
              <a:avLst/>
            </a:prstGeom>
            <a:noFill/>
            <a:ln w="165100">
              <a:solidFill>
                <a:srgbClr val="0000FF">
                  <a:alpha val="39999"/>
                </a:srgbClr>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endParaRPr lang="en-US" sz="2400"/>
            </a:p>
          </p:txBody>
        </p:sp>
        <p:sp>
          <p:nvSpPr>
            <p:cNvPr id="2055" name="Text Box 7"/>
            <p:cNvSpPr txBox="1">
              <a:spLocks noChangeArrowheads="1"/>
            </p:cNvSpPr>
            <p:nvPr/>
          </p:nvSpPr>
          <p:spPr bwMode="auto">
            <a:xfrm>
              <a:off x="441" y="5247"/>
              <a:ext cx="832" cy="483"/>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spAutoFit/>
            </a:bodyPr>
            <a:lstStyle/>
            <a:p>
              <a:r>
                <a:rPr lang="en-US" sz="1100" b="1">
                  <a:latin typeface="Tahoma" pitchFamily="34" charset="0"/>
                  <a:cs typeface="Tahoma" pitchFamily="34" charset="0"/>
                </a:rPr>
                <a:t>Ranong–Phuket-Aceh </a:t>
              </a:r>
            </a:p>
            <a:p>
              <a:r>
                <a:rPr lang="en-US" sz="1100" b="1">
                  <a:latin typeface="Tahoma" pitchFamily="34" charset="0"/>
                  <a:cs typeface="Tahoma" pitchFamily="34" charset="0"/>
                </a:rPr>
                <a:t>Economic Corridor</a:t>
              </a:r>
              <a:endParaRPr lang="th-TH" sz="1100" b="1">
                <a:latin typeface="Tahoma" pitchFamily="34" charset="0"/>
                <a:cs typeface="Tahoma" pitchFamily="34" charset="0"/>
              </a:endParaRPr>
            </a:p>
          </p:txBody>
        </p:sp>
        <p:sp>
          <p:nvSpPr>
            <p:cNvPr id="2077" name="Oval 29"/>
            <p:cNvSpPr>
              <a:spLocks noChangeArrowheads="1"/>
            </p:cNvSpPr>
            <p:nvPr/>
          </p:nvSpPr>
          <p:spPr bwMode="auto">
            <a:xfrm>
              <a:off x="254" y="5298"/>
              <a:ext cx="160" cy="141"/>
            </a:xfrm>
            <a:prstGeom prst="ellipse">
              <a:avLst/>
            </a:prstGeom>
            <a:solidFill>
              <a:srgbClr val="0000FF"/>
            </a:solid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algn="ctr"/>
              <a:r>
                <a:rPr lang="en-US" sz="1400" b="1" dirty="0">
                  <a:solidFill>
                    <a:schemeClr val="bg1"/>
                  </a:solidFill>
                  <a:effectLst>
                    <a:outerShdw blurRad="38100" dist="38100" dir="2700000" algn="tl">
                      <a:srgbClr val="000000"/>
                    </a:outerShdw>
                  </a:effectLst>
                  <a:latin typeface="Verdana" pitchFamily="34" charset="0"/>
                </a:rPr>
                <a:t>5</a:t>
              </a:r>
              <a:endParaRPr lang="th-TH" sz="1400" b="1" dirty="0">
                <a:solidFill>
                  <a:schemeClr val="bg1"/>
                </a:solidFill>
                <a:effectLst>
                  <a:outerShdw blurRad="38100" dist="38100" dir="2700000" algn="tl">
                    <a:srgbClr val="000000"/>
                  </a:outerShdw>
                </a:effectLst>
                <a:latin typeface="Verdana" pitchFamily="34" charset="0"/>
              </a:endParaRPr>
            </a:p>
          </p:txBody>
        </p:sp>
      </p:grpSp>
      <p:grpSp>
        <p:nvGrpSpPr>
          <p:cNvPr id="7" name="Group 37"/>
          <p:cNvGrpSpPr>
            <a:grpSpLocks/>
          </p:cNvGrpSpPr>
          <p:nvPr/>
        </p:nvGrpSpPr>
        <p:grpSpPr bwMode="auto">
          <a:xfrm>
            <a:off x="3676651" y="971514"/>
            <a:ext cx="1818216" cy="1381423"/>
            <a:chOff x="1737" y="1238"/>
            <a:chExt cx="859" cy="1547"/>
          </a:xfrm>
        </p:grpSpPr>
        <p:sp>
          <p:nvSpPr>
            <p:cNvPr id="2059" name="Freeform 11"/>
            <p:cNvSpPr>
              <a:spLocks/>
            </p:cNvSpPr>
            <p:nvPr/>
          </p:nvSpPr>
          <p:spPr bwMode="auto">
            <a:xfrm>
              <a:off x="1737" y="1238"/>
              <a:ext cx="859" cy="1547"/>
            </a:xfrm>
            <a:custGeom>
              <a:avLst/>
              <a:gdLst>
                <a:gd name="T0" fmla="*/ 0 w 859"/>
                <a:gd name="T1" fmla="*/ 0 h 1547"/>
                <a:gd name="T2" fmla="*/ 103 w 859"/>
                <a:gd name="T3" fmla="*/ 327 h 1547"/>
                <a:gd name="T4" fmla="*/ 386 w 859"/>
                <a:gd name="T5" fmla="*/ 1109 h 1547"/>
                <a:gd name="T6" fmla="*/ 588 w 859"/>
                <a:gd name="T7" fmla="*/ 1350 h 1547"/>
                <a:gd name="T8" fmla="*/ 859 w 859"/>
                <a:gd name="T9" fmla="*/ 1547 h 1547"/>
              </a:gdLst>
              <a:ahLst/>
              <a:cxnLst>
                <a:cxn ang="0">
                  <a:pos x="T0" y="T1"/>
                </a:cxn>
                <a:cxn ang="0">
                  <a:pos x="T2" y="T3"/>
                </a:cxn>
                <a:cxn ang="0">
                  <a:pos x="T4" y="T5"/>
                </a:cxn>
                <a:cxn ang="0">
                  <a:pos x="T6" y="T7"/>
                </a:cxn>
                <a:cxn ang="0">
                  <a:pos x="T8" y="T9"/>
                </a:cxn>
              </a:cxnLst>
              <a:rect l="0" t="0" r="r" b="b"/>
              <a:pathLst>
                <a:path w="859" h="1547">
                  <a:moveTo>
                    <a:pt x="0" y="0"/>
                  </a:moveTo>
                  <a:lnTo>
                    <a:pt x="103" y="327"/>
                  </a:lnTo>
                  <a:lnTo>
                    <a:pt x="386" y="1109"/>
                  </a:lnTo>
                  <a:lnTo>
                    <a:pt x="588" y="1350"/>
                  </a:lnTo>
                  <a:lnTo>
                    <a:pt x="859" y="1547"/>
                  </a:lnTo>
                </a:path>
              </a:pathLst>
            </a:custGeom>
            <a:noFill/>
            <a:ln w="127000" cmpd="sng">
              <a:solidFill>
                <a:srgbClr val="0000FF">
                  <a:alpha val="50000"/>
                </a:srgbClr>
              </a:solidFill>
              <a:round/>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endParaRPr lang="en-US" sz="2400"/>
            </a:p>
          </p:txBody>
        </p:sp>
        <p:sp>
          <p:nvSpPr>
            <p:cNvPr id="2079" name="Oval 31"/>
            <p:cNvSpPr>
              <a:spLocks noChangeArrowheads="1"/>
            </p:cNvSpPr>
            <p:nvPr/>
          </p:nvSpPr>
          <p:spPr bwMode="auto">
            <a:xfrm>
              <a:off x="1996" y="2168"/>
              <a:ext cx="160" cy="141"/>
            </a:xfrm>
            <a:prstGeom prst="ellipse">
              <a:avLst/>
            </a:prstGeom>
            <a:solidFill>
              <a:srgbClr val="0000FF"/>
            </a:solid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algn="ctr"/>
              <a:r>
                <a:rPr lang="en-US" sz="1400" b="1">
                  <a:solidFill>
                    <a:schemeClr val="bg1"/>
                  </a:solidFill>
                  <a:effectLst>
                    <a:outerShdw blurRad="38100" dist="38100" dir="2700000" algn="tl">
                      <a:srgbClr val="000000"/>
                    </a:outerShdw>
                  </a:effectLst>
                  <a:latin typeface="Verdana" pitchFamily="34" charset="0"/>
                </a:rPr>
                <a:t>2</a:t>
              </a:r>
              <a:endParaRPr lang="th-TH" sz="1400" b="1">
                <a:solidFill>
                  <a:schemeClr val="bg1"/>
                </a:solidFill>
                <a:effectLst>
                  <a:outerShdw blurRad="38100" dist="38100" dir="2700000" algn="tl">
                    <a:srgbClr val="000000"/>
                  </a:outerShdw>
                </a:effectLst>
                <a:latin typeface="Verdana" pitchFamily="34" charset="0"/>
              </a:endParaRPr>
            </a:p>
          </p:txBody>
        </p:sp>
      </p:grpSp>
      <p:grpSp>
        <p:nvGrpSpPr>
          <p:cNvPr id="8" name="Group 38"/>
          <p:cNvGrpSpPr>
            <a:grpSpLocks/>
          </p:cNvGrpSpPr>
          <p:nvPr/>
        </p:nvGrpSpPr>
        <p:grpSpPr bwMode="auto">
          <a:xfrm>
            <a:off x="1028702" y="1480505"/>
            <a:ext cx="5958417" cy="2204741"/>
            <a:chOff x="486" y="1808"/>
            <a:chExt cx="2815" cy="2469"/>
          </a:xfrm>
        </p:grpSpPr>
        <p:sp>
          <p:nvSpPr>
            <p:cNvPr id="2061" name="Freeform 13"/>
            <p:cNvSpPr>
              <a:spLocks/>
            </p:cNvSpPr>
            <p:nvPr/>
          </p:nvSpPr>
          <p:spPr bwMode="auto">
            <a:xfrm>
              <a:off x="486" y="1808"/>
              <a:ext cx="2815" cy="2469"/>
            </a:xfrm>
            <a:custGeom>
              <a:avLst/>
              <a:gdLst>
                <a:gd name="T0" fmla="*/ 0 w 2815"/>
                <a:gd name="T1" fmla="*/ 0 h 2469"/>
                <a:gd name="T2" fmla="*/ 471 w 2815"/>
                <a:gd name="T3" fmla="*/ 291 h 2469"/>
                <a:gd name="T4" fmla="*/ 1117 w 2815"/>
                <a:gd name="T5" fmla="*/ 812 h 2469"/>
                <a:gd name="T6" fmla="*/ 1613 w 2815"/>
                <a:gd name="T7" fmla="*/ 1227 h 2469"/>
                <a:gd name="T8" fmla="*/ 2194 w 2815"/>
                <a:gd name="T9" fmla="*/ 1728 h 2469"/>
                <a:gd name="T10" fmla="*/ 2529 w 2815"/>
                <a:gd name="T11" fmla="*/ 2094 h 2469"/>
                <a:gd name="T12" fmla="*/ 2815 w 2815"/>
                <a:gd name="T13" fmla="*/ 2469 h 2469"/>
              </a:gdLst>
              <a:ahLst/>
              <a:cxnLst>
                <a:cxn ang="0">
                  <a:pos x="T0" y="T1"/>
                </a:cxn>
                <a:cxn ang="0">
                  <a:pos x="T2" y="T3"/>
                </a:cxn>
                <a:cxn ang="0">
                  <a:pos x="T4" y="T5"/>
                </a:cxn>
                <a:cxn ang="0">
                  <a:pos x="T6" y="T7"/>
                </a:cxn>
                <a:cxn ang="0">
                  <a:pos x="T8" y="T9"/>
                </a:cxn>
                <a:cxn ang="0">
                  <a:pos x="T10" y="T11"/>
                </a:cxn>
                <a:cxn ang="0">
                  <a:pos x="T12" y="T13"/>
                </a:cxn>
              </a:cxnLst>
              <a:rect l="0" t="0" r="r" b="b"/>
              <a:pathLst>
                <a:path w="2815" h="2469">
                  <a:moveTo>
                    <a:pt x="0" y="0"/>
                  </a:moveTo>
                  <a:lnTo>
                    <a:pt x="471" y="291"/>
                  </a:lnTo>
                  <a:lnTo>
                    <a:pt x="1117" y="812"/>
                  </a:lnTo>
                  <a:lnTo>
                    <a:pt x="1613" y="1227"/>
                  </a:lnTo>
                  <a:lnTo>
                    <a:pt x="2194" y="1728"/>
                  </a:lnTo>
                  <a:lnTo>
                    <a:pt x="2529" y="2094"/>
                  </a:lnTo>
                  <a:lnTo>
                    <a:pt x="2815" y="2469"/>
                  </a:lnTo>
                </a:path>
              </a:pathLst>
            </a:custGeom>
            <a:noFill/>
            <a:ln w="127000" cmpd="sng">
              <a:solidFill>
                <a:srgbClr val="0000FF">
                  <a:alpha val="50000"/>
                </a:srgbClr>
              </a:solidFill>
              <a:round/>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endParaRPr lang="en-US" sz="2400"/>
            </a:p>
          </p:txBody>
        </p:sp>
        <p:sp>
          <p:nvSpPr>
            <p:cNvPr id="2080" name="Oval 32"/>
            <p:cNvSpPr>
              <a:spLocks noChangeArrowheads="1"/>
            </p:cNvSpPr>
            <p:nvPr/>
          </p:nvSpPr>
          <p:spPr bwMode="auto">
            <a:xfrm>
              <a:off x="2718" y="3589"/>
              <a:ext cx="160" cy="141"/>
            </a:xfrm>
            <a:prstGeom prst="ellipse">
              <a:avLst/>
            </a:prstGeom>
            <a:solidFill>
              <a:srgbClr val="0000FF"/>
            </a:solid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algn="ctr"/>
              <a:r>
                <a:rPr lang="en-US" sz="1400" b="1">
                  <a:solidFill>
                    <a:schemeClr val="bg1"/>
                  </a:solidFill>
                  <a:effectLst>
                    <a:outerShdw blurRad="38100" dist="38100" dir="2700000" algn="tl">
                      <a:srgbClr val="000000"/>
                    </a:outerShdw>
                  </a:effectLst>
                  <a:latin typeface="Verdana" pitchFamily="34" charset="0"/>
                </a:rPr>
                <a:t>3</a:t>
              </a:r>
              <a:endParaRPr lang="th-TH" sz="1400" b="1">
                <a:solidFill>
                  <a:schemeClr val="bg1"/>
                </a:solidFill>
                <a:effectLst>
                  <a:outerShdw blurRad="38100" dist="38100" dir="2700000" algn="tl">
                    <a:srgbClr val="000000"/>
                  </a:outerShdw>
                </a:effectLst>
                <a:latin typeface="Verdana" pitchFamily="34" charset="0"/>
              </a:endParaRPr>
            </a:p>
          </p:txBody>
        </p:sp>
      </p:grpSp>
      <p:grpSp>
        <p:nvGrpSpPr>
          <p:cNvPr id="9" name="Group 39"/>
          <p:cNvGrpSpPr>
            <a:grpSpLocks/>
          </p:cNvGrpSpPr>
          <p:nvPr/>
        </p:nvGrpSpPr>
        <p:grpSpPr bwMode="auto">
          <a:xfrm>
            <a:off x="4402667" y="2341327"/>
            <a:ext cx="1054100" cy="237530"/>
            <a:chOff x="2080" y="2772"/>
            <a:chExt cx="498" cy="266"/>
          </a:xfrm>
        </p:grpSpPr>
        <p:sp>
          <p:nvSpPr>
            <p:cNvPr id="2060" name="Freeform 12"/>
            <p:cNvSpPr>
              <a:spLocks/>
            </p:cNvSpPr>
            <p:nvPr/>
          </p:nvSpPr>
          <p:spPr bwMode="auto">
            <a:xfrm>
              <a:off x="2080" y="2772"/>
              <a:ext cx="498" cy="266"/>
            </a:xfrm>
            <a:custGeom>
              <a:avLst/>
              <a:gdLst>
                <a:gd name="T0" fmla="*/ 0 w 498"/>
                <a:gd name="T1" fmla="*/ 266 h 266"/>
                <a:gd name="T2" fmla="*/ 219 w 498"/>
                <a:gd name="T3" fmla="*/ 159 h 266"/>
                <a:gd name="T4" fmla="*/ 498 w 498"/>
                <a:gd name="T5" fmla="*/ 0 h 266"/>
              </a:gdLst>
              <a:ahLst/>
              <a:cxnLst>
                <a:cxn ang="0">
                  <a:pos x="T0" y="T1"/>
                </a:cxn>
                <a:cxn ang="0">
                  <a:pos x="T2" y="T3"/>
                </a:cxn>
                <a:cxn ang="0">
                  <a:pos x="T4" y="T5"/>
                </a:cxn>
              </a:cxnLst>
              <a:rect l="0" t="0" r="r" b="b"/>
              <a:pathLst>
                <a:path w="498" h="266">
                  <a:moveTo>
                    <a:pt x="0" y="266"/>
                  </a:moveTo>
                  <a:lnTo>
                    <a:pt x="219" y="159"/>
                  </a:lnTo>
                  <a:lnTo>
                    <a:pt x="498" y="0"/>
                  </a:lnTo>
                </a:path>
              </a:pathLst>
            </a:custGeom>
            <a:noFill/>
            <a:ln w="127000" cmpd="sng">
              <a:solidFill>
                <a:srgbClr val="0000FF">
                  <a:alpha val="50000"/>
                </a:srgbClr>
              </a:solidFill>
              <a:round/>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endParaRPr lang="en-US" sz="2400"/>
            </a:p>
          </p:txBody>
        </p:sp>
        <p:sp>
          <p:nvSpPr>
            <p:cNvPr id="2081" name="Oval 33"/>
            <p:cNvSpPr>
              <a:spLocks noChangeArrowheads="1"/>
            </p:cNvSpPr>
            <p:nvPr/>
          </p:nvSpPr>
          <p:spPr bwMode="auto">
            <a:xfrm>
              <a:off x="2298" y="2829"/>
              <a:ext cx="160" cy="141"/>
            </a:xfrm>
            <a:prstGeom prst="ellipse">
              <a:avLst/>
            </a:prstGeom>
            <a:solidFill>
              <a:srgbClr val="0000FF"/>
            </a:solid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algn="ctr"/>
              <a:r>
                <a:rPr lang="en-US" sz="1400" b="1">
                  <a:solidFill>
                    <a:schemeClr val="bg1"/>
                  </a:solidFill>
                  <a:effectLst>
                    <a:outerShdw blurRad="38100" dist="38100" dir="2700000" algn="tl">
                      <a:srgbClr val="000000"/>
                    </a:outerShdw>
                  </a:effectLst>
                  <a:latin typeface="Verdana" pitchFamily="34" charset="0"/>
                </a:rPr>
                <a:t>4</a:t>
              </a:r>
              <a:endParaRPr lang="th-TH" sz="1400" b="1">
                <a:solidFill>
                  <a:schemeClr val="bg1"/>
                </a:solidFill>
                <a:effectLst>
                  <a:outerShdw blurRad="38100" dist="38100" dir="2700000" algn="tl">
                    <a:srgbClr val="000000"/>
                  </a:outerShdw>
                </a:effectLst>
                <a:latin typeface="Verdana" pitchFamily="34" charset="0"/>
              </a:endParaRPr>
            </a:p>
          </p:txBody>
        </p:sp>
      </p:grpSp>
      <p:grpSp>
        <p:nvGrpSpPr>
          <p:cNvPr id="10" name="Group 40"/>
          <p:cNvGrpSpPr>
            <a:grpSpLocks/>
          </p:cNvGrpSpPr>
          <p:nvPr/>
        </p:nvGrpSpPr>
        <p:grpSpPr bwMode="auto">
          <a:xfrm>
            <a:off x="1016001" y="348221"/>
            <a:ext cx="2015067" cy="1150144"/>
            <a:chOff x="480" y="540"/>
            <a:chExt cx="952" cy="1288"/>
          </a:xfrm>
        </p:grpSpPr>
        <p:sp>
          <p:nvSpPr>
            <p:cNvPr id="2053" name="Freeform 5"/>
            <p:cNvSpPr>
              <a:spLocks/>
            </p:cNvSpPr>
            <p:nvPr/>
          </p:nvSpPr>
          <p:spPr bwMode="auto">
            <a:xfrm>
              <a:off x="480" y="540"/>
              <a:ext cx="952" cy="1288"/>
            </a:xfrm>
            <a:custGeom>
              <a:avLst/>
              <a:gdLst>
                <a:gd name="T0" fmla="*/ 952 w 952"/>
                <a:gd name="T1" fmla="*/ 0 h 1288"/>
                <a:gd name="T2" fmla="*/ 860 w 952"/>
                <a:gd name="T3" fmla="*/ 260 h 1288"/>
                <a:gd name="T4" fmla="*/ 824 w 952"/>
                <a:gd name="T5" fmla="*/ 376 h 1288"/>
                <a:gd name="T6" fmla="*/ 840 w 952"/>
                <a:gd name="T7" fmla="*/ 576 h 1288"/>
                <a:gd name="T8" fmla="*/ 0 w 952"/>
                <a:gd name="T9" fmla="*/ 1288 h 1288"/>
              </a:gdLst>
              <a:ahLst/>
              <a:cxnLst>
                <a:cxn ang="0">
                  <a:pos x="T0" y="T1"/>
                </a:cxn>
                <a:cxn ang="0">
                  <a:pos x="T2" y="T3"/>
                </a:cxn>
                <a:cxn ang="0">
                  <a:pos x="T4" y="T5"/>
                </a:cxn>
                <a:cxn ang="0">
                  <a:pos x="T6" y="T7"/>
                </a:cxn>
                <a:cxn ang="0">
                  <a:pos x="T8" y="T9"/>
                </a:cxn>
              </a:cxnLst>
              <a:rect l="0" t="0" r="r" b="b"/>
              <a:pathLst>
                <a:path w="952" h="1288">
                  <a:moveTo>
                    <a:pt x="952" y="0"/>
                  </a:moveTo>
                  <a:lnTo>
                    <a:pt x="860" y="260"/>
                  </a:lnTo>
                  <a:lnTo>
                    <a:pt x="824" y="376"/>
                  </a:lnTo>
                  <a:lnTo>
                    <a:pt x="840" y="576"/>
                  </a:lnTo>
                  <a:lnTo>
                    <a:pt x="0" y="1288"/>
                  </a:lnTo>
                </a:path>
              </a:pathLst>
            </a:custGeom>
            <a:noFill/>
            <a:ln w="165100" cmpd="sng">
              <a:solidFill>
                <a:srgbClr val="0000FF">
                  <a:alpha val="49020"/>
                </a:srgbClr>
              </a:solidFill>
              <a:round/>
              <a:headEnd/>
              <a:tailEnd/>
            </a:ln>
            <a:effectLst>
              <a:outerShdw dist="35921" dir="2700000" algn="ctr" rotWithShape="0">
                <a:schemeClr val="bg2">
                  <a:alpha val="50000"/>
                </a:schemeClr>
              </a:outerShdw>
            </a:effectLst>
            <a:extLst>
              <a:ext uri="{909E8E84-426E-40DD-AFC4-6F175D3DCCD1}">
                <a14:hiddenFill xmlns:a14="http://schemas.microsoft.com/office/drawing/2010/main" xmlns="">
                  <a:solidFill>
                    <a:schemeClr val="accent1"/>
                  </a:solidFill>
                </a14:hiddenFill>
              </a:ext>
            </a:extLst>
          </p:spPr>
          <p:txBody>
            <a:bodyPr/>
            <a:lstStyle/>
            <a:p>
              <a:endParaRPr lang="en-US" sz="2400"/>
            </a:p>
          </p:txBody>
        </p:sp>
        <p:sp>
          <p:nvSpPr>
            <p:cNvPr id="2082" name="Oval 34"/>
            <p:cNvSpPr>
              <a:spLocks noChangeArrowheads="1"/>
            </p:cNvSpPr>
            <p:nvPr/>
          </p:nvSpPr>
          <p:spPr bwMode="auto">
            <a:xfrm>
              <a:off x="996" y="1246"/>
              <a:ext cx="160" cy="141"/>
            </a:xfrm>
            <a:prstGeom prst="ellipse">
              <a:avLst/>
            </a:prstGeom>
            <a:solidFill>
              <a:srgbClr val="0000FF"/>
            </a:solidFill>
            <a:ln w="9525">
              <a:solidFill>
                <a:srgbClr val="0000FF">
                  <a:alpha val="49020"/>
                </a:srgbClr>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algn="ctr"/>
              <a:r>
                <a:rPr lang="en-US" sz="1400" b="1" dirty="0">
                  <a:solidFill>
                    <a:schemeClr val="bg1"/>
                  </a:solidFill>
                  <a:effectLst>
                    <a:outerShdw blurRad="38100" dist="38100" dir="2700000" algn="tl">
                      <a:srgbClr val="000000"/>
                    </a:outerShdw>
                  </a:effectLst>
                  <a:latin typeface="Verdana" pitchFamily="34" charset="0"/>
                </a:rPr>
                <a:t>5</a:t>
              </a:r>
              <a:endParaRPr lang="th-TH" sz="1400" b="1" dirty="0">
                <a:solidFill>
                  <a:schemeClr val="bg1"/>
                </a:solidFill>
                <a:effectLst>
                  <a:outerShdw blurRad="38100" dist="38100" dir="2700000" algn="tl">
                    <a:srgbClr val="000000"/>
                  </a:outerShdw>
                </a:effectLst>
                <a:latin typeface="Verdana" pitchFamily="34" charset="0"/>
              </a:endParaRPr>
            </a:p>
          </p:txBody>
        </p:sp>
      </p:grpSp>
      <p:grpSp>
        <p:nvGrpSpPr>
          <p:cNvPr id="11" name="Group 36"/>
          <p:cNvGrpSpPr>
            <a:grpSpLocks/>
          </p:cNvGrpSpPr>
          <p:nvPr/>
        </p:nvGrpSpPr>
        <p:grpSpPr bwMode="auto">
          <a:xfrm>
            <a:off x="3020485" y="499133"/>
            <a:ext cx="2247900" cy="1527869"/>
            <a:chOff x="1427" y="709"/>
            <a:chExt cx="1062" cy="1711"/>
          </a:xfrm>
        </p:grpSpPr>
        <p:sp>
          <p:nvSpPr>
            <p:cNvPr id="2057" name="Freeform 9"/>
            <p:cNvSpPr>
              <a:spLocks/>
            </p:cNvSpPr>
            <p:nvPr/>
          </p:nvSpPr>
          <p:spPr bwMode="auto">
            <a:xfrm>
              <a:off x="1762" y="709"/>
              <a:ext cx="727" cy="912"/>
            </a:xfrm>
            <a:custGeom>
              <a:avLst/>
              <a:gdLst>
                <a:gd name="T0" fmla="*/ 0 w 727"/>
                <a:gd name="T1" fmla="*/ 0 h 912"/>
                <a:gd name="T2" fmla="*/ 73 w 727"/>
                <a:gd name="T3" fmla="*/ 181 h 912"/>
                <a:gd name="T4" fmla="*/ 164 w 727"/>
                <a:gd name="T5" fmla="*/ 409 h 912"/>
                <a:gd name="T6" fmla="*/ 241 w 727"/>
                <a:gd name="T7" fmla="*/ 525 h 912"/>
                <a:gd name="T8" fmla="*/ 306 w 727"/>
                <a:gd name="T9" fmla="*/ 645 h 912"/>
                <a:gd name="T10" fmla="*/ 379 w 727"/>
                <a:gd name="T11" fmla="*/ 748 h 912"/>
                <a:gd name="T12" fmla="*/ 499 w 727"/>
                <a:gd name="T13" fmla="*/ 826 h 912"/>
                <a:gd name="T14" fmla="*/ 611 w 727"/>
                <a:gd name="T15" fmla="*/ 873 h 912"/>
                <a:gd name="T16" fmla="*/ 727 w 727"/>
                <a:gd name="T17" fmla="*/ 912 h 9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27" h="912">
                  <a:moveTo>
                    <a:pt x="0" y="0"/>
                  </a:moveTo>
                  <a:lnTo>
                    <a:pt x="73" y="181"/>
                  </a:lnTo>
                  <a:lnTo>
                    <a:pt x="164" y="409"/>
                  </a:lnTo>
                  <a:lnTo>
                    <a:pt x="241" y="525"/>
                  </a:lnTo>
                  <a:lnTo>
                    <a:pt x="306" y="645"/>
                  </a:lnTo>
                  <a:lnTo>
                    <a:pt x="379" y="748"/>
                  </a:lnTo>
                  <a:lnTo>
                    <a:pt x="499" y="826"/>
                  </a:lnTo>
                  <a:lnTo>
                    <a:pt x="611" y="873"/>
                  </a:lnTo>
                  <a:lnTo>
                    <a:pt x="727" y="912"/>
                  </a:lnTo>
                </a:path>
              </a:pathLst>
            </a:custGeom>
            <a:noFill/>
            <a:ln w="127000" cmpd="sng">
              <a:solidFill>
                <a:srgbClr val="0000FF">
                  <a:alpha val="50000"/>
                </a:srgbClr>
              </a:solidFill>
              <a:round/>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endParaRPr lang="en-US" sz="2400"/>
            </a:p>
          </p:txBody>
        </p:sp>
        <p:sp>
          <p:nvSpPr>
            <p:cNvPr id="2058" name="Freeform 10"/>
            <p:cNvSpPr>
              <a:spLocks/>
            </p:cNvSpPr>
            <p:nvPr/>
          </p:nvSpPr>
          <p:spPr bwMode="auto">
            <a:xfrm>
              <a:off x="1427" y="1328"/>
              <a:ext cx="636" cy="1092"/>
            </a:xfrm>
            <a:custGeom>
              <a:avLst/>
              <a:gdLst>
                <a:gd name="T0" fmla="*/ 636 w 636"/>
                <a:gd name="T1" fmla="*/ 0 h 1092"/>
                <a:gd name="T2" fmla="*/ 615 w 636"/>
                <a:gd name="T3" fmla="*/ 250 h 1092"/>
                <a:gd name="T4" fmla="*/ 576 w 636"/>
                <a:gd name="T5" fmla="*/ 366 h 1092"/>
                <a:gd name="T6" fmla="*/ 503 w 636"/>
                <a:gd name="T7" fmla="*/ 533 h 1092"/>
                <a:gd name="T8" fmla="*/ 0 w 636"/>
                <a:gd name="T9" fmla="*/ 1092 h 1092"/>
              </a:gdLst>
              <a:ahLst/>
              <a:cxnLst>
                <a:cxn ang="0">
                  <a:pos x="T0" y="T1"/>
                </a:cxn>
                <a:cxn ang="0">
                  <a:pos x="T2" y="T3"/>
                </a:cxn>
                <a:cxn ang="0">
                  <a:pos x="T4" y="T5"/>
                </a:cxn>
                <a:cxn ang="0">
                  <a:pos x="T6" y="T7"/>
                </a:cxn>
                <a:cxn ang="0">
                  <a:pos x="T8" y="T9"/>
                </a:cxn>
              </a:cxnLst>
              <a:rect l="0" t="0" r="r" b="b"/>
              <a:pathLst>
                <a:path w="636" h="1092">
                  <a:moveTo>
                    <a:pt x="636" y="0"/>
                  </a:moveTo>
                  <a:lnTo>
                    <a:pt x="615" y="250"/>
                  </a:lnTo>
                  <a:lnTo>
                    <a:pt x="576" y="366"/>
                  </a:lnTo>
                  <a:lnTo>
                    <a:pt x="503" y="533"/>
                  </a:lnTo>
                  <a:lnTo>
                    <a:pt x="0" y="1092"/>
                  </a:lnTo>
                </a:path>
              </a:pathLst>
            </a:custGeom>
            <a:noFill/>
            <a:ln w="127000" cmpd="sng">
              <a:solidFill>
                <a:srgbClr val="0000FF">
                  <a:alpha val="50000"/>
                </a:srgbClr>
              </a:solidFill>
              <a:round/>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endParaRPr lang="en-US" sz="2400"/>
            </a:p>
          </p:txBody>
        </p:sp>
        <p:sp>
          <p:nvSpPr>
            <p:cNvPr id="2078" name="Oval 30"/>
            <p:cNvSpPr>
              <a:spLocks noChangeArrowheads="1"/>
            </p:cNvSpPr>
            <p:nvPr/>
          </p:nvSpPr>
          <p:spPr bwMode="auto">
            <a:xfrm>
              <a:off x="1709" y="1952"/>
              <a:ext cx="160" cy="141"/>
            </a:xfrm>
            <a:prstGeom prst="ellipse">
              <a:avLst/>
            </a:prstGeom>
            <a:solidFill>
              <a:srgbClr val="0000FF"/>
            </a:solid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algn="ctr"/>
              <a:r>
                <a:rPr lang="en-US" sz="1400" b="1">
                  <a:solidFill>
                    <a:schemeClr val="bg1"/>
                  </a:solidFill>
                  <a:effectLst>
                    <a:outerShdw blurRad="38100" dist="38100" dir="2700000" algn="tl">
                      <a:srgbClr val="000000"/>
                    </a:outerShdw>
                  </a:effectLst>
                  <a:latin typeface="Verdana" pitchFamily="34" charset="0"/>
                </a:rPr>
                <a:t>1</a:t>
              </a:r>
              <a:endParaRPr lang="th-TH" sz="1400" b="1">
                <a:solidFill>
                  <a:schemeClr val="bg1"/>
                </a:solidFill>
                <a:effectLst>
                  <a:outerShdw blurRad="38100" dist="38100" dir="2700000" algn="tl">
                    <a:srgbClr val="000000"/>
                  </a:outerShdw>
                </a:effectLst>
                <a:latin typeface="Verdana" pitchFamily="34" charset="0"/>
              </a:endParaRPr>
            </a:p>
          </p:txBody>
        </p:sp>
        <p:sp>
          <p:nvSpPr>
            <p:cNvPr id="2083" name="Oval 35"/>
            <p:cNvSpPr>
              <a:spLocks noChangeArrowheads="1"/>
            </p:cNvSpPr>
            <p:nvPr/>
          </p:nvSpPr>
          <p:spPr bwMode="auto">
            <a:xfrm>
              <a:off x="1830" y="1001"/>
              <a:ext cx="160" cy="141"/>
            </a:xfrm>
            <a:prstGeom prst="ellipse">
              <a:avLst/>
            </a:prstGeom>
            <a:solidFill>
              <a:srgbClr val="0000FF"/>
            </a:solidFill>
            <a:ln>
              <a:noFill/>
            </a:ln>
            <a:effectLst/>
            <a:extLst>
              <a:ext uri="{91240B29-F687-4F45-9708-019B960494DF}">
                <a14:hiddenLine xmlns:a14="http://schemas.microsoft.com/office/drawing/2010/main" xmlns="" w="9525">
                  <a:solidFill>
                    <a:schemeClr val="tx1"/>
                  </a:solidFill>
                  <a:round/>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algn="ctr"/>
              <a:r>
                <a:rPr lang="en-US" sz="1400" b="1">
                  <a:solidFill>
                    <a:schemeClr val="bg1"/>
                  </a:solidFill>
                  <a:effectLst>
                    <a:outerShdw blurRad="38100" dist="38100" dir="2700000" algn="tl">
                      <a:srgbClr val="000000"/>
                    </a:outerShdw>
                  </a:effectLst>
                  <a:latin typeface="Verdana" pitchFamily="34" charset="0"/>
                </a:rPr>
                <a:t>1</a:t>
              </a:r>
              <a:endParaRPr lang="th-TH" sz="1400" b="1">
                <a:solidFill>
                  <a:schemeClr val="bg1"/>
                </a:solidFill>
                <a:effectLst>
                  <a:outerShdw blurRad="38100" dist="38100" dir="2700000" algn="tl">
                    <a:srgbClr val="000000"/>
                  </a:outerShdw>
                </a:effectLst>
                <a:latin typeface="Verdana" pitchFamily="34" charset="0"/>
              </a:endParaRPr>
            </a:p>
          </p:txBody>
        </p:sp>
      </p:grpSp>
      <p:sp>
        <p:nvSpPr>
          <p:cNvPr id="42" name="Text Box 15"/>
          <p:cNvSpPr txBox="1">
            <a:spLocks noChangeArrowheads="1"/>
          </p:cNvSpPr>
          <p:nvPr/>
        </p:nvSpPr>
        <p:spPr bwMode="auto">
          <a:xfrm>
            <a:off x="5311494" y="195487"/>
            <a:ext cx="3508978" cy="759182"/>
          </a:xfrm>
          <a:prstGeom prst="rect">
            <a:avLst/>
          </a:prstGeom>
          <a:solidFill>
            <a:schemeClr val="accent5">
              <a:lumMod val="20000"/>
              <a:lumOff val="80000"/>
            </a:schemeClr>
          </a:solidFill>
          <a:ln>
            <a:noFill/>
          </a:ln>
          <a:effectLst/>
        </p:spPr>
        <p:txBody>
          <a:bodyPr wrap="square">
            <a:spAutoFit/>
          </a:bodyPr>
          <a:lstStyle/>
          <a:p>
            <a:pPr algn="ctr">
              <a:lnSpc>
                <a:spcPts val="2600"/>
              </a:lnSpc>
            </a:pPr>
            <a:r>
              <a:rPr lang="en-US" sz="2400" b="1" dirty="0">
                <a:latin typeface="Trebuchet MS" pitchFamily="34" charset="0"/>
                <a:cs typeface="Tahoma" pitchFamily="34" charset="0"/>
              </a:rPr>
              <a:t>IMT-GT Connectivity Corridors</a:t>
            </a:r>
            <a:endParaRPr lang="th-TH" sz="2400" b="1" dirty="0">
              <a:latin typeface="Trebuchet MS" pitchFamily="34" charset="0"/>
              <a:cs typeface="Tahoma" pitchFamily="34" charset="0"/>
            </a:endParaRPr>
          </a:p>
        </p:txBody>
      </p:sp>
      <p:pic>
        <p:nvPicPr>
          <p:cNvPr id="43" name="Picture 2"/>
          <p:cNvPicPr>
            <a:picLocks noChangeAspect="1" noChangeArrowheads="1"/>
          </p:cNvPicPr>
          <p:nvPr/>
        </p:nvPicPr>
        <p:blipFill>
          <a:blip r:embed="rId3">
            <a:extLst>
              <a:ext uri="{28A0092B-C50C-407E-A947-70E740481C1C}">
                <a14:useLocalDpi xmlns:a14="http://schemas.microsoft.com/office/drawing/2010/main" xmlns="" val="0"/>
              </a:ext>
            </a:extLst>
          </a:blip>
          <a:srcRect/>
          <a:stretch>
            <a:fillRect/>
          </a:stretch>
        </p:blipFill>
        <p:spPr bwMode="auto">
          <a:xfrm>
            <a:off x="359835" y="115745"/>
            <a:ext cx="919691" cy="41365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Tree>
    <p:extLst>
      <p:ext uri="{BB962C8B-B14F-4D97-AF65-F5344CB8AC3E}">
        <p14:creationId xmlns:p14="http://schemas.microsoft.com/office/powerpoint/2010/main" xmlns="" val="3407905621"/>
      </p:ext>
    </p:extLst>
  </p:cSld>
  <p:clrMapOvr>
    <a:masterClrMapping/>
  </p:clrMapOvr>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1" name="Picture 3"/>
          <p:cNvPicPr>
            <a:picLocks noChangeAspect="1" noChangeArrowheads="1"/>
          </p:cNvPicPr>
          <p:nvPr/>
        </p:nvPicPr>
        <p:blipFill>
          <a:blip r:embed="rId3"/>
          <a:srcRect/>
          <a:stretch>
            <a:fillRect/>
          </a:stretch>
        </p:blipFill>
        <p:spPr bwMode="auto">
          <a:xfrm>
            <a:off x="0" y="411957"/>
            <a:ext cx="9144000" cy="4537472"/>
          </a:xfrm>
          <a:prstGeom prst="rect">
            <a:avLst/>
          </a:prstGeom>
          <a:solidFill>
            <a:schemeClr val="bg1">
              <a:lumMod val="85000"/>
            </a:schemeClr>
          </a:solidFill>
          <a:ln>
            <a:solidFill>
              <a:schemeClr val="accent1"/>
            </a:solidFill>
          </a:ln>
        </p:spPr>
      </p:pic>
      <p:sp>
        <p:nvSpPr>
          <p:cNvPr id="10243" name="Line 5"/>
          <p:cNvSpPr>
            <a:spLocks noChangeShapeType="1"/>
          </p:cNvSpPr>
          <p:nvPr/>
        </p:nvSpPr>
        <p:spPr bwMode="auto">
          <a:xfrm flipV="1">
            <a:off x="2124075" y="1326356"/>
            <a:ext cx="635000" cy="110729"/>
          </a:xfrm>
          <a:prstGeom prst="line">
            <a:avLst/>
          </a:prstGeom>
          <a:noFill/>
          <a:ln w="25400">
            <a:solidFill>
              <a:srgbClr val="3333CC"/>
            </a:solidFill>
            <a:round/>
            <a:headEnd/>
            <a:tailEnd type="arrow" w="med" len="med"/>
          </a:ln>
          <a:effectLst>
            <a:outerShdw dist="20000" dir="5400000" rotWithShape="0">
              <a:srgbClr val="000000">
                <a:alpha val="37999"/>
              </a:srgbClr>
            </a:outerShdw>
          </a:effectLst>
          <a:extLst>
            <a:ext uri="{909E8E84-426E-40DD-AFC4-6F175D3DCCD1}">
              <a14:hiddenFill xmlns:a14="http://schemas.microsoft.com/office/drawing/2010/main" xmlns="">
                <a:noFill/>
              </a14:hiddenFill>
            </a:ext>
          </a:extLst>
        </p:spPr>
        <p:txBody>
          <a:bodyPr/>
          <a:lstStyle/>
          <a:p>
            <a:endParaRPr lang="th-TH" sz="3200">
              <a:latin typeface="TH SarabunPSK" pitchFamily="34" charset="-34"/>
              <a:cs typeface="TH SarabunPSK" pitchFamily="34" charset="-34"/>
            </a:endParaRPr>
          </a:p>
        </p:txBody>
      </p:sp>
      <p:sp>
        <p:nvSpPr>
          <p:cNvPr id="10244" name="Line 6"/>
          <p:cNvSpPr>
            <a:spLocks noChangeShapeType="1"/>
          </p:cNvSpPr>
          <p:nvPr/>
        </p:nvSpPr>
        <p:spPr bwMode="auto">
          <a:xfrm>
            <a:off x="2124075" y="1437085"/>
            <a:ext cx="1195388" cy="54769"/>
          </a:xfrm>
          <a:prstGeom prst="line">
            <a:avLst/>
          </a:prstGeom>
          <a:noFill/>
          <a:ln w="25400">
            <a:solidFill>
              <a:srgbClr val="3333CC"/>
            </a:solidFill>
            <a:round/>
            <a:headEnd/>
            <a:tailEnd type="arrow" w="med" len="med"/>
          </a:ln>
          <a:effectLst>
            <a:outerShdw dist="20000" dir="5400000" rotWithShape="0">
              <a:srgbClr val="000000">
                <a:alpha val="37999"/>
              </a:srgbClr>
            </a:outerShdw>
          </a:effectLst>
          <a:extLst>
            <a:ext uri="{909E8E84-426E-40DD-AFC4-6F175D3DCCD1}">
              <a14:hiddenFill xmlns:a14="http://schemas.microsoft.com/office/drawing/2010/main" xmlns="">
                <a:noFill/>
              </a14:hiddenFill>
            </a:ext>
          </a:extLst>
        </p:spPr>
        <p:txBody>
          <a:bodyPr/>
          <a:lstStyle/>
          <a:p>
            <a:endParaRPr lang="th-TH" sz="3200">
              <a:latin typeface="TH SarabunPSK" pitchFamily="34" charset="-34"/>
              <a:cs typeface="TH SarabunPSK" pitchFamily="34" charset="-34"/>
            </a:endParaRPr>
          </a:p>
        </p:txBody>
      </p:sp>
      <p:sp>
        <p:nvSpPr>
          <p:cNvPr id="10245" name="TextBox 44"/>
          <p:cNvSpPr txBox="1">
            <a:spLocks noChangeArrowheads="1"/>
          </p:cNvSpPr>
          <p:nvPr/>
        </p:nvSpPr>
        <p:spPr bwMode="auto">
          <a:xfrm>
            <a:off x="359569" y="807244"/>
            <a:ext cx="1873250" cy="1077218"/>
          </a:xfrm>
          <a:prstGeom prst="rect">
            <a:avLst/>
          </a:prstGeom>
          <a:solidFill>
            <a:srgbClr val="92D050"/>
          </a:solidFill>
          <a:ln w="9525">
            <a:solidFill>
              <a:schemeClr val="accent1"/>
            </a:solidFill>
            <a:miter lim="800000"/>
            <a:headEnd/>
            <a:tailEnd/>
          </a:ln>
        </p:spPr>
        <p:txBody>
          <a:bodyPr wrap="square">
            <a:spAutoFit/>
          </a:bodyPr>
          <a:lstStyle>
            <a:lvl1pPr eaLnBrk="0" hangingPunct="0">
              <a:defRPr sz="2800">
                <a:solidFill>
                  <a:schemeClr val="tx1"/>
                </a:solidFill>
                <a:latin typeface="Arial" pitchFamily="34" charset="0"/>
                <a:cs typeface="Arial" pitchFamily="34" charset="0"/>
              </a:defRPr>
            </a:lvl1pPr>
            <a:lvl2pPr marL="742950" indent="-285750" eaLnBrk="0" hangingPunct="0">
              <a:defRPr sz="2800">
                <a:solidFill>
                  <a:schemeClr val="tx1"/>
                </a:solidFill>
                <a:latin typeface="Arial" pitchFamily="34" charset="0"/>
                <a:cs typeface="Arial" pitchFamily="34" charset="0"/>
              </a:defRPr>
            </a:lvl2pPr>
            <a:lvl3pPr marL="1143000" indent="-228600" eaLnBrk="0" hangingPunct="0">
              <a:defRPr sz="2800">
                <a:solidFill>
                  <a:schemeClr val="tx1"/>
                </a:solidFill>
                <a:latin typeface="Arial" pitchFamily="34" charset="0"/>
                <a:cs typeface="Arial" pitchFamily="34" charset="0"/>
              </a:defRPr>
            </a:lvl3pPr>
            <a:lvl4pPr marL="1600200" indent="-228600" eaLnBrk="0" hangingPunct="0">
              <a:defRPr sz="2800">
                <a:solidFill>
                  <a:schemeClr val="tx1"/>
                </a:solidFill>
                <a:latin typeface="Arial" pitchFamily="34" charset="0"/>
                <a:cs typeface="Arial" pitchFamily="34" charset="0"/>
              </a:defRPr>
            </a:lvl4pPr>
            <a:lvl5pPr marL="2057400" indent="-228600" eaLnBrk="0" hangingPunct="0">
              <a:defRPr sz="28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8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8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8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800">
                <a:solidFill>
                  <a:schemeClr val="tx1"/>
                </a:solidFill>
                <a:latin typeface="Arial" pitchFamily="34" charset="0"/>
                <a:cs typeface="Arial" pitchFamily="34" charset="0"/>
              </a:defRPr>
            </a:lvl9pPr>
          </a:lstStyle>
          <a:p>
            <a:pPr algn="ctr"/>
            <a:r>
              <a:rPr lang="th-TH" sz="1600" b="1" dirty="0" smtClean="0">
                <a:solidFill>
                  <a:srgbClr val="0000CC"/>
                </a:solidFill>
                <a:latin typeface="TH SarabunPSK" pitchFamily="34" charset="-34"/>
                <a:cs typeface="TH SarabunPSK" pitchFamily="34" charset="-34"/>
              </a:rPr>
              <a:t>โครงการพัฒนาท่าเรือภาคใต้ของไทย</a:t>
            </a:r>
            <a:endParaRPr lang="en-US" sz="1600" b="1" dirty="0" smtClean="0">
              <a:solidFill>
                <a:srgbClr val="0000CC"/>
              </a:solidFill>
              <a:latin typeface="TH SarabunPSK" pitchFamily="34" charset="-34"/>
              <a:cs typeface="TH SarabunPSK" pitchFamily="34" charset="-34"/>
            </a:endParaRPr>
          </a:p>
          <a:p>
            <a:pPr algn="ctr"/>
            <a:r>
              <a:rPr lang="en-US" sz="1600" b="1" dirty="0" smtClean="0">
                <a:solidFill>
                  <a:srgbClr val="0000CC"/>
                </a:solidFill>
                <a:latin typeface="TH SarabunPSK" pitchFamily="34" charset="-34"/>
                <a:cs typeface="TH SarabunPSK" pitchFamily="34" charset="-34"/>
              </a:rPr>
              <a:t>-</a:t>
            </a:r>
            <a:r>
              <a:rPr lang="th-TH" sz="1600" b="1" dirty="0" smtClean="0">
                <a:solidFill>
                  <a:srgbClr val="0000CC"/>
                </a:solidFill>
                <a:latin typeface="TH SarabunPSK" pitchFamily="34" charset="-34"/>
                <a:cs typeface="TH SarabunPSK" pitchFamily="34" charset="-34"/>
              </a:rPr>
              <a:t>ท่าเรือภูเก็ต</a:t>
            </a:r>
            <a:endParaRPr lang="en-US" sz="1600" b="1" dirty="0">
              <a:solidFill>
                <a:srgbClr val="0000CC"/>
              </a:solidFill>
              <a:latin typeface="TH SarabunPSK" pitchFamily="34" charset="-34"/>
              <a:cs typeface="TH SarabunPSK" pitchFamily="34" charset="-34"/>
            </a:endParaRPr>
          </a:p>
          <a:p>
            <a:pPr algn="ctr"/>
            <a:r>
              <a:rPr lang="en-US" sz="1600" b="1" dirty="0" smtClean="0">
                <a:solidFill>
                  <a:srgbClr val="0000CC"/>
                </a:solidFill>
                <a:latin typeface="TH SarabunPSK" pitchFamily="34" charset="-34"/>
                <a:cs typeface="TH SarabunPSK" pitchFamily="34" charset="-34"/>
              </a:rPr>
              <a:t>-</a:t>
            </a:r>
            <a:r>
              <a:rPr lang="th-TH" sz="1600" b="1" dirty="0" smtClean="0">
                <a:solidFill>
                  <a:srgbClr val="0000CC"/>
                </a:solidFill>
                <a:latin typeface="TH SarabunPSK" pitchFamily="34" charset="-34"/>
                <a:cs typeface="TH SarabunPSK" pitchFamily="34" charset="-34"/>
              </a:rPr>
              <a:t>ท่าเรือนาเกลือ</a:t>
            </a:r>
            <a:endParaRPr lang="en-US" sz="1600" b="1" dirty="0">
              <a:solidFill>
                <a:srgbClr val="0000CC"/>
              </a:solidFill>
              <a:latin typeface="TH SarabunPSK" pitchFamily="34" charset="-34"/>
              <a:cs typeface="TH SarabunPSK" pitchFamily="34" charset="-34"/>
            </a:endParaRPr>
          </a:p>
        </p:txBody>
      </p:sp>
      <p:sp>
        <p:nvSpPr>
          <p:cNvPr id="10246" name="Line 8"/>
          <p:cNvSpPr>
            <a:spLocks noChangeShapeType="1"/>
          </p:cNvSpPr>
          <p:nvPr/>
        </p:nvSpPr>
        <p:spPr bwMode="auto">
          <a:xfrm flipH="1">
            <a:off x="4140200" y="952501"/>
            <a:ext cx="1835150" cy="592931"/>
          </a:xfrm>
          <a:prstGeom prst="line">
            <a:avLst/>
          </a:prstGeom>
          <a:noFill/>
          <a:ln w="25400">
            <a:solidFill>
              <a:srgbClr val="3333CC"/>
            </a:solidFill>
            <a:round/>
            <a:headEnd/>
            <a:tailEnd type="arrow" w="med" len="med"/>
          </a:ln>
          <a:effectLst>
            <a:outerShdw dist="20000" dir="5400000" rotWithShape="0">
              <a:srgbClr val="000000">
                <a:alpha val="37999"/>
              </a:srgbClr>
            </a:outerShdw>
          </a:effectLst>
          <a:extLst>
            <a:ext uri="{909E8E84-426E-40DD-AFC4-6F175D3DCCD1}">
              <a14:hiddenFill xmlns:a14="http://schemas.microsoft.com/office/drawing/2010/main" xmlns="">
                <a:noFill/>
              </a14:hiddenFill>
            </a:ext>
          </a:extLst>
        </p:spPr>
        <p:txBody>
          <a:bodyPr/>
          <a:lstStyle/>
          <a:p>
            <a:endParaRPr lang="th-TH" sz="3200">
              <a:latin typeface="TH SarabunPSK" pitchFamily="34" charset="-34"/>
              <a:cs typeface="TH SarabunPSK" pitchFamily="34" charset="-34"/>
            </a:endParaRPr>
          </a:p>
        </p:txBody>
      </p:sp>
      <p:sp>
        <p:nvSpPr>
          <p:cNvPr id="47" name="TextBox 41"/>
          <p:cNvSpPr txBox="1"/>
          <p:nvPr/>
        </p:nvSpPr>
        <p:spPr bwMode="auto">
          <a:xfrm>
            <a:off x="5219700" y="897731"/>
            <a:ext cx="2592388" cy="338554"/>
          </a:xfrm>
          <a:prstGeom prst="rect">
            <a:avLst/>
          </a:prstGeom>
          <a:solidFill>
            <a:srgbClr val="92D050"/>
          </a:solidFill>
          <a:ln>
            <a:solidFill>
              <a:schemeClr val="accent1"/>
            </a:solidFill>
          </a:ln>
        </p:spPr>
        <p:txBody>
          <a:bodyPr>
            <a:spAutoFit/>
          </a:bodyPr>
          <a:lstStyle/>
          <a:p>
            <a:pPr algn="ctr" eaLnBrk="0" hangingPunct="0">
              <a:defRPr/>
            </a:pPr>
            <a:r>
              <a:rPr lang="en-US" sz="1600" b="1" dirty="0">
                <a:solidFill>
                  <a:schemeClr val="accent1">
                    <a:lumMod val="75000"/>
                  </a:schemeClr>
                </a:solidFill>
                <a:latin typeface="TH SarabunPSK" pitchFamily="34" charset="-34"/>
                <a:cs typeface="TH SarabunPSK" pitchFamily="34" charset="-34"/>
              </a:rPr>
              <a:t>I</a:t>
            </a:r>
            <a:r>
              <a:rPr lang="en-US" sz="1600" b="1" dirty="0">
                <a:solidFill>
                  <a:srgbClr val="002060"/>
                </a:solidFill>
                <a:latin typeface="TH SarabunPSK" pitchFamily="34" charset="-34"/>
                <a:cs typeface="TH SarabunPSK" pitchFamily="34" charset="-34"/>
              </a:rPr>
              <a:t>CQS </a:t>
            </a:r>
            <a:r>
              <a:rPr lang="th-TH" sz="1600" b="1" dirty="0" smtClean="0">
                <a:solidFill>
                  <a:srgbClr val="002060"/>
                </a:solidFill>
                <a:latin typeface="TH SarabunPSK" pitchFamily="34" charset="-34"/>
                <a:cs typeface="TH SarabunPSK" pitchFamily="34" charset="-34"/>
              </a:rPr>
              <a:t>บูกิต กายู ฮิตัม/สะเดา</a:t>
            </a:r>
            <a:endParaRPr lang="en-US" sz="1600" b="1" dirty="0">
              <a:solidFill>
                <a:srgbClr val="002060"/>
              </a:solidFill>
              <a:latin typeface="TH SarabunPSK" pitchFamily="34" charset="-34"/>
              <a:cs typeface="TH SarabunPSK" pitchFamily="34" charset="-34"/>
            </a:endParaRPr>
          </a:p>
        </p:txBody>
      </p:sp>
      <p:sp>
        <p:nvSpPr>
          <p:cNvPr id="10248" name="Line 10"/>
          <p:cNvSpPr>
            <a:spLocks noChangeShapeType="1"/>
          </p:cNvSpPr>
          <p:nvPr/>
        </p:nvSpPr>
        <p:spPr bwMode="auto">
          <a:xfrm flipH="1" flipV="1">
            <a:off x="4211639" y="1513285"/>
            <a:ext cx="1944687" cy="86915"/>
          </a:xfrm>
          <a:prstGeom prst="line">
            <a:avLst/>
          </a:prstGeom>
          <a:noFill/>
          <a:ln w="25400">
            <a:solidFill>
              <a:srgbClr val="3333CC"/>
            </a:solidFill>
            <a:round/>
            <a:headEnd/>
            <a:tailEnd type="arrow" w="med" len="med"/>
          </a:ln>
          <a:effectLst>
            <a:outerShdw dist="20000" dir="5400000" rotWithShape="0">
              <a:srgbClr val="000000">
                <a:alpha val="37999"/>
              </a:srgbClr>
            </a:outerShdw>
          </a:effectLst>
          <a:extLst>
            <a:ext uri="{909E8E84-426E-40DD-AFC4-6F175D3DCCD1}">
              <a14:hiddenFill xmlns:a14="http://schemas.microsoft.com/office/drawing/2010/main" xmlns="">
                <a:noFill/>
              </a14:hiddenFill>
            </a:ext>
          </a:extLst>
        </p:spPr>
        <p:txBody>
          <a:bodyPr/>
          <a:lstStyle/>
          <a:p>
            <a:endParaRPr lang="th-TH" sz="3200">
              <a:latin typeface="TH SarabunPSK" pitchFamily="34" charset="-34"/>
              <a:cs typeface="TH SarabunPSK" pitchFamily="34" charset="-34"/>
            </a:endParaRPr>
          </a:p>
        </p:txBody>
      </p:sp>
      <p:sp>
        <p:nvSpPr>
          <p:cNvPr id="10249" name="TextBox 41"/>
          <p:cNvSpPr txBox="1">
            <a:spLocks noChangeArrowheads="1"/>
          </p:cNvSpPr>
          <p:nvPr/>
        </p:nvSpPr>
        <p:spPr bwMode="auto">
          <a:xfrm>
            <a:off x="6016964" y="1303057"/>
            <a:ext cx="1790700" cy="584775"/>
          </a:xfrm>
          <a:prstGeom prst="rect">
            <a:avLst/>
          </a:prstGeom>
          <a:solidFill>
            <a:srgbClr val="92D050"/>
          </a:solidFill>
          <a:ln w="9525">
            <a:solidFill>
              <a:schemeClr val="accent1"/>
            </a:solidFill>
            <a:miter lim="800000"/>
            <a:headEnd/>
            <a:tailEnd/>
          </a:ln>
        </p:spPr>
        <p:txBody>
          <a:bodyPr>
            <a:spAutoFit/>
          </a:bodyPr>
          <a:lstStyle>
            <a:lvl1pPr eaLnBrk="0" hangingPunct="0">
              <a:defRPr sz="2800">
                <a:solidFill>
                  <a:schemeClr val="tx1"/>
                </a:solidFill>
                <a:latin typeface="Arial" pitchFamily="34" charset="0"/>
                <a:cs typeface="Arial" pitchFamily="34" charset="0"/>
              </a:defRPr>
            </a:lvl1pPr>
            <a:lvl2pPr marL="742950" indent="-285750" eaLnBrk="0" hangingPunct="0">
              <a:defRPr sz="2800">
                <a:solidFill>
                  <a:schemeClr val="tx1"/>
                </a:solidFill>
                <a:latin typeface="Arial" pitchFamily="34" charset="0"/>
                <a:cs typeface="Arial" pitchFamily="34" charset="0"/>
              </a:defRPr>
            </a:lvl2pPr>
            <a:lvl3pPr marL="1143000" indent="-228600" eaLnBrk="0" hangingPunct="0">
              <a:defRPr sz="2800">
                <a:solidFill>
                  <a:schemeClr val="tx1"/>
                </a:solidFill>
                <a:latin typeface="Arial" pitchFamily="34" charset="0"/>
                <a:cs typeface="Arial" pitchFamily="34" charset="0"/>
              </a:defRPr>
            </a:lvl3pPr>
            <a:lvl4pPr marL="1600200" indent="-228600" eaLnBrk="0" hangingPunct="0">
              <a:defRPr sz="2800">
                <a:solidFill>
                  <a:schemeClr val="tx1"/>
                </a:solidFill>
                <a:latin typeface="Arial" pitchFamily="34" charset="0"/>
                <a:cs typeface="Arial" pitchFamily="34" charset="0"/>
              </a:defRPr>
            </a:lvl4pPr>
            <a:lvl5pPr marL="2057400" indent="-228600" eaLnBrk="0" hangingPunct="0">
              <a:defRPr sz="28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8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8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8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800">
                <a:solidFill>
                  <a:schemeClr val="tx1"/>
                </a:solidFill>
                <a:latin typeface="Arial" pitchFamily="34" charset="0"/>
                <a:cs typeface="Arial" pitchFamily="34" charset="0"/>
              </a:defRPr>
            </a:lvl9pPr>
          </a:lstStyle>
          <a:p>
            <a:pPr algn="ctr"/>
            <a:r>
              <a:rPr lang="th-TH" sz="1600" b="1" dirty="0" smtClean="0">
                <a:solidFill>
                  <a:srgbClr val="0000CC"/>
                </a:solidFill>
                <a:latin typeface="TH SarabunPSK" pitchFamily="34" charset="-34"/>
                <a:cs typeface="TH SarabunPSK" pitchFamily="34" charset="-34"/>
              </a:rPr>
              <a:t>ทางด่วน</a:t>
            </a:r>
            <a:br>
              <a:rPr lang="th-TH" sz="1600" b="1" dirty="0" smtClean="0">
                <a:solidFill>
                  <a:srgbClr val="0000CC"/>
                </a:solidFill>
                <a:latin typeface="TH SarabunPSK" pitchFamily="34" charset="-34"/>
                <a:cs typeface="TH SarabunPSK" pitchFamily="34" charset="-34"/>
              </a:rPr>
            </a:br>
            <a:r>
              <a:rPr lang="th-TH" sz="1600" b="1" dirty="0" smtClean="0">
                <a:solidFill>
                  <a:srgbClr val="0000CC"/>
                </a:solidFill>
                <a:latin typeface="TH SarabunPSK" pitchFamily="34" charset="-34"/>
                <a:cs typeface="TH SarabunPSK" pitchFamily="34" charset="-34"/>
              </a:rPr>
              <a:t>หาดใหญ่-สะเดา</a:t>
            </a:r>
            <a:endParaRPr lang="en-US" sz="1600" b="1" dirty="0">
              <a:solidFill>
                <a:srgbClr val="0000CC"/>
              </a:solidFill>
              <a:latin typeface="TH SarabunPSK" pitchFamily="34" charset="-34"/>
              <a:cs typeface="TH SarabunPSK" pitchFamily="34" charset="-34"/>
            </a:endParaRPr>
          </a:p>
        </p:txBody>
      </p:sp>
      <p:sp>
        <p:nvSpPr>
          <p:cNvPr id="10250" name="Line 12"/>
          <p:cNvSpPr>
            <a:spLocks noChangeShapeType="1"/>
          </p:cNvSpPr>
          <p:nvPr/>
        </p:nvSpPr>
        <p:spPr bwMode="auto">
          <a:xfrm flipH="1" flipV="1">
            <a:off x="2700338" y="1977629"/>
            <a:ext cx="215900" cy="1134665"/>
          </a:xfrm>
          <a:prstGeom prst="line">
            <a:avLst/>
          </a:prstGeom>
          <a:noFill/>
          <a:ln w="25400">
            <a:solidFill>
              <a:srgbClr val="CC3300"/>
            </a:solidFill>
            <a:round/>
            <a:headEnd/>
            <a:tailEnd type="arrow" w="med" len="med"/>
          </a:ln>
          <a:effectLst>
            <a:outerShdw dist="20000" dir="5400000" rotWithShape="0">
              <a:srgbClr val="000000">
                <a:alpha val="37999"/>
              </a:srgbClr>
            </a:outerShdw>
          </a:effectLst>
          <a:extLst>
            <a:ext uri="{909E8E84-426E-40DD-AFC4-6F175D3DCCD1}">
              <a14:hiddenFill xmlns:a14="http://schemas.microsoft.com/office/drawing/2010/main" xmlns="">
                <a:noFill/>
              </a14:hiddenFill>
            </a:ext>
          </a:extLst>
        </p:spPr>
        <p:txBody>
          <a:bodyPr/>
          <a:lstStyle/>
          <a:p>
            <a:endParaRPr lang="th-TH" sz="3200">
              <a:latin typeface="TH SarabunPSK" pitchFamily="34" charset="-34"/>
              <a:cs typeface="TH SarabunPSK" pitchFamily="34" charset="-34"/>
            </a:endParaRPr>
          </a:p>
        </p:txBody>
      </p:sp>
      <p:sp>
        <p:nvSpPr>
          <p:cNvPr id="10251" name="Line 13"/>
          <p:cNvSpPr>
            <a:spLocks noChangeShapeType="1"/>
          </p:cNvSpPr>
          <p:nvPr/>
        </p:nvSpPr>
        <p:spPr bwMode="auto">
          <a:xfrm flipH="1" flipV="1">
            <a:off x="5219701" y="2842022"/>
            <a:ext cx="1223963" cy="809625"/>
          </a:xfrm>
          <a:prstGeom prst="line">
            <a:avLst/>
          </a:prstGeom>
          <a:noFill/>
          <a:ln w="25400">
            <a:solidFill>
              <a:srgbClr val="CC3300"/>
            </a:solidFill>
            <a:round/>
            <a:headEnd/>
            <a:tailEnd type="arrow" w="med" len="med"/>
          </a:ln>
          <a:effectLst>
            <a:outerShdw dist="20000" dir="5400000" rotWithShape="0">
              <a:srgbClr val="000000">
                <a:alpha val="37999"/>
              </a:srgbClr>
            </a:outerShdw>
          </a:effectLst>
          <a:extLst>
            <a:ext uri="{909E8E84-426E-40DD-AFC4-6F175D3DCCD1}">
              <a14:hiddenFill xmlns:a14="http://schemas.microsoft.com/office/drawing/2010/main" xmlns="">
                <a:noFill/>
              </a14:hiddenFill>
            </a:ext>
          </a:extLst>
        </p:spPr>
        <p:txBody>
          <a:bodyPr/>
          <a:lstStyle/>
          <a:p>
            <a:endParaRPr lang="th-TH" sz="3200">
              <a:latin typeface="TH SarabunPSK" pitchFamily="34" charset="-34"/>
              <a:cs typeface="TH SarabunPSK" pitchFamily="34" charset="-34"/>
            </a:endParaRPr>
          </a:p>
        </p:txBody>
      </p:sp>
      <p:sp>
        <p:nvSpPr>
          <p:cNvPr id="52" name="TextBox 41"/>
          <p:cNvSpPr txBox="1"/>
          <p:nvPr/>
        </p:nvSpPr>
        <p:spPr bwMode="auto">
          <a:xfrm>
            <a:off x="395288" y="2917583"/>
            <a:ext cx="2844800" cy="1323439"/>
          </a:xfrm>
          <a:prstGeom prst="rect">
            <a:avLst/>
          </a:prstGeom>
          <a:solidFill>
            <a:schemeClr val="bg1">
              <a:lumMod val="85000"/>
            </a:schemeClr>
          </a:solidFill>
          <a:ln>
            <a:solidFill>
              <a:schemeClr val="accent1"/>
            </a:solidFill>
          </a:ln>
        </p:spPr>
        <p:txBody>
          <a:bodyPr>
            <a:spAutoFit/>
          </a:bodyPr>
          <a:lstStyle/>
          <a:p>
            <a:pPr algn="ctr" eaLnBrk="0" hangingPunct="0">
              <a:defRPr/>
            </a:pPr>
            <a:r>
              <a:rPr lang="th-TH" sz="1600" b="1" dirty="0" smtClean="0">
                <a:solidFill>
                  <a:schemeClr val="tx1">
                    <a:lumMod val="65000"/>
                    <a:lumOff val="35000"/>
                  </a:schemeClr>
                </a:solidFill>
                <a:latin typeface="TH SarabunPSK" pitchFamily="34" charset="-34"/>
                <a:cs typeface="TH SarabunPSK" pitchFamily="34" charset="-34"/>
              </a:rPr>
              <a:t>โครงการพัฒนาท่าเรือ เกาะสุมาตรา</a:t>
            </a:r>
            <a:endParaRPr lang="en-US" sz="1600" b="1" dirty="0">
              <a:solidFill>
                <a:schemeClr val="tx1">
                  <a:lumMod val="65000"/>
                  <a:lumOff val="35000"/>
                </a:schemeClr>
              </a:solidFill>
              <a:latin typeface="TH SarabunPSK" pitchFamily="34" charset="-34"/>
              <a:cs typeface="TH SarabunPSK" pitchFamily="34" charset="-34"/>
            </a:endParaRPr>
          </a:p>
          <a:p>
            <a:pPr algn="ctr" eaLnBrk="0" hangingPunct="0">
              <a:defRPr/>
            </a:pPr>
            <a:r>
              <a:rPr lang="en-US" sz="1600" b="1" dirty="0" smtClean="0">
                <a:solidFill>
                  <a:schemeClr val="tx1">
                    <a:lumMod val="65000"/>
                    <a:lumOff val="35000"/>
                  </a:schemeClr>
                </a:solidFill>
                <a:latin typeface="TH SarabunPSK" pitchFamily="34" charset="-34"/>
                <a:cs typeface="TH SarabunPSK" pitchFamily="34" charset="-34"/>
              </a:rPr>
              <a:t>-</a:t>
            </a:r>
            <a:r>
              <a:rPr lang="th-TH" sz="1600" b="1" dirty="0" smtClean="0">
                <a:solidFill>
                  <a:schemeClr val="tx1">
                    <a:lumMod val="65000"/>
                    <a:lumOff val="35000"/>
                  </a:schemeClr>
                </a:solidFill>
                <a:latin typeface="TH SarabunPSK" pitchFamily="34" charset="-34"/>
                <a:cs typeface="TH SarabunPSK" pitchFamily="34" charset="-34"/>
              </a:rPr>
              <a:t>ท่าเรือ</a:t>
            </a:r>
            <a:r>
              <a:rPr lang="en-US" sz="1600" b="1" dirty="0" err="1" smtClean="0">
                <a:solidFill>
                  <a:schemeClr val="tx1">
                    <a:lumMod val="65000"/>
                    <a:lumOff val="35000"/>
                  </a:schemeClr>
                </a:solidFill>
                <a:latin typeface="TH SarabunPSK" pitchFamily="34" charset="-34"/>
                <a:cs typeface="TH SarabunPSK" pitchFamily="34" charset="-34"/>
              </a:rPr>
              <a:t>Ulee</a:t>
            </a:r>
            <a:r>
              <a:rPr lang="en-US" sz="1600" b="1" dirty="0" smtClean="0">
                <a:solidFill>
                  <a:schemeClr val="tx1">
                    <a:lumMod val="65000"/>
                    <a:lumOff val="35000"/>
                  </a:schemeClr>
                </a:solidFill>
                <a:latin typeface="TH SarabunPSK" pitchFamily="34" charset="-34"/>
                <a:cs typeface="TH SarabunPSK" pitchFamily="34" charset="-34"/>
              </a:rPr>
              <a:t> </a:t>
            </a:r>
            <a:r>
              <a:rPr lang="en-US" sz="1600" b="1" dirty="0" err="1" smtClean="0">
                <a:solidFill>
                  <a:schemeClr val="tx1">
                    <a:lumMod val="65000"/>
                    <a:lumOff val="35000"/>
                  </a:schemeClr>
                </a:solidFill>
                <a:latin typeface="TH SarabunPSK" pitchFamily="34" charset="-34"/>
                <a:cs typeface="TH SarabunPSK" pitchFamily="34" charset="-34"/>
              </a:rPr>
              <a:t>Lheue</a:t>
            </a:r>
            <a:endParaRPr lang="en-US" sz="1600" b="1" dirty="0">
              <a:solidFill>
                <a:schemeClr val="tx1">
                  <a:lumMod val="65000"/>
                  <a:lumOff val="35000"/>
                </a:schemeClr>
              </a:solidFill>
              <a:latin typeface="TH SarabunPSK" pitchFamily="34" charset="-34"/>
              <a:cs typeface="TH SarabunPSK" pitchFamily="34" charset="-34"/>
            </a:endParaRPr>
          </a:p>
          <a:p>
            <a:pPr algn="ctr" eaLnBrk="0" hangingPunct="0">
              <a:buFontTx/>
              <a:buChar char="-"/>
              <a:defRPr/>
            </a:pPr>
            <a:r>
              <a:rPr lang="th-TH" sz="1600" b="1" dirty="0">
                <a:solidFill>
                  <a:schemeClr val="tx1">
                    <a:lumMod val="65000"/>
                    <a:lumOff val="35000"/>
                  </a:schemeClr>
                </a:solidFill>
                <a:latin typeface="TH SarabunPSK" pitchFamily="34" charset="-34"/>
                <a:cs typeface="TH SarabunPSK" pitchFamily="34" charset="-34"/>
              </a:rPr>
              <a:t>ท่าเรือ </a:t>
            </a:r>
            <a:r>
              <a:rPr lang="en-US" sz="1600" b="1" dirty="0" err="1" smtClean="0">
                <a:solidFill>
                  <a:schemeClr val="tx1">
                    <a:lumMod val="65000"/>
                    <a:lumOff val="35000"/>
                  </a:schemeClr>
                </a:solidFill>
                <a:latin typeface="TH SarabunPSK" pitchFamily="34" charset="-34"/>
                <a:cs typeface="TH SarabunPSK" pitchFamily="34" charset="-34"/>
              </a:rPr>
              <a:t>Malahayati</a:t>
            </a:r>
            <a:endParaRPr lang="en-US" sz="1600" b="1" dirty="0">
              <a:solidFill>
                <a:schemeClr val="tx1">
                  <a:lumMod val="65000"/>
                  <a:lumOff val="35000"/>
                </a:schemeClr>
              </a:solidFill>
              <a:latin typeface="TH SarabunPSK" pitchFamily="34" charset="-34"/>
              <a:cs typeface="TH SarabunPSK" pitchFamily="34" charset="-34"/>
            </a:endParaRPr>
          </a:p>
          <a:p>
            <a:pPr algn="ctr" eaLnBrk="0" hangingPunct="0">
              <a:buFontTx/>
              <a:buChar char="-"/>
              <a:defRPr/>
            </a:pPr>
            <a:r>
              <a:rPr lang="th-TH" sz="1600" b="1" dirty="0">
                <a:solidFill>
                  <a:schemeClr val="tx1">
                    <a:lumMod val="65000"/>
                    <a:lumOff val="35000"/>
                  </a:schemeClr>
                </a:solidFill>
                <a:latin typeface="TH SarabunPSK" pitchFamily="34" charset="-34"/>
                <a:cs typeface="TH SarabunPSK" pitchFamily="34" charset="-34"/>
              </a:rPr>
              <a:t>ท่าเรือ </a:t>
            </a:r>
            <a:r>
              <a:rPr lang="en-US" sz="1600" b="1" dirty="0" err="1" smtClean="0">
                <a:solidFill>
                  <a:schemeClr val="tx1">
                    <a:lumMod val="65000"/>
                    <a:lumOff val="35000"/>
                  </a:schemeClr>
                </a:solidFill>
                <a:latin typeface="TH SarabunPSK" pitchFamily="34" charset="-34"/>
                <a:cs typeface="TH SarabunPSK" pitchFamily="34" charset="-34"/>
              </a:rPr>
              <a:t>Belawan</a:t>
            </a:r>
            <a:endParaRPr lang="en-US" sz="1600" b="1" dirty="0">
              <a:solidFill>
                <a:schemeClr val="tx1">
                  <a:lumMod val="65000"/>
                  <a:lumOff val="35000"/>
                </a:schemeClr>
              </a:solidFill>
              <a:latin typeface="TH SarabunPSK" pitchFamily="34" charset="-34"/>
              <a:cs typeface="TH SarabunPSK" pitchFamily="34" charset="-34"/>
            </a:endParaRPr>
          </a:p>
          <a:p>
            <a:pPr algn="ctr" eaLnBrk="0" hangingPunct="0">
              <a:buFontTx/>
              <a:buChar char="-"/>
              <a:defRPr/>
            </a:pPr>
            <a:r>
              <a:rPr lang="th-TH" sz="1600" b="1" dirty="0">
                <a:solidFill>
                  <a:schemeClr val="tx1">
                    <a:lumMod val="65000"/>
                    <a:lumOff val="35000"/>
                  </a:schemeClr>
                </a:solidFill>
                <a:latin typeface="TH SarabunPSK" pitchFamily="34" charset="-34"/>
                <a:cs typeface="TH SarabunPSK" pitchFamily="34" charset="-34"/>
              </a:rPr>
              <a:t>ท่าเรือ </a:t>
            </a:r>
            <a:r>
              <a:rPr lang="en-US" sz="1600" b="1" dirty="0" smtClean="0">
                <a:solidFill>
                  <a:schemeClr val="tx1">
                    <a:lumMod val="65000"/>
                    <a:lumOff val="35000"/>
                  </a:schemeClr>
                </a:solidFill>
                <a:latin typeface="TH SarabunPSK" pitchFamily="34" charset="-34"/>
                <a:cs typeface="TH SarabunPSK" pitchFamily="34" charset="-34"/>
              </a:rPr>
              <a:t>Kuala </a:t>
            </a:r>
            <a:r>
              <a:rPr lang="en-US" sz="1600" b="1" dirty="0" err="1">
                <a:solidFill>
                  <a:schemeClr val="tx1">
                    <a:lumMod val="65000"/>
                    <a:lumOff val="35000"/>
                  </a:schemeClr>
                </a:solidFill>
                <a:latin typeface="TH SarabunPSK" pitchFamily="34" charset="-34"/>
                <a:cs typeface="TH SarabunPSK" pitchFamily="34" charset="-34"/>
              </a:rPr>
              <a:t>Enok</a:t>
            </a:r>
            <a:r>
              <a:rPr lang="en-US" sz="1600" b="1" dirty="0">
                <a:solidFill>
                  <a:schemeClr val="tx1">
                    <a:lumMod val="65000"/>
                    <a:lumOff val="35000"/>
                  </a:schemeClr>
                </a:solidFill>
                <a:latin typeface="TH SarabunPSK" pitchFamily="34" charset="-34"/>
                <a:cs typeface="TH SarabunPSK" pitchFamily="34" charset="-34"/>
              </a:rPr>
              <a:t> </a:t>
            </a:r>
          </a:p>
        </p:txBody>
      </p:sp>
      <p:sp>
        <p:nvSpPr>
          <p:cNvPr id="10253" name="Line 16"/>
          <p:cNvSpPr>
            <a:spLocks noChangeShapeType="1"/>
          </p:cNvSpPr>
          <p:nvPr/>
        </p:nvSpPr>
        <p:spPr bwMode="auto">
          <a:xfrm flipV="1">
            <a:off x="3851276" y="2895600"/>
            <a:ext cx="288925" cy="1309688"/>
          </a:xfrm>
          <a:prstGeom prst="line">
            <a:avLst/>
          </a:prstGeom>
          <a:noFill/>
          <a:ln w="25400">
            <a:solidFill>
              <a:srgbClr val="CC3300"/>
            </a:solidFill>
            <a:round/>
            <a:headEnd/>
            <a:tailEnd type="arrow" w="med" len="med"/>
          </a:ln>
          <a:effectLst>
            <a:outerShdw dist="20000" dir="5400000" rotWithShape="0">
              <a:srgbClr val="000000">
                <a:alpha val="37999"/>
              </a:srgbClr>
            </a:outerShdw>
          </a:effectLst>
          <a:extLst>
            <a:ext uri="{909E8E84-426E-40DD-AFC4-6F175D3DCCD1}">
              <a14:hiddenFill xmlns:a14="http://schemas.microsoft.com/office/drawing/2010/main" xmlns="">
                <a:noFill/>
              </a14:hiddenFill>
            </a:ext>
          </a:extLst>
        </p:spPr>
        <p:txBody>
          <a:bodyPr/>
          <a:lstStyle/>
          <a:p>
            <a:endParaRPr lang="th-TH" sz="3200">
              <a:latin typeface="TH SarabunPSK" pitchFamily="34" charset="-34"/>
              <a:cs typeface="TH SarabunPSK" pitchFamily="34" charset="-34"/>
            </a:endParaRPr>
          </a:p>
        </p:txBody>
      </p:sp>
      <p:sp>
        <p:nvSpPr>
          <p:cNvPr id="10254" name="Line 17"/>
          <p:cNvSpPr>
            <a:spLocks noChangeShapeType="1"/>
          </p:cNvSpPr>
          <p:nvPr/>
        </p:nvSpPr>
        <p:spPr bwMode="auto">
          <a:xfrm flipH="1" flipV="1">
            <a:off x="4932363" y="2842022"/>
            <a:ext cx="576262" cy="1295400"/>
          </a:xfrm>
          <a:prstGeom prst="line">
            <a:avLst/>
          </a:prstGeom>
          <a:noFill/>
          <a:ln w="25400">
            <a:solidFill>
              <a:srgbClr val="CC3300"/>
            </a:solidFill>
            <a:round/>
            <a:headEnd/>
            <a:tailEnd type="arrow" w="med" len="med"/>
          </a:ln>
          <a:effectLst>
            <a:outerShdw dist="20000" dir="5400000" rotWithShape="0">
              <a:srgbClr val="000000">
                <a:alpha val="37999"/>
              </a:srgbClr>
            </a:outerShdw>
          </a:effectLst>
          <a:extLst>
            <a:ext uri="{909E8E84-426E-40DD-AFC4-6F175D3DCCD1}">
              <a14:hiddenFill xmlns:a14="http://schemas.microsoft.com/office/drawing/2010/main" xmlns="">
                <a:noFill/>
              </a14:hiddenFill>
            </a:ext>
          </a:extLst>
        </p:spPr>
        <p:txBody>
          <a:bodyPr/>
          <a:lstStyle/>
          <a:p>
            <a:endParaRPr lang="th-TH" sz="3200">
              <a:latin typeface="TH SarabunPSK" pitchFamily="34" charset="-34"/>
              <a:cs typeface="TH SarabunPSK" pitchFamily="34" charset="-34"/>
            </a:endParaRPr>
          </a:p>
        </p:txBody>
      </p:sp>
      <p:sp>
        <p:nvSpPr>
          <p:cNvPr id="56" name="TextBox 41"/>
          <p:cNvSpPr txBox="1"/>
          <p:nvPr/>
        </p:nvSpPr>
        <p:spPr bwMode="auto">
          <a:xfrm>
            <a:off x="2700339" y="4192192"/>
            <a:ext cx="2376487" cy="584775"/>
          </a:xfrm>
          <a:prstGeom prst="rect">
            <a:avLst/>
          </a:prstGeom>
          <a:solidFill>
            <a:schemeClr val="bg1">
              <a:lumMod val="85000"/>
            </a:schemeClr>
          </a:solidFill>
          <a:ln>
            <a:solidFill>
              <a:schemeClr val="accent1"/>
            </a:solidFill>
          </a:ln>
        </p:spPr>
        <p:txBody>
          <a:bodyPr>
            <a:spAutoFit/>
          </a:bodyPr>
          <a:lstStyle/>
          <a:p>
            <a:pPr algn="ctr" eaLnBrk="0" hangingPunct="0">
              <a:defRPr/>
            </a:pPr>
            <a:r>
              <a:rPr lang="th-TH" sz="1600" b="1" dirty="0" smtClean="0">
                <a:solidFill>
                  <a:schemeClr val="tx1">
                    <a:lumMod val="65000"/>
                    <a:lumOff val="35000"/>
                  </a:schemeClr>
                </a:solidFill>
                <a:latin typeface="TH SarabunPSK" pitchFamily="34" charset="-34"/>
                <a:cs typeface="TH SarabunPSK" pitchFamily="34" charset="-34"/>
              </a:rPr>
              <a:t>โครงการทางด่วน เกาะสุมาตรา</a:t>
            </a:r>
            <a:endParaRPr lang="en-US" sz="1600" b="1" dirty="0" smtClean="0">
              <a:solidFill>
                <a:schemeClr val="tx1">
                  <a:lumMod val="65000"/>
                  <a:lumOff val="35000"/>
                </a:schemeClr>
              </a:solidFill>
              <a:latin typeface="TH SarabunPSK" pitchFamily="34" charset="-34"/>
              <a:cs typeface="TH SarabunPSK" pitchFamily="34" charset="-34"/>
            </a:endParaRPr>
          </a:p>
          <a:p>
            <a:pPr algn="ctr" eaLnBrk="0" hangingPunct="0">
              <a:defRPr/>
            </a:pPr>
            <a:r>
              <a:rPr lang="en-US" sz="1600" b="1" dirty="0" smtClean="0">
                <a:solidFill>
                  <a:schemeClr val="tx1">
                    <a:lumMod val="65000"/>
                    <a:lumOff val="35000"/>
                  </a:schemeClr>
                </a:solidFill>
                <a:latin typeface="TH SarabunPSK" pitchFamily="34" charset="-34"/>
                <a:cs typeface="TH SarabunPSK" pitchFamily="34" charset="-34"/>
              </a:rPr>
              <a:t>-Palembang and </a:t>
            </a:r>
            <a:r>
              <a:rPr lang="en-US" sz="1600" b="1" dirty="0" err="1" smtClean="0">
                <a:solidFill>
                  <a:schemeClr val="tx1">
                    <a:lumMod val="65000"/>
                    <a:lumOff val="35000"/>
                  </a:schemeClr>
                </a:solidFill>
                <a:latin typeface="TH SarabunPSK" pitchFamily="34" charset="-34"/>
                <a:cs typeface="TH SarabunPSK" pitchFamily="34" charset="-34"/>
              </a:rPr>
              <a:t>Indralaja</a:t>
            </a:r>
            <a:endParaRPr lang="en-US" sz="1600" b="1" dirty="0">
              <a:solidFill>
                <a:schemeClr val="tx1">
                  <a:lumMod val="65000"/>
                  <a:lumOff val="35000"/>
                </a:schemeClr>
              </a:solidFill>
              <a:latin typeface="TH SarabunPSK" pitchFamily="34" charset="-34"/>
              <a:cs typeface="TH SarabunPSK" pitchFamily="34" charset="-34"/>
            </a:endParaRPr>
          </a:p>
        </p:txBody>
      </p:sp>
      <p:sp>
        <p:nvSpPr>
          <p:cNvPr id="10257" name="Line 20"/>
          <p:cNvSpPr>
            <a:spLocks noChangeShapeType="1"/>
          </p:cNvSpPr>
          <p:nvPr/>
        </p:nvSpPr>
        <p:spPr bwMode="auto">
          <a:xfrm flipH="1" flipV="1">
            <a:off x="4140200" y="1545432"/>
            <a:ext cx="1944688" cy="378619"/>
          </a:xfrm>
          <a:prstGeom prst="line">
            <a:avLst/>
          </a:prstGeom>
          <a:noFill/>
          <a:ln w="25400">
            <a:solidFill>
              <a:srgbClr val="3333CC"/>
            </a:solidFill>
            <a:round/>
            <a:headEnd/>
            <a:tailEnd type="arrow" w="med" len="med"/>
          </a:ln>
          <a:effectLst>
            <a:outerShdw dist="20000" dir="5400000" rotWithShape="0">
              <a:srgbClr val="000000">
                <a:alpha val="37999"/>
              </a:srgbClr>
            </a:outerShdw>
          </a:effectLst>
          <a:extLst>
            <a:ext uri="{909E8E84-426E-40DD-AFC4-6F175D3DCCD1}">
              <a14:hiddenFill xmlns:a14="http://schemas.microsoft.com/office/drawing/2010/main" xmlns="">
                <a:noFill/>
              </a14:hiddenFill>
            </a:ext>
          </a:extLst>
        </p:spPr>
        <p:txBody>
          <a:bodyPr/>
          <a:lstStyle/>
          <a:p>
            <a:endParaRPr lang="th-TH" sz="3200">
              <a:latin typeface="TH SarabunPSK" pitchFamily="34" charset="-34"/>
              <a:cs typeface="TH SarabunPSK" pitchFamily="34" charset="-34"/>
            </a:endParaRPr>
          </a:p>
        </p:txBody>
      </p:sp>
      <p:sp>
        <p:nvSpPr>
          <p:cNvPr id="10258" name="Line 21"/>
          <p:cNvSpPr>
            <a:spLocks noChangeShapeType="1"/>
          </p:cNvSpPr>
          <p:nvPr/>
        </p:nvSpPr>
        <p:spPr bwMode="auto">
          <a:xfrm flipH="1">
            <a:off x="5219701" y="2680098"/>
            <a:ext cx="2555875" cy="107156"/>
          </a:xfrm>
          <a:prstGeom prst="line">
            <a:avLst/>
          </a:prstGeom>
          <a:noFill/>
          <a:ln w="25400">
            <a:solidFill>
              <a:srgbClr val="CC3300"/>
            </a:solidFill>
            <a:round/>
            <a:headEnd/>
            <a:tailEnd type="arrow" w="med" len="med"/>
          </a:ln>
          <a:effectLst>
            <a:outerShdw dist="20000" dir="5400000" rotWithShape="0">
              <a:srgbClr val="000000">
                <a:alpha val="37999"/>
              </a:srgbClr>
            </a:outerShdw>
          </a:effectLst>
          <a:extLst>
            <a:ext uri="{909E8E84-426E-40DD-AFC4-6F175D3DCCD1}">
              <a14:hiddenFill xmlns:a14="http://schemas.microsoft.com/office/drawing/2010/main" xmlns="">
                <a:noFill/>
              </a14:hiddenFill>
            </a:ext>
          </a:extLst>
        </p:spPr>
        <p:txBody>
          <a:bodyPr/>
          <a:lstStyle/>
          <a:p>
            <a:endParaRPr lang="th-TH" sz="3200">
              <a:latin typeface="TH SarabunPSK" pitchFamily="34" charset="-34"/>
              <a:cs typeface="TH SarabunPSK" pitchFamily="34" charset="-34"/>
            </a:endParaRPr>
          </a:p>
        </p:txBody>
      </p:sp>
      <p:sp>
        <p:nvSpPr>
          <p:cNvPr id="60" name="TextBox 41"/>
          <p:cNvSpPr txBox="1"/>
          <p:nvPr/>
        </p:nvSpPr>
        <p:spPr bwMode="auto">
          <a:xfrm>
            <a:off x="6407150" y="3125332"/>
            <a:ext cx="2508250" cy="1077218"/>
          </a:xfrm>
          <a:prstGeom prst="rect">
            <a:avLst/>
          </a:prstGeom>
          <a:solidFill>
            <a:schemeClr val="bg1">
              <a:lumMod val="85000"/>
            </a:schemeClr>
          </a:solidFill>
          <a:ln>
            <a:solidFill>
              <a:schemeClr val="accent1"/>
            </a:solidFill>
          </a:ln>
        </p:spPr>
        <p:txBody>
          <a:bodyPr wrap="square">
            <a:spAutoFit/>
          </a:bodyPr>
          <a:lstStyle/>
          <a:p>
            <a:pPr algn="ctr" eaLnBrk="0" hangingPunct="0">
              <a:defRPr/>
            </a:pPr>
            <a:r>
              <a:rPr lang="th-TH" sz="1600" b="1" dirty="0" smtClean="0">
                <a:solidFill>
                  <a:schemeClr val="tx1">
                    <a:lumMod val="65000"/>
                    <a:lumOff val="35000"/>
                  </a:schemeClr>
                </a:solidFill>
                <a:latin typeface="TH SarabunPSK" pitchFamily="34" charset="-34"/>
                <a:cs typeface="TH SarabunPSK" pitchFamily="34" charset="-34"/>
              </a:rPr>
              <a:t>โครงการขนส่งหลายรูปแบบตามแนวระเบียงเศรษฐกิจ</a:t>
            </a:r>
            <a:r>
              <a:rPr lang="en-US" sz="1600" b="1" dirty="0" smtClean="0">
                <a:solidFill>
                  <a:schemeClr val="tx1">
                    <a:lumMod val="65000"/>
                    <a:lumOff val="35000"/>
                  </a:schemeClr>
                </a:solidFill>
                <a:latin typeface="TH SarabunPSK" pitchFamily="34" charset="-34"/>
                <a:cs typeface="TH SarabunPSK" pitchFamily="34" charset="-34"/>
              </a:rPr>
              <a:t> Melaka-</a:t>
            </a:r>
            <a:r>
              <a:rPr lang="en-US" sz="1600" b="1" dirty="0" err="1" smtClean="0">
                <a:solidFill>
                  <a:schemeClr val="tx1">
                    <a:lumMod val="65000"/>
                    <a:lumOff val="35000"/>
                  </a:schemeClr>
                </a:solidFill>
                <a:latin typeface="TH SarabunPSK" pitchFamily="34" charset="-34"/>
                <a:cs typeface="TH SarabunPSK" pitchFamily="34" charset="-34"/>
              </a:rPr>
              <a:t>Dumai</a:t>
            </a:r>
            <a:r>
              <a:rPr lang="en-US" sz="1600" b="1" dirty="0" smtClean="0">
                <a:solidFill>
                  <a:schemeClr val="tx1">
                    <a:lumMod val="65000"/>
                    <a:lumOff val="35000"/>
                  </a:schemeClr>
                </a:solidFill>
                <a:latin typeface="TH SarabunPSK" pitchFamily="34" charset="-34"/>
                <a:cs typeface="TH SarabunPSK" pitchFamily="34" charset="-34"/>
              </a:rPr>
              <a:t> </a:t>
            </a:r>
            <a:br>
              <a:rPr lang="en-US" sz="1600" b="1" dirty="0" smtClean="0">
                <a:solidFill>
                  <a:schemeClr val="tx1">
                    <a:lumMod val="65000"/>
                    <a:lumOff val="35000"/>
                  </a:schemeClr>
                </a:solidFill>
                <a:latin typeface="TH SarabunPSK" pitchFamily="34" charset="-34"/>
                <a:cs typeface="TH SarabunPSK" pitchFamily="34" charset="-34"/>
              </a:rPr>
            </a:br>
            <a:r>
              <a:rPr lang="en-US" sz="1600" b="1" dirty="0" smtClean="0">
                <a:solidFill>
                  <a:schemeClr val="tx1">
                    <a:lumMod val="65000"/>
                    <a:lumOff val="35000"/>
                  </a:schemeClr>
                </a:solidFill>
                <a:latin typeface="TH SarabunPSK" pitchFamily="34" charset="-34"/>
                <a:cs typeface="TH SarabunPSK" pitchFamily="34" charset="-34"/>
              </a:rPr>
              <a:t>-</a:t>
            </a:r>
            <a:r>
              <a:rPr lang="th-TH" sz="1600" b="1" dirty="0" smtClean="0">
                <a:solidFill>
                  <a:schemeClr val="tx1">
                    <a:lumMod val="65000"/>
                    <a:lumOff val="35000"/>
                  </a:schemeClr>
                </a:solidFill>
                <a:latin typeface="TH SarabunPSK" pitchFamily="34" charset="-34"/>
                <a:cs typeface="TH SarabunPSK" pitchFamily="34" charset="-34"/>
              </a:rPr>
              <a:t>ท่าเรือ </a:t>
            </a:r>
            <a:r>
              <a:rPr lang="en-US" sz="1600" b="1" dirty="0" err="1" smtClean="0">
                <a:solidFill>
                  <a:schemeClr val="tx1">
                    <a:lumMod val="65000"/>
                    <a:lumOff val="35000"/>
                  </a:schemeClr>
                </a:solidFill>
                <a:latin typeface="TH SarabunPSK" pitchFamily="34" charset="-34"/>
                <a:cs typeface="TH SarabunPSK" pitchFamily="34" charset="-34"/>
              </a:rPr>
              <a:t>Dumai</a:t>
            </a:r>
            <a:r>
              <a:rPr lang="en-US" sz="1600" b="1" dirty="0" smtClean="0">
                <a:solidFill>
                  <a:schemeClr val="tx1">
                    <a:lumMod val="65000"/>
                    <a:lumOff val="35000"/>
                  </a:schemeClr>
                </a:solidFill>
                <a:latin typeface="TH SarabunPSK" pitchFamily="34" charset="-34"/>
                <a:cs typeface="TH SarabunPSK" pitchFamily="34" charset="-34"/>
              </a:rPr>
              <a:t> </a:t>
            </a:r>
            <a:r>
              <a:rPr lang="en-US" sz="1600" b="1" dirty="0">
                <a:solidFill>
                  <a:schemeClr val="tx1">
                    <a:lumMod val="65000"/>
                    <a:lumOff val="35000"/>
                  </a:schemeClr>
                </a:solidFill>
                <a:latin typeface="TH SarabunPSK" pitchFamily="34" charset="-34"/>
                <a:cs typeface="TH SarabunPSK" pitchFamily="34" charset="-34"/>
              </a:rPr>
              <a:t>Port </a:t>
            </a:r>
          </a:p>
          <a:p>
            <a:pPr algn="ctr" eaLnBrk="0" hangingPunct="0">
              <a:buFontTx/>
              <a:buChar char="-"/>
              <a:defRPr/>
            </a:pPr>
            <a:r>
              <a:rPr lang="th-TH" sz="1600" b="1" dirty="0" smtClean="0">
                <a:solidFill>
                  <a:schemeClr val="tx1">
                    <a:lumMod val="65000"/>
                    <a:lumOff val="35000"/>
                  </a:schemeClr>
                </a:solidFill>
                <a:latin typeface="TH SarabunPSK" pitchFamily="34" charset="-34"/>
                <a:cs typeface="TH SarabunPSK" pitchFamily="34" charset="-34"/>
              </a:rPr>
              <a:t>ถนน </a:t>
            </a:r>
            <a:r>
              <a:rPr lang="en-US" sz="1600" b="1" dirty="0" err="1" smtClean="0">
                <a:solidFill>
                  <a:schemeClr val="tx1">
                    <a:lumMod val="65000"/>
                    <a:lumOff val="35000"/>
                  </a:schemeClr>
                </a:solidFill>
                <a:latin typeface="TH SarabunPSK" pitchFamily="34" charset="-34"/>
                <a:cs typeface="TH SarabunPSK" pitchFamily="34" charset="-34"/>
              </a:rPr>
              <a:t>Pekanbaru-Dumai</a:t>
            </a:r>
            <a:endParaRPr lang="en-US" sz="1600" b="1" dirty="0">
              <a:solidFill>
                <a:schemeClr val="tx1">
                  <a:lumMod val="65000"/>
                  <a:lumOff val="35000"/>
                </a:schemeClr>
              </a:solidFill>
              <a:latin typeface="TH SarabunPSK" pitchFamily="34" charset="-34"/>
              <a:cs typeface="TH SarabunPSK" pitchFamily="34" charset="-34"/>
            </a:endParaRPr>
          </a:p>
        </p:txBody>
      </p:sp>
      <p:sp>
        <p:nvSpPr>
          <p:cNvPr id="62" name="TextBox 41"/>
          <p:cNvSpPr txBox="1"/>
          <p:nvPr/>
        </p:nvSpPr>
        <p:spPr bwMode="auto">
          <a:xfrm>
            <a:off x="7008020" y="2357275"/>
            <a:ext cx="1907381" cy="584775"/>
          </a:xfrm>
          <a:prstGeom prst="rect">
            <a:avLst/>
          </a:prstGeom>
          <a:solidFill>
            <a:schemeClr val="bg1">
              <a:lumMod val="85000"/>
            </a:schemeClr>
          </a:solidFill>
          <a:ln>
            <a:solidFill>
              <a:schemeClr val="accent1"/>
            </a:solidFill>
          </a:ln>
        </p:spPr>
        <p:txBody>
          <a:bodyPr wrap="square">
            <a:spAutoFit/>
          </a:bodyPr>
          <a:lstStyle/>
          <a:p>
            <a:pPr algn="ctr" eaLnBrk="0" hangingPunct="0">
              <a:defRPr/>
            </a:pPr>
            <a:r>
              <a:rPr lang="th-TH" sz="1600" b="1" dirty="0" smtClean="0">
                <a:solidFill>
                  <a:schemeClr val="tx1">
                    <a:lumMod val="65000"/>
                    <a:lumOff val="35000"/>
                  </a:schemeClr>
                </a:solidFill>
                <a:latin typeface="TH SarabunPSK" pitchFamily="34" charset="-34"/>
                <a:cs typeface="TH SarabunPSK" pitchFamily="34" charset="-34"/>
              </a:rPr>
              <a:t>การเชื่อมโยงไฟฟ้า</a:t>
            </a:r>
            <a:r>
              <a:rPr lang="en-US" sz="1600" b="1" dirty="0" smtClean="0">
                <a:solidFill>
                  <a:schemeClr val="tx1">
                    <a:lumMod val="65000"/>
                    <a:lumOff val="35000"/>
                  </a:schemeClr>
                </a:solidFill>
                <a:latin typeface="TH SarabunPSK" pitchFamily="34" charset="-34"/>
                <a:cs typeface="TH SarabunPSK" pitchFamily="34" charset="-34"/>
              </a:rPr>
              <a:t/>
            </a:r>
            <a:br>
              <a:rPr lang="en-US" sz="1600" b="1" dirty="0" smtClean="0">
                <a:solidFill>
                  <a:schemeClr val="tx1">
                    <a:lumMod val="65000"/>
                    <a:lumOff val="35000"/>
                  </a:schemeClr>
                </a:solidFill>
                <a:latin typeface="TH SarabunPSK" pitchFamily="34" charset="-34"/>
                <a:cs typeface="TH SarabunPSK" pitchFamily="34" charset="-34"/>
              </a:rPr>
            </a:br>
            <a:r>
              <a:rPr lang="en-US" sz="1600" b="1" dirty="0" smtClean="0">
                <a:solidFill>
                  <a:schemeClr val="tx1">
                    <a:lumMod val="65000"/>
                    <a:lumOff val="35000"/>
                  </a:schemeClr>
                </a:solidFill>
                <a:latin typeface="TH SarabunPSK" pitchFamily="34" charset="-34"/>
                <a:cs typeface="TH SarabunPSK" pitchFamily="34" charset="-34"/>
              </a:rPr>
              <a:t>Melaka-</a:t>
            </a:r>
            <a:r>
              <a:rPr lang="en-US" sz="1600" b="1" dirty="0" err="1" smtClean="0">
                <a:solidFill>
                  <a:schemeClr val="tx1">
                    <a:lumMod val="65000"/>
                    <a:lumOff val="35000"/>
                  </a:schemeClr>
                </a:solidFill>
                <a:latin typeface="TH SarabunPSK" pitchFamily="34" charset="-34"/>
                <a:cs typeface="TH SarabunPSK" pitchFamily="34" charset="-34"/>
              </a:rPr>
              <a:t>Pekanbaru</a:t>
            </a:r>
            <a:endParaRPr lang="en-US" sz="1600" b="1" dirty="0">
              <a:solidFill>
                <a:schemeClr val="tx1">
                  <a:lumMod val="65000"/>
                  <a:lumOff val="35000"/>
                </a:schemeClr>
              </a:solidFill>
              <a:latin typeface="TH SarabunPSK" pitchFamily="34" charset="-34"/>
              <a:cs typeface="TH SarabunPSK" pitchFamily="34" charset="-34"/>
            </a:endParaRPr>
          </a:p>
        </p:txBody>
      </p:sp>
      <p:sp>
        <p:nvSpPr>
          <p:cNvPr id="20488" name="Rectangle 52"/>
          <p:cNvSpPr>
            <a:spLocks noChangeArrowheads="1"/>
          </p:cNvSpPr>
          <p:nvPr/>
        </p:nvSpPr>
        <p:spPr bwMode="auto">
          <a:xfrm>
            <a:off x="0" y="2247900"/>
            <a:ext cx="2592388" cy="738664"/>
          </a:xfrm>
          <a:prstGeom prst="rect">
            <a:avLst/>
          </a:prstGeom>
          <a:solidFill>
            <a:schemeClr val="bg1">
              <a:lumMod val="85000"/>
            </a:schemeClr>
          </a:solidFill>
          <a:ln>
            <a:solidFill>
              <a:schemeClr val="accent1"/>
            </a:solidFill>
          </a:ln>
        </p:spPr>
        <p:txBody>
          <a:bodyPr>
            <a:spAutoFit/>
          </a:bodyPr>
          <a:lstStyle/>
          <a:p>
            <a:pPr algn="ctr" eaLnBrk="0" hangingPunct="0">
              <a:defRPr/>
            </a:pPr>
            <a:r>
              <a:rPr lang="th-TH" sz="1400" b="1" dirty="0" smtClean="0">
                <a:solidFill>
                  <a:schemeClr val="tx1">
                    <a:lumMod val="65000"/>
                    <a:lumOff val="35000"/>
                  </a:schemeClr>
                </a:solidFill>
                <a:latin typeface="TH SarabunPSK" pitchFamily="34" charset="-34"/>
                <a:cs typeface="TH SarabunPSK" pitchFamily="34" charset="-34"/>
              </a:rPr>
              <a:t>การพัฒนาสิ่งอำนวยความสะดวกทางหลวง จ.อาเจห์</a:t>
            </a:r>
            <a:r>
              <a:rPr lang="en-US" sz="1400" b="1" dirty="0" smtClean="0">
                <a:solidFill>
                  <a:schemeClr val="tx1">
                    <a:lumMod val="65000"/>
                    <a:lumOff val="35000"/>
                  </a:schemeClr>
                </a:solidFill>
                <a:latin typeface="TH SarabunPSK" pitchFamily="34" charset="-34"/>
                <a:cs typeface="TH SarabunPSK" pitchFamily="34" charset="-34"/>
              </a:rPr>
              <a:t/>
            </a:r>
            <a:br>
              <a:rPr lang="en-US" sz="1400" b="1" dirty="0" smtClean="0">
                <a:solidFill>
                  <a:schemeClr val="tx1">
                    <a:lumMod val="65000"/>
                    <a:lumOff val="35000"/>
                  </a:schemeClr>
                </a:solidFill>
                <a:latin typeface="TH SarabunPSK" pitchFamily="34" charset="-34"/>
                <a:cs typeface="TH SarabunPSK" pitchFamily="34" charset="-34"/>
              </a:rPr>
            </a:br>
            <a:r>
              <a:rPr lang="en-US" sz="1400" b="1" dirty="0" smtClean="0">
                <a:solidFill>
                  <a:schemeClr val="tx1">
                    <a:lumMod val="65000"/>
                    <a:lumOff val="35000"/>
                  </a:schemeClr>
                </a:solidFill>
                <a:latin typeface="TH SarabunPSK" pitchFamily="34" charset="-34"/>
                <a:cs typeface="TH SarabunPSK" pitchFamily="34" charset="-34"/>
              </a:rPr>
              <a:t>-</a:t>
            </a:r>
            <a:r>
              <a:rPr lang="en-US" sz="1400" b="1" dirty="0" err="1" smtClean="0">
                <a:solidFill>
                  <a:schemeClr val="tx1">
                    <a:lumMod val="65000"/>
                    <a:lumOff val="35000"/>
                  </a:schemeClr>
                </a:solidFill>
                <a:latin typeface="TH SarabunPSK" pitchFamily="34" charset="-34"/>
                <a:cs typeface="TH SarabunPSK" pitchFamily="34" charset="-34"/>
              </a:rPr>
              <a:t>Bandah</a:t>
            </a:r>
            <a:r>
              <a:rPr lang="en-US" sz="1400" b="1" dirty="0" smtClean="0">
                <a:solidFill>
                  <a:schemeClr val="tx1">
                    <a:lumMod val="65000"/>
                    <a:lumOff val="35000"/>
                  </a:schemeClr>
                </a:solidFill>
                <a:latin typeface="TH SarabunPSK" pitchFamily="34" charset="-34"/>
                <a:cs typeface="TH SarabunPSK" pitchFamily="34" charset="-34"/>
              </a:rPr>
              <a:t> Aceh-</a:t>
            </a:r>
            <a:r>
              <a:rPr lang="en-US" sz="1400" b="1" dirty="0" err="1" smtClean="0">
                <a:solidFill>
                  <a:schemeClr val="tx1">
                    <a:lumMod val="65000"/>
                    <a:lumOff val="35000"/>
                  </a:schemeClr>
                </a:solidFill>
                <a:latin typeface="TH SarabunPSK" pitchFamily="34" charset="-34"/>
                <a:cs typeface="TH SarabunPSK" pitchFamily="34" charset="-34"/>
              </a:rPr>
              <a:t>K.Simpang</a:t>
            </a:r>
            <a:endParaRPr lang="en-US" sz="1400" b="1" dirty="0">
              <a:solidFill>
                <a:srgbClr val="0033CC"/>
              </a:solidFill>
              <a:latin typeface="TH SarabunPSK" pitchFamily="34" charset="-34"/>
              <a:cs typeface="TH SarabunPSK" pitchFamily="34" charset="-34"/>
            </a:endParaRPr>
          </a:p>
        </p:txBody>
      </p:sp>
      <p:sp>
        <p:nvSpPr>
          <p:cNvPr id="10262" name="Line 54"/>
          <p:cNvSpPr>
            <a:spLocks noChangeShapeType="1"/>
          </p:cNvSpPr>
          <p:nvPr/>
        </p:nvSpPr>
        <p:spPr bwMode="auto">
          <a:xfrm flipV="1">
            <a:off x="468314" y="1869281"/>
            <a:ext cx="503237" cy="323850"/>
          </a:xfrm>
          <a:prstGeom prst="line">
            <a:avLst/>
          </a:prstGeom>
          <a:noFill/>
          <a:ln w="25400">
            <a:solidFill>
              <a:srgbClr val="CC3300"/>
            </a:solidFill>
            <a:round/>
            <a:headEnd/>
            <a:tailEnd type="arrow" w="med" len="med"/>
          </a:ln>
          <a:effectLst>
            <a:outerShdw dist="20000" dir="5400000" rotWithShape="0">
              <a:srgbClr val="000000">
                <a:alpha val="37999"/>
              </a:srgbClr>
            </a:outerShdw>
          </a:effectLst>
          <a:extLst>
            <a:ext uri="{909E8E84-426E-40DD-AFC4-6F175D3DCCD1}">
              <a14:hiddenFill xmlns:a14="http://schemas.microsoft.com/office/drawing/2010/main" xmlns="">
                <a:noFill/>
              </a14:hiddenFill>
            </a:ext>
          </a:extLst>
        </p:spPr>
        <p:txBody>
          <a:bodyPr/>
          <a:lstStyle/>
          <a:p>
            <a:endParaRPr lang="th-TH" sz="3200">
              <a:latin typeface="TH SarabunPSK" pitchFamily="34" charset="-34"/>
              <a:cs typeface="TH SarabunPSK" pitchFamily="34" charset="-34"/>
            </a:endParaRPr>
          </a:p>
        </p:txBody>
      </p:sp>
      <p:sp>
        <p:nvSpPr>
          <p:cNvPr id="10263" name="TextBox 41"/>
          <p:cNvSpPr txBox="1">
            <a:spLocks noChangeArrowheads="1"/>
          </p:cNvSpPr>
          <p:nvPr/>
        </p:nvSpPr>
        <p:spPr bwMode="auto">
          <a:xfrm>
            <a:off x="4356100" y="465535"/>
            <a:ext cx="3168650" cy="338554"/>
          </a:xfrm>
          <a:prstGeom prst="rect">
            <a:avLst/>
          </a:prstGeom>
          <a:solidFill>
            <a:srgbClr val="92D050"/>
          </a:solidFill>
          <a:ln w="9525">
            <a:solidFill>
              <a:schemeClr val="accent1"/>
            </a:solidFill>
            <a:miter lim="800000"/>
            <a:headEnd/>
            <a:tailEnd/>
          </a:ln>
        </p:spPr>
        <p:txBody>
          <a:bodyPr>
            <a:spAutoFit/>
          </a:bodyPr>
          <a:lstStyle>
            <a:lvl1pPr eaLnBrk="0" hangingPunct="0">
              <a:defRPr sz="2800">
                <a:solidFill>
                  <a:schemeClr val="tx1"/>
                </a:solidFill>
                <a:latin typeface="Arial" pitchFamily="34" charset="0"/>
                <a:cs typeface="Arial" pitchFamily="34" charset="0"/>
              </a:defRPr>
            </a:lvl1pPr>
            <a:lvl2pPr marL="742950" indent="-285750" eaLnBrk="0" hangingPunct="0">
              <a:defRPr sz="2800">
                <a:solidFill>
                  <a:schemeClr val="tx1"/>
                </a:solidFill>
                <a:latin typeface="Arial" pitchFamily="34" charset="0"/>
                <a:cs typeface="Arial" pitchFamily="34" charset="0"/>
              </a:defRPr>
            </a:lvl2pPr>
            <a:lvl3pPr marL="1143000" indent="-228600" eaLnBrk="0" hangingPunct="0">
              <a:defRPr sz="2800">
                <a:solidFill>
                  <a:schemeClr val="tx1"/>
                </a:solidFill>
                <a:latin typeface="Arial" pitchFamily="34" charset="0"/>
                <a:cs typeface="Arial" pitchFamily="34" charset="0"/>
              </a:defRPr>
            </a:lvl3pPr>
            <a:lvl4pPr marL="1600200" indent="-228600" eaLnBrk="0" hangingPunct="0">
              <a:defRPr sz="2800">
                <a:solidFill>
                  <a:schemeClr val="tx1"/>
                </a:solidFill>
                <a:latin typeface="Arial" pitchFamily="34" charset="0"/>
                <a:cs typeface="Arial" pitchFamily="34" charset="0"/>
              </a:defRPr>
            </a:lvl4pPr>
            <a:lvl5pPr marL="2057400" indent="-228600" eaLnBrk="0" hangingPunct="0">
              <a:defRPr sz="28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8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8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8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800">
                <a:solidFill>
                  <a:schemeClr val="tx1"/>
                </a:solidFill>
                <a:latin typeface="Arial" pitchFamily="34" charset="0"/>
                <a:cs typeface="Arial" pitchFamily="34" charset="0"/>
              </a:defRPr>
            </a:lvl9pPr>
          </a:lstStyle>
          <a:p>
            <a:pPr algn="ctr"/>
            <a:r>
              <a:rPr lang="th-TH" sz="1600" b="1" dirty="0" smtClean="0">
                <a:solidFill>
                  <a:srgbClr val="0000CC"/>
                </a:solidFill>
                <a:latin typeface="TH SarabunPSK" pitchFamily="34" charset="-34"/>
                <a:cs typeface="TH SarabunPSK" pitchFamily="34" charset="-34"/>
              </a:rPr>
              <a:t>คลังสินค้าคอนเทนเนอร์ภายในประเทศ (ทุ่งสง)</a:t>
            </a:r>
            <a:endParaRPr lang="en-US" sz="1600" dirty="0">
              <a:solidFill>
                <a:srgbClr val="0000CC"/>
              </a:solidFill>
              <a:latin typeface="TH SarabunPSK" pitchFamily="34" charset="-34"/>
              <a:cs typeface="TH SarabunPSK" pitchFamily="34" charset="-34"/>
            </a:endParaRPr>
          </a:p>
        </p:txBody>
      </p:sp>
      <p:sp>
        <p:nvSpPr>
          <p:cNvPr id="10264" name="Line 8"/>
          <p:cNvSpPr>
            <a:spLocks noChangeShapeType="1"/>
          </p:cNvSpPr>
          <p:nvPr/>
        </p:nvSpPr>
        <p:spPr bwMode="auto">
          <a:xfrm flipH="1" flipV="1">
            <a:off x="3457575" y="762000"/>
            <a:ext cx="914400" cy="14288"/>
          </a:xfrm>
          <a:prstGeom prst="line">
            <a:avLst/>
          </a:prstGeom>
          <a:noFill/>
          <a:ln w="25400">
            <a:solidFill>
              <a:srgbClr val="3333CC"/>
            </a:solidFill>
            <a:round/>
            <a:headEnd/>
            <a:tailEnd type="arrow" w="med" len="med"/>
          </a:ln>
          <a:effectLst>
            <a:outerShdw dist="20000" dir="5400000" rotWithShape="0">
              <a:srgbClr val="000000">
                <a:alpha val="37999"/>
              </a:srgbClr>
            </a:outerShdw>
          </a:effectLst>
          <a:extLst>
            <a:ext uri="{909E8E84-426E-40DD-AFC4-6F175D3DCCD1}">
              <a14:hiddenFill xmlns:a14="http://schemas.microsoft.com/office/drawing/2010/main" xmlns="">
                <a:noFill/>
              </a14:hiddenFill>
            </a:ext>
          </a:extLst>
        </p:spPr>
        <p:txBody>
          <a:bodyPr/>
          <a:lstStyle/>
          <a:p>
            <a:endParaRPr lang="th-TH" sz="3200">
              <a:latin typeface="TH SarabunPSK" pitchFamily="34" charset="-34"/>
              <a:cs typeface="TH SarabunPSK" pitchFamily="34" charset="-34"/>
            </a:endParaRPr>
          </a:p>
        </p:txBody>
      </p:sp>
      <p:sp>
        <p:nvSpPr>
          <p:cNvPr id="67" name="TextBox 41"/>
          <p:cNvSpPr txBox="1"/>
          <p:nvPr/>
        </p:nvSpPr>
        <p:spPr bwMode="auto">
          <a:xfrm>
            <a:off x="5148264" y="4192191"/>
            <a:ext cx="2663825" cy="830997"/>
          </a:xfrm>
          <a:prstGeom prst="rect">
            <a:avLst/>
          </a:prstGeom>
          <a:solidFill>
            <a:schemeClr val="bg1">
              <a:lumMod val="85000"/>
            </a:schemeClr>
          </a:solidFill>
          <a:ln>
            <a:solidFill>
              <a:schemeClr val="accent1"/>
            </a:solidFill>
          </a:ln>
        </p:spPr>
        <p:txBody>
          <a:bodyPr>
            <a:spAutoFit/>
          </a:bodyPr>
          <a:lstStyle/>
          <a:p>
            <a:pPr algn="ctr" eaLnBrk="0" hangingPunct="0">
              <a:defRPr/>
            </a:pPr>
            <a:r>
              <a:rPr lang="en-PH" sz="1600" b="1" dirty="0">
                <a:solidFill>
                  <a:schemeClr val="tx1">
                    <a:lumMod val="65000"/>
                    <a:lumOff val="35000"/>
                  </a:schemeClr>
                </a:solidFill>
                <a:latin typeface="TH SarabunPSK" pitchFamily="34" charset="-34"/>
                <a:cs typeface="TH SarabunPSK" pitchFamily="34" charset="-34"/>
              </a:rPr>
              <a:t>Southerly section of the Eastern Highway (Bandar Lampung-</a:t>
            </a:r>
            <a:r>
              <a:rPr lang="en-PH" sz="1600" b="1" dirty="0" err="1">
                <a:solidFill>
                  <a:schemeClr val="tx1">
                    <a:lumMod val="65000"/>
                    <a:lumOff val="35000"/>
                  </a:schemeClr>
                </a:solidFill>
                <a:latin typeface="TH SarabunPSK" pitchFamily="34" charset="-34"/>
                <a:cs typeface="TH SarabunPSK" pitchFamily="34" charset="-34"/>
              </a:rPr>
              <a:t>Bakauheni</a:t>
            </a:r>
            <a:r>
              <a:rPr lang="en-PH" sz="1600" b="1" dirty="0">
                <a:solidFill>
                  <a:schemeClr val="tx1">
                    <a:lumMod val="65000"/>
                    <a:lumOff val="35000"/>
                  </a:schemeClr>
                </a:solidFill>
                <a:latin typeface="TH SarabunPSK" pitchFamily="34" charset="-34"/>
                <a:cs typeface="TH SarabunPSK" pitchFamily="34" charset="-34"/>
              </a:rPr>
              <a:t>) to Java Project</a:t>
            </a:r>
            <a:endParaRPr lang="en-US" sz="1600" b="1" dirty="0">
              <a:solidFill>
                <a:schemeClr val="tx1">
                  <a:lumMod val="65000"/>
                  <a:lumOff val="35000"/>
                </a:schemeClr>
              </a:solidFill>
              <a:latin typeface="TH SarabunPSK" pitchFamily="34" charset="-34"/>
              <a:cs typeface="TH SarabunPSK" pitchFamily="34" charset="-34"/>
            </a:endParaRPr>
          </a:p>
        </p:txBody>
      </p:sp>
      <p:sp>
        <p:nvSpPr>
          <p:cNvPr id="10266" name="Line 15"/>
          <p:cNvSpPr>
            <a:spLocks noChangeShapeType="1"/>
          </p:cNvSpPr>
          <p:nvPr/>
        </p:nvSpPr>
        <p:spPr bwMode="auto">
          <a:xfrm flipV="1">
            <a:off x="3059114" y="1545431"/>
            <a:ext cx="1150937" cy="323850"/>
          </a:xfrm>
          <a:prstGeom prst="line">
            <a:avLst/>
          </a:prstGeom>
          <a:noFill/>
          <a:ln w="25400">
            <a:solidFill>
              <a:srgbClr val="3333CC"/>
            </a:solidFill>
            <a:round/>
            <a:headEnd/>
            <a:tailEnd type="arrow" w="med" len="med"/>
          </a:ln>
          <a:effectLst>
            <a:outerShdw dist="20000" dir="5400000" rotWithShape="0">
              <a:srgbClr val="000000">
                <a:alpha val="37999"/>
              </a:srgbClr>
            </a:outerShdw>
          </a:effectLst>
          <a:extLst>
            <a:ext uri="{909E8E84-426E-40DD-AFC4-6F175D3DCCD1}">
              <a14:hiddenFill xmlns:a14="http://schemas.microsoft.com/office/drawing/2010/main" xmlns="">
                <a:noFill/>
              </a14:hiddenFill>
            </a:ext>
          </a:extLst>
        </p:spPr>
        <p:txBody>
          <a:bodyPr/>
          <a:lstStyle/>
          <a:p>
            <a:endParaRPr lang="th-TH" sz="3200">
              <a:latin typeface="TH SarabunPSK" pitchFamily="34" charset="-34"/>
              <a:cs typeface="TH SarabunPSK" pitchFamily="34" charset="-34"/>
            </a:endParaRPr>
          </a:p>
        </p:txBody>
      </p:sp>
      <p:sp>
        <p:nvSpPr>
          <p:cNvPr id="10267" name="TextBox 41"/>
          <p:cNvSpPr txBox="1">
            <a:spLocks noChangeArrowheads="1"/>
          </p:cNvSpPr>
          <p:nvPr/>
        </p:nvSpPr>
        <p:spPr bwMode="auto">
          <a:xfrm>
            <a:off x="2916238" y="1869281"/>
            <a:ext cx="1889918" cy="830997"/>
          </a:xfrm>
          <a:prstGeom prst="rect">
            <a:avLst/>
          </a:prstGeom>
          <a:solidFill>
            <a:srgbClr val="92D050"/>
          </a:solidFill>
          <a:ln w="9525">
            <a:solidFill>
              <a:schemeClr val="accent1"/>
            </a:solidFill>
            <a:miter lim="800000"/>
            <a:headEnd/>
            <a:tailEnd/>
          </a:ln>
        </p:spPr>
        <p:txBody>
          <a:bodyPr wrap="square">
            <a:spAutoFit/>
          </a:bodyPr>
          <a:lstStyle>
            <a:lvl1pPr eaLnBrk="0" hangingPunct="0">
              <a:defRPr sz="2800">
                <a:solidFill>
                  <a:schemeClr val="tx1"/>
                </a:solidFill>
                <a:latin typeface="Arial" pitchFamily="34" charset="0"/>
                <a:cs typeface="Arial" pitchFamily="34" charset="0"/>
              </a:defRPr>
            </a:lvl1pPr>
            <a:lvl2pPr marL="742950" indent="-285750" eaLnBrk="0" hangingPunct="0">
              <a:defRPr sz="2800">
                <a:solidFill>
                  <a:schemeClr val="tx1"/>
                </a:solidFill>
                <a:latin typeface="Arial" pitchFamily="34" charset="0"/>
                <a:cs typeface="Arial" pitchFamily="34" charset="0"/>
              </a:defRPr>
            </a:lvl2pPr>
            <a:lvl3pPr marL="1143000" indent="-228600" eaLnBrk="0" hangingPunct="0">
              <a:defRPr sz="2800">
                <a:solidFill>
                  <a:schemeClr val="tx1"/>
                </a:solidFill>
                <a:latin typeface="Arial" pitchFamily="34" charset="0"/>
                <a:cs typeface="Arial" pitchFamily="34" charset="0"/>
              </a:defRPr>
            </a:lvl3pPr>
            <a:lvl4pPr marL="1600200" indent="-228600" eaLnBrk="0" hangingPunct="0">
              <a:defRPr sz="2800">
                <a:solidFill>
                  <a:schemeClr val="tx1"/>
                </a:solidFill>
                <a:latin typeface="Arial" pitchFamily="34" charset="0"/>
                <a:cs typeface="Arial" pitchFamily="34" charset="0"/>
              </a:defRPr>
            </a:lvl4pPr>
            <a:lvl5pPr marL="2057400" indent="-228600" eaLnBrk="0" hangingPunct="0">
              <a:defRPr sz="28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8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8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8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800">
                <a:solidFill>
                  <a:schemeClr val="tx1"/>
                </a:solidFill>
                <a:latin typeface="Arial" pitchFamily="34" charset="0"/>
                <a:cs typeface="Arial" pitchFamily="34" charset="0"/>
              </a:defRPr>
            </a:lvl9pPr>
          </a:lstStyle>
          <a:p>
            <a:pPr algn="ctr"/>
            <a:r>
              <a:rPr lang="en-US" sz="1600" b="1" dirty="0">
                <a:solidFill>
                  <a:srgbClr val="0000CC"/>
                </a:solidFill>
                <a:latin typeface="TH SarabunPSK" pitchFamily="34" charset="-34"/>
                <a:cs typeface="TH SarabunPSK" pitchFamily="34" charset="-34"/>
              </a:rPr>
              <a:t>SBEZ </a:t>
            </a:r>
            <a:br>
              <a:rPr lang="en-US" sz="1600" b="1" dirty="0">
                <a:solidFill>
                  <a:srgbClr val="0000CC"/>
                </a:solidFill>
                <a:latin typeface="TH SarabunPSK" pitchFamily="34" charset="-34"/>
                <a:cs typeface="TH SarabunPSK" pitchFamily="34" charset="-34"/>
              </a:rPr>
            </a:br>
            <a:r>
              <a:rPr lang="en-US" sz="1600" b="1" dirty="0" smtClean="0">
                <a:solidFill>
                  <a:srgbClr val="0000CC"/>
                </a:solidFill>
                <a:latin typeface="TH SarabunPSK" pitchFamily="34" charset="-34"/>
                <a:cs typeface="TH SarabunPSK" pitchFamily="34" charset="-34"/>
              </a:rPr>
              <a:t>1.</a:t>
            </a:r>
            <a:r>
              <a:rPr lang="th-TH" sz="1600" b="1" dirty="0" smtClean="0">
                <a:solidFill>
                  <a:srgbClr val="0000CC"/>
                </a:solidFill>
                <a:latin typeface="TH SarabunPSK" pitchFamily="34" charset="-34"/>
                <a:cs typeface="TH SarabunPSK" pitchFamily="34" charset="-34"/>
              </a:rPr>
              <a:t>สะเดา-ปาดังเบซาร์</a:t>
            </a:r>
            <a:r>
              <a:rPr lang="en-US" sz="1600" b="1" dirty="0" smtClean="0">
                <a:solidFill>
                  <a:srgbClr val="0000CC"/>
                </a:solidFill>
                <a:latin typeface="TH SarabunPSK" pitchFamily="34" charset="-34"/>
                <a:cs typeface="TH SarabunPSK" pitchFamily="34" charset="-34"/>
              </a:rPr>
              <a:t> </a:t>
            </a:r>
            <a:br>
              <a:rPr lang="en-US" sz="1600" b="1" dirty="0" smtClean="0">
                <a:solidFill>
                  <a:srgbClr val="0000CC"/>
                </a:solidFill>
                <a:latin typeface="TH SarabunPSK" pitchFamily="34" charset="-34"/>
                <a:cs typeface="TH SarabunPSK" pitchFamily="34" charset="-34"/>
              </a:rPr>
            </a:br>
            <a:r>
              <a:rPr lang="en-US" sz="1600" b="1" dirty="0" smtClean="0">
                <a:solidFill>
                  <a:srgbClr val="0000CC"/>
                </a:solidFill>
                <a:latin typeface="TH SarabunPSK" pitchFamily="34" charset="-34"/>
                <a:cs typeface="TH SarabunPSK" pitchFamily="34" charset="-34"/>
              </a:rPr>
              <a:t>2.</a:t>
            </a:r>
            <a:r>
              <a:rPr lang="th-TH" sz="1600" b="1" dirty="0" smtClean="0">
                <a:solidFill>
                  <a:srgbClr val="0000CC"/>
                </a:solidFill>
                <a:latin typeface="TH SarabunPSK" pitchFamily="34" charset="-34"/>
                <a:cs typeface="TH SarabunPSK" pitchFamily="34" charset="-34"/>
              </a:rPr>
              <a:t>นราธิวาส</a:t>
            </a:r>
            <a:r>
              <a:rPr lang="en-US" sz="1600" b="1" dirty="0" smtClean="0">
                <a:solidFill>
                  <a:srgbClr val="0000CC"/>
                </a:solidFill>
                <a:latin typeface="TH SarabunPSK" pitchFamily="34" charset="-34"/>
                <a:cs typeface="TH SarabunPSK" pitchFamily="34" charset="-34"/>
              </a:rPr>
              <a:t> </a:t>
            </a:r>
            <a:endParaRPr lang="en-US" sz="1600" b="1" dirty="0">
              <a:solidFill>
                <a:srgbClr val="0000CC"/>
              </a:solidFill>
              <a:latin typeface="TH SarabunPSK" pitchFamily="34" charset="-34"/>
              <a:cs typeface="TH SarabunPSK" pitchFamily="34" charset="-34"/>
            </a:endParaRPr>
          </a:p>
        </p:txBody>
      </p:sp>
      <p:sp>
        <p:nvSpPr>
          <p:cNvPr id="68" name="Rectangle 38"/>
          <p:cNvSpPr>
            <a:spLocks noChangeArrowheads="1"/>
          </p:cNvSpPr>
          <p:nvPr/>
        </p:nvSpPr>
        <p:spPr bwMode="auto">
          <a:xfrm>
            <a:off x="8099426" y="230982"/>
            <a:ext cx="186013" cy="770084"/>
          </a:xfrm>
          <a:prstGeom prst="rect">
            <a:avLst/>
          </a:prstGeom>
          <a:noFill/>
          <a:ln w="9525">
            <a:noFill/>
            <a:miter lim="800000"/>
            <a:headEnd/>
            <a:tailEnd/>
          </a:ln>
          <a:effectLst/>
        </p:spPr>
        <p:txBody>
          <a:bodyPr wrap="none" lIns="92075" tIns="46038" rIns="92075" bIns="46038">
            <a:spAutoFit/>
          </a:bodyPr>
          <a:lstStyle/>
          <a:p>
            <a:pPr defTabSz="762000" eaLnBrk="0" hangingPunct="0">
              <a:defRPr/>
            </a:pPr>
            <a:endParaRPr kumimoji="1" lang="en-US" sz="4400" b="1">
              <a:solidFill>
                <a:srgbClr val="A50021"/>
              </a:solidFill>
              <a:effectLst>
                <a:outerShdw blurRad="38100" dist="38100" dir="2700000" algn="tl">
                  <a:srgbClr val="C0C0C0"/>
                </a:outerShdw>
              </a:effectLst>
              <a:latin typeface="TH SarabunPSK" pitchFamily="34" charset="-34"/>
              <a:ea typeface="Gungsuh" pitchFamily="18" charset="-127"/>
              <a:cs typeface="TH SarabunPSK" pitchFamily="34" charset="-34"/>
            </a:endParaRPr>
          </a:p>
        </p:txBody>
      </p:sp>
      <p:sp>
        <p:nvSpPr>
          <p:cNvPr id="69" name="Rectangle 40"/>
          <p:cNvSpPr>
            <a:spLocks noChangeArrowheads="1"/>
          </p:cNvSpPr>
          <p:nvPr/>
        </p:nvSpPr>
        <p:spPr bwMode="auto">
          <a:xfrm>
            <a:off x="1588" y="-113901"/>
            <a:ext cx="9144000" cy="536173"/>
          </a:xfrm>
          <a:prstGeom prst="rect">
            <a:avLst/>
          </a:prstGeom>
          <a:noFill/>
          <a:ln w="9525">
            <a:noFill/>
            <a:miter lim="800000"/>
            <a:headEnd/>
            <a:tailEnd/>
          </a:ln>
          <a:effectLst/>
        </p:spPr>
        <p:txBody>
          <a:bodyPr lIns="92075" tIns="46038" rIns="92075" bIns="46038" anchor="ctr">
            <a:spAutoFit/>
          </a:bodyPr>
          <a:lstStyle/>
          <a:p>
            <a:pPr algn="r" defTabSz="762000" eaLnBrk="0" hangingPunct="0">
              <a:lnSpc>
                <a:spcPct val="120000"/>
              </a:lnSpc>
              <a:defRPr/>
            </a:pPr>
            <a:r>
              <a:rPr lang="th-TH" sz="2400" b="1" dirty="0">
                <a:solidFill>
                  <a:srgbClr val="000099"/>
                </a:solidFill>
                <a:latin typeface="TH SarabunPSK" pitchFamily="34" charset="-34"/>
                <a:cs typeface="TH SarabunPSK" pitchFamily="34" charset="-34"/>
              </a:rPr>
              <a:t>ภาพรวมการพัฒนาโครงสร้างพื้นฐานตามแนว </a:t>
            </a:r>
            <a:r>
              <a:rPr lang="en-US" sz="2400" b="1" dirty="0">
                <a:solidFill>
                  <a:srgbClr val="000099"/>
                </a:solidFill>
                <a:latin typeface="TH SarabunPSK" pitchFamily="34" charset="-34"/>
                <a:cs typeface="TH SarabunPSK" pitchFamily="34" charset="-34"/>
              </a:rPr>
              <a:t>Corridor </a:t>
            </a:r>
            <a:r>
              <a:rPr lang="th-TH" sz="2400" b="1" dirty="0">
                <a:solidFill>
                  <a:srgbClr val="000099"/>
                </a:solidFill>
                <a:latin typeface="TH SarabunPSK" pitchFamily="34" charset="-34"/>
                <a:cs typeface="TH SarabunPSK" pitchFamily="34" charset="-34"/>
              </a:rPr>
              <a:t>ของ </a:t>
            </a:r>
            <a:r>
              <a:rPr lang="en-US" sz="2400" b="1" dirty="0">
                <a:solidFill>
                  <a:srgbClr val="000099"/>
                </a:solidFill>
                <a:latin typeface="TH SarabunPSK" pitchFamily="34" charset="-34"/>
                <a:cs typeface="TH SarabunPSK" pitchFamily="34" charset="-34"/>
              </a:rPr>
              <a:t>IMT-GT</a:t>
            </a:r>
            <a:endParaRPr lang="en-US" sz="2400" b="1" dirty="0">
              <a:solidFill>
                <a:srgbClr val="000099"/>
              </a:solidFill>
              <a:latin typeface="TH SarabunPSK" pitchFamily="34" charset="-34"/>
              <a:ea typeface="+mj-ea"/>
              <a:cs typeface="TH SarabunPSK" pitchFamily="34" charset="-34"/>
            </a:endParaRPr>
          </a:p>
        </p:txBody>
      </p:sp>
      <p:sp>
        <p:nvSpPr>
          <p:cNvPr id="10270" name="Line 18"/>
          <p:cNvSpPr>
            <a:spLocks noChangeShapeType="1"/>
          </p:cNvSpPr>
          <p:nvPr/>
        </p:nvSpPr>
        <p:spPr bwMode="auto">
          <a:xfrm>
            <a:off x="468314" y="357188"/>
            <a:ext cx="8675687" cy="0"/>
          </a:xfrm>
          <a:prstGeom prst="line">
            <a:avLst/>
          </a:prstGeom>
          <a:noFill/>
          <a:ln w="28575">
            <a:solidFill>
              <a:srgbClr val="3333CC"/>
            </a:solidFill>
            <a:round/>
            <a:headEnd/>
            <a:tailEnd/>
          </a:ln>
          <a:extLst>
            <a:ext uri="{909E8E84-426E-40DD-AFC4-6F175D3DCCD1}">
              <a14:hiddenFill xmlns:a14="http://schemas.microsoft.com/office/drawing/2010/main" xmlns="">
                <a:noFill/>
              </a14:hiddenFill>
            </a:ext>
          </a:extLst>
        </p:spPr>
        <p:txBody>
          <a:bodyPr/>
          <a:lstStyle/>
          <a:p>
            <a:endParaRPr lang="th-TH" sz="3200">
              <a:latin typeface="TH SarabunPSK" pitchFamily="34" charset="-34"/>
              <a:cs typeface="TH SarabunPSK" pitchFamily="34" charset="-34"/>
            </a:endParaRPr>
          </a:p>
        </p:txBody>
      </p:sp>
      <p:sp>
        <p:nvSpPr>
          <p:cNvPr id="10271" name="TextBox 41"/>
          <p:cNvSpPr txBox="1">
            <a:spLocks noChangeArrowheads="1"/>
          </p:cNvSpPr>
          <p:nvPr/>
        </p:nvSpPr>
        <p:spPr bwMode="auto">
          <a:xfrm>
            <a:off x="5795963" y="1869281"/>
            <a:ext cx="1944687" cy="338554"/>
          </a:xfrm>
          <a:prstGeom prst="rect">
            <a:avLst/>
          </a:prstGeom>
          <a:solidFill>
            <a:srgbClr val="92D050"/>
          </a:solidFill>
          <a:ln w="9525">
            <a:solidFill>
              <a:schemeClr val="accent1"/>
            </a:solidFill>
            <a:miter lim="800000"/>
            <a:headEnd/>
            <a:tailEnd/>
          </a:ln>
        </p:spPr>
        <p:txBody>
          <a:bodyPr wrap="square">
            <a:spAutoFit/>
          </a:bodyPr>
          <a:lstStyle>
            <a:lvl1pPr eaLnBrk="0" hangingPunct="0">
              <a:defRPr sz="2800">
                <a:solidFill>
                  <a:schemeClr val="tx1"/>
                </a:solidFill>
                <a:latin typeface="Arial" pitchFamily="34" charset="0"/>
                <a:cs typeface="Arial" pitchFamily="34" charset="0"/>
              </a:defRPr>
            </a:lvl1pPr>
            <a:lvl2pPr marL="742950" indent="-285750" eaLnBrk="0" hangingPunct="0">
              <a:defRPr sz="2800">
                <a:solidFill>
                  <a:schemeClr val="tx1"/>
                </a:solidFill>
                <a:latin typeface="Arial" pitchFamily="34" charset="0"/>
                <a:cs typeface="Arial" pitchFamily="34" charset="0"/>
              </a:defRPr>
            </a:lvl2pPr>
            <a:lvl3pPr marL="1143000" indent="-228600" eaLnBrk="0" hangingPunct="0">
              <a:defRPr sz="2800">
                <a:solidFill>
                  <a:schemeClr val="tx1"/>
                </a:solidFill>
                <a:latin typeface="Arial" pitchFamily="34" charset="0"/>
                <a:cs typeface="Arial" pitchFamily="34" charset="0"/>
              </a:defRPr>
            </a:lvl3pPr>
            <a:lvl4pPr marL="1600200" indent="-228600" eaLnBrk="0" hangingPunct="0">
              <a:defRPr sz="2800">
                <a:solidFill>
                  <a:schemeClr val="tx1"/>
                </a:solidFill>
                <a:latin typeface="Arial" pitchFamily="34" charset="0"/>
                <a:cs typeface="Arial" pitchFamily="34" charset="0"/>
              </a:defRPr>
            </a:lvl4pPr>
            <a:lvl5pPr marL="2057400" indent="-228600" eaLnBrk="0" hangingPunct="0">
              <a:defRPr sz="28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8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8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8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800">
                <a:solidFill>
                  <a:schemeClr val="tx1"/>
                </a:solidFill>
                <a:latin typeface="Arial" pitchFamily="34" charset="0"/>
                <a:cs typeface="Arial" pitchFamily="34" charset="0"/>
              </a:defRPr>
            </a:lvl9pPr>
          </a:lstStyle>
          <a:p>
            <a:pPr algn="ctr"/>
            <a:r>
              <a:rPr lang="th-TH" sz="1600" b="1" dirty="0" smtClean="0">
                <a:solidFill>
                  <a:srgbClr val="0000CC"/>
                </a:solidFill>
                <a:latin typeface="TH SarabunPSK" pitchFamily="34" charset="-34"/>
                <a:cs typeface="TH SarabunPSK" pitchFamily="34" charset="-34"/>
              </a:rPr>
              <a:t>อุตสาหกรรมเมืองยาง</a:t>
            </a:r>
            <a:endParaRPr lang="en-US" sz="1600" b="1" dirty="0">
              <a:solidFill>
                <a:srgbClr val="0000CC"/>
              </a:solidFill>
              <a:latin typeface="TH SarabunPSK" pitchFamily="34" charset="-34"/>
              <a:cs typeface="TH SarabunPSK" pitchFamily="34" charset="-34"/>
            </a:endParaRPr>
          </a:p>
        </p:txBody>
      </p:sp>
      <p:sp>
        <p:nvSpPr>
          <p:cNvPr id="64" name="Oval 63"/>
          <p:cNvSpPr/>
          <p:nvPr/>
        </p:nvSpPr>
        <p:spPr>
          <a:xfrm>
            <a:off x="3419476" y="681038"/>
            <a:ext cx="144463" cy="163116"/>
          </a:xfrm>
          <a:prstGeom prst="ellipse">
            <a:avLst/>
          </a:prstGeom>
          <a:solidFill>
            <a:srgbClr val="00B050"/>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th-TH" sz="3200">
              <a:latin typeface="TH SarabunPSK" pitchFamily="34" charset="-34"/>
              <a:cs typeface="TH SarabunPSK" pitchFamily="34" charset="-34"/>
            </a:endParaRPr>
          </a:p>
        </p:txBody>
      </p:sp>
      <p:sp>
        <p:nvSpPr>
          <p:cNvPr id="65" name="Oval 64"/>
          <p:cNvSpPr/>
          <p:nvPr/>
        </p:nvSpPr>
        <p:spPr>
          <a:xfrm>
            <a:off x="2627313" y="1113235"/>
            <a:ext cx="144462" cy="161925"/>
          </a:xfrm>
          <a:prstGeom prst="ellipse">
            <a:avLst/>
          </a:prstGeom>
          <a:solidFill>
            <a:srgbClr val="00B050"/>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th-TH" sz="3200">
              <a:latin typeface="TH SarabunPSK" pitchFamily="34" charset="-34"/>
              <a:cs typeface="TH SarabunPSK" pitchFamily="34" charset="-34"/>
            </a:endParaRPr>
          </a:p>
        </p:txBody>
      </p:sp>
      <p:sp>
        <p:nvSpPr>
          <p:cNvPr id="70" name="Oval 69"/>
          <p:cNvSpPr/>
          <p:nvPr/>
        </p:nvSpPr>
        <p:spPr>
          <a:xfrm>
            <a:off x="3348038" y="1329929"/>
            <a:ext cx="144462" cy="161925"/>
          </a:xfrm>
          <a:prstGeom prst="ellipse">
            <a:avLst/>
          </a:prstGeom>
          <a:solidFill>
            <a:srgbClr val="00B050"/>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th-TH" sz="3200">
              <a:latin typeface="TH SarabunPSK" pitchFamily="34" charset="-34"/>
              <a:cs typeface="TH SarabunPSK" pitchFamily="34" charset="-34"/>
            </a:endParaRPr>
          </a:p>
        </p:txBody>
      </p:sp>
      <p:sp>
        <p:nvSpPr>
          <p:cNvPr id="71" name="Oval 70"/>
          <p:cNvSpPr/>
          <p:nvPr/>
        </p:nvSpPr>
        <p:spPr>
          <a:xfrm>
            <a:off x="4211638" y="1491854"/>
            <a:ext cx="144462" cy="161925"/>
          </a:xfrm>
          <a:prstGeom prst="ellipse">
            <a:avLst/>
          </a:prstGeom>
          <a:solidFill>
            <a:srgbClr val="00B050"/>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th-TH" sz="3200">
              <a:latin typeface="TH SarabunPSK" pitchFamily="34" charset="-34"/>
              <a:cs typeface="TH SarabunPSK" pitchFamily="34" charset="-34"/>
            </a:endParaRPr>
          </a:p>
        </p:txBody>
      </p:sp>
      <p:sp>
        <p:nvSpPr>
          <p:cNvPr id="72" name="Oval 71"/>
          <p:cNvSpPr/>
          <p:nvPr/>
        </p:nvSpPr>
        <p:spPr>
          <a:xfrm>
            <a:off x="5076826" y="2733675"/>
            <a:ext cx="142875" cy="161925"/>
          </a:xfrm>
          <a:prstGeom prst="ellipse">
            <a:avLst/>
          </a:prstGeom>
          <a:solidFill>
            <a:srgbClr val="00B050"/>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th-TH" sz="3200">
              <a:latin typeface="TH SarabunPSK" pitchFamily="34" charset="-34"/>
              <a:cs typeface="TH SarabunPSK" pitchFamily="34" charset="-34"/>
            </a:endParaRPr>
          </a:p>
        </p:txBody>
      </p:sp>
      <p:sp>
        <p:nvSpPr>
          <p:cNvPr id="73" name="Oval 72"/>
          <p:cNvSpPr/>
          <p:nvPr/>
        </p:nvSpPr>
        <p:spPr>
          <a:xfrm>
            <a:off x="2700339" y="1977629"/>
            <a:ext cx="142875" cy="161925"/>
          </a:xfrm>
          <a:prstGeom prst="ellipse">
            <a:avLst/>
          </a:prstGeom>
          <a:solidFill>
            <a:srgbClr val="00B050"/>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th-TH" sz="3200">
              <a:latin typeface="TH SarabunPSK" pitchFamily="34" charset="-34"/>
              <a:cs typeface="TH SarabunPSK" pitchFamily="34" charset="-34"/>
            </a:endParaRPr>
          </a:p>
        </p:txBody>
      </p:sp>
      <p:sp>
        <p:nvSpPr>
          <p:cNvPr id="74" name="Oval 73"/>
          <p:cNvSpPr/>
          <p:nvPr/>
        </p:nvSpPr>
        <p:spPr>
          <a:xfrm>
            <a:off x="971550" y="1762125"/>
            <a:ext cx="223838" cy="114300"/>
          </a:xfrm>
          <a:prstGeom prst="ellipse">
            <a:avLst/>
          </a:prstGeom>
          <a:solidFill>
            <a:srgbClr val="00B050"/>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th-TH" sz="3200">
              <a:latin typeface="TH SarabunPSK" pitchFamily="34" charset="-34"/>
              <a:cs typeface="TH SarabunPSK" pitchFamily="34" charset="-34"/>
            </a:endParaRPr>
          </a:p>
        </p:txBody>
      </p:sp>
    </p:spTree>
    <p:extLst>
      <p:ext uri="{BB962C8B-B14F-4D97-AF65-F5344CB8AC3E}">
        <p14:creationId xmlns:p14="http://schemas.microsoft.com/office/powerpoint/2010/main" xmlns="" val="3822006393"/>
      </p:ext>
    </p:extLst>
  </p:cSld>
  <p:clrMapOvr>
    <a:masterClrMapping/>
  </p:clrMapOvr>
  <mc:AlternateContent xmlns:mc="http://schemas.openxmlformats.org/markup-compatibility/2006">
    <mc:Choice xmlns:p14="http://schemas.microsoft.com/office/powerpoint/2010/main" xmlns="" Requires="p14">
      <p:transition spd="slow" p14:dur="2000"/>
    </mc:Choice>
    <mc:Fallback>
      <p:transition spd="slow"/>
    </mc:Fallback>
  </mc:AlternateContent>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2052" name="Picture 4" descr="IMT-GT Economic Corridor"/>
          <p:cNvPicPr>
            <a:picLocks noChangeAspect="1" noChangeArrowheads="1"/>
          </p:cNvPicPr>
          <p:nvPr/>
        </p:nvPicPr>
        <p:blipFill rotWithShape="1">
          <a:blip r:embed="rId2" cstate="print">
            <a:extLst>
              <a:ext uri="{28A0092B-C50C-407E-A947-70E740481C1C}">
                <a14:useLocalDpi xmlns:a14="http://schemas.microsoft.com/office/drawing/2010/main" xmlns="" val="0"/>
              </a:ext>
            </a:extLst>
          </a:blip>
          <a:srcRect l="8940" t="14496" r="11826" b="15349"/>
          <a:stretch/>
        </p:blipFill>
        <p:spPr bwMode="auto">
          <a:xfrm>
            <a:off x="35497" y="627534"/>
            <a:ext cx="4644007" cy="4320480"/>
          </a:xfrm>
          <a:prstGeom prst="rect">
            <a:avLst/>
          </a:prstGeom>
          <a:noFill/>
          <a:extLst>
            <a:ext uri="{909E8E84-426E-40DD-AFC4-6F175D3DCCD1}">
              <a14:hiddenFill xmlns:a14="http://schemas.microsoft.com/office/drawing/2010/main" xmlns="">
                <a:solidFill>
                  <a:srgbClr val="FFFFFF"/>
                </a:solidFill>
              </a14:hiddenFill>
            </a:ext>
          </a:extLst>
        </p:spPr>
      </p:pic>
      <p:sp>
        <p:nvSpPr>
          <p:cNvPr id="42" name="Rectangle 8"/>
          <p:cNvSpPr>
            <a:spLocks noChangeArrowheads="1"/>
          </p:cNvSpPr>
          <p:nvPr/>
        </p:nvSpPr>
        <p:spPr bwMode="auto">
          <a:xfrm>
            <a:off x="5076057" y="-373146"/>
            <a:ext cx="184731" cy="338554"/>
          </a:xfrm>
          <a:prstGeom prst="rect">
            <a:avLst/>
          </a:prstGeom>
          <a:noFill/>
          <a:ln w="9525">
            <a:noFill/>
            <a:miter lim="800000"/>
            <a:headEnd/>
            <a:tailEnd/>
          </a:ln>
          <a:effectLst/>
        </p:spPr>
        <p:txBody>
          <a:bodyPr vert="horz" wrap="none" lIns="91440" tIns="45720" rIns="91440" bIns="45720" numCol="1" anchor="ctr" anchorCtr="0" compatLnSpc="1">
            <a:prstTxWarp prst="textNoShape">
              <a:avLst/>
            </a:prstTxWarp>
            <a:spAutoFit/>
          </a:bodyPr>
          <a:lstStyle/>
          <a:p>
            <a:pPr fontAlgn="base">
              <a:spcBef>
                <a:spcPct val="0"/>
              </a:spcBef>
              <a:spcAft>
                <a:spcPct val="0"/>
              </a:spcAft>
            </a:pPr>
            <a:endParaRPr lang="en-US" sz="1600">
              <a:solidFill>
                <a:prstClr val="black"/>
              </a:solidFill>
              <a:latin typeface="Arial" pitchFamily="34" charset="0"/>
              <a:cs typeface="Arial" pitchFamily="34" charset="0"/>
            </a:endParaRPr>
          </a:p>
        </p:txBody>
      </p:sp>
      <p:pic>
        <p:nvPicPr>
          <p:cNvPr id="43" name="Picture 2" descr="http://www.domesticflightsthailand.com/images/AirportMap.gif"/>
          <p:cNvPicPr>
            <a:picLocks noChangeAspect="1" noChangeArrowheads="1"/>
          </p:cNvPicPr>
          <p:nvPr/>
        </p:nvPicPr>
        <p:blipFill>
          <a:blip r:embed="rId3" cstate="print"/>
          <a:srcRect/>
          <a:stretch>
            <a:fillRect/>
          </a:stretch>
        </p:blipFill>
        <p:spPr bwMode="auto">
          <a:xfrm>
            <a:off x="5099295" y="107988"/>
            <a:ext cx="3643306" cy="3273852"/>
          </a:xfrm>
          <a:prstGeom prst="rect">
            <a:avLst/>
          </a:prstGeom>
          <a:noFill/>
        </p:spPr>
      </p:pic>
      <p:sp>
        <p:nvSpPr>
          <p:cNvPr id="44" name="TextBox 43"/>
          <p:cNvSpPr txBox="1"/>
          <p:nvPr/>
        </p:nvSpPr>
        <p:spPr>
          <a:xfrm>
            <a:off x="6671062" y="1707654"/>
            <a:ext cx="1357322" cy="230832"/>
          </a:xfrm>
          <a:prstGeom prst="rect">
            <a:avLst/>
          </a:prstGeom>
          <a:noFill/>
        </p:spPr>
        <p:txBody>
          <a:bodyPr wrap="square" rtlCol="0">
            <a:spAutoFit/>
          </a:bodyPr>
          <a:lstStyle/>
          <a:p>
            <a:pPr fontAlgn="base">
              <a:spcBef>
                <a:spcPct val="0"/>
              </a:spcBef>
              <a:spcAft>
                <a:spcPct val="0"/>
              </a:spcAft>
            </a:pPr>
            <a:r>
              <a:rPr lang="en-US" sz="900" b="1" u="sng" dirty="0" err="1">
                <a:solidFill>
                  <a:prstClr val="black"/>
                </a:solidFill>
                <a:cs typeface="Arial" pitchFamily="34" charset="0"/>
              </a:rPr>
              <a:t>Suvarnabhum</a:t>
            </a:r>
            <a:endParaRPr lang="en-US" sz="900" b="1" u="sng" dirty="0">
              <a:solidFill>
                <a:prstClr val="black"/>
              </a:solidFill>
              <a:cs typeface="Arial" pitchFamily="34" charset="0"/>
            </a:endParaRPr>
          </a:p>
        </p:txBody>
      </p:sp>
      <p:sp>
        <p:nvSpPr>
          <p:cNvPr id="48" name="TextBox 47"/>
          <p:cNvSpPr txBox="1"/>
          <p:nvPr/>
        </p:nvSpPr>
        <p:spPr>
          <a:xfrm>
            <a:off x="6147085" y="1433612"/>
            <a:ext cx="845193" cy="253916"/>
          </a:xfrm>
          <a:prstGeom prst="rect">
            <a:avLst/>
          </a:prstGeom>
          <a:solidFill>
            <a:schemeClr val="bg1"/>
          </a:solidFill>
        </p:spPr>
        <p:txBody>
          <a:bodyPr wrap="square" rtlCol="0">
            <a:spAutoFit/>
          </a:bodyPr>
          <a:lstStyle/>
          <a:p>
            <a:pPr fontAlgn="base">
              <a:spcBef>
                <a:spcPct val="0"/>
              </a:spcBef>
              <a:spcAft>
                <a:spcPct val="0"/>
              </a:spcAft>
            </a:pPr>
            <a:r>
              <a:rPr lang="en-US" sz="1000" b="1" u="sng" dirty="0" err="1">
                <a:solidFill>
                  <a:prstClr val="black"/>
                </a:solidFill>
                <a:cs typeface="Arial" pitchFamily="34" charset="0"/>
              </a:rPr>
              <a:t>Donmuang</a:t>
            </a:r>
            <a:endParaRPr lang="en-US" sz="1000" b="1" u="sng" dirty="0">
              <a:solidFill>
                <a:prstClr val="black"/>
              </a:solidFill>
              <a:cs typeface="Arial" pitchFamily="34" charset="0"/>
            </a:endParaRPr>
          </a:p>
        </p:txBody>
      </p:sp>
      <p:pic>
        <p:nvPicPr>
          <p:cNvPr id="50" name="Picture 3"/>
          <p:cNvPicPr>
            <a:picLocks noChangeAspect="1" noChangeArrowheads="1"/>
          </p:cNvPicPr>
          <p:nvPr/>
        </p:nvPicPr>
        <p:blipFill>
          <a:blip r:embed="rId4" cstate="print"/>
          <a:srcRect/>
          <a:stretch>
            <a:fillRect/>
          </a:stretch>
        </p:blipFill>
        <p:spPr bwMode="auto">
          <a:xfrm>
            <a:off x="6516216" y="3065517"/>
            <a:ext cx="228600" cy="154305"/>
          </a:xfrm>
          <a:prstGeom prst="rect">
            <a:avLst/>
          </a:prstGeom>
          <a:noFill/>
          <a:ln w="9525">
            <a:noFill/>
            <a:miter lim="800000"/>
            <a:headEnd/>
            <a:tailEnd/>
          </a:ln>
          <a:effectLst/>
        </p:spPr>
      </p:pic>
      <p:pic>
        <p:nvPicPr>
          <p:cNvPr id="51" name="Picture 3"/>
          <p:cNvPicPr>
            <a:picLocks noChangeAspect="1" noChangeArrowheads="1"/>
          </p:cNvPicPr>
          <p:nvPr/>
        </p:nvPicPr>
        <p:blipFill>
          <a:blip r:embed="rId4" cstate="print"/>
          <a:srcRect/>
          <a:stretch>
            <a:fillRect/>
          </a:stretch>
        </p:blipFill>
        <p:spPr bwMode="auto">
          <a:xfrm>
            <a:off x="5956519" y="1176858"/>
            <a:ext cx="228600" cy="154305"/>
          </a:xfrm>
          <a:prstGeom prst="rect">
            <a:avLst/>
          </a:prstGeom>
          <a:noFill/>
          <a:ln w="9525">
            <a:noFill/>
            <a:miter lim="800000"/>
            <a:headEnd/>
            <a:tailEnd/>
          </a:ln>
          <a:effectLst/>
        </p:spPr>
      </p:pic>
      <p:sp>
        <p:nvSpPr>
          <p:cNvPr id="52" name="TextBox 51"/>
          <p:cNvSpPr txBox="1"/>
          <p:nvPr/>
        </p:nvSpPr>
        <p:spPr>
          <a:xfrm>
            <a:off x="5584672" y="1225080"/>
            <a:ext cx="571504" cy="230832"/>
          </a:xfrm>
          <a:prstGeom prst="rect">
            <a:avLst/>
          </a:prstGeom>
          <a:noFill/>
        </p:spPr>
        <p:txBody>
          <a:bodyPr wrap="square" rtlCol="0">
            <a:spAutoFit/>
          </a:bodyPr>
          <a:lstStyle/>
          <a:p>
            <a:pPr fontAlgn="base">
              <a:spcBef>
                <a:spcPct val="0"/>
              </a:spcBef>
              <a:spcAft>
                <a:spcPct val="0"/>
              </a:spcAft>
            </a:pPr>
            <a:r>
              <a:rPr lang="en-US" sz="900" b="1" u="sng" dirty="0" err="1">
                <a:solidFill>
                  <a:prstClr val="black"/>
                </a:solidFill>
                <a:cs typeface="Arial" pitchFamily="34" charset="0"/>
              </a:rPr>
              <a:t>Tak</a:t>
            </a:r>
            <a:endParaRPr lang="en-US" sz="900" b="1" u="sng" dirty="0">
              <a:solidFill>
                <a:prstClr val="black"/>
              </a:solidFill>
              <a:cs typeface="Arial" pitchFamily="34" charset="0"/>
            </a:endParaRPr>
          </a:p>
        </p:txBody>
      </p:sp>
      <p:sp>
        <p:nvSpPr>
          <p:cNvPr id="53" name="TextBox 52"/>
          <p:cNvSpPr txBox="1"/>
          <p:nvPr/>
        </p:nvSpPr>
        <p:spPr>
          <a:xfrm>
            <a:off x="6607127" y="3111810"/>
            <a:ext cx="845193" cy="253916"/>
          </a:xfrm>
          <a:prstGeom prst="rect">
            <a:avLst/>
          </a:prstGeom>
          <a:noFill/>
        </p:spPr>
        <p:txBody>
          <a:bodyPr wrap="square" rtlCol="0">
            <a:spAutoFit/>
          </a:bodyPr>
          <a:lstStyle/>
          <a:p>
            <a:pPr fontAlgn="base">
              <a:spcBef>
                <a:spcPct val="0"/>
              </a:spcBef>
              <a:spcAft>
                <a:spcPct val="0"/>
              </a:spcAft>
            </a:pPr>
            <a:r>
              <a:rPr lang="en-US" sz="1000" b="1" u="sng" dirty="0" err="1" smtClean="0">
                <a:solidFill>
                  <a:prstClr val="black"/>
                </a:solidFill>
                <a:cs typeface="Arial" pitchFamily="34" charset="0"/>
              </a:rPr>
              <a:t>Betong</a:t>
            </a:r>
            <a:endParaRPr lang="en-US" sz="1000" b="1" u="sng" dirty="0">
              <a:solidFill>
                <a:prstClr val="black"/>
              </a:solidFill>
              <a:cs typeface="Arial" pitchFamily="34" charset="0"/>
            </a:endParaRPr>
          </a:p>
        </p:txBody>
      </p:sp>
      <p:sp>
        <p:nvSpPr>
          <p:cNvPr id="54" name="Rounded Rectangle 53"/>
          <p:cNvSpPr/>
          <p:nvPr/>
        </p:nvSpPr>
        <p:spPr>
          <a:xfrm>
            <a:off x="6612482" y="3147366"/>
            <a:ext cx="551807" cy="126463"/>
          </a:xfrm>
          <a:prstGeom prst="roundRect">
            <a:avLst/>
          </a:prstGeom>
          <a:noFill/>
          <a:ln w="317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600">
              <a:solidFill>
                <a:prstClr val="white"/>
              </a:solidFill>
            </a:endParaRPr>
          </a:p>
        </p:txBody>
      </p:sp>
      <p:sp>
        <p:nvSpPr>
          <p:cNvPr id="55" name="Rounded Rectangle 54"/>
          <p:cNvSpPr/>
          <p:nvPr/>
        </p:nvSpPr>
        <p:spPr>
          <a:xfrm>
            <a:off x="6948264" y="2985348"/>
            <a:ext cx="720080" cy="126463"/>
          </a:xfrm>
          <a:prstGeom prst="roundRect">
            <a:avLst/>
          </a:prstGeom>
          <a:noFill/>
          <a:ln w="317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600">
              <a:solidFill>
                <a:prstClr val="white"/>
              </a:solidFill>
            </a:endParaRPr>
          </a:p>
        </p:txBody>
      </p:sp>
      <p:sp>
        <p:nvSpPr>
          <p:cNvPr id="2" name="Rectangle 1"/>
          <p:cNvSpPr/>
          <p:nvPr/>
        </p:nvSpPr>
        <p:spPr>
          <a:xfrm>
            <a:off x="4876800" y="3560988"/>
            <a:ext cx="4283968" cy="1261884"/>
          </a:xfrm>
          <a:prstGeom prst="rect">
            <a:avLst/>
          </a:prstGeom>
        </p:spPr>
        <p:txBody>
          <a:bodyPr wrap="square">
            <a:spAutoFit/>
          </a:bodyPr>
          <a:lstStyle/>
          <a:p>
            <a:r>
              <a:rPr lang="th-TH" sz="1900" b="1" dirty="0" smtClean="0">
                <a:latin typeface="TH SarabunPSK" pitchFamily="34" charset="-34"/>
                <a:cs typeface="TH SarabunPSK" pitchFamily="34" charset="-34"/>
              </a:rPr>
              <a:t>การพัฒนา</a:t>
            </a:r>
            <a:r>
              <a:rPr lang="th-TH" sz="1900" b="1" dirty="0" smtClean="0">
                <a:solidFill>
                  <a:srgbClr val="C00000"/>
                </a:solidFill>
                <a:latin typeface="TH SarabunPSK" pitchFamily="34" charset="-34"/>
                <a:cs typeface="TH SarabunPSK" pitchFamily="34" charset="-34"/>
              </a:rPr>
              <a:t>ท่าอากาศยานเบตง จ.ยะลา</a:t>
            </a:r>
            <a:r>
              <a:rPr lang="th-TH" sz="1900" b="1" dirty="0" smtClean="0">
                <a:latin typeface="TH SarabunPSK" pitchFamily="34" charset="-34"/>
                <a:cs typeface="TH SarabunPSK" pitchFamily="34" charset="-34"/>
              </a:rPr>
              <a:t> และ</a:t>
            </a:r>
            <a:r>
              <a:rPr lang="th-TH" sz="1900" b="1" dirty="0">
                <a:latin typeface="TH SarabunPSK" pitchFamily="34" charset="-34"/>
                <a:cs typeface="TH SarabunPSK" pitchFamily="34" charset="-34"/>
              </a:rPr>
              <a:t> </a:t>
            </a:r>
            <a:r>
              <a:rPr lang="th-TH" sz="1900" b="1" dirty="0" smtClean="0">
                <a:solidFill>
                  <a:srgbClr val="C00000"/>
                </a:solidFill>
                <a:latin typeface="TH SarabunPSK" pitchFamily="34" charset="-34"/>
                <a:cs typeface="TH SarabunPSK" pitchFamily="34" charset="-34"/>
              </a:rPr>
              <a:t>ท่าอากาศยานนราธิวาส</a:t>
            </a:r>
            <a:r>
              <a:rPr lang="th-TH" sz="1900" b="1" dirty="0" smtClean="0">
                <a:latin typeface="TH SarabunPSK" pitchFamily="34" charset="-34"/>
                <a:cs typeface="TH SarabunPSK" pitchFamily="34" charset="-34"/>
              </a:rPr>
              <a:t> จะช่วยรองรับประชาชนและนักท่องเที่ยวจากภายนอกให้เข้ามายังจังหวัดชายแดนภาคใต้ฝั่งตะวันออก</a:t>
            </a:r>
            <a:br>
              <a:rPr lang="th-TH" sz="1900" b="1" dirty="0" smtClean="0">
                <a:latin typeface="TH SarabunPSK" pitchFamily="34" charset="-34"/>
                <a:cs typeface="TH SarabunPSK" pitchFamily="34" charset="-34"/>
              </a:rPr>
            </a:br>
            <a:r>
              <a:rPr lang="th-TH" sz="1900" b="1" dirty="0" smtClean="0">
                <a:latin typeface="TH SarabunPSK" pitchFamily="34" charset="-34"/>
                <a:cs typeface="TH SarabunPSK" pitchFamily="34" charset="-34"/>
              </a:rPr>
              <a:t>ของไทย และภาคเหนือของมาเลเซียได้อย่างสะดวกมากขึ้น</a:t>
            </a:r>
            <a:endParaRPr lang="en-US" sz="1900" b="1" dirty="0">
              <a:latin typeface="TH SarabunPSK" pitchFamily="34" charset="-34"/>
              <a:cs typeface="TH SarabunPSK" pitchFamily="34" charset="-34"/>
            </a:endParaRPr>
          </a:p>
        </p:txBody>
      </p:sp>
      <p:sp>
        <p:nvSpPr>
          <p:cNvPr id="3" name="Rectangle 2"/>
          <p:cNvSpPr/>
          <p:nvPr/>
        </p:nvSpPr>
        <p:spPr>
          <a:xfrm>
            <a:off x="35497" y="24004"/>
            <a:ext cx="5040560" cy="624530"/>
          </a:xfrm>
          <a:prstGeom prst="rect">
            <a:avLst/>
          </a:prstGeom>
        </p:spPr>
        <p:txBody>
          <a:bodyPr wrap="square">
            <a:spAutoFit/>
          </a:bodyPr>
          <a:lstStyle/>
          <a:p>
            <a:pPr algn="ctr">
              <a:lnSpc>
                <a:spcPts val="2000"/>
              </a:lnSpc>
            </a:pPr>
            <a:r>
              <a:rPr lang="th-TH" altLang="en-US" sz="2400" b="1" spc="100" dirty="0">
                <a:solidFill>
                  <a:srgbClr val="002060"/>
                </a:solidFill>
                <a:latin typeface="TH SarabunPSK" pitchFamily="34" charset="-34"/>
                <a:cs typeface="TH SarabunPSK" pitchFamily="34" charset="-34"/>
              </a:rPr>
              <a:t>การ</a:t>
            </a:r>
            <a:r>
              <a:rPr lang="th-TH" altLang="en-US" sz="2400" b="1" spc="100" dirty="0" smtClean="0">
                <a:solidFill>
                  <a:srgbClr val="002060"/>
                </a:solidFill>
                <a:latin typeface="TH SarabunPSK" pitchFamily="34" charset="-34"/>
                <a:cs typeface="TH SarabunPSK" pitchFamily="34" charset="-34"/>
              </a:rPr>
              <a:t>พัฒนาความเชื่อมโยงทางอากาศระหว่าง</a:t>
            </a:r>
          </a:p>
          <a:p>
            <a:pPr algn="ctr">
              <a:lnSpc>
                <a:spcPts val="2000"/>
              </a:lnSpc>
            </a:pPr>
            <a:r>
              <a:rPr lang="th-TH" altLang="en-US" sz="2400" b="1" spc="100" dirty="0" smtClean="0">
                <a:solidFill>
                  <a:srgbClr val="002060"/>
                </a:solidFill>
                <a:latin typeface="TH SarabunPSK" pitchFamily="34" charset="-34"/>
                <a:cs typeface="TH SarabunPSK" pitchFamily="34" charset="-34"/>
              </a:rPr>
              <a:t>เมืองสำคัญใน </a:t>
            </a:r>
            <a:r>
              <a:rPr lang="en-US" altLang="en-US" sz="2400" b="1" spc="100" dirty="0" smtClean="0">
                <a:solidFill>
                  <a:srgbClr val="002060"/>
                </a:solidFill>
                <a:latin typeface="TH SarabunPSK" pitchFamily="34" charset="-34"/>
                <a:cs typeface="TH SarabunPSK" pitchFamily="34" charset="-34"/>
              </a:rPr>
              <a:t>IMT-GT</a:t>
            </a:r>
            <a:endParaRPr lang="en-US" sz="2400" spc="100" dirty="0">
              <a:solidFill>
                <a:srgbClr val="002060"/>
              </a:solidFill>
            </a:endParaRPr>
          </a:p>
        </p:txBody>
      </p:sp>
      <p:sp>
        <p:nvSpPr>
          <p:cNvPr id="58" name="Oval 57"/>
          <p:cNvSpPr/>
          <p:nvPr/>
        </p:nvSpPr>
        <p:spPr>
          <a:xfrm>
            <a:off x="395536" y="1923679"/>
            <a:ext cx="131380" cy="109523"/>
          </a:xfrm>
          <a:prstGeom prst="ellipse">
            <a:avLst/>
          </a:prstGeom>
          <a:solidFill>
            <a:srgbClr val="0000FF"/>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th-TH" sz="2400"/>
          </a:p>
        </p:txBody>
      </p:sp>
      <p:sp>
        <p:nvSpPr>
          <p:cNvPr id="59" name="Oval 58"/>
          <p:cNvSpPr/>
          <p:nvPr/>
        </p:nvSpPr>
        <p:spPr>
          <a:xfrm>
            <a:off x="1331640" y="1328101"/>
            <a:ext cx="131380" cy="109523"/>
          </a:xfrm>
          <a:prstGeom prst="ellipse">
            <a:avLst/>
          </a:prstGeom>
          <a:solidFill>
            <a:srgbClr val="0000FF"/>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th-TH" sz="2400"/>
          </a:p>
        </p:txBody>
      </p:sp>
      <p:sp>
        <p:nvSpPr>
          <p:cNvPr id="60" name="Oval 59"/>
          <p:cNvSpPr/>
          <p:nvPr/>
        </p:nvSpPr>
        <p:spPr>
          <a:xfrm>
            <a:off x="2712428" y="1761661"/>
            <a:ext cx="131380" cy="109523"/>
          </a:xfrm>
          <a:prstGeom prst="ellipse">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th-TH" sz="2400"/>
          </a:p>
        </p:txBody>
      </p:sp>
      <p:sp>
        <p:nvSpPr>
          <p:cNvPr id="61" name="Oval 60"/>
          <p:cNvSpPr/>
          <p:nvPr/>
        </p:nvSpPr>
        <p:spPr>
          <a:xfrm>
            <a:off x="2483768" y="1760149"/>
            <a:ext cx="131380" cy="109523"/>
          </a:xfrm>
          <a:prstGeom prst="ellipse">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th-TH" sz="2400"/>
          </a:p>
        </p:txBody>
      </p:sp>
      <p:sp>
        <p:nvSpPr>
          <p:cNvPr id="62" name="Oval 61"/>
          <p:cNvSpPr/>
          <p:nvPr/>
        </p:nvSpPr>
        <p:spPr>
          <a:xfrm>
            <a:off x="1475656" y="2462227"/>
            <a:ext cx="131380" cy="109523"/>
          </a:xfrm>
          <a:prstGeom prst="ellipse">
            <a:avLst/>
          </a:prstGeom>
          <a:solidFill>
            <a:srgbClr val="0000FF"/>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th-TH" sz="2400"/>
          </a:p>
        </p:txBody>
      </p:sp>
      <p:sp>
        <p:nvSpPr>
          <p:cNvPr id="63" name="Oval 62"/>
          <p:cNvSpPr/>
          <p:nvPr/>
        </p:nvSpPr>
        <p:spPr>
          <a:xfrm>
            <a:off x="1992348" y="1923679"/>
            <a:ext cx="131380" cy="109523"/>
          </a:xfrm>
          <a:prstGeom prst="ellipse">
            <a:avLst/>
          </a:prstGeom>
          <a:solidFill>
            <a:srgbClr val="0000FF"/>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th-TH" sz="2400"/>
          </a:p>
        </p:txBody>
      </p:sp>
      <p:sp>
        <p:nvSpPr>
          <p:cNvPr id="64" name="Oval 63"/>
          <p:cNvSpPr/>
          <p:nvPr/>
        </p:nvSpPr>
        <p:spPr>
          <a:xfrm>
            <a:off x="1776324" y="1437625"/>
            <a:ext cx="131380" cy="109523"/>
          </a:xfrm>
          <a:prstGeom prst="ellipse">
            <a:avLst/>
          </a:prstGeom>
          <a:solidFill>
            <a:srgbClr val="0000FF"/>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th-TH" sz="2400"/>
          </a:p>
        </p:txBody>
      </p:sp>
      <p:sp>
        <p:nvSpPr>
          <p:cNvPr id="65" name="Oval 64"/>
          <p:cNvSpPr/>
          <p:nvPr/>
        </p:nvSpPr>
        <p:spPr>
          <a:xfrm>
            <a:off x="1632308" y="1328101"/>
            <a:ext cx="131380" cy="109523"/>
          </a:xfrm>
          <a:prstGeom prst="ellipse">
            <a:avLst/>
          </a:prstGeom>
          <a:solidFill>
            <a:srgbClr val="0000FF"/>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th-TH" sz="2400"/>
          </a:p>
        </p:txBody>
      </p:sp>
      <p:sp>
        <p:nvSpPr>
          <p:cNvPr id="66" name="Oval 65"/>
          <p:cNvSpPr/>
          <p:nvPr/>
        </p:nvSpPr>
        <p:spPr>
          <a:xfrm>
            <a:off x="1475656" y="842047"/>
            <a:ext cx="131380" cy="109523"/>
          </a:xfrm>
          <a:prstGeom prst="ellipse">
            <a:avLst/>
          </a:prstGeom>
          <a:solidFill>
            <a:srgbClr val="0000FF"/>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th-TH" sz="2400"/>
          </a:p>
        </p:txBody>
      </p:sp>
      <p:sp>
        <p:nvSpPr>
          <p:cNvPr id="67" name="Oval 66"/>
          <p:cNvSpPr/>
          <p:nvPr/>
        </p:nvSpPr>
        <p:spPr>
          <a:xfrm>
            <a:off x="3635896" y="4082407"/>
            <a:ext cx="131380" cy="109523"/>
          </a:xfrm>
          <a:prstGeom prst="ellipse">
            <a:avLst/>
          </a:prstGeom>
          <a:solidFill>
            <a:srgbClr val="0000FF"/>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th-TH" sz="2400"/>
          </a:p>
        </p:txBody>
      </p:sp>
      <p:sp>
        <p:nvSpPr>
          <p:cNvPr id="68" name="Oval 67"/>
          <p:cNvSpPr/>
          <p:nvPr/>
        </p:nvSpPr>
        <p:spPr>
          <a:xfrm>
            <a:off x="2136364" y="3543858"/>
            <a:ext cx="131380" cy="109523"/>
          </a:xfrm>
          <a:prstGeom prst="ellipse">
            <a:avLst/>
          </a:prstGeom>
          <a:solidFill>
            <a:srgbClr val="0000FF"/>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th-TH" sz="2400"/>
          </a:p>
        </p:txBody>
      </p:sp>
      <p:sp>
        <p:nvSpPr>
          <p:cNvPr id="69" name="Oval 68"/>
          <p:cNvSpPr/>
          <p:nvPr/>
        </p:nvSpPr>
        <p:spPr>
          <a:xfrm>
            <a:off x="1979712" y="1383619"/>
            <a:ext cx="131380" cy="109523"/>
          </a:xfrm>
          <a:prstGeom prst="ellipse">
            <a:avLst/>
          </a:prstGeom>
          <a:solidFill>
            <a:srgbClr val="0000FF"/>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th-TH" sz="2400"/>
          </a:p>
        </p:txBody>
      </p:sp>
      <p:sp>
        <p:nvSpPr>
          <p:cNvPr id="70" name="Oval 69"/>
          <p:cNvSpPr/>
          <p:nvPr/>
        </p:nvSpPr>
        <p:spPr>
          <a:xfrm>
            <a:off x="1691680" y="1058071"/>
            <a:ext cx="131380" cy="109523"/>
          </a:xfrm>
          <a:prstGeom prst="ellipse">
            <a:avLst/>
          </a:prstGeom>
          <a:solidFill>
            <a:srgbClr val="0000FF"/>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th-TH" sz="2400"/>
          </a:p>
        </p:txBody>
      </p:sp>
      <p:sp>
        <p:nvSpPr>
          <p:cNvPr id="71" name="Oval 70"/>
          <p:cNvSpPr/>
          <p:nvPr/>
        </p:nvSpPr>
        <p:spPr>
          <a:xfrm>
            <a:off x="1907704" y="1167595"/>
            <a:ext cx="131380" cy="109523"/>
          </a:xfrm>
          <a:prstGeom prst="ellipse">
            <a:avLst/>
          </a:prstGeom>
          <a:solidFill>
            <a:srgbClr val="0000FF"/>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th-TH" sz="2400"/>
          </a:p>
        </p:txBody>
      </p:sp>
      <p:sp>
        <p:nvSpPr>
          <p:cNvPr id="72" name="Oval 71"/>
          <p:cNvSpPr/>
          <p:nvPr/>
        </p:nvSpPr>
        <p:spPr>
          <a:xfrm>
            <a:off x="2195736" y="1545637"/>
            <a:ext cx="131380" cy="109523"/>
          </a:xfrm>
          <a:prstGeom prst="ellipse">
            <a:avLst/>
          </a:prstGeom>
          <a:solidFill>
            <a:srgbClr val="0000FF"/>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th-TH" sz="2400"/>
          </a:p>
        </p:txBody>
      </p:sp>
      <p:sp>
        <p:nvSpPr>
          <p:cNvPr id="73" name="Oval 72"/>
          <p:cNvSpPr/>
          <p:nvPr/>
        </p:nvSpPr>
        <p:spPr>
          <a:xfrm>
            <a:off x="2555776" y="2517744"/>
            <a:ext cx="131380" cy="109523"/>
          </a:xfrm>
          <a:prstGeom prst="ellipse">
            <a:avLst/>
          </a:prstGeom>
          <a:solidFill>
            <a:srgbClr val="0000FF"/>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th-TH" sz="2400"/>
          </a:p>
        </p:txBody>
      </p:sp>
      <p:sp>
        <p:nvSpPr>
          <p:cNvPr id="74" name="Oval 73"/>
          <p:cNvSpPr/>
          <p:nvPr/>
        </p:nvSpPr>
        <p:spPr>
          <a:xfrm>
            <a:off x="2483768" y="3218311"/>
            <a:ext cx="131380" cy="109523"/>
          </a:xfrm>
          <a:prstGeom prst="ellipse">
            <a:avLst/>
          </a:prstGeom>
          <a:solidFill>
            <a:srgbClr val="0000FF"/>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th-TH" sz="2400"/>
          </a:p>
        </p:txBody>
      </p:sp>
      <p:sp>
        <p:nvSpPr>
          <p:cNvPr id="75" name="Oval 74"/>
          <p:cNvSpPr/>
          <p:nvPr/>
        </p:nvSpPr>
        <p:spPr>
          <a:xfrm>
            <a:off x="6528852" y="3057805"/>
            <a:ext cx="131380" cy="109523"/>
          </a:xfrm>
          <a:prstGeom prst="ellipse">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th-TH" sz="2400"/>
          </a:p>
        </p:txBody>
      </p:sp>
      <p:sp>
        <p:nvSpPr>
          <p:cNvPr id="76" name="Oval 75"/>
          <p:cNvSpPr/>
          <p:nvPr/>
        </p:nvSpPr>
        <p:spPr>
          <a:xfrm>
            <a:off x="6804248" y="3003799"/>
            <a:ext cx="131380" cy="109523"/>
          </a:xfrm>
          <a:prstGeom prst="ellipse">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th-TH" sz="2400"/>
          </a:p>
        </p:txBody>
      </p:sp>
      <p:sp>
        <p:nvSpPr>
          <p:cNvPr id="77" name="Oval 76"/>
          <p:cNvSpPr/>
          <p:nvPr/>
        </p:nvSpPr>
        <p:spPr>
          <a:xfrm>
            <a:off x="3288492" y="2948281"/>
            <a:ext cx="131380" cy="109523"/>
          </a:xfrm>
          <a:prstGeom prst="ellipse">
            <a:avLst/>
          </a:prstGeom>
          <a:solidFill>
            <a:srgbClr val="0000FF"/>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th-TH" sz="2400"/>
          </a:p>
        </p:txBody>
      </p:sp>
      <p:sp>
        <p:nvSpPr>
          <p:cNvPr id="4" name="Rectangle 3"/>
          <p:cNvSpPr/>
          <p:nvPr/>
        </p:nvSpPr>
        <p:spPr>
          <a:xfrm>
            <a:off x="101186" y="3921900"/>
            <a:ext cx="1662502" cy="972108"/>
          </a:xfrm>
          <a:prstGeom prst="rect">
            <a:avLst/>
          </a:prstGeom>
          <a:solidFill>
            <a:srgbClr val="CCEC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79" name="Oval 78"/>
          <p:cNvSpPr/>
          <p:nvPr/>
        </p:nvSpPr>
        <p:spPr>
          <a:xfrm>
            <a:off x="251520" y="4245937"/>
            <a:ext cx="131380" cy="109523"/>
          </a:xfrm>
          <a:prstGeom prst="ellipse">
            <a:avLst/>
          </a:prstGeom>
          <a:solidFill>
            <a:srgbClr val="0000FF"/>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th-TH" sz="2400"/>
          </a:p>
        </p:txBody>
      </p:sp>
      <p:sp>
        <p:nvSpPr>
          <p:cNvPr id="81" name="Oval 80"/>
          <p:cNvSpPr/>
          <p:nvPr/>
        </p:nvSpPr>
        <p:spPr>
          <a:xfrm>
            <a:off x="251520" y="4461961"/>
            <a:ext cx="131380" cy="109523"/>
          </a:xfrm>
          <a:prstGeom prst="ellipse">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th-TH" sz="2400"/>
          </a:p>
        </p:txBody>
      </p:sp>
      <p:sp>
        <p:nvSpPr>
          <p:cNvPr id="5" name="Rectangle 4"/>
          <p:cNvSpPr/>
          <p:nvPr/>
        </p:nvSpPr>
        <p:spPr>
          <a:xfrm>
            <a:off x="347788" y="4107871"/>
            <a:ext cx="1284326" cy="369332"/>
          </a:xfrm>
          <a:prstGeom prst="rect">
            <a:avLst/>
          </a:prstGeom>
        </p:spPr>
        <p:txBody>
          <a:bodyPr wrap="none">
            <a:spAutoFit/>
          </a:bodyPr>
          <a:lstStyle/>
          <a:p>
            <a:r>
              <a:rPr lang="en-US" sz="1800" b="1" dirty="0" smtClean="0">
                <a:latin typeface="TH SarabunPSK" pitchFamily="34" charset="-34"/>
                <a:cs typeface="TH SarabunPSK" pitchFamily="34" charset="-34"/>
              </a:rPr>
              <a:t>Existing Airport</a:t>
            </a:r>
            <a:endParaRPr lang="en-US" sz="1800" dirty="0"/>
          </a:p>
        </p:txBody>
      </p:sp>
      <p:sp>
        <p:nvSpPr>
          <p:cNvPr id="83" name="Rectangle 82"/>
          <p:cNvSpPr/>
          <p:nvPr/>
        </p:nvSpPr>
        <p:spPr>
          <a:xfrm>
            <a:off x="357534" y="4353948"/>
            <a:ext cx="1354858" cy="369332"/>
          </a:xfrm>
          <a:prstGeom prst="rect">
            <a:avLst/>
          </a:prstGeom>
        </p:spPr>
        <p:txBody>
          <a:bodyPr wrap="none">
            <a:spAutoFit/>
          </a:bodyPr>
          <a:lstStyle/>
          <a:p>
            <a:r>
              <a:rPr lang="en-US" sz="1800" b="1" dirty="0" smtClean="0">
                <a:latin typeface="TH SarabunPSK" pitchFamily="34" charset="-34"/>
                <a:cs typeface="TH SarabunPSK" pitchFamily="34" charset="-34"/>
              </a:rPr>
              <a:t>Planned Airport</a:t>
            </a:r>
            <a:endParaRPr lang="en-US" sz="1800" dirty="0"/>
          </a:p>
        </p:txBody>
      </p:sp>
    </p:spTree>
    <p:extLst>
      <p:ext uri="{BB962C8B-B14F-4D97-AF65-F5344CB8AC3E}">
        <p14:creationId xmlns:p14="http://schemas.microsoft.com/office/powerpoint/2010/main" xmlns="" val="52287270"/>
      </p:ext>
    </p:extLst>
  </p:cSld>
  <p:clrMapOvr>
    <a:masterClrMapping/>
  </p:clrMapOvr>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a:xfrm>
            <a:off x="681231" y="363917"/>
            <a:ext cx="7879374" cy="560923"/>
          </a:xfrm>
        </p:spPr>
        <p:txBody>
          <a:bodyPr/>
          <a:lstStyle/>
          <a:p>
            <a:r>
              <a:rPr lang="th-TH" sz="3400" b="1" dirty="0">
                <a:latin typeface="TH SarabunPSK" pitchFamily="34" charset="-34"/>
                <a:cs typeface="TH SarabunPSK" pitchFamily="34" charset="-34"/>
              </a:rPr>
              <a:t>ประเด็นการบรรยาย </a:t>
            </a:r>
            <a:endParaRPr lang="en-US" sz="3400" b="1" dirty="0">
              <a:latin typeface="TH SarabunPSK" pitchFamily="34" charset="-34"/>
              <a:cs typeface="TH SarabunPSK" pitchFamily="34" charset="-34"/>
            </a:endParaRPr>
          </a:p>
        </p:txBody>
      </p:sp>
      <p:sp>
        <p:nvSpPr>
          <p:cNvPr id="8" name="Rectangle 7"/>
          <p:cNvSpPr/>
          <p:nvPr/>
        </p:nvSpPr>
        <p:spPr>
          <a:xfrm>
            <a:off x="619698" y="1582288"/>
            <a:ext cx="7861110" cy="542498"/>
          </a:xfrm>
          <a:prstGeom prst="rect">
            <a:avLst/>
          </a:prstGeom>
          <a:solidFill>
            <a:schemeClr val="accent4"/>
          </a:solidFill>
          <a:ln w="9525">
            <a:noFill/>
          </a:ln>
          <a:effectLst/>
        </p:spPr>
        <p:style>
          <a:lnRef idx="1">
            <a:schemeClr val="accent1"/>
          </a:lnRef>
          <a:fillRef idx="0">
            <a:schemeClr val="accent1"/>
          </a:fillRef>
          <a:effectRef idx="0">
            <a:schemeClr val="accent1"/>
          </a:effectRef>
          <a:fontRef idx="minor">
            <a:schemeClr val="tx1"/>
          </a:fontRef>
        </p:style>
        <p:txBody>
          <a:bodyPr lIns="61358" tIns="61358" rIns="61358" bIns="92038" rtlCol="0" anchor="t" anchorCtr="0">
            <a:noAutofit/>
          </a:bodyPr>
          <a:lstStyle/>
          <a:p>
            <a:pPr fontAlgn="base">
              <a:lnSpc>
                <a:spcPct val="90000"/>
              </a:lnSpc>
              <a:spcBef>
                <a:spcPts val="341"/>
              </a:spcBef>
              <a:spcAft>
                <a:spcPct val="0"/>
              </a:spcAft>
            </a:pPr>
            <a:endParaRPr lang="en-US" sz="1300" dirty="0">
              <a:solidFill>
                <a:srgbClr val="000000"/>
              </a:solidFill>
            </a:endParaRPr>
          </a:p>
        </p:txBody>
      </p:sp>
      <p:sp>
        <p:nvSpPr>
          <p:cNvPr id="9" name="Rectangle 8"/>
          <p:cNvSpPr/>
          <p:nvPr/>
        </p:nvSpPr>
        <p:spPr>
          <a:xfrm>
            <a:off x="619698" y="2304286"/>
            <a:ext cx="7861110" cy="542498"/>
          </a:xfrm>
          <a:prstGeom prst="rect">
            <a:avLst/>
          </a:prstGeom>
          <a:solidFill>
            <a:schemeClr val="accent4"/>
          </a:solidFill>
          <a:ln w="9525">
            <a:noFill/>
          </a:ln>
          <a:effectLst/>
        </p:spPr>
        <p:style>
          <a:lnRef idx="1">
            <a:schemeClr val="accent1"/>
          </a:lnRef>
          <a:fillRef idx="0">
            <a:schemeClr val="accent1"/>
          </a:fillRef>
          <a:effectRef idx="0">
            <a:schemeClr val="accent1"/>
          </a:effectRef>
          <a:fontRef idx="minor">
            <a:schemeClr val="tx1"/>
          </a:fontRef>
        </p:style>
        <p:txBody>
          <a:bodyPr lIns="61358" tIns="61358" rIns="61358" bIns="92038" rtlCol="0" anchor="t" anchorCtr="0">
            <a:noAutofit/>
          </a:bodyPr>
          <a:lstStyle/>
          <a:p>
            <a:pPr fontAlgn="base">
              <a:lnSpc>
                <a:spcPct val="90000"/>
              </a:lnSpc>
              <a:spcBef>
                <a:spcPts val="341"/>
              </a:spcBef>
              <a:spcAft>
                <a:spcPct val="0"/>
              </a:spcAft>
            </a:pPr>
            <a:endParaRPr lang="en-US" sz="1300" dirty="0">
              <a:solidFill>
                <a:srgbClr val="000000"/>
              </a:solidFill>
            </a:endParaRPr>
          </a:p>
        </p:txBody>
      </p:sp>
      <p:sp>
        <p:nvSpPr>
          <p:cNvPr id="10" name="Rectangle 9"/>
          <p:cNvSpPr/>
          <p:nvPr/>
        </p:nvSpPr>
        <p:spPr>
          <a:xfrm>
            <a:off x="619698" y="3054034"/>
            <a:ext cx="7861110" cy="542498"/>
          </a:xfrm>
          <a:prstGeom prst="rect">
            <a:avLst/>
          </a:prstGeom>
          <a:solidFill>
            <a:schemeClr val="accent4"/>
          </a:solidFill>
          <a:ln w="9525">
            <a:noFill/>
          </a:ln>
          <a:effectLst/>
        </p:spPr>
        <p:style>
          <a:lnRef idx="1">
            <a:schemeClr val="accent1"/>
          </a:lnRef>
          <a:fillRef idx="0">
            <a:schemeClr val="accent1"/>
          </a:fillRef>
          <a:effectRef idx="0">
            <a:schemeClr val="accent1"/>
          </a:effectRef>
          <a:fontRef idx="minor">
            <a:schemeClr val="tx1"/>
          </a:fontRef>
        </p:style>
        <p:txBody>
          <a:bodyPr lIns="61358" tIns="61358" rIns="61358" bIns="92038" rtlCol="0" anchor="t" anchorCtr="0">
            <a:noAutofit/>
          </a:bodyPr>
          <a:lstStyle/>
          <a:p>
            <a:pPr fontAlgn="base">
              <a:lnSpc>
                <a:spcPct val="90000"/>
              </a:lnSpc>
              <a:spcBef>
                <a:spcPts val="341"/>
              </a:spcBef>
              <a:spcAft>
                <a:spcPct val="0"/>
              </a:spcAft>
            </a:pPr>
            <a:endParaRPr lang="en-US" sz="1300" dirty="0">
              <a:solidFill>
                <a:srgbClr val="000000"/>
              </a:solidFill>
            </a:endParaRPr>
          </a:p>
        </p:txBody>
      </p:sp>
      <p:sp>
        <p:nvSpPr>
          <p:cNvPr id="12" name="Textframe 12"/>
          <p:cNvSpPr txBox="1"/>
          <p:nvPr/>
        </p:nvSpPr>
        <p:spPr>
          <a:xfrm>
            <a:off x="1025978" y="2388564"/>
            <a:ext cx="7306801" cy="373949"/>
          </a:xfrm>
          <a:prstGeom prst="rect">
            <a:avLst/>
          </a:prstGeom>
          <a:noFill/>
          <a:ln w="9525">
            <a:noFill/>
          </a:ln>
        </p:spPr>
        <p:txBody>
          <a:bodyPr vert="horz" wrap="square" lIns="0" tIns="0" rIns="0" bIns="0" rtlCol="0">
            <a:spAutoFit/>
          </a:bodyPr>
          <a:lstStyle/>
          <a:p>
            <a:pPr fontAlgn="base">
              <a:lnSpc>
                <a:spcPct val="90000"/>
              </a:lnSpc>
              <a:spcBef>
                <a:spcPts val="341"/>
              </a:spcBef>
              <a:spcAft>
                <a:spcPct val="0"/>
              </a:spcAft>
              <a:buSzPct val="100000"/>
            </a:pPr>
            <a:r>
              <a:rPr lang="th-TH" sz="2700" b="1" dirty="0" smtClean="0">
                <a:solidFill>
                  <a:srgbClr val="003F56"/>
                </a:solidFill>
                <a:latin typeface="TH SarabunPSK" pitchFamily="34" charset="-34"/>
                <a:cs typeface="TH SarabunPSK" pitchFamily="34" charset="-34"/>
              </a:rPr>
              <a:t>การพัฒนา</a:t>
            </a:r>
            <a:r>
              <a:rPr lang="th-TH" sz="2700" b="1" dirty="0">
                <a:solidFill>
                  <a:srgbClr val="003F56"/>
                </a:solidFill>
                <a:latin typeface="TH SarabunPSK" pitchFamily="34" charset="-34"/>
                <a:cs typeface="TH SarabunPSK" pitchFamily="34" charset="-34"/>
              </a:rPr>
              <a:t>เขตเศรษฐกิจพิเศษ</a:t>
            </a:r>
            <a:endParaRPr lang="en-US" sz="2700" b="1" dirty="0">
              <a:solidFill>
                <a:srgbClr val="003F56"/>
              </a:solidFill>
              <a:latin typeface="TH SarabunPSK" pitchFamily="34" charset="-34"/>
              <a:cs typeface="TH SarabunPSK" pitchFamily="34" charset="-34"/>
            </a:endParaRPr>
          </a:p>
        </p:txBody>
      </p:sp>
      <p:sp>
        <p:nvSpPr>
          <p:cNvPr id="13" name="RbNavigator"/>
          <p:cNvSpPr txBox="1"/>
          <p:nvPr/>
        </p:nvSpPr>
        <p:spPr>
          <a:xfrm>
            <a:off x="619702" y="1582288"/>
            <a:ext cx="341056" cy="542498"/>
          </a:xfrm>
          <a:prstGeom prst="rect">
            <a:avLst/>
          </a:prstGeom>
          <a:solidFill>
            <a:schemeClr val="accent3"/>
          </a:solidFill>
          <a:ln w="9525">
            <a:noFill/>
          </a:ln>
        </p:spPr>
        <p:txBody>
          <a:bodyPr vert="horz" wrap="none" lIns="0" tIns="0" rIns="0" bIns="0" rtlCol="0" anchor="ctr">
            <a:noAutofit/>
          </a:bodyPr>
          <a:lstStyle/>
          <a:p>
            <a:pPr algn="ctr" fontAlgn="base">
              <a:lnSpc>
                <a:spcPct val="90000"/>
              </a:lnSpc>
              <a:spcBef>
                <a:spcPts val="341"/>
              </a:spcBef>
              <a:spcAft>
                <a:spcPct val="0"/>
              </a:spcAft>
              <a:buClr>
                <a:srgbClr val="000000"/>
              </a:buClr>
              <a:buSzPct val="100000"/>
            </a:pPr>
            <a:r>
              <a:rPr kumimoji="1" lang="th-TH" sz="2100" b="1" dirty="0">
                <a:solidFill>
                  <a:srgbClr val="FFFFFF"/>
                </a:solidFill>
                <a:cs typeface="Arial Narrow" pitchFamily="34" charset="0"/>
              </a:rPr>
              <a:t>2</a:t>
            </a:r>
            <a:endParaRPr kumimoji="1" lang="en-US" sz="2100" b="1" dirty="0">
              <a:solidFill>
                <a:srgbClr val="FFFFFF"/>
              </a:solidFill>
              <a:cs typeface="Arial Narrow" pitchFamily="34" charset="0"/>
            </a:endParaRPr>
          </a:p>
        </p:txBody>
      </p:sp>
      <p:sp>
        <p:nvSpPr>
          <p:cNvPr id="15" name="RbNavigator"/>
          <p:cNvSpPr txBox="1"/>
          <p:nvPr/>
        </p:nvSpPr>
        <p:spPr>
          <a:xfrm>
            <a:off x="619702" y="2304286"/>
            <a:ext cx="341056" cy="542498"/>
          </a:xfrm>
          <a:prstGeom prst="rect">
            <a:avLst/>
          </a:prstGeom>
          <a:solidFill>
            <a:schemeClr val="accent3"/>
          </a:solidFill>
          <a:ln w="9525">
            <a:noFill/>
          </a:ln>
        </p:spPr>
        <p:txBody>
          <a:bodyPr vert="horz" wrap="none" lIns="0" tIns="0" rIns="0" bIns="0" rtlCol="0" anchor="ctr">
            <a:noAutofit/>
          </a:bodyPr>
          <a:lstStyle/>
          <a:p>
            <a:pPr algn="ctr" fontAlgn="base">
              <a:lnSpc>
                <a:spcPct val="90000"/>
              </a:lnSpc>
              <a:spcBef>
                <a:spcPts val="341"/>
              </a:spcBef>
              <a:spcAft>
                <a:spcPct val="0"/>
              </a:spcAft>
              <a:buClr>
                <a:srgbClr val="000000"/>
              </a:buClr>
              <a:buSzPct val="100000"/>
            </a:pPr>
            <a:r>
              <a:rPr kumimoji="1" lang="th-TH" sz="2100" b="1" dirty="0">
                <a:solidFill>
                  <a:srgbClr val="FFFFFF"/>
                </a:solidFill>
                <a:cs typeface="Arial Narrow" pitchFamily="34" charset="0"/>
              </a:rPr>
              <a:t>3</a:t>
            </a:r>
            <a:endParaRPr kumimoji="1" lang="en-US" sz="2100" b="1" dirty="0">
              <a:solidFill>
                <a:srgbClr val="FFFFFF"/>
              </a:solidFill>
              <a:cs typeface="Arial Narrow" pitchFamily="34" charset="0"/>
            </a:endParaRPr>
          </a:p>
        </p:txBody>
      </p:sp>
      <p:sp>
        <p:nvSpPr>
          <p:cNvPr id="16" name="Textframe 12"/>
          <p:cNvSpPr txBox="1"/>
          <p:nvPr/>
        </p:nvSpPr>
        <p:spPr>
          <a:xfrm>
            <a:off x="1043608" y="3167901"/>
            <a:ext cx="7306801" cy="373949"/>
          </a:xfrm>
          <a:prstGeom prst="rect">
            <a:avLst/>
          </a:prstGeom>
          <a:noFill/>
          <a:ln w="9525">
            <a:noFill/>
          </a:ln>
        </p:spPr>
        <p:txBody>
          <a:bodyPr vert="horz" wrap="square" lIns="0" tIns="0" rIns="0" bIns="0" rtlCol="0">
            <a:spAutoFit/>
          </a:bodyPr>
          <a:lstStyle/>
          <a:p>
            <a:pPr fontAlgn="base">
              <a:lnSpc>
                <a:spcPct val="90000"/>
              </a:lnSpc>
              <a:spcBef>
                <a:spcPts val="341"/>
              </a:spcBef>
              <a:spcAft>
                <a:spcPct val="0"/>
              </a:spcAft>
              <a:buSzPct val="100000"/>
            </a:pPr>
            <a:r>
              <a:rPr lang="th-TH" sz="2700" b="1" dirty="0">
                <a:solidFill>
                  <a:srgbClr val="003F56"/>
                </a:solidFill>
                <a:latin typeface="TH SarabunPSK" pitchFamily="34" charset="-34"/>
                <a:cs typeface="TH SarabunPSK" pitchFamily="34" charset="-34"/>
              </a:rPr>
              <a:t>การเชื่อมโยงประเทศในภูมิภาค</a:t>
            </a:r>
            <a:endParaRPr lang="en-US" sz="2700" b="1" dirty="0">
              <a:solidFill>
                <a:srgbClr val="003F56"/>
              </a:solidFill>
              <a:latin typeface="TH SarabunPSK" pitchFamily="34" charset="-34"/>
              <a:cs typeface="TH SarabunPSK" pitchFamily="34" charset="-34"/>
            </a:endParaRPr>
          </a:p>
        </p:txBody>
      </p:sp>
      <p:sp>
        <p:nvSpPr>
          <p:cNvPr id="17" name="RbNavigator"/>
          <p:cNvSpPr txBox="1"/>
          <p:nvPr/>
        </p:nvSpPr>
        <p:spPr>
          <a:xfrm>
            <a:off x="619702" y="3054034"/>
            <a:ext cx="341056" cy="542498"/>
          </a:xfrm>
          <a:prstGeom prst="rect">
            <a:avLst/>
          </a:prstGeom>
          <a:solidFill>
            <a:schemeClr val="accent3"/>
          </a:solidFill>
          <a:ln w="9525">
            <a:noFill/>
          </a:ln>
        </p:spPr>
        <p:txBody>
          <a:bodyPr vert="horz" wrap="none" lIns="0" tIns="0" rIns="0" bIns="0" rtlCol="0" anchor="ctr">
            <a:noAutofit/>
          </a:bodyPr>
          <a:lstStyle/>
          <a:p>
            <a:pPr algn="ctr" fontAlgn="base">
              <a:lnSpc>
                <a:spcPct val="90000"/>
              </a:lnSpc>
              <a:spcBef>
                <a:spcPts val="341"/>
              </a:spcBef>
              <a:spcAft>
                <a:spcPct val="0"/>
              </a:spcAft>
              <a:buClr>
                <a:srgbClr val="000000"/>
              </a:buClr>
              <a:buSzPct val="100000"/>
            </a:pPr>
            <a:r>
              <a:rPr kumimoji="1" lang="th-TH" sz="2100" b="1" dirty="0">
                <a:solidFill>
                  <a:srgbClr val="FFFFFF"/>
                </a:solidFill>
                <a:cs typeface="Arial Narrow" pitchFamily="34" charset="0"/>
              </a:rPr>
              <a:t>4</a:t>
            </a:r>
            <a:endParaRPr kumimoji="1" lang="en-US" sz="2100" b="1" dirty="0">
              <a:solidFill>
                <a:srgbClr val="FFFFFF"/>
              </a:solidFill>
              <a:cs typeface="Arial Narrow" pitchFamily="34" charset="0"/>
            </a:endParaRPr>
          </a:p>
        </p:txBody>
      </p:sp>
      <p:sp>
        <p:nvSpPr>
          <p:cNvPr id="18" name="Rectangle 17"/>
          <p:cNvSpPr/>
          <p:nvPr/>
        </p:nvSpPr>
        <p:spPr>
          <a:xfrm>
            <a:off x="619697" y="3779992"/>
            <a:ext cx="7861110" cy="542498"/>
          </a:xfrm>
          <a:prstGeom prst="rect">
            <a:avLst/>
          </a:prstGeom>
          <a:solidFill>
            <a:schemeClr val="accent4"/>
          </a:solidFill>
          <a:ln w="28575">
            <a:solidFill>
              <a:srgbClr val="0000FF"/>
            </a:solidFill>
          </a:ln>
          <a:effectLst/>
        </p:spPr>
        <p:style>
          <a:lnRef idx="1">
            <a:schemeClr val="accent1"/>
          </a:lnRef>
          <a:fillRef idx="0">
            <a:schemeClr val="accent1"/>
          </a:fillRef>
          <a:effectRef idx="0">
            <a:schemeClr val="accent1"/>
          </a:effectRef>
          <a:fontRef idx="minor">
            <a:schemeClr val="tx1"/>
          </a:fontRef>
        </p:style>
        <p:txBody>
          <a:bodyPr lIns="61358" tIns="61358" rIns="61358" bIns="92038" rtlCol="0" anchor="t" anchorCtr="0">
            <a:noAutofit/>
          </a:bodyPr>
          <a:lstStyle/>
          <a:p>
            <a:pPr fontAlgn="base">
              <a:lnSpc>
                <a:spcPct val="90000"/>
              </a:lnSpc>
              <a:spcBef>
                <a:spcPts val="341"/>
              </a:spcBef>
              <a:spcAft>
                <a:spcPct val="0"/>
              </a:spcAft>
            </a:pPr>
            <a:endParaRPr lang="en-US" sz="1300" dirty="0">
              <a:solidFill>
                <a:srgbClr val="000000"/>
              </a:solidFill>
            </a:endParaRPr>
          </a:p>
        </p:txBody>
      </p:sp>
      <p:sp>
        <p:nvSpPr>
          <p:cNvPr id="19" name="Textframe 12"/>
          <p:cNvSpPr txBox="1"/>
          <p:nvPr/>
        </p:nvSpPr>
        <p:spPr>
          <a:xfrm>
            <a:off x="1025978" y="1666567"/>
            <a:ext cx="7306801" cy="373949"/>
          </a:xfrm>
          <a:prstGeom prst="rect">
            <a:avLst/>
          </a:prstGeom>
          <a:noFill/>
          <a:ln w="9525">
            <a:noFill/>
          </a:ln>
        </p:spPr>
        <p:txBody>
          <a:bodyPr vert="horz" wrap="square" lIns="0" tIns="0" rIns="0" bIns="0" rtlCol="0">
            <a:spAutoFit/>
          </a:bodyPr>
          <a:lstStyle/>
          <a:p>
            <a:pPr fontAlgn="base">
              <a:lnSpc>
                <a:spcPct val="90000"/>
              </a:lnSpc>
              <a:spcBef>
                <a:spcPts val="341"/>
              </a:spcBef>
              <a:spcAft>
                <a:spcPct val="0"/>
              </a:spcAft>
              <a:buSzPct val="100000"/>
            </a:pPr>
            <a:r>
              <a:rPr lang="th-TH" sz="2700" b="1" dirty="0">
                <a:solidFill>
                  <a:srgbClr val="003F56"/>
                </a:solidFill>
                <a:latin typeface="TH SarabunPSK" pitchFamily="34" charset="-34"/>
                <a:cs typeface="TH SarabunPSK" pitchFamily="34" charset="-34"/>
              </a:rPr>
              <a:t>การ</a:t>
            </a:r>
            <a:r>
              <a:rPr lang="th-TH" sz="2700" b="1" dirty="0" smtClean="0">
                <a:solidFill>
                  <a:srgbClr val="003F56"/>
                </a:solidFill>
                <a:latin typeface="TH SarabunPSK" pitchFamily="34" charset="-34"/>
                <a:cs typeface="TH SarabunPSK" pitchFamily="34" charset="-34"/>
              </a:rPr>
              <a:t>พัฒนาระบบโลจิ</a:t>
            </a:r>
            <a:r>
              <a:rPr lang="th-TH" sz="2700" b="1" dirty="0">
                <a:solidFill>
                  <a:srgbClr val="003F56"/>
                </a:solidFill>
                <a:latin typeface="TH SarabunPSK" pitchFamily="34" charset="-34"/>
                <a:cs typeface="TH SarabunPSK" pitchFamily="34" charset="-34"/>
              </a:rPr>
              <a:t>สติกส์และโครงสร้างพื้นฐาน</a:t>
            </a:r>
            <a:endParaRPr lang="en-US" sz="2700" b="1" dirty="0">
              <a:solidFill>
                <a:srgbClr val="003F56"/>
              </a:solidFill>
              <a:latin typeface="TH SarabunPSK" pitchFamily="34" charset="-34"/>
              <a:cs typeface="TH SarabunPSK" pitchFamily="34" charset="-34"/>
            </a:endParaRPr>
          </a:p>
        </p:txBody>
      </p:sp>
      <p:sp>
        <p:nvSpPr>
          <p:cNvPr id="20" name="RbNavigator"/>
          <p:cNvSpPr txBox="1"/>
          <p:nvPr/>
        </p:nvSpPr>
        <p:spPr>
          <a:xfrm>
            <a:off x="619701" y="3779992"/>
            <a:ext cx="341056" cy="542498"/>
          </a:xfrm>
          <a:prstGeom prst="rect">
            <a:avLst/>
          </a:prstGeom>
          <a:solidFill>
            <a:schemeClr val="accent3"/>
          </a:solidFill>
          <a:ln w="9525">
            <a:noFill/>
          </a:ln>
        </p:spPr>
        <p:txBody>
          <a:bodyPr vert="horz" wrap="none" lIns="0" tIns="0" rIns="0" bIns="0" rtlCol="0" anchor="ctr">
            <a:noAutofit/>
          </a:bodyPr>
          <a:lstStyle/>
          <a:p>
            <a:pPr algn="ctr" fontAlgn="base">
              <a:lnSpc>
                <a:spcPct val="90000"/>
              </a:lnSpc>
              <a:spcBef>
                <a:spcPts val="341"/>
              </a:spcBef>
              <a:spcAft>
                <a:spcPct val="0"/>
              </a:spcAft>
              <a:buClr>
                <a:srgbClr val="000000"/>
              </a:buClr>
              <a:buSzPct val="100000"/>
            </a:pPr>
            <a:r>
              <a:rPr kumimoji="1" lang="th-TH" sz="2100" b="1" dirty="0">
                <a:solidFill>
                  <a:srgbClr val="FFFFFF"/>
                </a:solidFill>
                <a:cs typeface="Arial Narrow" pitchFamily="34" charset="0"/>
              </a:rPr>
              <a:t>5</a:t>
            </a:r>
            <a:endParaRPr kumimoji="1" lang="en-US" sz="2100" b="1" dirty="0">
              <a:solidFill>
                <a:srgbClr val="FFFFFF"/>
              </a:solidFill>
              <a:cs typeface="Arial Narrow" pitchFamily="34" charset="0"/>
            </a:endParaRPr>
          </a:p>
        </p:txBody>
      </p:sp>
      <p:sp>
        <p:nvSpPr>
          <p:cNvPr id="24" name="Rectangle 23"/>
          <p:cNvSpPr/>
          <p:nvPr/>
        </p:nvSpPr>
        <p:spPr>
          <a:xfrm>
            <a:off x="619702" y="904858"/>
            <a:ext cx="7861110" cy="542498"/>
          </a:xfrm>
          <a:prstGeom prst="rect">
            <a:avLst/>
          </a:prstGeom>
          <a:solidFill>
            <a:schemeClr val="accent4"/>
          </a:solidFill>
          <a:ln w="9525">
            <a:noFill/>
          </a:ln>
          <a:effectLst/>
        </p:spPr>
        <p:style>
          <a:lnRef idx="1">
            <a:schemeClr val="accent1"/>
          </a:lnRef>
          <a:fillRef idx="0">
            <a:schemeClr val="accent1"/>
          </a:fillRef>
          <a:effectRef idx="0">
            <a:schemeClr val="accent1"/>
          </a:effectRef>
          <a:fontRef idx="minor">
            <a:schemeClr val="tx1"/>
          </a:fontRef>
        </p:style>
        <p:txBody>
          <a:bodyPr lIns="61358" tIns="61358" rIns="61358" bIns="92038" rtlCol="0" anchor="t" anchorCtr="0">
            <a:noAutofit/>
          </a:bodyPr>
          <a:lstStyle/>
          <a:p>
            <a:pPr fontAlgn="base">
              <a:lnSpc>
                <a:spcPct val="90000"/>
              </a:lnSpc>
              <a:spcBef>
                <a:spcPts val="341"/>
              </a:spcBef>
              <a:spcAft>
                <a:spcPct val="0"/>
              </a:spcAft>
            </a:pPr>
            <a:endParaRPr lang="en-US" sz="1300" dirty="0">
              <a:solidFill>
                <a:srgbClr val="000000"/>
              </a:solidFill>
            </a:endParaRPr>
          </a:p>
        </p:txBody>
      </p:sp>
      <p:sp>
        <p:nvSpPr>
          <p:cNvPr id="25" name="RbNavigator"/>
          <p:cNvSpPr txBox="1"/>
          <p:nvPr/>
        </p:nvSpPr>
        <p:spPr>
          <a:xfrm>
            <a:off x="619705" y="904858"/>
            <a:ext cx="341056" cy="542498"/>
          </a:xfrm>
          <a:prstGeom prst="rect">
            <a:avLst/>
          </a:prstGeom>
          <a:solidFill>
            <a:schemeClr val="accent3"/>
          </a:solidFill>
          <a:ln w="9525">
            <a:noFill/>
          </a:ln>
        </p:spPr>
        <p:txBody>
          <a:bodyPr vert="horz" wrap="none" lIns="0" tIns="0" rIns="0" bIns="0" rtlCol="0" anchor="ctr">
            <a:noAutofit/>
          </a:bodyPr>
          <a:lstStyle/>
          <a:p>
            <a:pPr algn="ctr" fontAlgn="base">
              <a:lnSpc>
                <a:spcPct val="90000"/>
              </a:lnSpc>
              <a:spcBef>
                <a:spcPts val="341"/>
              </a:spcBef>
              <a:spcAft>
                <a:spcPct val="0"/>
              </a:spcAft>
              <a:buClr>
                <a:srgbClr val="000000"/>
              </a:buClr>
              <a:buSzPct val="100000"/>
            </a:pPr>
            <a:r>
              <a:rPr kumimoji="1" lang="th-TH" sz="2100" b="1" dirty="0">
                <a:solidFill>
                  <a:srgbClr val="FFFFFF"/>
                </a:solidFill>
                <a:cs typeface="Arial Narrow" pitchFamily="34" charset="0"/>
              </a:rPr>
              <a:t>1</a:t>
            </a:r>
            <a:endParaRPr kumimoji="1" lang="en-US" sz="2100" b="1" dirty="0">
              <a:solidFill>
                <a:srgbClr val="FFFFFF"/>
              </a:solidFill>
              <a:cs typeface="Arial Narrow" pitchFamily="34" charset="0"/>
            </a:endParaRPr>
          </a:p>
        </p:txBody>
      </p:sp>
      <p:sp>
        <p:nvSpPr>
          <p:cNvPr id="26" name="Textframe 12"/>
          <p:cNvSpPr txBox="1"/>
          <p:nvPr/>
        </p:nvSpPr>
        <p:spPr>
          <a:xfrm>
            <a:off x="1078010" y="1009502"/>
            <a:ext cx="7306801" cy="373949"/>
          </a:xfrm>
          <a:prstGeom prst="rect">
            <a:avLst/>
          </a:prstGeom>
          <a:noFill/>
          <a:ln w="9525">
            <a:noFill/>
          </a:ln>
        </p:spPr>
        <p:txBody>
          <a:bodyPr vert="horz" wrap="square" lIns="0" tIns="0" rIns="0" bIns="0" rtlCol="0">
            <a:spAutoFit/>
          </a:bodyPr>
          <a:lstStyle/>
          <a:p>
            <a:pPr fontAlgn="base">
              <a:lnSpc>
                <a:spcPct val="90000"/>
              </a:lnSpc>
              <a:spcBef>
                <a:spcPts val="341"/>
              </a:spcBef>
              <a:spcAft>
                <a:spcPct val="0"/>
              </a:spcAft>
              <a:buSzPct val="100000"/>
            </a:pPr>
            <a:r>
              <a:rPr lang="th-TH" sz="2700" b="1" dirty="0">
                <a:solidFill>
                  <a:srgbClr val="003F56"/>
                </a:solidFill>
                <a:latin typeface="TH SarabunPSK" pitchFamily="34" charset="-34"/>
                <a:cs typeface="TH SarabunPSK" pitchFamily="34" charset="-34"/>
              </a:rPr>
              <a:t>ทิศทางและเป้าหมายการพัฒนาประเทศ </a:t>
            </a:r>
            <a:endParaRPr lang="en-US" sz="2700" b="1" dirty="0">
              <a:solidFill>
                <a:srgbClr val="003F56"/>
              </a:solidFill>
              <a:latin typeface="TH SarabunPSK" pitchFamily="34" charset="-34"/>
              <a:cs typeface="TH SarabunPSK" pitchFamily="34" charset="-34"/>
            </a:endParaRPr>
          </a:p>
        </p:txBody>
      </p:sp>
      <p:sp>
        <p:nvSpPr>
          <p:cNvPr id="22" name="Textframe 12"/>
          <p:cNvSpPr txBox="1"/>
          <p:nvPr/>
        </p:nvSpPr>
        <p:spPr>
          <a:xfrm>
            <a:off x="1042952" y="3864269"/>
            <a:ext cx="7306801" cy="373949"/>
          </a:xfrm>
          <a:prstGeom prst="rect">
            <a:avLst/>
          </a:prstGeom>
          <a:noFill/>
          <a:ln w="9525">
            <a:noFill/>
          </a:ln>
        </p:spPr>
        <p:txBody>
          <a:bodyPr vert="horz" wrap="square" lIns="0" tIns="0" rIns="0" bIns="0" rtlCol="0">
            <a:spAutoFit/>
          </a:bodyPr>
          <a:lstStyle/>
          <a:p>
            <a:pPr fontAlgn="base">
              <a:lnSpc>
                <a:spcPct val="90000"/>
              </a:lnSpc>
              <a:spcBef>
                <a:spcPts val="341"/>
              </a:spcBef>
              <a:spcAft>
                <a:spcPct val="0"/>
              </a:spcAft>
              <a:buSzPct val="100000"/>
            </a:pPr>
            <a:r>
              <a:rPr lang="th-TH" sz="2700" b="1" dirty="0">
                <a:solidFill>
                  <a:srgbClr val="003F56"/>
                </a:solidFill>
                <a:latin typeface="TH SarabunPSK" pitchFamily="34" charset="-34"/>
                <a:cs typeface="TH SarabunPSK" pitchFamily="34" charset="-34"/>
              </a:rPr>
              <a:t>กา</a:t>
            </a:r>
            <a:r>
              <a:rPr lang="th-TH" sz="2700" b="1" dirty="0" smtClean="0">
                <a:solidFill>
                  <a:srgbClr val="003F56"/>
                </a:solidFill>
                <a:latin typeface="TH SarabunPSK" pitchFamily="34" charset="-34"/>
                <a:cs typeface="TH SarabunPSK" pitchFamily="34" charset="-34"/>
              </a:rPr>
              <a:t>รสนับสนุนการพัฒนาเขตเศรษฐกิจพิเศษทวาย</a:t>
            </a:r>
            <a:endParaRPr lang="en-US" sz="2700" b="1" dirty="0">
              <a:solidFill>
                <a:srgbClr val="003F56"/>
              </a:solidFill>
              <a:latin typeface="TH SarabunPSK" pitchFamily="34" charset="-34"/>
              <a:cs typeface="TH SarabunPSK" pitchFamily="34" charset="-34"/>
            </a:endParaRPr>
          </a:p>
        </p:txBody>
      </p:sp>
    </p:spTree>
    <p:extLst>
      <p:ext uri="{BB962C8B-B14F-4D97-AF65-F5344CB8AC3E}">
        <p14:creationId xmlns:p14="http://schemas.microsoft.com/office/powerpoint/2010/main" xmlns="" val="1895301937"/>
      </p:ext>
    </p:extLst>
  </p:cSld>
  <p:clrMapOvr>
    <a:masterClrMapping/>
  </p:clrMapOvr>
  <p:transition spd="med">
    <p:fade thruBlk="1"/>
  </p:transition>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p:cNvSpPr txBox="1"/>
          <p:nvPr/>
        </p:nvSpPr>
        <p:spPr>
          <a:xfrm>
            <a:off x="1" y="-29754"/>
            <a:ext cx="9433281" cy="707886"/>
          </a:xfrm>
          <a:prstGeom prst="rect">
            <a:avLst/>
          </a:prstGeom>
          <a:noFill/>
        </p:spPr>
        <p:txBody>
          <a:bodyPr wrap="square" rtlCol="0">
            <a:spAutoFit/>
          </a:bodyPr>
          <a:lstStyle/>
          <a:p>
            <a:r>
              <a:rPr lang="en-US" sz="2000" b="1" dirty="0" smtClean="0">
                <a:solidFill>
                  <a:prstClr val="black"/>
                </a:solidFill>
                <a:latin typeface="TH SarabunPSK" pitchFamily="34" charset="-34"/>
                <a:cs typeface="TH SarabunPSK" pitchFamily="34" charset="-34"/>
              </a:rPr>
              <a:t> </a:t>
            </a:r>
            <a:r>
              <a:rPr lang="th-TH" sz="2400" b="1" dirty="0" smtClean="0">
                <a:solidFill>
                  <a:prstClr val="black"/>
                </a:solidFill>
                <a:latin typeface="TH SarabunPSK" pitchFamily="34" charset="-34"/>
                <a:cs typeface="TH SarabunPSK" pitchFamily="34" charset="-34"/>
              </a:rPr>
              <a:t>เป้าหมายการสนับสนุนการพัฒนาเขตเศรษฐกิจพิเศษทวาย</a:t>
            </a:r>
            <a:endParaRPr lang="en-US" sz="2000" dirty="0" smtClean="0">
              <a:solidFill>
                <a:prstClr val="black"/>
              </a:solidFill>
              <a:latin typeface="TH SarabunPSK" pitchFamily="34" charset="-34"/>
              <a:cs typeface="TH SarabunPSK" pitchFamily="34" charset="-34"/>
            </a:endParaRPr>
          </a:p>
          <a:p>
            <a:endParaRPr lang="en-US" sz="1600" dirty="0">
              <a:solidFill>
                <a:prstClr val="black"/>
              </a:solidFill>
            </a:endParaRPr>
          </a:p>
        </p:txBody>
      </p:sp>
      <p:sp>
        <p:nvSpPr>
          <p:cNvPr id="12" name="TextBox 11"/>
          <p:cNvSpPr txBox="1"/>
          <p:nvPr/>
        </p:nvSpPr>
        <p:spPr>
          <a:xfrm>
            <a:off x="5436096" y="483521"/>
            <a:ext cx="3456384" cy="2246769"/>
          </a:xfrm>
          <a:prstGeom prst="rect">
            <a:avLst/>
          </a:prstGeom>
          <a:solidFill>
            <a:schemeClr val="accent5">
              <a:lumMod val="20000"/>
              <a:lumOff val="80000"/>
            </a:schemeClr>
          </a:solidFill>
          <a:ln>
            <a:noFill/>
          </a:ln>
        </p:spPr>
        <p:txBody>
          <a:bodyPr wrap="square" rtlCol="0">
            <a:spAutoFit/>
          </a:bodyPr>
          <a:lstStyle/>
          <a:p>
            <a:pPr marL="342900" indent="-258763">
              <a:buFont typeface="Arial" pitchFamily="34" charset="0"/>
              <a:buChar char="•"/>
            </a:pPr>
            <a:r>
              <a:rPr lang="th-TH" sz="2000" b="1" dirty="0">
                <a:solidFill>
                  <a:srgbClr val="C00000"/>
                </a:solidFill>
                <a:latin typeface="TH SarabunPSK" pitchFamily="34" charset="-34"/>
                <a:cs typeface="TH SarabunPSK" pitchFamily="34" charset="-34"/>
              </a:rPr>
              <a:t>การเป็นพื้นที่เศรษฐกิจ</a:t>
            </a:r>
            <a:r>
              <a:rPr lang="th-TH" sz="2000" b="1" dirty="0" smtClean="0">
                <a:solidFill>
                  <a:srgbClr val="C00000"/>
                </a:solidFill>
                <a:latin typeface="TH SarabunPSK" pitchFamily="34" charset="-34"/>
                <a:cs typeface="TH SarabunPSK" pitchFamily="34" charset="-34"/>
              </a:rPr>
              <a:t>แห่งใหม่ของภูมิภาค </a:t>
            </a:r>
            <a:r>
              <a:rPr lang="th-TH" sz="2000" dirty="0" smtClean="0">
                <a:solidFill>
                  <a:prstClr val="black"/>
                </a:solidFill>
                <a:latin typeface="TH SarabunPSK" pitchFamily="34" charset="-34"/>
                <a:cs typeface="TH SarabunPSK" pitchFamily="34" charset="-34"/>
              </a:rPr>
              <a:t>เปิด</a:t>
            </a:r>
            <a:r>
              <a:rPr lang="th-TH" sz="2000" dirty="0">
                <a:solidFill>
                  <a:prstClr val="black"/>
                </a:solidFill>
                <a:latin typeface="TH SarabunPSK" pitchFamily="34" charset="-34"/>
                <a:cs typeface="TH SarabunPSK" pitchFamily="34" charset="-34"/>
              </a:rPr>
              <a:t>เส้นทางการค้าการลงทุนและประตูเศรษฐกิจฝั่ง</a:t>
            </a:r>
            <a:r>
              <a:rPr lang="th-TH" sz="2000" dirty="0" smtClean="0">
                <a:solidFill>
                  <a:prstClr val="black"/>
                </a:solidFill>
                <a:latin typeface="TH SarabunPSK" pitchFamily="34" charset="-34"/>
                <a:cs typeface="TH SarabunPSK" pitchFamily="34" charset="-34"/>
              </a:rPr>
              <a:t>ตะวันตกของแนว </a:t>
            </a:r>
            <a:r>
              <a:rPr lang="en-US" sz="2000" dirty="0" smtClean="0">
                <a:solidFill>
                  <a:prstClr val="black"/>
                </a:solidFill>
                <a:latin typeface="TH SarabunPSK" pitchFamily="34" charset="-34"/>
                <a:cs typeface="TH SarabunPSK" pitchFamily="34" charset="-34"/>
              </a:rPr>
              <a:t>SEC</a:t>
            </a:r>
            <a:endParaRPr lang="th-TH" sz="2000" dirty="0" smtClean="0">
              <a:solidFill>
                <a:prstClr val="black"/>
              </a:solidFill>
              <a:latin typeface="TH SarabunPSK" pitchFamily="34" charset="-34"/>
              <a:cs typeface="TH SarabunPSK" pitchFamily="34" charset="-34"/>
            </a:endParaRPr>
          </a:p>
          <a:p>
            <a:pPr marL="342900" indent="-258763">
              <a:buFont typeface="Arial" pitchFamily="34" charset="0"/>
              <a:buChar char="•"/>
            </a:pPr>
            <a:r>
              <a:rPr lang="th-TH" sz="2000" b="1" dirty="0" smtClean="0">
                <a:solidFill>
                  <a:srgbClr val="C00000"/>
                </a:solidFill>
                <a:latin typeface="TH SarabunPSK" pitchFamily="34" charset="-34"/>
                <a:cs typeface="TH SarabunPSK" pitchFamily="34" charset="-34"/>
              </a:rPr>
              <a:t>สร้าง</a:t>
            </a:r>
            <a:r>
              <a:rPr lang="th-TH" sz="2000" b="1" dirty="0">
                <a:solidFill>
                  <a:srgbClr val="C00000"/>
                </a:solidFill>
                <a:latin typeface="TH SarabunPSK" pitchFamily="34" charset="-34"/>
                <a:cs typeface="TH SarabunPSK" pitchFamily="34" charset="-34"/>
              </a:rPr>
              <a:t>ทางลัดโลจิ</a:t>
            </a:r>
            <a:r>
              <a:rPr lang="th-TH" sz="2000" b="1" dirty="0" smtClean="0">
                <a:solidFill>
                  <a:srgbClr val="C00000"/>
                </a:solidFill>
                <a:latin typeface="TH SarabunPSK" pitchFamily="34" charset="-34"/>
                <a:cs typeface="TH SarabunPSK" pitchFamily="34" charset="-34"/>
              </a:rPr>
              <a:t>สติกส์ </a:t>
            </a:r>
            <a:r>
              <a:rPr lang="th-TH" sz="2000" dirty="0" smtClean="0">
                <a:solidFill>
                  <a:prstClr val="black"/>
                </a:solidFill>
                <a:latin typeface="TH SarabunPSK" pitchFamily="34" charset="-34"/>
                <a:cs typeface="TH SarabunPSK" pitchFamily="34" charset="-34"/>
              </a:rPr>
              <a:t>เชื่อมโยงอาเซียน</a:t>
            </a:r>
            <a:r>
              <a:rPr lang="th-TH" sz="2000" dirty="0">
                <a:solidFill>
                  <a:prstClr val="black"/>
                </a:solidFill>
                <a:latin typeface="TH SarabunPSK" pitchFamily="34" charset="-34"/>
                <a:cs typeface="TH SarabunPSK" pitchFamily="34" charset="-34"/>
              </a:rPr>
              <a:t>กับโลกตะวันออกและโลกตะวันตก ไปสู่ตลาดในเอเชียใต้ ตะวันออกกลาง แอฟริกา และ</a:t>
            </a:r>
            <a:r>
              <a:rPr lang="th-TH" sz="2000" dirty="0" smtClean="0">
                <a:solidFill>
                  <a:prstClr val="black"/>
                </a:solidFill>
                <a:latin typeface="TH SarabunPSK" pitchFamily="34" charset="-34"/>
                <a:cs typeface="TH SarabunPSK" pitchFamily="34" charset="-34"/>
              </a:rPr>
              <a:t>ยุโรป</a:t>
            </a:r>
            <a:endParaRPr lang="en-US" sz="2000" dirty="0">
              <a:solidFill>
                <a:prstClr val="black"/>
              </a:solidFill>
              <a:latin typeface="TH SarabunPSK" pitchFamily="34" charset="-34"/>
              <a:cs typeface="TH SarabunPSK" pitchFamily="34" charset="-34"/>
            </a:endParaRPr>
          </a:p>
        </p:txBody>
      </p:sp>
      <p:sp>
        <p:nvSpPr>
          <p:cNvPr id="18" name="Date Placeholder 3"/>
          <p:cNvSpPr>
            <a:spLocks noGrp="1"/>
          </p:cNvSpPr>
          <p:nvPr>
            <p:ph type="dt" sz="half" idx="10"/>
          </p:nvPr>
        </p:nvSpPr>
        <p:spPr>
          <a:xfrm>
            <a:off x="0" y="4926807"/>
            <a:ext cx="2133600" cy="273844"/>
          </a:xfrm>
        </p:spPr>
        <p:txBody>
          <a:bodyPr/>
          <a:lstStyle/>
          <a:p>
            <a:fld id="{9AD1DEDE-A8E2-443A-8984-27DBEE18883A}" type="datetime1">
              <a:rPr lang="en-US" smtClean="0">
                <a:solidFill>
                  <a:prstClr val="white"/>
                </a:solidFill>
              </a:rPr>
              <a:pPr/>
              <a:t>9/20/2015</a:t>
            </a:fld>
            <a:endParaRPr lang="en-US" dirty="0">
              <a:solidFill>
                <a:prstClr val="white"/>
              </a:solidFill>
            </a:endParaRPr>
          </a:p>
        </p:txBody>
      </p:sp>
      <p:sp>
        <p:nvSpPr>
          <p:cNvPr id="19" name="Slide Number Placeholder 4"/>
          <p:cNvSpPr>
            <a:spLocks noGrp="1"/>
          </p:cNvSpPr>
          <p:nvPr>
            <p:ph type="sldNum" sz="quarter" idx="12"/>
          </p:nvPr>
        </p:nvSpPr>
        <p:spPr>
          <a:xfrm>
            <a:off x="7010400" y="5012550"/>
            <a:ext cx="2133600" cy="273844"/>
          </a:xfrm>
        </p:spPr>
        <p:txBody>
          <a:bodyPr/>
          <a:lstStyle/>
          <a:p>
            <a:fld id="{3149A960-9A85-47C9-BA01-92958F426FBD}" type="slidenum">
              <a:rPr lang="en-US" smtClean="0">
                <a:solidFill>
                  <a:prstClr val="white"/>
                </a:solidFill>
              </a:rPr>
              <a:pPr/>
              <a:t>54</a:t>
            </a:fld>
            <a:endParaRPr lang="en-US">
              <a:solidFill>
                <a:prstClr val="white"/>
              </a:solidFill>
            </a:endParaRPr>
          </a:p>
        </p:txBody>
      </p:sp>
      <p:sp>
        <p:nvSpPr>
          <p:cNvPr id="49" name="TextBox 48"/>
          <p:cNvSpPr txBox="1"/>
          <p:nvPr/>
        </p:nvSpPr>
        <p:spPr>
          <a:xfrm>
            <a:off x="5436096" y="2643188"/>
            <a:ext cx="3456384" cy="2108269"/>
          </a:xfrm>
          <a:prstGeom prst="rect">
            <a:avLst/>
          </a:prstGeom>
          <a:solidFill>
            <a:schemeClr val="accent5">
              <a:lumMod val="20000"/>
              <a:lumOff val="80000"/>
            </a:schemeClr>
          </a:solidFill>
          <a:ln>
            <a:noFill/>
          </a:ln>
        </p:spPr>
        <p:txBody>
          <a:bodyPr wrap="square" rtlCol="0">
            <a:spAutoFit/>
          </a:bodyPr>
          <a:lstStyle/>
          <a:p>
            <a:pPr marL="365125" indent="-280988">
              <a:lnSpc>
                <a:spcPct val="90000"/>
              </a:lnSpc>
              <a:spcBef>
                <a:spcPts val="600"/>
              </a:spcBef>
              <a:buFont typeface="Arial" pitchFamily="34" charset="0"/>
              <a:buChar char="•"/>
            </a:pPr>
            <a:r>
              <a:rPr lang="th-TH" sz="2000" dirty="0" smtClean="0">
                <a:solidFill>
                  <a:prstClr val="black"/>
                </a:solidFill>
                <a:latin typeface="TH SarabunPSK" pitchFamily="34" charset="-34"/>
                <a:cs typeface="TH SarabunPSK" pitchFamily="34" charset="-34"/>
              </a:rPr>
              <a:t>โอกาสในการ</a:t>
            </a:r>
            <a:r>
              <a:rPr lang="th-TH" sz="2000" b="1" dirty="0" smtClean="0">
                <a:solidFill>
                  <a:srgbClr val="0070C0"/>
                </a:solidFill>
                <a:latin typeface="TH SarabunPSK" pitchFamily="34" charset="-34"/>
                <a:cs typeface="TH SarabunPSK" pitchFamily="34" charset="-34"/>
              </a:rPr>
              <a:t>ขยายฐานการผลิตอุตสาหกรรมเชื่อมโยงห่วงโซ่อุปทานกับพื้นที่บริเวณชายฝั่งทะเลตะวันออก</a:t>
            </a:r>
            <a:endParaRPr lang="en-US" sz="2000" b="1" dirty="0" smtClean="0">
              <a:solidFill>
                <a:srgbClr val="0070C0"/>
              </a:solidFill>
              <a:latin typeface="TH SarabunPSK" pitchFamily="34" charset="-34"/>
              <a:cs typeface="TH SarabunPSK" pitchFamily="34" charset="-34"/>
            </a:endParaRPr>
          </a:p>
          <a:p>
            <a:pPr marL="365125" indent="-280988">
              <a:lnSpc>
                <a:spcPct val="90000"/>
              </a:lnSpc>
              <a:spcBef>
                <a:spcPts val="600"/>
              </a:spcBef>
              <a:buFont typeface="Arial" pitchFamily="34" charset="0"/>
              <a:buChar char="•"/>
            </a:pPr>
            <a:r>
              <a:rPr lang="th-TH" sz="2000" dirty="0" smtClean="0">
                <a:solidFill>
                  <a:prstClr val="black"/>
                </a:solidFill>
                <a:latin typeface="TH SarabunPSK" pitchFamily="34" charset="-34"/>
                <a:cs typeface="TH SarabunPSK" pitchFamily="34" charset="-34"/>
              </a:rPr>
              <a:t>เป็น</a:t>
            </a:r>
            <a:r>
              <a:rPr lang="th-TH" sz="2000" dirty="0">
                <a:solidFill>
                  <a:prstClr val="black"/>
                </a:solidFill>
                <a:latin typeface="TH SarabunPSK" pitchFamily="34" charset="-34"/>
                <a:cs typeface="TH SarabunPSK" pitchFamily="34" charset="-34"/>
              </a:rPr>
              <a:t>โอกาสในการ</a:t>
            </a:r>
            <a:r>
              <a:rPr lang="th-TH" sz="2000" b="1" dirty="0">
                <a:solidFill>
                  <a:srgbClr val="0070C0"/>
                </a:solidFill>
                <a:latin typeface="TH SarabunPSK" pitchFamily="34" charset="-34"/>
                <a:cs typeface="TH SarabunPSK" pitchFamily="34" charset="-34"/>
              </a:rPr>
              <a:t>ย้ายฐานการ</a:t>
            </a:r>
            <a:r>
              <a:rPr lang="th-TH" sz="2000" b="1" dirty="0" smtClean="0">
                <a:solidFill>
                  <a:srgbClr val="0070C0"/>
                </a:solidFill>
                <a:latin typeface="TH SarabunPSK" pitchFamily="34" charset="-34"/>
                <a:cs typeface="TH SarabunPSK" pitchFamily="34" charset="-34"/>
              </a:rPr>
              <a:t>ผลิตอุตสาหกรรม</a:t>
            </a:r>
            <a:r>
              <a:rPr lang="th-TH" sz="2000" b="1" dirty="0">
                <a:solidFill>
                  <a:srgbClr val="0070C0"/>
                </a:solidFill>
                <a:latin typeface="TH SarabunPSK" pitchFamily="34" charset="-34"/>
                <a:cs typeface="TH SarabunPSK" pitchFamily="34" charset="-34"/>
              </a:rPr>
              <a:t>ใช้แรงงานเข้มข้นของผู้ประกอบการไทย</a:t>
            </a:r>
            <a:r>
              <a:rPr lang="th-TH" sz="2000" dirty="0">
                <a:solidFill>
                  <a:srgbClr val="0070C0"/>
                </a:solidFill>
                <a:latin typeface="TH SarabunPSK" pitchFamily="34" charset="-34"/>
                <a:cs typeface="TH SarabunPSK" pitchFamily="34" charset="-34"/>
              </a:rPr>
              <a:t> </a:t>
            </a:r>
            <a:r>
              <a:rPr lang="th-TH" sz="2000" dirty="0" smtClean="0">
                <a:solidFill>
                  <a:prstClr val="black"/>
                </a:solidFill>
                <a:latin typeface="TH SarabunPSK" pitchFamily="34" charset="-34"/>
                <a:cs typeface="TH SarabunPSK" pitchFamily="34" charset="-34"/>
              </a:rPr>
              <a:t>ช่วย</a:t>
            </a:r>
            <a:r>
              <a:rPr lang="th-TH" sz="2000" dirty="0">
                <a:solidFill>
                  <a:prstClr val="black"/>
                </a:solidFill>
                <a:latin typeface="TH SarabunPSK" pitchFamily="34" charset="-34"/>
                <a:cs typeface="TH SarabunPSK" pitchFamily="34" charset="-34"/>
              </a:rPr>
              <a:t>ให้ผู้ประกอบการไทย</a:t>
            </a:r>
            <a:r>
              <a:rPr lang="th-TH" sz="2000" dirty="0" smtClean="0">
                <a:solidFill>
                  <a:prstClr val="black"/>
                </a:solidFill>
                <a:latin typeface="TH SarabunPSK" pitchFamily="34" charset="-34"/>
                <a:cs typeface="TH SarabunPSK" pitchFamily="34" charset="-34"/>
              </a:rPr>
              <a:t>สามารถลด</a:t>
            </a:r>
            <a:r>
              <a:rPr lang="th-TH" sz="2000" dirty="0">
                <a:solidFill>
                  <a:prstClr val="black"/>
                </a:solidFill>
                <a:latin typeface="TH SarabunPSK" pitchFamily="34" charset="-34"/>
                <a:cs typeface="TH SarabunPSK" pitchFamily="34" charset="-34"/>
              </a:rPr>
              <a:t>ต้นทุนในการ</a:t>
            </a:r>
            <a:r>
              <a:rPr lang="th-TH" sz="2000" dirty="0" smtClean="0">
                <a:solidFill>
                  <a:prstClr val="black"/>
                </a:solidFill>
                <a:latin typeface="TH SarabunPSK" pitchFamily="34" charset="-34"/>
                <a:cs typeface="TH SarabunPSK" pitchFamily="34" charset="-34"/>
              </a:rPr>
              <a:t>ผลิต</a:t>
            </a:r>
            <a:endParaRPr lang="en-US" sz="2000" dirty="0" smtClean="0">
              <a:solidFill>
                <a:prstClr val="black"/>
              </a:solidFill>
              <a:latin typeface="TH SarabunPSK" pitchFamily="34" charset="-34"/>
              <a:cs typeface="TH SarabunPSK" pitchFamily="34" charset="-34"/>
            </a:endParaRPr>
          </a:p>
        </p:txBody>
      </p:sp>
      <p:grpSp>
        <p:nvGrpSpPr>
          <p:cNvPr id="2" name="Group 1"/>
          <p:cNvGrpSpPr/>
          <p:nvPr/>
        </p:nvGrpSpPr>
        <p:grpSpPr>
          <a:xfrm>
            <a:off x="251521" y="483520"/>
            <a:ext cx="5112568" cy="4204195"/>
            <a:chOff x="68461" y="628649"/>
            <a:chExt cx="5570339" cy="2711759"/>
          </a:xfrm>
        </p:grpSpPr>
        <p:pic>
          <p:nvPicPr>
            <p:cNvPr id="28" name="Picture 3"/>
            <p:cNvPicPr>
              <a:picLocks noChangeAspect="1" noChangeArrowheads="1"/>
            </p:cNvPicPr>
            <p:nvPr/>
          </p:nvPicPr>
          <p:blipFill>
            <a:blip r:embed="rId2" cstate="print"/>
            <a:srcRect t="9441" b="2833"/>
            <a:stretch>
              <a:fillRect/>
            </a:stretch>
          </p:blipFill>
          <p:spPr bwMode="auto">
            <a:xfrm>
              <a:off x="107504" y="628649"/>
              <a:ext cx="5531296" cy="2451153"/>
            </a:xfrm>
            <a:prstGeom prst="rect">
              <a:avLst/>
            </a:prstGeom>
            <a:noFill/>
            <a:ln w="9525">
              <a:noFill/>
              <a:miter lim="800000"/>
              <a:headEnd/>
              <a:tailEnd/>
            </a:ln>
          </p:spPr>
        </p:pic>
        <p:grpSp>
          <p:nvGrpSpPr>
            <p:cNvPr id="29" name="Group 18"/>
            <p:cNvGrpSpPr/>
            <p:nvPr/>
          </p:nvGrpSpPr>
          <p:grpSpPr>
            <a:xfrm>
              <a:off x="3003114" y="1225269"/>
              <a:ext cx="681320" cy="447639"/>
              <a:chOff x="2627784" y="1777420"/>
              <a:chExt cx="576064" cy="504645"/>
            </a:xfrm>
          </p:grpSpPr>
          <p:pic>
            <p:nvPicPr>
              <p:cNvPr id="32" name="Picture 31" descr="Port icon.bmp"/>
              <p:cNvPicPr>
                <a:picLocks noChangeAspect="1"/>
              </p:cNvPicPr>
              <p:nvPr/>
            </p:nvPicPr>
            <p:blipFill>
              <a:blip r:embed="rId3" cstate="print"/>
              <a:srcRect l="12201" t="6047" r="19760" b="19233"/>
              <a:stretch>
                <a:fillRect/>
              </a:stretch>
            </p:blipFill>
            <p:spPr>
              <a:xfrm>
                <a:off x="2712545" y="1777420"/>
                <a:ext cx="419295" cy="396000"/>
              </a:xfrm>
              <a:prstGeom prst="rect">
                <a:avLst/>
              </a:prstGeom>
            </p:spPr>
          </p:pic>
          <p:sp>
            <p:nvSpPr>
              <p:cNvPr id="33" name="TextBox 32"/>
              <p:cNvSpPr txBox="1"/>
              <p:nvPr/>
            </p:nvSpPr>
            <p:spPr>
              <a:xfrm>
                <a:off x="2627784" y="2091834"/>
                <a:ext cx="576064" cy="190231"/>
              </a:xfrm>
              <a:prstGeom prst="rect">
                <a:avLst/>
              </a:prstGeom>
              <a:noFill/>
            </p:spPr>
            <p:txBody>
              <a:bodyPr wrap="square" rtlCol="0">
                <a:spAutoFit/>
              </a:bodyPr>
              <a:lstStyle/>
              <a:p>
                <a:pPr algn="ctr"/>
                <a:r>
                  <a:rPr lang="th-TH" sz="1100" b="1" dirty="0" smtClean="0">
                    <a:solidFill>
                      <a:srgbClr val="000099"/>
                    </a:solidFill>
                    <a:latin typeface="Tahoma" pitchFamily="34" charset="0"/>
                    <a:cs typeface="Tahoma" pitchFamily="34" charset="0"/>
                  </a:rPr>
                  <a:t>ทวาย</a:t>
                </a:r>
                <a:endParaRPr lang="th-TH" sz="1800" b="1" dirty="0">
                  <a:solidFill>
                    <a:srgbClr val="000099"/>
                  </a:solidFill>
                  <a:latin typeface="Tahoma" pitchFamily="34" charset="0"/>
                  <a:cs typeface="Tahoma" pitchFamily="34" charset="0"/>
                </a:endParaRPr>
              </a:p>
            </p:txBody>
          </p:sp>
        </p:grpSp>
        <p:sp>
          <p:nvSpPr>
            <p:cNvPr id="30" name="TextBox 28"/>
            <p:cNvSpPr txBox="1">
              <a:spLocks noChangeArrowheads="1"/>
            </p:cNvSpPr>
            <p:nvPr/>
          </p:nvSpPr>
          <p:spPr bwMode="auto">
            <a:xfrm>
              <a:off x="68461" y="3224032"/>
              <a:ext cx="3634542" cy="116376"/>
            </a:xfrm>
            <a:prstGeom prst="rect">
              <a:avLst/>
            </a:prstGeom>
            <a:noFill/>
            <a:ln w="9525">
              <a:noFill/>
              <a:miter lim="800000"/>
              <a:headEnd/>
              <a:tailEnd/>
            </a:ln>
          </p:spPr>
          <p:txBody>
            <a:bodyPr wrap="square" lIns="36000" tIns="36000" rIns="36000" bIns="36000">
              <a:spAutoFit/>
            </a:bodyPr>
            <a:lstStyle/>
            <a:p>
              <a:r>
                <a:rPr lang="en-US" sz="700" i="1" dirty="0">
                  <a:solidFill>
                    <a:srgbClr val="1F497D"/>
                  </a:solidFill>
                </a:rPr>
                <a:t>Source: * DHL Interview in The Nation March 5, 2012, **UNESCAP report</a:t>
              </a:r>
            </a:p>
          </p:txBody>
        </p:sp>
      </p:grpSp>
    </p:spTree>
    <p:extLst>
      <p:ext uri="{BB962C8B-B14F-4D97-AF65-F5344CB8AC3E}">
        <p14:creationId xmlns:p14="http://schemas.microsoft.com/office/powerpoint/2010/main" xmlns="" val="477235752"/>
      </p:ext>
    </p:extLst>
  </p:cSld>
  <p:clrMapOvr>
    <a:masterClrMapping/>
  </p:clrMapOvr>
  <p:transition>
    <p:fade thruBlk="1"/>
  </p:transition>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Box 9"/>
          <p:cNvSpPr txBox="1"/>
          <p:nvPr/>
        </p:nvSpPr>
        <p:spPr>
          <a:xfrm>
            <a:off x="41604" y="18468"/>
            <a:ext cx="9144000" cy="769441"/>
          </a:xfrm>
          <a:prstGeom prst="rect">
            <a:avLst/>
          </a:prstGeom>
          <a:noFill/>
        </p:spPr>
        <p:txBody>
          <a:bodyPr wrap="square" rtlCol="0">
            <a:spAutoFit/>
          </a:bodyPr>
          <a:lstStyle/>
          <a:p>
            <a:r>
              <a:rPr lang="th-TH" sz="2600" b="1" dirty="0" smtClean="0">
                <a:solidFill>
                  <a:prstClr val="black"/>
                </a:solidFill>
                <a:latin typeface="TH SarabunPSK" pitchFamily="34" charset="-34"/>
                <a:cs typeface="TH SarabunPSK" pitchFamily="34" charset="-34"/>
              </a:rPr>
              <a:t>แนวทางการพัฒนา </a:t>
            </a:r>
            <a:r>
              <a:rPr lang="en-US" sz="2600" b="1" dirty="0" smtClean="0">
                <a:solidFill>
                  <a:prstClr val="black"/>
                </a:solidFill>
                <a:latin typeface="TH SarabunPSK" pitchFamily="34" charset="-34"/>
                <a:cs typeface="TH SarabunPSK" pitchFamily="34" charset="-34"/>
              </a:rPr>
              <a:t>: </a:t>
            </a:r>
            <a:r>
              <a:rPr lang="th-TH" sz="2400" b="1" dirty="0" smtClean="0">
                <a:solidFill>
                  <a:prstClr val="black"/>
                </a:solidFill>
                <a:latin typeface="TH SarabunPSK" pitchFamily="34" charset="-34"/>
                <a:cs typeface="TH SarabunPSK" pitchFamily="34" charset="-34"/>
              </a:rPr>
              <a:t>ภาครัฐสนับสนุนภาคเอกชน</a:t>
            </a:r>
            <a:r>
              <a:rPr lang="th-TH" sz="2400" b="1" dirty="0">
                <a:solidFill>
                  <a:prstClr val="black"/>
                </a:solidFill>
                <a:latin typeface="TH SarabunPSK" pitchFamily="34" charset="-34"/>
                <a:cs typeface="TH SarabunPSK" pitchFamily="34" charset="-34"/>
              </a:rPr>
              <a:t>ในการลงทุน</a:t>
            </a:r>
            <a:r>
              <a:rPr lang="th-TH" sz="2400" b="1" dirty="0" smtClean="0">
                <a:solidFill>
                  <a:prstClr val="black"/>
                </a:solidFill>
                <a:latin typeface="TH SarabunPSK" pitchFamily="34" charset="-34"/>
                <a:cs typeface="TH SarabunPSK" pitchFamily="34" charset="-34"/>
              </a:rPr>
              <a:t>พัฒนาผ่านกลไก</a:t>
            </a:r>
            <a:r>
              <a:rPr lang="th-TH" sz="2400" b="1" dirty="0">
                <a:solidFill>
                  <a:prstClr val="black"/>
                </a:solidFill>
                <a:latin typeface="TH SarabunPSK" pitchFamily="34" charset="-34"/>
                <a:cs typeface="TH SarabunPSK" pitchFamily="34" charset="-34"/>
              </a:rPr>
              <a:t>ความ</a:t>
            </a:r>
            <a:r>
              <a:rPr lang="th-TH" sz="2400" b="1" dirty="0" smtClean="0">
                <a:solidFill>
                  <a:prstClr val="black"/>
                </a:solidFill>
                <a:latin typeface="TH SarabunPSK" pitchFamily="34" charset="-34"/>
                <a:cs typeface="TH SarabunPSK" pitchFamily="34" charset="-34"/>
              </a:rPr>
              <a:t>ร่วมมือไทย</a:t>
            </a:r>
            <a:r>
              <a:rPr lang="en-US" sz="2400" b="1" dirty="0" smtClean="0">
                <a:solidFill>
                  <a:prstClr val="black"/>
                </a:solidFill>
                <a:latin typeface="TH SarabunPSK" pitchFamily="34" charset="-34"/>
                <a:cs typeface="TH SarabunPSK" pitchFamily="34" charset="-34"/>
              </a:rPr>
              <a:t>-</a:t>
            </a:r>
            <a:r>
              <a:rPr lang="th-TH" sz="2400" b="1" dirty="0" smtClean="0">
                <a:solidFill>
                  <a:prstClr val="black"/>
                </a:solidFill>
                <a:latin typeface="TH SarabunPSK" pitchFamily="34" charset="-34"/>
                <a:cs typeface="TH SarabunPSK" pitchFamily="34" charset="-34"/>
              </a:rPr>
              <a:t>เมียน</a:t>
            </a:r>
            <a:r>
              <a:rPr lang="th-TH" sz="2400" b="1" dirty="0">
                <a:solidFill>
                  <a:prstClr val="black"/>
                </a:solidFill>
                <a:latin typeface="TH SarabunPSK" pitchFamily="34" charset="-34"/>
                <a:cs typeface="TH SarabunPSK" pitchFamily="34" charset="-34"/>
              </a:rPr>
              <a:t>มา</a:t>
            </a:r>
            <a:endParaRPr lang="th-TH" sz="1800" b="1" dirty="0">
              <a:solidFill>
                <a:prstClr val="black"/>
              </a:solidFill>
              <a:latin typeface="TH SarabunPSK" pitchFamily="34" charset="-34"/>
              <a:cs typeface="TH SarabunPSK" pitchFamily="34" charset="-34"/>
            </a:endParaRPr>
          </a:p>
          <a:p>
            <a:endParaRPr lang="en-US" sz="1800" dirty="0">
              <a:solidFill>
                <a:prstClr val="black"/>
              </a:solidFill>
            </a:endParaRPr>
          </a:p>
        </p:txBody>
      </p:sp>
      <p:sp>
        <p:nvSpPr>
          <p:cNvPr id="18" name="Date Placeholder 3"/>
          <p:cNvSpPr>
            <a:spLocks noGrp="1"/>
          </p:cNvSpPr>
          <p:nvPr>
            <p:ph type="dt" sz="half" idx="10"/>
          </p:nvPr>
        </p:nvSpPr>
        <p:spPr>
          <a:xfrm>
            <a:off x="0" y="4926807"/>
            <a:ext cx="2133600" cy="273844"/>
          </a:xfrm>
        </p:spPr>
        <p:txBody>
          <a:bodyPr/>
          <a:lstStyle/>
          <a:p>
            <a:fld id="{9AD1DEDE-A8E2-443A-8984-27DBEE18883A}" type="datetime1">
              <a:rPr lang="en-US" smtClean="0">
                <a:solidFill>
                  <a:prstClr val="white"/>
                </a:solidFill>
              </a:rPr>
              <a:pPr/>
              <a:t>9/20/2015</a:t>
            </a:fld>
            <a:endParaRPr lang="en-US" dirty="0">
              <a:solidFill>
                <a:prstClr val="white"/>
              </a:solidFill>
            </a:endParaRPr>
          </a:p>
        </p:txBody>
      </p:sp>
      <p:sp>
        <p:nvSpPr>
          <p:cNvPr id="19" name="Slide Number Placeholder 4"/>
          <p:cNvSpPr>
            <a:spLocks noGrp="1"/>
          </p:cNvSpPr>
          <p:nvPr>
            <p:ph type="sldNum" sz="quarter" idx="12"/>
          </p:nvPr>
        </p:nvSpPr>
        <p:spPr>
          <a:xfrm>
            <a:off x="7010400" y="4926807"/>
            <a:ext cx="2133600" cy="273844"/>
          </a:xfrm>
        </p:spPr>
        <p:txBody>
          <a:bodyPr/>
          <a:lstStyle/>
          <a:p>
            <a:fld id="{3149A960-9A85-47C9-BA01-92958F426FBD}" type="slidenum">
              <a:rPr lang="en-US" smtClean="0">
                <a:solidFill>
                  <a:prstClr val="white"/>
                </a:solidFill>
              </a:rPr>
              <a:pPr/>
              <a:t>55</a:t>
            </a:fld>
            <a:endParaRPr lang="en-US">
              <a:solidFill>
                <a:prstClr val="white"/>
              </a:solidFill>
            </a:endParaRPr>
          </a:p>
        </p:txBody>
      </p:sp>
      <p:grpSp>
        <p:nvGrpSpPr>
          <p:cNvPr id="5" name="Group 4"/>
          <p:cNvGrpSpPr/>
          <p:nvPr/>
        </p:nvGrpSpPr>
        <p:grpSpPr>
          <a:xfrm>
            <a:off x="107504" y="843558"/>
            <a:ext cx="8553153" cy="3168352"/>
            <a:chOff x="267319" y="1203598"/>
            <a:chExt cx="8553153" cy="3168352"/>
          </a:xfrm>
        </p:grpSpPr>
        <p:sp>
          <p:nvSpPr>
            <p:cNvPr id="143" name="TextBox 142"/>
            <p:cNvSpPr txBox="1"/>
            <p:nvPr/>
          </p:nvSpPr>
          <p:spPr>
            <a:xfrm>
              <a:off x="267319" y="2894622"/>
              <a:ext cx="5029200" cy="1477328"/>
            </a:xfrm>
            <a:prstGeom prst="rect">
              <a:avLst/>
            </a:prstGeom>
            <a:noFill/>
            <a:ln>
              <a:noFill/>
            </a:ln>
          </p:spPr>
          <p:txBody>
            <a:bodyPr wrap="square" rtlCol="0">
              <a:spAutoFit/>
            </a:bodyPr>
            <a:lstStyle/>
            <a:p>
              <a:pPr lvl="1"/>
              <a:r>
                <a:rPr lang="th-TH" sz="1800" b="1" dirty="0">
                  <a:solidFill>
                    <a:srgbClr val="002060"/>
                  </a:solidFill>
                  <a:latin typeface="TH SarabunPSK" pitchFamily="34" charset="-34"/>
                  <a:cs typeface="TH SarabunPSK" pitchFamily="34" charset="-34"/>
                </a:rPr>
                <a:t>บริษัท ทวาย </a:t>
              </a:r>
              <a:r>
                <a:rPr lang="th-TH" sz="1800" b="1" dirty="0" err="1">
                  <a:solidFill>
                    <a:srgbClr val="002060"/>
                  </a:solidFill>
                  <a:latin typeface="TH SarabunPSK" pitchFamily="34" charset="-34"/>
                  <a:cs typeface="TH SarabunPSK" pitchFamily="34" charset="-34"/>
                </a:rPr>
                <a:t>เอส</a:t>
              </a:r>
              <a:r>
                <a:rPr lang="th-TH" sz="1800" b="1" dirty="0">
                  <a:solidFill>
                    <a:srgbClr val="002060"/>
                  </a:solidFill>
                  <a:latin typeface="TH SarabunPSK" pitchFamily="34" charset="-34"/>
                  <a:cs typeface="TH SarabunPSK" pitchFamily="34" charset="-34"/>
                </a:rPr>
                <a:t>อีแซด ดี</a:t>
              </a:r>
              <a:r>
                <a:rPr lang="th-TH" sz="1800" b="1" dirty="0" err="1">
                  <a:solidFill>
                    <a:srgbClr val="002060"/>
                  </a:solidFill>
                  <a:latin typeface="TH SarabunPSK" pitchFamily="34" charset="-34"/>
                  <a:cs typeface="TH SarabunPSK" pitchFamily="34" charset="-34"/>
                </a:rPr>
                <a:t>เวลล๊อปเม้นท์</a:t>
              </a:r>
              <a:r>
                <a:rPr lang="th-TH" sz="1800" b="1" dirty="0">
                  <a:solidFill>
                    <a:srgbClr val="002060"/>
                  </a:solidFill>
                  <a:latin typeface="TH SarabunPSK" pitchFamily="34" charset="-34"/>
                  <a:cs typeface="TH SarabunPSK" pitchFamily="34" charset="-34"/>
                </a:rPr>
                <a:t> จำกัด </a:t>
              </a:r>
              <a:r>
                <a:rPr lang="th-TH" sz="1800" b="1" dirty="0" smtClean="0">
                  <a:solidFill>
                    <a:srgbClr val="002060"/>
                  </a:solidFill>
                  <a:latin typeface="TH SarabunPSK" pitchFamily="34" charset="-34"/>
                  <a:cs typeface="TH SarabunPSK" pitchFamily="34" charset="-34"/>
                </a:rPr>
                <a:t>(</a:t>
              </a:r>
              <a:r>
                <a:rPr lang="en-US" sz="1800" b="1" dirty="0" smtClean="0">
                  <a:solidFill>
                    <a:srgbClr val="002060"/>
                  </a:solidFill>
                  <a:latin typeface="TH SarabunPSK" pitchFamily="34" charset="-34"/>
                  <a:cs typeface="TH SarabunPSK" pitchFamily="34" charset="-34"/>
                </a:rPr>
                <a:t>SPV</a:t>
              </a:r>
              <a:r>
                <a:rPr lang="en-US" sz="1800" b="1" dirty="0">
                  <a:solidFill>
                    <a:srgbClr val="002060"/>
                  </a:solidFill>
                  <a:latin typeface="TH SarabunPSK" pitchFamily="34" charset="-34"/>
                  <a:cs typeface="TH SarabunPSK" pitchFamily="34" charset="-34"/>
                </a:rPr>
                <a:t>) </a:t>
              </a:r>
              <a:r>
                <a:rPr lang="th-TH" sz="1800" dirty="0">
                  <a:solidFill>
                    <a:prstClr val="black"/>
                  </a:solidFill>
                  <a:latin typeface="TH SarabunPSK" pitchFamily="34" charset="-34"/>
                  <a:cs typeface="TH SarabunPSK" pitchFamily="34" charset="-34"/>
                </a:rPr>
                <a:t>โดยมอบหมาย </a:t>
              </a:r>
              <a:r>
                <a:rPr lang="th-TH" sz="1800" dirty="0" err="1">
                  <a:solidFill>
                    <a:prstClr val="black"/>
                  </a:solidFill>
                  <a:latin typeface="TH SarabunPSK" pitchFamily="34" charset="-34"/>
                  <a:cs typeface="TH SarabunPSK" pitchFamily="34" charset="-34"/>
                </a:rPr>
                <a:t>สพพ.</a:t>
              </a:r>
              <a:r>
                <a:rPr lang="th-TH" sz="1800" dirty="0">
                  <a:solidFill>
                    <a:prstClr val="black"/>
                  </a:solidFill>
                  <a:latin typeface="TH SarabunPSK" pitchFamily="34" charset="-34"/>
                  <a:cs typeface="TH SarabunPSK" pitchFamily="34" charset="-34"/>
                </a:rPr>
                <a:t> ของไทย และ </a:t>
              </a:r>
              <a:r>
                <a:rPr lang="en-US" sz="1800" dirty="0" smtClean="0">
                  <a:solidFill>
                    <a:prstClr val="black"/>
                  </a:solidFill>
                  <a:latin typeface="TH SarabunPSK" pitchFamily="34" charset="-34"/>
                  <a:cs typeface="TH SarabunPSK" pitchFamily="34" charset="-34"/>
                </a:rPr>
                <a:t>FERD </a:t>
              </a:r>
              <a:r>
                <a:rPr lang="th-TH" sz="1800" dirty="0" smtClean="0">
                  <a:solidFill>
                    <a:prstClr val="black"/>
                  </a:solidFill>
                  <a:latin typeface="TH SarabunPSK" pitchFamily="34" charset="-34"/>
                  <a:cs typeface="TH SarabunPSK" pitchFamily="34" charset="-34"/>
                </a:rPr>
                <a:t>ของ</a:t>
              </a:r>
              <a:r>
                <a:rPr lang="th-TH" sz="1800" dirty="0" err="1">
                  <a:solidFill>
                    <a:prstClr val="black"/>
                  </a:solidFill>
                  <a:latin typeface="TH SarabunPSK" pitchFamily="34" charset="-34"/>
                  <a:cs typeface="TH SarabunPSK" pitchFamily="34" charset="-34"/>
                </a:rPr>
                <a:t>เมียนมา</a:t>
              </a:r>
              <a:r>
                <a:rPr lang="th-TH" sz="1800" dirty="0">
                  <a:solidFill>
                    <a:prstClr val="black"/>
                  </a:solidFill>
                  <a:latin typeface="TH SarabunPSK" pitchFamily="34" charset="-34"/>
                  <a:cs typeface="TH SarabunPSK" pitchFamily="34" charset="-34"/>
                </a:rPr>
                <a:t>ร่วมลงทุนในสัดส่วนที่เท่ากัน ฝ่ายละ </a:t>
              </a:r>
              <a:r>
                <a:rPr lang="en-US" sz="1800" dirty="0">
                  <a:solidFill>
                    <a:prstClr val="black"/>
                  </a:solidFill>
                  <a:latin typeface="TH SarabunPSK" pitchFamily="34" charset="-34"/>
                  <a:cs typeface="TH SarabunPSK" pitchFamily="34" charset="-34"/>
                </a:rPr>
                <a:t>6 </a:t>
              </a:r>
              <a:r>
                <a:rPr lang="th-TH" sz="1800" dirty="0">
                  <a:solidFill>
                    <a:prstClr val="black"/>
                  </a:solidFill>
                  <a:latin typeface="TH SarabunPSK" pitchFamily="34" charset="-34"/>
                  <a:cs typeface="TH SarabunPSK" pitchFamily="34" charset="-34"/>
                </a:rPr>
                <a:t>ล้านบาท โดยปัจจุบันมีคณะกรรมการบริหารจากไทยและ</a:t>
              </a:r>
              <a:r>
                <a:rPr lang="th-TH" sz="1800" dirty="0" err="1">
                  <a:solidFill>
                    <a:prstClr val="black"/>
                  </a:solidFill>
                  <a:latin typeface="TH SarabunPSK" pitchFamily="34" charset="-34"/>
                  <a:cs typeface="TH SarabunPSK" pitchFamily="34" charset="-34"/>
                </a:rPr>
                <a:t>เมียนมา</a:t>
              </a:r>
              <a:r>
                <a:rPr lang="th-TH" sz="1800" dirty="0">
                  <a:solidFill>
                    <a:prstClr val="black"/>
                  </a:solidFill>
                  <a:latin typeface="TH SarabunPSK" pitchFamily="34" charset="-34"/>
                  <a:cs typeface="TH SarabunPSK" pitchFamily="34" charset="-34"/>
                </a:rPr>
                <a:t> ฝ่ายละ </a:t>
              </a:r>
              <a:r>
                <a:rPr lang="en-US" sz="1800" dirty="0">
                  <a:solidFill>
                    <a:prstClr val="black"/>
                  </a:solidFill>
                  <a:latin typeface="TH SarabunPSK" pitchFamily="34" charset="-34"/>
                  <a:cs typeface="TH SarabunPSK" pitchFamily="34" charset="-34"/>
                </a:rPr>
                <a:t>3 </a:t>
              </a:r>
              <a:r>
                <a:rPr lang="th-TH" sz="1800" dirty="0">
                  <a:solidFill>
                    <a:prstClr val="black"/>
                  </a:solidFill>
                  <a:latin typeface="TH SarabunPSK" pitchFamily="34" charset="-34"/>
                  <a:cs typeface="TH SarabunPSK" pitchFamily="34" charset="-34"/>
                </a:rPr>
                <a:t>คน ทำหน้าที่เป็นหน่วยงานให้คำปรึกษาและประสานงานกับคณะกรรมการบริหารเขตเศรษฐกิจพิเศษทวาย</a:t>
              </a:r>
              <a:endParaRPr lang="en-US" sz="1800" dirty="0">
                <a:solidFill>
                  <a:prstClr val="black"/>
                </a:solidFill>
                <a:latin typeface="TH SarabunPSK" pitchFamily="34" charset="-34"/>
                <a:cs typeface="TH SarabunPSK" pitchFamily="34" charset="-34"/>
              </a:endParaRPr>
            </a:p>
          </p:txBody>
        </p:sp>
        <p:grpSp>
          <p:nvGrpSpPr>
            <p:cNvPr id="2" name="Group 1"/>
            <p:cNvGrpSpPr/>
            <p:nvPr/>
          </p:nvGrpSpPr>
          <p:grpSpPr>
            <a:xfrm>
              <a:off x="267319" y="1203598"/>
              <a:ext cx="8553153" cy="2944367"/>
              <a:chOff x="76200" y="1399034"/>
              <a:chExt cx="8553153" cy="2944367"/>
            </a:xfrm>
          </p:grpSpPr>
          <p:grpSp>
            <p:nvGrpSpPr>
              <p:cNvPr id="140" name="Group 139"/>
              <p:cNvGrpSpPr/>
              <p:nvPr/>
            </p:nvGrpSpPr>
            <p:grpSpPr>
              <a:xfrm>
                <a:off x="5964731" y="1692568"/>
                <a:ext cx="2664622" cy="2650833"/>
                <a:chOff x="5486400" y="2120900"/>
                <a:chExt cx="2507400" cy="3325900"/>
              </a:xfrm>
            </p:grpSpPr>
            <p:grpSp>
              <p:nvGrpSpPr>
                <p:cNvPr id="92" name="Group 39"/>
                <p:cNvGrpSpPr/>
                <p:nvPr/>
              </p:nvGrpSpPr>
              <p:grpSpPr>
                <a:xfrm>
                  <a:off x="5486400" y="2120900"/>
                  <a:ext cx="2507400" cy="3325900"/>
                  <a:chOff x="2057400" y="1600200"/>
                  <a:chExt cx="2507400" cy="3991080"/>
                </a:xfrm>
              </p:grpSpPr>
              <p:sp>
                <p:nvSpPr>
                  <p:cNvPr id="95" name="สี่เหลี่ยมมุมมน 64"/>
                  <p:cNvSpPr/>
                  <p:nvPr/>
                </p:nvSpPr>
                <p:spPr>
                  <a:xfrm>
                    <a:off x="3196800" y="1600200"/>
                    <a:ext cx="1368000" cy="684000"/>
                  </a:xfrm>
                  <a:prstGeom prst="roundRect">
                    <a:avLst/>
                  </a:prstGeom>
                  <a:solidFill>
                    <a:schemeClr val="accent6">
                      <a:lumMod val="20000"/>
                      <a:lumOff val="80000"/>
                    </a:schemeClr>
                  </a:solidFill>
                  <a:ln w="25400" cap="flat" cmpd="sng" algn="ctr">
                    <a:solidFill>
                      <a:srgbClr val="C00000"/>
                    </a:solidFill>
                    <a:prstDash val="solid"/>
                  </a:ln>
                  <a:effectLst/>
                </p:spPr>
                <p:txBody>
                  <a:bodyPr lIns="64472" tIns="32236" rIns="64472" bIns="32236" rtlCol="0" anchor="ctr"/>
                  <a:lstStyle/>
                  <a:p>
                    <a:pPr algn="ctr" defTabSz="1031547">
                      <a:defRPr/>
                    </a:pPr>
                    <a:r>
                      <a:rPr lang="en-US" sz="1800" b="1" kern="0" dirty="0" smtClean="0">
                        <a:solidFill>
                          <a:sysClr val="windowText" lastClr="000000"/>
                        </a:solidFill>
                        <a:latin typeface="Tahoma" pitchFamily="34" charset="0"/>
                      </a:rPr>
                      <a:t>JHC</a:t>
                    </a:r>
                  </a:p>
                </p:txBody>
              </p:sp>
              <p:sp>
                <p:nvSpPr>
                  <p:cNvPr id="96" name="สี่เหลี่ยมมุมมน 64"/>
                  <p:cNvSpPr/>
                  <p:nvPr/>
                </p:nvSpPr>
                <p:spPr>
                  <a:xfrm>
                    <a:off x="3196799" y="2743200"/>
                    <a:ext cx="1368000" cy="684000"/>
                  </a:xfrm>
                  <a:prstGeom prst="roundRect">
                    <a:avLst/>
                  </a:prstGeom>
                  <a:solidFill>
                    <a:schemeClr val="bg1">
                      <a:lumMod val="95000"/>
                    </a:schemeClr>
                  </a:solidFill>
                  <a:ln w="25400" cap="flat" cmpd="sng" algn="ctr">
                    <a:solidFill>
                      <a:schemeClr val="accent6">
                        <a:lumMod val="75000"/>
                      </a:schemeClr>
                    </a:solidFill>
                    <a:prstDash val="solid"/>
                  </a:ln>
                  <a:effectLst/>
                </p:spPr>
                <p:txBody>
                  <a:bodyPr lIns="64472" tIns="32236" rIns="64472" bIns="32236" rtlCol="0" anchor="ctr"/>
                  <a:lstStyle/>
                  <a:p>
                    <a:pPr algn="ctr" defTabSz="1031547">
                      <a:defRPr/>
                    </a:pPr>
                    <a:r>
                      <a:rPr lang="en-US" sz="1800" b="1" kern="0" dirty="0" smtClean="0">
                        <a:solidFill>
                          <a:sysClr val="windowText" lastClr="000000"/>
                        </a:solidFill>
                        <a:latin typeface="Tahoma" pitchFamily="34" charset="0"/>
                      </a:rPr>
                      <a:t>JCC</a:t>
                    </a:r>
                  </a:p>
                </p:txBody>
              </p:sp>
              <p:cxnSp>
                <p:nvCxnSpPr>
                  <p:cNvPr id="97" name="Straight Arrow Connector 93"/>
                  <p:cNvCxnSpPr>
                    <a:stCxn id="95" idx="2"/>
                    <a:endCxn id="96" idx="0"/>
                  </p:cNvCxnSpPr>
                  <p:nvPr/>
                </p:nvCxnSpPr>
                <p:spPr>
                  <a:xfrm rot="5400000">
                    <a:off x="3651300" y="2513700"/>
                    <a:ext cx="459000" cy="1"/>
                  </a:xfrm>
                  <a:prstGeom prst="straightConnector1">
                    <a:avLst/>
                  </a:prstGeom>
                  <a:noFill/>
                  <a:ln w="28575" cap="flat" cmpd="sng" algn="ctr">
                    <a:solidFill>
                      <a:srgbClr val="006600"/>
                    </a:solidFill>
                    <a:prstDash val="solid"/>
                    <a:tailEnd type="arrow" w="lg" len="sm"/>
                  </a:ln>
                  <a:effectLst/>
                </p:spPr>
              </p:cxnSp>
              <p:cxnSp>
                <p:nvCxnSpPr>
                  <p:cNvPr id="98" name="Straight Arrow Connector 93"/>
                  <p:cNvCxnSpPr>
                    <a:stCxn id="96" idx="2"/>
                  </p:cNvCxnSpPr>
                  <p:nvPr/>
                </p:nvCxnSpPr>
                <p:spPr>
                  <a:xfrm rot="16200000" flipH="1">
                    <a:off x="3650399" y="3657599"/>
                    <a:ext cx="460800" cy="1"/>
                  </a:xfrm>
                  <a:prstGeom prst="straightConnector1">
                    <a:avLst/>
                  </a:prstGeom>
                  <a:noFill/>
                  <a:ln w="28575" cap="flat" cmpd="sng" algn="ctr">
                    <a:solidFill>
                      <a:srgbClr val="006600"/>
                    </a:solidFill>
                    <a:prstDash val="solid"/>
                    <a:tailEnd type="arrow" w="lg" len="sm"/>
                  </a:ln>
                  <a:effectLst/>
                </p:spPr>
              </p:cxnSp>
              <p:sp>
                <p:nvSpPr>
                  <p:cNvPr id="99" name="สี่เหลี่ยมมุมมน 64"/>
                  <p:cNvSpPr/>
                  <p:nvPr/>
                </p:nvSpPr>
                <p:spPr>
                  <a:xfrm>
                    <a:off x="2057400" y="3950677"/>
                    <a:ext cx="1188000" cy="684000"/>
                  </a:xfrm>
                  <a:prstGeom prst="roundRect">
                    <a:avLst/>
                  </a:prstGeom>
                  <a:ln/>
                </p:spPr>
                <p:style>
                  <a:lnRef idx="2">
                    <a:schemeClr val="accent4"/>
                  </a:lnRef>
                  <a:fillRef idx="1">
                    <a:schemeClr val="lt1"/>
                  </a:fillRef>
                  <a:effectRef idx="0">
                    <a:schemeClr val="accent4"/>
                  </a:effectRef>
                  <a:fontRef idx="minor">
                    <a:schemeClr val="dk1"/>
                  </a:fontRef>
                </p:style>
                <p:txBody>
                  <a:bodyPr lIns="64472" tIns="32236" rIns="64472" bIns="32236" rtlCol="0" anchor="ctr"/>
                  <a:lstStyle/>
                  <a:p>
                    <a:pPr algn="ctr" defTabSz="1031547">
                      <a:defRPr/>
                    </a:pPr>
                    <a:r>
                      <a:rPr lang="en-US" sz="1400" b="1" kern="0" dirty="0" smtClean="0">
                        <a:solidFill>
                          <a:sysClr val="windowText" lastClr="000000"/>
                        </a:solidFill>
                        <a:latin typeface="Tahoma" pitchFamily="34" charset="0"/>
                      </a:rPr>
                      <a:t>DSEZMC</a:t>
                    </a:r>
                  </a:p>
                </p:txBody>
              </p:sp>
              <p:cxnSp>
                <p:nvCxnSpPr>
                  <p:cNvPr id="100" name="Straight Arrow Connector 93"/>
                  <p:cNvCxnSpPr/>
                  <p:nvPr/>
                </p:nvCxnSpPr>
                <p:spPr>
                  <a:xfrm rot="16200000" flipH="1">
                    <a:off x="2322829" y="4866877"/>
                    <a:ext cx="460800" cy="1"/>
                  </a:xfrm>
                  <a:prstGeom prst="straightConnector1">
                    <a:avLst/>
                  </a:prstGeom>
                  <a:noFill/>
                  <a:ln w="28575" cap="flat" cmpd="sng" algn="ctr">
                    <a:solidFill>
                      <a:srgbClr val="006600"/>
                    </a:solidFill>
                    <a:prstDash val="solid"/>
                    <a:tailEnd type="arrow" w="lg" len="sm"/>
                  </a:ln>
                  <a:effectLst/>
                </p:spPr>
              </p:cxnSp>
              <p:sp>
                <p:nvSpPr>
                  <p:cNvPr id="101" name="สี่เหลี่ยมมุมมน 64"/>
                  <p:cNvSpPr/>
                  <p:nvPr/>
                </p:nvSpPr>
                <p:spPr>
                  <a:xfrm>
                    <a:off x="2057400" y="5090160"/>
                    <a:ext cx="914400" cy="365760"/>
                  </a:xfrm>
                  <a:prstGeom prst="roundRect">
                    <a:avLst/>
                  </a:prstGeom>
                  <a:ln/>
                </p:spPr>
                <p:style>
                  <a:lnRef idx="2">
                    <a:schemeClr val="dk1"/>
                  </a:lnRef>
                  <a:fillRef idx="1">
                    <a:schemeClr val="lt1"/>
                  </a:fillRef>
                  <a:effectRef idx="0">
                    <a:schemeClr val="dk1"/>
                  </a:effectRef>
                  <a:fontRef idx="minor">
                    <a:schemeClr val="dk1"/>
                  </a:fontRef>
                </p:style>
                <p:txBody>
                  <a:bodyPr lIns="64472" tIns="32236" rIns="64472" bIns="32236" rtlCol="0" anchor="ctr"/>
                  <a:lstStyle/>
                  <a:p>
                    <a:pPr algn="ctr" defTabSz="1031547">
                      <a:defRPr/>
                    </a:pPr>
                    <a:r>
                      <a:rPr lang="en-US" sz="1000" b="1" kern="0" dirty="0" smtClean="0">
                        <a:solidFill>
                          <a:sysClr val="windowText" lastClr="000000"/>
                        </a:solidFill>
                        <a:latin typeface="Tahoma" pitchFamily="34" charset="0"/>
                      </a:rPr>
                      <a:t>Developers</a:t>
                    </a:r>
                  </a:p>
                </p:txBody>
              </p:sp>
              <p:sp>
                <p:nvSpPr>
                  <p:cNvPr id="105" name="สี่เหลี่ยมมุมมน 64"/>
                  <p:cNvSpPr/>
                  <p:nvPr/>
                </p:nvSpPr>
                <p:spPr>
                  <a:xfrm>
                    <a:off x="3581400" y="4907280"/>
                    <a:ext cx="684000" cy="684000"/>
                  </a:xfrm>
                  <a:prstGeom prst="roundRect">
                    <a:avLst/>
                  </a:prstGeom>
                  <a:ln/>
                </p:spPr>
                <p:style>
                  <a:lnRef idx="2">
                    <a:schemeClr val="accent5"/>
                  </a:lnRef>
                  <a:fillRef idx="1">
                    <a:schemeClr val="lt1"/>
                  </a:fillRef>
                  <a:effectRef idx="0">
                    <a:schemeClr val="accent5"/>
                  </a:effectRef>
                  <a:fontRef idx="minor">
                    <a:schemeClr val="dk1"/>
                  </a:fontRef>
                </p:style>
                <p:txBody>
                  <a:bodyPr lIns="64472" tIns="32236" rIns="64472" bIns="32236" rtlCol="0" anchor="ctr"/>
                  <a:lstStyle/>
                  <a:p>
                    <a:pPr algn="ctr" defTabSz="1031547">
                      <a:defRPr/>
                    </a:pPr>
                    <a:r>
                      <a:rPr lang="en-US" sz="1400" b="1" kern="0" dirty="0" smtClean="0">
                        <a:solidFill>
                          <a:sysClr val="windowText" lastClr="000000"/>
                        </a:solidFill>
                        <a:latin typeface="Tahoma" pitchFamily="34" charset="0"/>
                      </a:rPr>
                      <a:t>PMO</a:t>
                    </a:r>
                  </a:p>
                </p:txBody>
              </p:sp>
              <p:cxnSp>
                <p:nvCxnSpPr>
                  <p:cNvPr id="106" name="Straight Arrow Connector 93"/>
                  <p:cNvCxnSpPr>
                    <a:endCxn id="101" idx="3"/>
                  </p:cNvCxnSpPr>
                  <p:nvPr/>
                </p:nvCxnSpPr>
                <p:spPr>
                  <a:xfrm rot="10800000">
                    <a:off x="2971800" y="5273040"/>
                    <a:ext cx="569400" cy="1906"/>
                  </a:xfrm>
                  <a:prstGeom prst="straightConnector1">
                    <a:avLst/>
                  </a:prstGeom>
                  <a:noFill/>
                  <a:ln w="28575" cap="flat" cmpd="sng" algn="ctr">
                    <a:solidFill>
                      <a:srgbClr val="006600"/>
                    </a:solidFill>
                    <a:prstDash val="solid"/>
                    <a:tailEnd type="arrow" w="lg" len="sm"/>
                  </a:ln>
                  <a:effectLst/>
                </p:spPr>
              </p:cxnSp>
              <p:sp>
                <p:nvSpPr>
                  <p:cNvPr id="107" name="สี่เหลี่ยมมุมมน 64"/>
                  <p:cNvSpPr/>
                  <p:nvPr/>
                </p:nvSpPr>
                <p:spPr>
                  <a:xfrm>
                    <a:off x="3581400" y="3948960"/>
                    <a:ext cx="684000" cy="684000"/>
                  </a:xfrm>
                  <a:prstGeom prst="roundRect">
                    <a:avLst/>
                  </a:prstGeom>
                  <a:ln/>
                </p:spPr>
                <p:style>
                  <a:lnRef idx="2">
                    <a:schemeClr val="accent3"/>
                  </a:lnRef>
                  <a:fillRef idx="1">
                    <a:schemeClr val="lt1"/>
                  </a:fillRef>
                  <a:effectRef idx="0">
                    <a:schemeClr val="accent3"/>
                  </a:effectRef>
                  <a:fontRef idx="minor">
                    <a:schemeClr val="dk1"/>
                  </a:fontRef>
                </p:style>
                <p:txBody>
                  <a:bodyPr lIns="64472" tIns="32236" rIns="64472" bIns="32236" rtlCol="0" anchor="ctr"/>
                  <a:lstStyle/>
                  <a:p>
                    <a:pPr algn="ctr" defTabSz="1031547">
                      <a:defRPr/>
                    </a:pPr>
                    <a:r>
                      <a:rPr lang="en-US" sz="1400" b="1" kern="0" dirty="0" smtClean="0">
                        <a:solidFill>
                          <a:sysClr val="windowText" lastClr="000000"/>
                        </a:solidFill>
                        <a:latin typeface="Tahoma" pitchFamily="34" charset="0"/>
                      </a:rPr>
                      <a:t>SPV</a:t>
                    </a:r>
                  </a:p>
                </p:txBody>
              </p:sp>
              <p:pic>
                <p:nvPicPr>
                  <p:cNvPr id="109" name="Picture 2" descr="http://t3.gstatic.com/images?q=tbn:ANd9GcTn7vdehPmJjH4ZOlKRKH6Sw5lCfs13NQQB4aXjgyOnFa1rywzgSXeokY8">
                    <a:hlinkClick r:id="rId2"/>
                  </p:cNvPr>
                  <p:cNvPicPr preferRelativeResize="0">
                    <a:picLocks noChangeArrowheads="1"/>
                  </p:cNvPicPr>
                  <p:nvPr/>
                </p:nvPicPr>
                <p:blipFill>
                  <a:blip r:embed="rId3" cstate="screen"/>
                  <a:srcRect/>
                  <a:stretch>
                    <a:fillRect/>
                  </a:stretch>
                </p:blipFill>
                <p:spPr bwMode="auto">
                  <a:xfrm>
                    <a:off x="3276600" y="1798320"/>
                    <a:ext cx="273600" cy="180000"/>
                  </a:xfrm>
                  <a:prstGeom prst="rect">
                    <a:avLst/>
                  </a:prstGeom>
                  <a:noFill/>
                </p:spPr>
              </p:pic>
              <p:pic>
                <p:nvPicPr>
                  <p:cNvPr id="111" name="Picture 2" descr="http://t3.gstatic.com/images?q=tbn:ANd9GcS7DZMJ-qpReo5GYVJHrXA0kcCXA-nEAUeXhfj-BYl4IInn0M31hbm9w_4">
                    <a:hlinkClick r:id="rId4"/>
                  </p:cNvPr>
                  <p:cNvPicPr>
                    <a:picLocks noChangeAspect="1" noChangeArrowheads="1"/>
                  </p:cNvPicPr>
                  <p:nvPr/>
                </p:nvPicPr>
                <p:blipFill>
                  <a:blip r:embed="rId5" cstate="print"/>
                  <a:srcRect/>
                  <a:stretch>
                    <a:fillRect/>
                  </a:stretch>
                </p:blipFill>
                <p:spPr bwMode="auto">
                  <a:xfrm>
                    <a:off x="4202723" y="1826455"/>
                    <a:ext cx="273371" cy="180000"/>
                  </a:xfrm>
                  <a:prstGeom prst="rect">
                    <a:avLst/>
                  </a:prstGeom>
                  <a:noFill/>
                  <a:ln w="9525">
                    <a:noFill/>
                    <a:miter lim="800000"/>
                    <a:headEnd/>
                    <a:tailEnd/>
                  </a:ln>
                </p:spPr>
              </p:pic>
            </p:grpSp>
            <p:cxnSp>
              <p:nvCxnSpPr>
                <p:cNvPr id="114" name="Straight Arrow Connector 93"/>
                <p:cNvCxnSpPr/>
                <p:nvPr/>
              </p:nvCxnSpPr>
              <p:spPr>
                <a:xfrm rot="10800000" flipV="1">
                  <a:off x="6688015" y="4343400"/>
                  <a:ext cx="304800" cy="1000"/>
                </a:xfrm>
                <a:prstGeom prst="straightConnector1">
                  <a:avLst/>
                </a:prstGeom>
                <a:noFill/>
                <a:ln w="28575" cap="flat" cmpd="sng" algn="ctr">
                  <a:solidFill>
                    <a:srgbClr val="006600"/>
                  </a:solidFill>
                  <a:prstDash val="solid"/>
                  <a:tailEnd type="arrow" w="lg" len="sm"/>
                </a:ln>
                <a:effectLst/>
              </p:spPr>
            </p:cxnSp>
            <p:cxnSp>
              <p:nvCxnSpPr>
                <p:cNvPr id="118" name="Straight Arrow Connector 93"/>
                <p:cNvCxnSpPr/>
                <p:nvPr/>
              </p:nvCxnSpPr>
              <p:spPr>
                <a:xfrm rot="10800000">
                  <a:off x="6629402" y="4648200"/>
                  <a:ext cx="380998" cy="304800"/>
                </a:xfrm>
                <a:prstGeom prst="straightConnector1">
                  <a:avLst/>
                </a:prstGeom>
                <a:noFill/>
                <a:ln w="28575" cap="flat" cmpd="sng" algn="ctr">
                  <a:solidFill>
                    <a:srgbClr val="006600"/>
                  </a:solidFill>
                  <a:prstDash val="solid"/>
                  <a:tailEnd type="arrow" w="lg" len="sm"/>
                </a:ln>
                <a:effectLst/>
              </p:spPr>
            </p:cxnSp>
            <p:cxnSp>
              <p:nvCxnSpPr>
                <p:cNvPr id="125" name="Straight Arrow Connector 93"/>
                <p:cNvCxnSpPr/>
                <p:nvPr/>
              </p:nvCxnSpPr>
              <p:spPr>
                <a:xfrm rot="16200000" flipH="1">
                  <a:off x="7200900" y="4762497"/>
                  <a:ext cx="228601" cy="4"/>
                </a:xfrm>
                <a:prstGeom prst="straightConnector1">
                  <a:avLst/>
                </a:prstGeom>
                <a:noFill/>
                <a:ln w="28575" cap="flat" cmpd="sng" algn="ctr">
                  <a:solidFill>
                    <a:srgbClr val="006600"/>
                  </a:solidFill>
                  <a:prstDash val="solid"/>
                  <a:tailEnd type="arrow" w="lg" len="sm"/>
                </a:ln>
                <a:effectLst/>
              </p:spPr>
            </p:cxnSp>
            <p:pic>
              <p:nvPicPr>
                <p:cNvPr id="130" name="Picture 2" descr="http://t3.gstatic.com/images?q=tbn:ANd9GcTn7vdehPmJjH4ZOlKRKH6Sw5lCfs13NQQB4aXjgyOnFa1rywzgSXeokY8">
                  <a:hlinkClick r:id="rId2"/>
                </p:cNvPr>
                <p:cNvPicPr preferRelativeResize="0">
                  <a:picLocks noChangeArrowheads="1"/>
                </p:cNvPicPr>
                <p:nvPr/>
              </p:nvPicPr>
              <p:blipFill>
                <a:blip r:embed="rId3" cstate="screen"/>
                <a:srcRect/>
                <a:stretch>
                  <a:fillRect/>
                </a:stretch>
              </p:blipFill>
              <p:spPr bwMode="auto">
                <a:xfrm>
                  <a:off x="6705600" y="3261415"/>
                  <a:ext cx="273600" cy="150000"/>
                </a:xfrm>
                <a:prstGeom prst="rect">
                  <a:avLst/>
                </a:prstGeom>
                <a:noFill/>
              </p:spPr>
            </p:pic>
            <p:pic>
              <p:nvPicPr>
                <p:cNvPr id="131" name="Picture 2" descr="http://t3.gstatic.com/images?q=tbn:ANd9GcS7DZMJ-qpReo5GYVJHrXA0kcCXA-nEAUeXhfj-BYl4IInn0M31hbm9w_4">
                  <a:hlinkClick r:id="rId4"/>
                </p:cNvPr>
                <p:cNvPicPr>
                  <a:picLocks noChangeAspect="1" noChangeArrowheads="1"/>
                </p:cNvPicPr>
                <p:nvPr/>
              </p:nvPicPr>
              <p:blipFill>
                <a:blip r:embed="rId5" cstate="print"/>
                <a:srcRect/>
                <a:stretch>
                  <a:fillRect/>
                </a:stretch>
              </p:blipFill>
              <p:spPr bwMode="auto">
                <a:xfrm>
                  <a:off x="7631723" y="3284861"/>
                  <a:ext cx="273371" cy="150000"/>
                </a:xfrm>
                <a:prstGeom prst="rect">
                  <a:avLst/>
                </a:prstGeom>
                <a:noFill/>
                <a:ln w="9525">
                  <a:noFill/>
                  <a:miter lim="800000"/>
                  <a:headEnd/>
                  <a:tailEnd/>
                </a:ln>
              </p:spPr>
            </p:pic>
            <p:pic>
              <p:nvPicPr>
                <p:cNvPr id="132" name="Picture 2" descr="http://t3.gstatic.com/images?q=tbn:ANd9GcS7DZMJ-qpReo5GYVJHrXA0kcCXA-nEAUeXhfj-BYl4IInn0M31hbm9w_4">
                  <a:hlinkClick r:id="rId4"/>
                </p:cNvPr>
                <p:cNvPicPr>
                  <a:picLocks noChangeAspect="1" noChangeArrowheads="1"/>
                </p:cNvPicPr>
                <p:nvPr/>
              </p:nvPicPr>
              <p:blipFill>
                <a:blip r:embed="rId5" cstate="print"/>
                <a:srcRect/>
                <a:stretch>
                  <a:fillRect/>
                </a:stretch>
              </p:blipFill>
              <p:spPr bwMode="auto">
                <a:xfrm>
                  <a:off x="7375204" y="4126523"/>
                  <a:ext cx="197171" cy="108189"/>
                </a:xfrm>
                <a:prstGeom prst="rect">
                  <a:avLst/>
                </a:prstGeom>
                <a:noFill/>
                <a:ln w="9525">
                  <a:noFill/>
                  <a:miter lim="800000"/>
                  <a:headEnd/>
                  <a:tailEnd/>
                </a:ln>
              </p:spPr>
            </p:pic>
            <p:pic>
              <p:nvPicPr>
                <p:cNvPr id="133" name="Picture 2" descr="http://t3.gstatic.com/images?q=tbn:ANd9GcTn7vdehPmJjH4ZOlKRKH6Sw5lCfs13NQQB4aXjgyOnFa1rywzgSXeokY8">
                  <a:hlinkClick r:id="rId2"/>
                </p:cNvPr>
                <p:cNvPicPr preferRelativeResize="0">
                  <a:picLocks noChangeArrowheads="1"/>
                </p:cNvPicPr>
                <p:nvPr/>
              </p:nvPicPr>
              <p:blipFill>
                <a:blip r:embed="rId6" cstate="screen"/>
                <a:srcRect/>
                <a:stretch>
                  <a:fillRect/>
                </a:stretch>
              </p:blipFill>
              <p:spPr bwMode="auto">
                <a:xfrm>
                  <a:off x="7086600" y="4117200"/>
                  <a:ext cx="228600" cy="125329"/>
                </a:xfrm>
                <a:prstGeom prst="rect">
                  <a:avLst/>
                </a:prstGeom>
                <a:noFill/>
              </p:spPr>
            </p:pic>
            <p:pic>
              <p:nvPicPr>
                <p:cNvPr id="134" name="Picture 2" descr="http://t3.gstatic.com/images?q=tbn:ANd9GcTn7vdehPmJjH4ZOlKRKH6Sw5lCfs13NQQB4aXjgyOnFa1rywzgSXeokY8">
                  <a:hlinkClick r:id="rId2"/>
                </p:cNvPr>
                <p:cNvPicPr preferRelativeResize="0">
                  <a:picLocks noChangeArrowheads="1"/>
                </p:cNvPicPr>
                <p:nvPr/>
              </p:nvPicPr>
              <p:blipFill>
                <a:blip r:embed="rId6" cstate="screen"/>
                <a:srcRect/>
                <a:stretch>
                  <a:fillRect/>
                </a:stretch>
              </p:blipFill>
              <p:spPr bwMode="auto">
                <a:xfrm>
                  <a:off x="5943600" y="4114800"/>
                  <a:ext cx="228600" cy="125329"/>
                </a:xfrm>
                <a:prstGeom prst="rect">
                  <a:avLst/>
                </a:prstGeom>
                <a:noFill/>
              </p:spPr>
            </p:pic>
          </p:grpSp>
          <p:sp>
            <p:nvSpPr>
              <p:cNvPr id="141" name="TextBox 140"/>
              <p:cNvSpPr txBox="1"/>
              <p:nvPr/>
            </p:nvSpPr>
            <p:spPr>
              <a:xfrm>
                <a:off x="76200" y="1399034"/>
                <a:ext cx="6019800" cy="923330"/>
              </a:xfrm>
              <a:prstGeom prst="rect">
                <a:avLst/>
              </a:prstGeom>
              <a:noFill/>
              <a:ln>
                <a:noFill/>
              </a:ln>
            </p:spPr>
            <p:txBody>
              <a:bodyPr wrap="square" rtlCol="0">
                <a:spAutoFit/>
              </a:bodyPr>
              <a:lstStyle/>
              <a:p>
                <a:pPr lvl="1"/>
                <a:r>
                  <a:rPr lang="th-TH" sz="1800" b="1" dirty="0">
                    <a:solidFill>
                      <a:srgbClr val="002060"/>
                    </a:solidFill>
                    <a:latin typeface="TH SarabunPSK" pitchFamily="34" charset="-34"/>
                    <a:cs typeface="TH SarabunPSK" pitchFamily="34" charset="-34"/>
                  </a:rPr>
                  <a:t>คณะกรรมการร่วมระดับสูงระหว่างไทย-</a:t>
                </a:r>
                <a:r>
                  <a:rPr lang="th-TH" sz="1800" b="1" dirty="0" err="1">
                    <a:solidFill>
                      <a:srgbClr val="002060"/>
                    </a:solidFill>
                    <a:latin typeface="TH SarabunPSK" pitchFamily="34" charset="-34"/>
                    <a:cs typeface="TH SarabunPSK" pitchFamily="34" charset="-34"/>
                  </a:rPr>
                  <a:t>เมียนมา</a:t>
                </a:r>
                <a:r>
                  <a:rPr lang="th-TH" sz="1800" b="1" dirty="0">
                    <a:solidFill>
                      <a:srgbClr val="002060"/>
                    </a:solidFill>
                    <a:latin typeface="TH SarabunPSK" pitchFamily="34" charset="-34"/>
                    <a:cs typeface="TH SarabunPSK" pitchFamily="34" charset="-34"/>
                  </a:rPr>
                  <a:t>ฯ</a:t>
                </a:r>
                <a:r>
                  <a:rPr lang="th-TH" sz="1800" dirty="0">
                    <a:solidFill>
                      <a:srgbClr val="002060"/>
                    </a:solidFill>
                    <a:latin typeface="TH SarabunPSK" pitchFamily="34" charset="-34"/>
                    <a:cs typeface="TH SarabunPSK" pitchFamily="34" charset="-34"/>
                  </a:rPr>
                  <a:t> </a:t>
                </a:r>
                <a:r>
                  <a:rPr lang="th-TH" sz="1800" b="1" dirty="0" smtClean="0">
                    <a:solidFill>
                      <a:srgbClr val="002060"/>
                    </a:solidFill>
                    <a:latin typeface="TH SarabunPSK" pitchFamily="34" charset="-34"/>
                    <a:cs typeface="TH SarabunPSK" pitchFamily="34" charset="-34"/>
                  </a:rPr>
                  <a:t>(</a:t>
                </a:r>
                <a:r>
                  <a:rPr lang="en-US" sz="1800" b="1" dirty="0" smtClean="0">
                    <a:solidFill>
                      <a:srgbClr val="002060"/>
                    </a:solidFill>
                    <a:latin typeface="TH SarabunPSK" pitchFamily="34" charset="-34"/>
                    <a:cs typeface="TH SarabunPSK" pitchFamily="34" charset="-34"/>
                  </a:rPr>
                  <a:t>JHC</a:t>
                </a:r>
                <a:r>
                  <a:rPr lang="en-US" sz="1800" b="1" dirty="0">
                    <a:solidFill>
                      <a:srgbClr val="002060"/>
                    </a:solidFill>
                    <a:latin typeface="TH SarabunPSK" pitchFamily="34" charset="-34"/>
                    <a:cs typeface="TH SarabunPSK" pitchFamily="34" charset="-34"/>
                  </a:rPr>
                  <a:t>) </a:t>
                </a:r>
                <a:r>
                  <a:rPr lang="th-TH" sz="1800" dirty="0">
                    <a:solidFill>
                      <a:prstClr val="black"/>
                    </a:solidFill>
                    <a:latin typeface="TH SarabunPSK" pitchFamily="34" charset="-34"/>
                    <a:cs typeface="TH SarabunPSK" pitchFamily="34" charset="-34"/>
                  </a:rPr>
                  <a:t>มีรองนายกรัฐมนตรีไทย และรองประธานาธิบดี</a:t>
                </a:r>
                <a:r>
                  <a:rPr lang="th-TH" sz="1800" dirty="0" err="1">
                    <a:solidFill>
                      <a:prstClr val="black"/>
                    </a:solidFill>
                    <a:latin typeface="TH SarabunPSK" pitchFamily="34" charset="-34"/>
                    <a:cs typeface="TH SarabunPSK" pitchFamily="34" charset="-34"/>
                  </a:rPr>
                  <a:t>เมียนมา</a:t>
                </a:r>
                <a:r>
                  <a:rPr lang="th-TH" sz="1800" dirty="0">
                    <a:solidFill>
                      <a:prstClr val="black"/>
                    </a:solidFill>
                    <a:latin typeface="TH SarabunPSK" pitchFamily="34" charset="-34"/>
                    <a:cs typeface="TH SarabunPSK" pitchFamily="34" charset="-34"/>
                  </a:rPr>
                  <a:t> เป็นประธานร่วม และมี </a:t>
                </a:r>
                <a:r>
                  <a:rPr lang="th-TH" sz="1800" dirty="0" err="1">
                    <a:solidFill>
                      <a:prstClr val="black"/>
                    </a:solidFill>
                    <a:latin typeface="TH SarabunPSK" pitchFamily="34" charset="-34"/>
                    <a:cs typeface="TH SarabunPSK" pitchFamily="34" charset="-34"/>
                  </a:rPr>
                  <a:t>สศช.</a:t>
                </a:r>
                <a:r>
                  <a:rPr lang="th-TH" sz="1800" dirty="0">
                    <a:solidFill>
                      <a:prstClr val="black"/>
                    </a:solidFill>
                    <a:latin typeface="TH SarabunPSK" pitchFamily="34" charset="-34"/>
                    <a:cs typeface="TH SarabunPSK" pitchFamily="34" charset="-34"/>
                  </a:rPr>
                  <a:t> เป็นหน่วยงานหลักทำหน้าที่ฝ่ายเลขานุการร่วมกับกระทรวงการต่างประเทศ และฝ่าย</a:t>
                </a:r>
                <a:r>
                  <a:rPr lang="th-TH" sz="1800" dirty="0" err="1">
                    <a:solidFill>
                      <a:prstClr val="black"/>
                    </a:solidFill>
                    <a:latin typeface="TH SarabunPSK" pitchFamily="34" charset="-34"/>
                    <a:cs typeface="TH SarabunPSK" pitchFamily="34" charset="-34"/>
                  </a:rPr>
                  <a:t>เมียนมา</a:t>
                </a:r>
                <a:endParaRPr lang="en-US" sz="1200" dirty="0">
                  <a:solidFill>
                    <a:prstClr val="black"/>
                  </a:solidFill>
                  <a:latin typeface="TH SarabunPSK" pitchFamily="34" charset="-34"/>
                  <a:cs typeface="TH SarabunPSK" pitchFamily="34" charset="-34"/>
                </a:endParaRPr>
              </a:p>
            </p:txBody>
          </p:sp>
          <p:sp>
            <p:nvSpPr>
              <p:cNvPr id="142" name="TextBox 141"/>
              <p:cNvSpPr txBox="1"/>
              <p:nvPr/>
            </p:nvSpPr>
            <p:spPr>
              <a:xfrm>
                <a:off x="76200" y="2263130"/>
                <a:ext cx="6019800" cy="1107996"/>
              </a:xfrm>
              <a:prstGeom prst="rect">
                <a:avLst/>
              </a:prstGeom>
              <a:noFill/>
              <a:ln>
                <a:noFill/>
              </a:ln>
            </p:spPr>
            <p:txBody>
              <a:bodyPr wrap="square" rtlCol="0">
                <a:spAutoFit/>
              </a:bodyPr>
              <a:lstStyle/>
              <a:p>
                <a:pPr lvl="1"/>
                <a:r>
                  <a:rPr lang="th-TH" sz="1800" b="1" dirty="0" smtClean="0">
                    <a:solidFill>
                      <a:srgbClr val="002060"/>
                    </a:solidFill>
                    <a:latin typeface="TH SarabunPSK" pitchFamily="34" charset="-34"/>
                    <a:cs typeface="TH SarabunPSK" pitchFamily="34" charset="-34"/>
                  </a:rPr>
                  <a:t>คณะกรรมการประสานงานร่วมระหว่าง</a:t>
                </a:r>
                <a:r>
                  <a:rPr lang="th-TH" sz="1800" b="1" dirty="0">
                    <a:solidFill>
                      <a:srgbClr val="002060"/>
                    </a:solidFill>
                    <a:latin typeface="TH SarabunPSK" pitchFamily="34" charset="-34"/>
                    <a:cs typeface="TH SarabunPSK" pitchFamily="34" charset="-34"/>
                  </a:rPr>
                  <a:t>ไทย-</a:t>
                </a:r>
                <a:r>
                  <a:rPr lang="th-TH" sz="1800" b="1" dirty="0" err="1">
                    <a:solidFill>
                      <a:srgbClr val="002060"/>
                    </a:solidFill>
                    <a:latin typeface="TH SarabunPSK" pitchFamily="34" charset="-34"/>
                    <a:cs typeface="TH SarabunPSK" pitchFamily="34" charset="-34"/>
                  </a:rPr>
                  <a:t>เมียนมา</a:t>
                </a:r>
                <a:r>
                  <a:rPr lang="th-TH" sz="1800" b="1" dirty="0">
                    <a:solidFill>
                      <a:srgbClr val="002060"/>
                    </a:solidFill>
                    <a:latin typeface="TH SarabunPSK" pitchFamily="34" charset="-34"/>
                    <a:cs typeface="TH SarabunPSK" pitchFamily="34" charset="-34"/>
                  </a:rPr>
                  <a:t>ฯ</a:t>
                </a:r>
                <a:r>
                  <a:rPr lang="th-TH" sz="1800" dirty="0">
                    <a:solidFill>
                      <a:srgbClr val="002060"/>
                    </a:solidFill>
                    <a:latin typeface="TH SarabunPSK" pitchFamily="34" charset="-34"/>
                    <a:cs typeface="TH SarabunPSK" pitchFamily="34" charset="-34"/>
                  </a:rPr>
                  <a:t> </a:t>
                </a:r>
                <a:r>
                  <a:rPr lang="th-TH" sz="1800" b="1" dirty="0" smtClean="0">
                    <a:solidFill>
                      <a:srgbClr val="002060"/>
                    </a:solidFill>
                    <a:latin typeface="TH SarabunPSK" pitchFamily="34" charset="-34"/>
                    <a:cs typeface="TH SarabunPSK" pitchFamily="34" charset="-34"/>
                  </a:rPr>
                  <a:t>(</a:t>
                </a:r>
                <a:r>
                  <a:rPr lang="en-US" sz="1800" b="1" dirty="0" smtClean="0">
                    <a:solidFill>
                      <a:srgbClr val="002060"/>
                    </a:solidFill>
                    <a:latin typeface="TH SarabunPSK" pitchFamily="34" charset="-34"/>
                    <a:cs typeface="TH SarabunPSK" pitchFamily="34" charset="-34"/>
                  </a:rPr>
                  <a:t>JCC)</a:t>
                </a:r>
                <a:r>
                  <a:rPr lang="th-TH" sz="1800" b="1" dirty="0" smtClean="0">
                    <a:solidFill>
                      <a:srgbClr val="002060"/>
                    </a:solidFill>
                  </a:rPr>
                  <a:t> </a:t>
                </a:r>
                <a:r>
                  <a:rPr lang="en-US" sz="1800" b="1" dirty="0" smtClean="0">
                    <a:solidFill>
                      <a:srgbClr val="002060"/>
                    </a:solidFill>
                  </a:rPr>
                  <a:t> </a:t>
                </a:r>
                <a:r>
                  <a:rPr lang="th-TH" sz="1800" dirty="0" smtClean="0">
                    <a:solidFill>
                      <a:prstClr val="black"/>
                    </a:solidFill>
                    <a:latin typeface="TH SarabunPSK" pitchFamily="34" charset="-34"/>
                    <a:cs typeface="TH SarabunPSK" pitchFamily="34" charset="-34"/>
                  </a:rPr>
                  <a:t>มี</a:t>
                </a:r>
                <a:r>
                  <a:rPr lang="th-TH" sz="1800" dirty="0">
                    <a:solidFill>
                      <a:prstClr val="black"/>
                    </a:solidFill>
                    <a:latin typeface="TH SarabunPSK" pitchFamily="34" charset="-34"/>
                    <a:cs typeface="TH SarabunPSK" pitchFamily="34" charset="-34"/>
                  </a:rPr>
                  <a:t>รัฐมนตรีจากไทยและ</a:t>
                </a:r>
                <a:r>
                  <a:rPr lang="th-TH" sz="1800" dirty="0" err="1">
                    <a:solidFill>
                      <a:prstClr val="black"/>
                    </a:solidFill>
                    <a:latin typeface="TH SarabunPSK" pitchFamily="34" charset="-34"/>
                    <a:cs typeface="TH SarabunPSK" pitchFamily="34" charset="-34"/>
                  </a:rPr>
                  <a:t>เมียนมา</a:t>
                </a:r>
                <a:r>
                  <a:rPr lang="th-TH" sz="1800" dirty="0">
                    <a:solidFill>
                      <a:prstClr val="black"/>
                    </a:solidFill>
                    <a:latin typeface="TH SarabunPSK" pitchFamily="34" charset="-34"/>
                    <a:cs typeface="TH SarabunPSK" pitchFamily="34" charset="-34"/>
                  </a:rPr>
                  <a:t> ทำหน้าที่เป็นประธานร่วม และมี </a:t>
                </a:r>
                <a:r>
                  <a:rPr lang="th-TH" sz="1800" dirty="0" err="1">
                    <a:solidFill>
                      <a:prstClr val="black"/>
                    </a:solidFill>
                    <a:latin typeface="TH SarabunPSK" pitchFamily="34" charset="-34"/>
                    <a:cs typeface="TH SarabunPSK" pitchFamily="34" charset="-34"/>
                  </a:rPr>
                  <a:t>สศช.</a:t>
                </a:r>
                <a:r>
                  <a:rPr lang="th-TH" sz="1800" dirty="0">
                    <a:solidFill>
                      <a:prstClr val="black"/>
                    </a:solidFill>
                    <a:latin typeface="TH SarabunPSK" pitchFamily="34" charset="-34"/>
                    <a:cs typeface="TH SarabunPSK" pitchFamily="34" charset="-34"/>
                  </a:rPr>
                  <a:t> เป็นหน่วยงานหลักทำหน้าที่ฝ่ายเลขานุการร่วมกับกระทรวงการต่างประเทศ และฝ่าย</a:t>
                </a:r>
                <a:r>
                  <a:rPr lang="th-TH" sz="1800" dirty="0" err="1">
                    <a:solidFill>
                      <a:prstClr val="black"/>
                    </a:solidFill>
                    <a:latin typeface="TH SarabunPSK" pitchFamily="34" charset="-34"/>
                    <a:cs typeface="TH SarabunPSK" pitchFamily="34" charset="-34"/>
                  </a:rPr>
                  <a:t>เมียนมา</a:t>
                </a:r>
                <a:endParaRPr lang="en-US" sz="1800" dirty="0">
                  <a:solidFill>
                    <a:prstClr val="black"/>
                  </a:solidFill>
                  <a:latin typeface="TH SarabunPSK" pitchFamily="34" charset="-34"/>
                  <a:cs typeface="TH SarabunPSK" pitchFamily="34" charset="-34"/>
                </a:endParaRPr>
              </a:p>
              <a:p>
                <a:pPr lvl="1"/>
                <a:endParaRPr lang="en-US" sz="1200" dirty="0">
                  <a:solidFill>
                    <a:prstClr val="black"/>
                  </a:solidFill>
                  <a:latin typeface="TH SarabunPSK" pitchFamily="34" charset="-34"/>
                  <a:cs typeface="TH SarabunPSK" pitchFamily="34" charset="-34"/>
                </a:endParaRPr>
              </a:p>
            </p:txBody>
          </p:sp>
          <p:cxnSp>
            <p:nvCxnSpPr>
              <p:cNvPr id="145" name="Straight Connector 144"/>
              <p:cNvCxnSpPr/>
              <p:nvPr/>
            </p:nvCxnSpPr>
            <p:spPr>
              <a:xfrm>
                <a:off x="457200" y="2286000"/>
                <a:ext cx="7010400" cy="0"/>
              </a:xfrm>
              <a:prstGeom prst="line">
                <a:avLst/>
              </a:prstGeom>
              <a:ln>
                <a:solidFill>
                  <a:schemeClr val="accent5"/>
                </a:solidFill>
                <a:prstDash val="dash"/>
              </a:ln>
            </p:spPr>
            <p:style>
              <a:lnRef idx="1">
                <a:schemeClr val="accent2"/>
              </a:lnRef>
              <a:fillRef idx="0">
                <a:schemeClr val="accent2"/>
              </a:fillRef>
              <a:effectRef idx="0">
                <a:schemeClr val="accent2"/>
              </a:effectRef>
              <a:fontRef idx="minor">
                <a:schemeClr val="tx1"/>
              </a:fontRef>
            </p:style>
          </p:cxnSp>
          <p:cxnSp>
            <p:nvCxnSpPr>
              <p:cNvPr id="146" name="Straight Connector 145"/>
              <p:cNvCxnSpPr/>
              <p:nvPr/>
            </p:nvCxnSpPr>
            <p:spPr>
              <a:xfrm>
                <a:off x="457200" y="3127226"/>
                <a:ext cx="7010400" cy="0"/>
              </a:xfrm>
              <a:prstGeom prst="line">
                <a:avLst/>
              </a:prstGeom>
              <a:ln>
                <a:solidFill>
                  <a:schemeClr val="accent5"/>
                </a:solidFill>
                <a:prstDash val="dash"/>
              </a:ln>
            </p:spPr>
            <p:style>
              <a:lnRef idx="1">
                <a:schemeClr val="accent2"/>
              </a:lnRef>
              <a:fillRef idx="0">
                <a:schemeClr val="accent2"/>
              </a:fillRef>
              <a:effectRef idx="0">
                <a:schemeClr val="accent2"/>
              </a:effectRef>
              <a:fontRef idx="minor">
                <a:schemeClr val="tx1"/>
              </a:fontRef>
            </p:style>
          </p:cxnSp>
        </p:grpSp>
      </p:grpSp>
      <p:sp>
        <p:nvSpPr>
          <p:cNvPr id="147" name="TextBox 146"/>
          <p:cNvSpPr txBox="1"/>
          <p:nvPr/>
        </p:nvSpPr>
        <p:spPr>
          <a:xfrm>
            <a:off x="206290" y="4213070"/>
            <a:ext cx="8830206" cy="590931"/>
          </a:xfrm>
          <a:prstGeom prst="rect">
            <a:avLst/>
          </a:prstGeom>
          <a:solidFill>
            <a:schemeClr val="accent1">
              <a:lumMod val="20000"/>
              <a:lumOff val="80000"/>
            </a:schemeClr>
          </a:solidFill>
          <a:ln>
            <a:noFill/>
          </a:ln>
        </p:spPr>
        <p:txBody>
          <a:bodyPr wrap="square" rtlCol="0">
            <a:spAutoFit/>
          </a:bodyPr>
          <a:lstStyle/>
          <a:p>
            <a:pPr marL="0" lvl="1">
              <a:lnSpc>
                <a:spcPct val="90000"/>
              </a:lnSpc>
            </a:pPr>
            <a:r>
              <a:rPr lang="th-TH" sz="1800" b="1" dirty="0" smtClean="0">
                <a:solidFill>
                  <a:srgbClr val="C00000"/>
                </a:solidFill>
                <a:latin typeface="TH SarabunPSK" pitchFamily="34" charset="-34"/>
                <a:cs typeface="TH SarabunPSK" pitchFamily="34" charset="-34"/>
              </a:rPr>
              <a:t>ความ</a:t>
            </a:r>
            <a:r>
              <a:rPr lang="th-TH" sz="1800" b="1" dirty="0">
                <a:solidFill>
                  <a:srgbClr val="C00000"/>
                </a:solidFill>
                <a:latin typeface="TH SarabunPSK" pitchFamily="34" charset="-34"/>
                <a:cs typeface="TH SarabunPSK" pitchFamily="34" charset="-34"/>
              </a:rPr>
              <a:t>ร่วมมือกับประเทศญี่ปุ่น</a:t>
            </a:r>
            <a:r>
              <a:rPr lang="th-TH" sz="1800" dirty="0">
                <a:solidFill>
                  <a:srgbClr val="C00000"/>
                </a:solidFill>
                <a:latin typeface="TH SarabunPSK" pitchFamily="34" charset="-34"/>
                <a:cs typeface="TH SarabunPSK" pitchFamily="34" charset="-34"/>
              </a:rPr>
              <a:t>  </a:t>
            </a:r>
            <a:r>
              <a:rPr lang="th-TH" sz="1800" dirty="0" smtClean="0">
                <a:solidFill>
                  <a:prstClr val="black"/>
                </a:solidFill>
                <a:latin typeface="TH SarabunPSK" pitchFamily="34" charset="-34"/>
                <a:cs typeface="TH SarabunPSK" pitchFamily="34" charset="-34"/>
              </a:rPr>
              <a:t>มีการลง</a:t>
            </a:r>
            <a:r>
              <a:rPr lang="th-TH" sz="1800" dirty="0">
                <a:solidFill>
                  <a:prstClr val="black"/>
                </a:solidFill>
                <a:latin typeface="TH SarabunPSK" pitchFamily="34" charset="-34"/>
                <a:cs typeface="TH SarabunPSK" pitchFamily="34" charset="-34"/>
              </a:rPr>
              <a:t>นามในบันทึกแสดงเจตจำนงสามฝ่ายระหว่าง ไทย-เมียนมา-ญี่ปุ่น </a:t>
            </a:r>
            <a:r>
              <a:rPr lang="th-TH" sz="1800" dirty="0" smtClean="0">
                <a:solidFill>
                  <a:prstClr val="black"/>
                </a:solidFill>
                <a:latin typeface="TH SarabunPSK" pitchFamily="34" charset="-34"/>
                <a:cs typeface="TH SarabunPSK" pitchFamily="34" charset="-34"/>
              </a:rPr>
              <a:t>โดย</a:t>
            </a:r>
            <a:r>
              <a:rPr lang="th-TH" sz="1800" dirty="0">
                <a:solidFill>
                  <a:prstClr val="black"/>
                </a:solidFill>
                <a:latin typeface="TH SarabunPSK" pitchFamily="34" charset="-34"/>
                <a:cs typeface="TH SarabunPSK" pitchFamily="34" charset="-34"/>
              </a:rPr>
              <a:t>รัฐบาลญี่ปุ่นแสดงความสนใจเข้าร่วมการพัฒนาโครงการในระยะสมบูรณ์ และเสนอความร่วมมือกับไทยและเมียนมาเพื่อพัฒนา</a:t>
            </a:r>
            <a:r>
              <a:rPr lang="th-TH" sz="1800" dirty="0" smtClean="0">
                <a:solidFill>
                  <a:prstClr val="black"/>
                </a:solidFill>
                <a:latin typeface="TH SarabunPSK" pitchFamily="34" charset="-34"/>
                <a:cs typeface="TH SarabunPSK" pitchFamily="34" charset="-34"/>
              </a:rPr>
              <a:t>โครงการ</a:t>
            </a:r>
            <a:endParaRPr lang="en-US" sz="1800" dirty="0">
              <a:solidFill>
                <a:prstClr val="black"/>
              </a:solidFill>
              <a:latin typeface="TH SarabunPSK" pitchFamily="34" charset="-34"/>
              <a:cs typeface="TH SarabunPSK" pitchFamily="34" charset="-34"/>
            </a:endParaRPr>
          </a:p>
        </p:txBody>
      </p:sp>
      <p:pic>
        <p:nvPicPr>
          <p:cNvPr id="38" name="Picture 37" descr="High-Res Stock Photography: Businessman and businesswoman shaking hands close up"/>
          <p:cNvPicPr>
            <a:picLocks noChangeAspect="1" noChangeArrowheads="1"/>
          </p:cNvPicPr>
          <p:nvPr/>
        </p:nvPicPr>
        <p:blipFill>
          <a:blip r:embed="rId7" cstate="print"/>
          <a:srcRect/>
          <a:stretch>
            <a:fillRect/>
          </a:stretch>
        </p:blipFill>
        <p:spPr bwMode="auto">
          <a:xfrm>
            <a:off x="7729125" y="523118"/>
            <a:ext cx="914400" cy="514709"/>
          </a:xfrm>
          <a:prstGeom prst="rect">
            <a:avLst/>
          </a:prstGeom>
          <a:noFill/>
          <a:effectLst>
            <a:softEdge rad="127000"/>
          </a:effectLst>
        </p:spPr>
      </p:pic>
      <p:sp>
        <p:nvSpPr>
          <p:cNvPr id="6" name="TextBox 5"/>
          <p:cNvSpPr txBox="1"/>
          <p:nvPr/>
        </p:nvSpPr>
        <p:spPr>
          <a:xfrm>
            <a:off x="6449862" y="523118"/>
            <a:ext cx="1149674" cy="461665"/>
          </a:xfrm>
          <a:prstGeom prst="rect">
            <a:avLst/>
          </a:prstGeom>
          <a:solidFill>
            <a:srgbClr val="00B0F0"/>
          </a:solidFill>
        </p:spPr>
        <p:txBody>
          <a:bodyPr wrap="none" rtlCol="0">
            <a:spAutoFit/>
          </a:bodyPr>
          <a:lstStyle/>
          <a:p>
            <a:r>
              <a:rPr lang="th-TH" sz="2400" b="1" dirty="0" smtClean="0">
                <a:solidFill>
                  <a:schemeClr val="bg1"/>
                </a:solidFill>
                <a:latin typeface="TH SarabunPSK" pitchFamily="34" charset="-34"/>
                <a:cs typeface="TH SarabunPSK" pitchFamily="34" charset="-34"/>
              </a:rPr>
              <a:t>กลไกสำคัญ</a:t>
            </a:r>
            <a:endParaRPr lang="en-US" sz="2400" b="1" dirty="0">
              <a:solidFill>
                <a:schemeClr val="bg1"/>
              </a:solidFill>
              <a:latin typeface="TH SarabunPSK" pitchFamily="34" charset="-34"/>
              <a:cs typeface="TH SarabunPSK" pitchFamily="34" charset="-34"/>
            </a:endParaRPr>
          </a:p>
        </p:txBody>
      </p:sp>
    </p:spTree>
    <p:extLst>
      <p:ext uri="{BB962C8B-B14F-4D97-AF65-F5344CB8AC3E}">
        <p14:creationId xmlns:p14="http://schemas.microsoft.com/office/powerpoint/2010/main" xmlns="" val="1646494860"/>
      </p:ext>
    </p:extLst>
  </p:cSld>
  <p:clrMapOvr>
    <a:masterClrMapping/>
  </p:clrMapOvr>
  <p:transition>
    <p:fade thruBlk="1"/>
  </p:transition>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Rectangle 15"/>
          <p:cNvSpPr/>
          <p:nvPr/>
        </p:nvSpPr>
        <p:spPr>
          <a:xfrm>
            <a:off x="323528" y="390052"/>
            <a:ext cx="1771600" cy="429974"/>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prstClr val="white"/>
              </a:solidFill>
            </a:endParaRPr>
          </a:p>
        </p:txBody>
      </p:sp>
      <p:sp>
        <p:nvSpPr>
          <p:cNvPr id="10" name="TextBox 9"/>
          <p:cNvSpPr txBox="1"/>
          <p:nvPr/>
        </p:nvSpPr>
        <p:spPr>
          <a:xfrm>
            <a:off x="0" y="-61262"/>
            <a:ext cx="9144000" cy="492443"/>
          </a:xfrm>
          <a:prstGeom prst="rect">
            <a:avLst/>
          </a:prstGeom>
          <a:noFill/>
        </p:spPr>
        <p:txBody>
          <a:bodyPr wrap="square" rtlCol="0">
            <a:spAutoFit/>
          </a:bodyPr>
          <a:lstStyle/>
          <a:p>
            <a:r>
              <a:rPr lang="th-TH" sz="2600" b="1" dirty="0" smtClean="0">
                <a:solidFill>
                  <a:prstClr val="black"/>
                </a:solidFill>
                <a:latin typeface="TH SarabunPSK" pitchFamily="34" charset="-34"/>
                <a:cs typeface="TH SarabunPSK" pitchFamily="34" charset="-34"/>
              </a:rPr>
              <a:t>แผนการพัฒนา </a:t>
            </a:r>
            <a:r>
              <a:rPr lang="en-US" sz="2600" b="1" dirty="0" smtClean="0">
                <a:solidFill>
                  <a:prstClr val="black"/>
                </a:solidFill>
                <a:latin typeface="TH SarabunPSK" pitchFamily="34" charset="-34"/>
                <a:cs typeface="TH SarabunPSK" pitchFamily="34" charset="-34"/>
              </a:rPr>
              <a:t>: </a:t>
            </a:r>
            <a:r>
              <a:rPr lang="th-TH" sz="2600" b="1" dirty="0" smtClean="0">
                <a:solidFill>
                  <a:prstClr val="black"/>
                </a:solidFill>
                <a:latin typeface="TH SarabunPSK" pitchFamily="34" charset="-34"/>
                <a:cs typeface="TH SarabunPSK" pitchFamily="34" charset="-34"/>
              </a:rPr>
              <a:t>การพัฒนาระยะแรกและการพัฒนาระยะสมบูรณ์</a:t>
            </a:r>
            <a:endParaRPr lang="en-US" sz="1800" dirty="0">
              <a:solidFill>
                <a:prstClr val="black"/>
              </a:solidFill>
            </a:endParaRPr>
          </a:p>
        </p:txBody>
      </p:sp>
      <p:sp>
        <p:nvSpPr>
          <p:cNvPr id="18" name="Date Placeholder 3"/>
          <p:cNvSpPr>
            <a:spLocks noGrp="1"/>
          </p:cNvSpPr>
          <p:nvPr>
            <p:ph type="dt" sz="half" idx="10"/>
          </p:nvPr>
        </p:nvSpPr>
        <p:spPr>
          <a:xfrm>
            <a:off x="0" y="4926807"/>
            <a:ext cx="2133600" cy="273844"/>
          </a:xfrm>
        </p:spPr>
        <p:txBody>
          <a:bodyPr/>
          <a:lstStyle/>
          <a:p>
            <a:fld id="{9AD1DEDE-A8E2-443A-8984-27DBEE18883A}" type="datetime1">
              <a:rPr lang="en-US" smtClean="0">
                <a:solidFill>
                  <a:prstClr val="white"/>
                </a:solidFill>
              </a:rPr>
              <a:pPr/>
              <a:t>9/20/2015</a:t>
            </a:fld>
            <a:endParaRPr lang="en-US" dirty="0">
              <a:solidFill>
                <a:prstClr val="white"/>
              </a:solidFill>
            </a:endParaRPr>
          </a:p>
        </p:txBody>
      </p:sp>
      <p:sp>
        <p:nvSpPr>
          <p:cNvPr id="19" name="Slide Number Placeholder 4"/>
          <p:cNvSpPr>
            <a:spLocks noGrp="1"/>
          </p:cNvSpPr>
          <p:nvPr>
            <p:ph type="sldNum" sz="quarter" idx="12"/>
          </p:nvPr>
        </p:nvSpPr>
        <p:spPr>
          <a:xfrm>
            <a:off x="7010400" y="4926807"/>
            <a:ext cx="2133600" cy="273844"/>
          </a:xfrm>
        </p:spPr>
        <p:txBody>
          <a:bodyPr/>
          <a:lstStyle/>
          <a:p>
            <a:fld id="{3149A960-9A85-47C9-BA01-92958F426FBD}" type="slidenum">
              <a:rPr lang="en-US" smtClean="0">
                <a:solidFill>
                  <a:prstClr val="white"/>
                </a:solidFill>
              </a:rPr>
              <a:pPr/>
              <a:t>56</a:t>
            </a:fld>
            <a:endParaRPr lang="en-US">
              <a:solidFill>
                <a:prstClr val="white"/>
              </a:solidFill>
            </a:endParaRPr>
          </a:p>
        </p:txBody>
      </p:sp>
      <p:sp>
        <p:nvSpPr>
          <p:cNvPr id="93" name="TextBox 92"/>
          <p:cNvSpPr txBox="1"/>
          <p:nvPr/>
        </p:nvSpPr>
        <p:spPr>
          <a:xfrm>
            <a:off x="323528" y="462062"/>
            <a:ext cx="9036496" cy="1389611"/>
          </a:xfrm>
          <a:prstGeom prst="rect">
            <a:avLst/>
          </a:prstGeom>
          <a:noFill/>
        </p:spPr>
        <p:txBody>
          <a:bodyPr wrap="square" rtlCol="0">
            <a:spAutoFit/>
          </a:bodyPr>
          <a:lstStyle/>
          <a:p>
            <a:pPr marL="0" lvl="2">
              <a:lnSpc>
                <a:spcPct val="85000"/>
              </a:lnSpc>
            </a:pPr>
            <a:r>
              <a:rPr lang="th-TH" sz="2400" b="1" dirty="0">
                <a:solidFill>
                  <a:srgbClr val="C00000"/>
                </a:solidFill>
                <a:latin typeface="TH SarabunPSK" pitchFamily="34" charset="-34"/>
                <a:cs typeface="TH SarabunPSK" pitchFamily="34" charset="-34"/>
              </a:rPr>
              <a:t>การพัฒนา</a:t>
            </a:r>
            <a:r>
              <a:rPr lang="th-TH" sz="2400" b="1" dirty="0" smtClean="0">
                <a:solidFill>
                  <a:srgbClr val="C00000"/>
                </a:solidFill>
                <a:latin typeface="TH SarabunPSK" pitchFamily="34" charset="-34"/>
                <a:cs typeface="TH SarabunPSK" pitchFamily="34" charset="-34"/>
              </a:rPr>
              <a:t>ระยะแรก</a:t>
            </a:r>
            <a:r>
              <a:rPr lang="en-US" sz="2400" b="1" dirty="0" smtClean="0">
                <a:solidFill>
                  <a:srgbClr val="C00000"/>
                </a:solidFill>
                <a:latin typeface="TH SarabunPSK" pitchFamily="34" charset="-34"/>
                <a:cs typeface="TH SarabunPSK" pitchFamily="34" charset="-34"/>
              </a:rPr>
              <a:t> </a:t>
            </a:r>
            <a:r>
              <a:rPr lang="th-TH" sz="1800" b="1" dirty="0" smtClean="0">
                <a:solidFill>
                  <a:prstClr val="black"/>
                </a:solidFill>
                <a:latin typeface="TH SarabunPSK" pitchFamily="34" charset="-34"/>
                <a:cs typeface="TH SarabunPSK" pitchFamily="34" charset="-34"/>
              </a:rPr>
              <a:t>เพื่อ</a:t>
            </a:r>
            <a:r>
              <a:rPr lang="th-TH" sz="1800" b="1" dirty="0">
                <a:solidFill>
                  <a:prstClr val="black"/>
                </a:solidFill>
                <a:latin typeface="TH SarabunPSK" pitchFamily="34" charset="-34"/>
                <a:cs typeface="TH SarabunPSK" pitchFamily="34" charset="-34"/>
              </a:rPr>
              <a:t>กระตุ้นให้เกิดการจ้างงานขึ้นโดยเร็ว และให้ชุมชนในพื้นที่</a:t>
            </a:r>
            <a:r>
              <a:rPr lang="th-TH" sz="1800" b="1" dirty="0" smtClean="0">
                <a:solidFill>
                  <a:prstClr val="black"/>
                </a:solidFill>
                <a:latin typeface="TH SarabunPSK" pitchFamily="34" charset="-34"/>
                <a:cs typeface="TH SarabunPSK" pitchFamily="34" charset="-34"/>
              </a:rPr>
              <a:t>เห็นประโยชน์</a:t>
            </a:r>
            <a:r>
              <a:rPr lang="th-TH" sz="1800" b="1" dirty="0">
                <a:solidFill>
                  <a:prstClr val="black"/>
                </a:solidFill>
                <a:latin typeface="TH SarabunPSK" pitchFamily="34" charset="-34"/>
                <a:cs typeface="TH SarabunPSK" pitchFamily="34" charset="-34"/>
              </a:rPr>
              <a:t>จากการพัฒนาโครงการทวายอย่างเป็นรูปธรรม </a:t>
            </a:r>
            <a:r>
              <a:rPr lang="th-TH" sz="1800" dirty="0" smtClean="0">
                <a:solidFill>
                  <a:prstClr val="black"/>
                </a:solidFill>
                <a:latin typeface="TH SarabunPSK" pitchFamily="34" charset="-34"/>
                <a:cs typeface="TH SarabunPSK" pitchFamily="34" charset="-34"/>
              </a:rPr>
              <a:t>โดยประกอบด้วย</a:t>
            </a:r>
            <a:r>
              <a:rPr lang="th-TH" sz="1800" dirty="0">
                <a:solidFill>
                  <a:prstClr val="black"/>
                </a:solidFill>
                <a:latin typeface="TH SarabunPSK" pitchFamily="34" charset="-34"/>
                <a:cs typeface="TH SarabunPSK" pitchFamily="34" charset="-34"/>
              </a:rPr>
              <a:t>โครงการย่อย 9 </a:t>
            </a:r>
            <a:r>
              <a:rPr lang="th-TH" sz="1800" dirty="0" smtClean="0">
                <a:solidFill>
                  <a:prstClr val="black"/>
                </a:solidFill>
                <a:latin typeface="TH SarabunPSK" pitchFamily="34" charset="-34"/>
                <a:cs typeface="TH SarabunPSK" pitchFamily="34" charset="-34"/>
              </a:rPr>
              <a:t>โครงการ</a:t>
            </a:r>
            <a:r>
              <a:rPr lang="en-US" sz="1800" dirty="0" smtClean="0">
                <a:solidFill>
                  <a:prstClr val="black"/>
                </a:solidFill>
                <a:latin typeface="TH SarabunPSK" pitchFamily="34" charset="-34"/>
                <a:cs typeface="TH SarabunPSK" pitchFamily="34" charset="-34"/>
              </a:rPr>
              <a:t> </a:t>
            </a:r>
            <a:r>
              <a:rPr lang="th-TH" sz="1800" dirty="0">
                <a:solidFill>
                  <a:prstClr val="black"/>
                </a:solidFill>
                <a:latin typeface="TH SarabunPSK" pitchFamily="34" charset="-34"/>
                <a:cs typeface="TH SarabunPSK" pitchFamily="34" charset="-34"/>
              </a:rPr>
              <a:t>ได้แก่ 1) นิคมอุตสาหกรรมระยะแรก พื้นที่รวม 27 </a:t>
            </a:r>
            <a:r>
              <a:rPr lang="th-TH" sz="1800" dirty="0" err="1">
                <a:solidFill>
                  <a:prstClr val="black"/>
                </a:solidFill>
                <a:latin typeface="TH SarabunPSK" pitchFamily="34" charset="-34"/>
                <a:cs typeface="TH SarabunPSK" pitchFamily="34" charset="-34"/>
              </a:rPr>
              <a:t>ตร.</a:t>
            </a:r>
            <a:r>
              <a:rPr lang="th-TH" sz="1800" dirty="0">
                <a:solidFill>
                  <a:prstClr val="black"/>
                </a:solidFill>
                <a:latin typeface="TH SarabunPSK" pitchFamily="34" charset="-34"/>
                <a:cs typeface="TH SarabunPSK" pitchFamily="34" charset="-34"/>
              </a:rPr>
              <a:t>กม. 2) ท่าเรือขนาดเล็ก 3) ถนนสองช่องทางเชื่อมพื้นที่โครงการทวายสู่ชายแดนไทย-เมียนมา 4) โรงไฟฟ้าขนาดเล็ก 5) โรงงานผลิตไฟฟ้าชั่วคราว 6) อ่างเก็บน้ำและระบบจัดการน้ำ </a:t>
            </a:r>
            <a:r>
              <a:rPr lang="th-TH" sz="1800" dirty="0" smtClean="0">
                <a:solidFill>
                  <a:prstClr val="black"/>
                </a:solidFill>
                <a:latin typeface="TH SarabunPSK" pitchFamily="34" charset="-34"/>
                <a:cs typeface="TH SarabunPSK" pitchFamily="34" charset="-34"/>
              </a:rPr>
              <a:t/>
            </a:r>
            <a:br>
              <a:rPr lang="th-TH" sz="1800" dirty="0" smtClean="0">
                <a:solidFill>
                  <a:prstClr val="black"/>
                </a:solidFill>
                <a:latin typeface="TH SarabunPSK" pitchFamily="34" charset="-34"/>
                <a:cs typeface="TH SarabunPSK" pitchFamily="34" charset="-34"/>
              </a:rPr>
            </a:br>
            <a:r>
              <a:rPr lang="th-TH" sz="1800" dirty="0" smtClean="0">
                <a:solidFill>
                  <a:prstClr val="black"/>
                </a:solidFill>
                <a:latin typeface="TH SarabunPSK" pitchFamily="34" charset="-34"/>
                <a:cs typeface="TH SarabunPSK" pitchFamily="34" charset="-34"/>
              </a:rPr>
              <a:t>7</a:t>
            </a:r>
            <a:r>
              <a:rPr lang="th-TH" sz="1800" dirty="0">
                <a:solidFill>
                  <a:prstClr val="black"/>
                </a:solidFill>
                <a:latin typeface="TH SarabunPSK" pitchFamily="34" charset="-34"/>
                <a:cs typeface="TH SarabunPSK" pitchFamily="34" charset="-34"/>
              </a:rPr>
              <a:t>) ระบบโทรคมนาคมภาคพื้นดิน 8) การพัฒนาพื้นที่อยู่อาศัยระยะแรก และ 9) ท่าเทียบเรือและสถานีรับ-จ่าย </a:t>
            </a:r>
            <a:r>
              <a:rPr lang="en-US" sz="1800" dirty="0">
                <a:solidFill>
                  <a:prstClr val="black"/>
                </a:solidFill>
                <a:latin typeface="TH SarabunPSK" pitchFamily="34" charset="-34"/>
                <a:cs typeface="TH SarabunPSK" pitchFamily="34" charset="-34"/>
              </a:rPr>
              <a:t>LNG</a:t>
            </a:r>
          </a:p>
          <a:p>
            <a:endParaRPr lang="en-US" sz="1800" dirty="0">
              <a:solidFill>
                <a:prstClr val="black"/>
              </a:solidFill>
              <a:latin typeface="TH SarabunPSK" pitchFamily="34" charset="-34"/>
              <a:cs typeface="TH SarabunPSK" pitchFamily="34" charset="-34"/>
            </a:endParaRPr>
          </a:p>
        </p:txBody>
      </p:sp>
      <p:pic>
        <p:nvPicPr>
          <p:cNvPr id="95" name="Picture 2"/>
          <p:cNvPicPr>
            <a:picLocks noChangeAspect="1" noChangeArrowheads="1"/>
          </p:cNvPicPr>
          <p:nvPr/>
        </p:nvPicPr>
        <p:blipFill>
          <a:blip r:embed="rId2" cstate="print"/>
          <a:srcRect b="2051"/>
          <a:stretch>
            <a:fillRect/>
          </a:stretch>
        </p:blipFill>
        <p:spPr bwMode="auto">
          <a:xfrm>
            <a:off x="2117199" y="1635646"/>
            <a:ext cx="6722005" cy="3146646"/>
          </a:xfrm>
          <a:prstGeom prst="rect">
            <a:avLst/>
          </a:prstGeom>
          <a:noFill/>
          <a:ln w="9525">
            <a:solidFill>
              <a:srgbClr val="002060"/>
            </a:solidFill>
            <a:miter lim="800000"/>
            <a:headEnd/>
            <a:tailEnd/>
          </a:ln>
          <a:effectLst/>
        </p:spPr>
      </p:pic>
      <p:sp>
        <p:nvSpPr>
          <p:cNvPr id="12" name="TextBox 11"/>
          <p:cNvSpPr txBox="1"/>
          <p:nvPr/>
        </p:nvSpPr>
        <p:spPr>
          <a:xfrm>
            <a:off x="115416" y="2196331"/>
            <a:ext cx="2008312" cy="2585323"/>
          </a:xfrm>
          <a:prstGeom prst="rect">
            <a:avLst/>
          </a:prstGeom>
          <a:noFill/>
        </p:spPr>
        <p:txBody>
          <a:bodyPr wrap="square" rtlCol="0">
            <a:spAutoFit/>
          </a:bodyPr>
          <a:lstStyle/>
          <a:p>
            <a:pPr>
              <a:lnSpc>
                <a:spcPct val="90000"/>
              </a:lnSpc>
            </a:pPr>
            <a:r>
              <a:rPr lang="th-TH" sz="1800" dirty="0" smtClean="0">
                <a:solidFill>
                  <a:prstClr val="black"/>
                </a:solidFill>
                <a:latin typeface="TH SarabunPSK" pitchFamily="34" charset="-34"/>
                <a:cs typeface="TH SarabunPSK" pitchFamily="34" charset="-34"/>
              </a:rPr>
              <a:t>ใน</a:t>
            </a:r>
            <a:r>
              <a:rPr lang="th-TH" sz="1800" dirty="0">
                <a:solidFill>
                  <a:prstClr val="black"/>
                </a:solidFill>
                <a:latin typeface="TH SarabunPSK" pitchFamily="34" charset="-34"/>
                <a:cs typeface="TH SarabunPSK" pitchFamily="34" charset="-34"/>
              </a:rPr>
              <a:t>ระยะยาว โครงการทวายจะเป็น</a:t>
            </a:r>
            <a:r>
              <a:rPr lang="th-TH" sz="1800" b="1" dirty="0">
                <a:solidFill>
                  <a:prstClr val="black"/>
                </a:solidFill>
                <a:latin typeface="TH SarabunPSK" pitchFamily="34" charset="-34"/>
                <a:cs typeface="TH SarabunPSK" pitchFamily="34" charset="-34"/>
              </a:rPr>
              <a:t>การพัฒนาพื้นที่เขตเศรษฐกิจพิเศษแบบครบวงจร และมีขนาดใหญ่ที่สุด</a:t>
            </a:r>
            <a:r>
              <a:rPr lang="th-TH" sz="1800" dirty="0">
                <a:solidFill>
                  <a:prstClr val="black"/>
                </a:solidFill>
                <a:latin typeface="TH SarabunPSK" pitchFamily="34" charset="-34"/>
                <a:cs typeface="TH SarabunPSK" pitchFamily="34" charset="-34"/>
              </a:rPr>
              <a:t>ในภูมิภาคเอเชียตะวันออกเฉียงใต้ </a:t>
            </a:r>
            <a:r>
              <a:rPr lang="th-TH" sz="1800" dirty="0" smtClean="0">
                <a:solidFill>
                  <a:prstClr val="black"/>
                </a:solidFill>
                <a:latin typeface="TH SarabunPSK" pitchFamily="34" charset="-34"/>
                <a:cs typeface="TH SarabunPSK" pitchFamily="34" charset="-34"/>
              </a:rPr>
              <a:t>ภายใต้วิสัยทัศน์คือ </a:t>
            </a:r>
            <a:r>
              <a:rPr lang="en-US" sz="1800" b="1" dirty="0" smtClean="0">
                <a:solidFill>
                  <a:srgbClr val="0070C0"/>
                </a:solidFill>
                <a:latin typeface="TH SarabunPSK" pitchFamily="34" charset="-34"/>
                <a:cs typeface="TH SarabunPSK" pitchFamily="34" charset="-34"/>
              </a:rPr>
              <a:t>“</a:t>
            </a:r>
            <a:r>
              <a:rPr lang="th-TH" sz="1800" b="1" dirty="0" smtClean="0">
                <a:solidFill>
                  <a:srgbClr val="0070C0"/>
                </a:solidFill>
                <a:latin typeface="TH SarabunPSK" pitchFamily="34" charset="-34"/>
                <a:cs typeface="TH SarabunPSK" pitchFamily="34" charset="-34"/>
              </a:rPr>
              <a:t>เขตเศรษฐกิจพิเศษระดับโลกเพื่อการบูร</a:t>
            </a:r>
            <a:r>
              <a:rPr lang="th-TH" sz="1800" b="1" dirty="0" err="1" smtClean="0">
                <a:solidFill>
                  <a:srgbClr val="0070C0"/>
                </a:solidFill>
                <a:latin typeface="TH SarabunPSK" pitchFamily="34" charset="-34"/>
                <a:cs typeface="TH SarabunPSK" pitchFamily="34" charset="-34"/>
              </a:rPr>
              <a:t>ณา</a:t>
            </a:r>
            <a:r>
              <a:rPr lang="th-TH" sz="1800" b="1" dirty="0" smtClean="0">
                <a:solidFill>
                  <a:srgbClr val="0070C0"/>
                </a:solidFill>
                <a:latin typeface="TH SarabunPSK" pitchFamily="34" charset="-34"/>
                <a:cs typeface="TH SarabunPSK" pitchFamily="34" charset="-34"/>
              </a:rPr>
              <a:t>การในระดับภูมิภาค โดยมุ่งเน้นเพื่อการส่งออก</a:t>
            </a:r>
            <a:r>
              <a:rPr lang="en-US" sz="1800" b="1" dirty="0" smtClean="0">
                <a:solidFill>
                  <a:srgbClr val="0070C0"/>
                </a:solidFill>
                <a:latin typeface="TH SarabunPSK" pitchFamily="34" charset="-34"/>
                <a:cs typeface="TH SarabunPSK" pitchFamily="34" charset="-34"/>
              </a:rPr>
              <a:t>”</a:t>
            </a:r>
            <a:endParaRPr lang="en-US" sz="1800" dirty="0">
              <a:solidFill>
                <a:prstClr val="black"/>
              </a:solidFill>
              <a:latin typeface="TH SarabunPSK" pitchFamily="34" charset="-34"/>
              <a:cs typeface="TH SarabunPSK" pitchFamily="34" charset="-34"/>
            </a:endParaRPr>
          </a:p>
        </p:txBody>
      </p:sp>
      <p:grpSp>
        <p:nvGrpSpPr>
          <p:cNvPr id="3" name="Group 2"/>
          <p:cNvGrpSpPr/>
          <p:nvPr/>
        </p:nvGrpSpPr>
        <p:grpSpPr>
          <a:xfrm>
            <a:off x="12574" y="1678040"/>
            <a:ext cx="2111155" cy="463739"/>
            <a:chOff x="35496" y="1606029"/>
            <a:chExt cx="2111155" cy="463739"/>
          </a:xfrm>
        </p:grpSpPr>
        <p:sp>
          <p:nvSpPr>
            <p:cNvPr id="14" name="Rectangle 13"/>
            <p:cNvSpPr/>
            <p:nvPr/>
          </p:nvSpPr>
          <p:spPr>
            <a:xfrm>
              <a:off x="72008" y="1639794"/>
              <a:ext cx="1979712" cy="429974"/>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prstClr val="white"/>
                </a:solidFill>
              </a:endParaRPr>
            </a:p>
          </p:txBody>
        </p:sp>
        <p:sp>
          <p:nvSpPr>
            <p:cNvPr id="2" name="Rectangle 1"/>
            <p:cNvSpPr/>
            <p:nvPr/>
          </p:nvSpPr>
          <p:spPr>
            <a:xfrm>
              <a:off x="35496" y="1606029"/>
              <a:ext cx="2111155" cy="461665"/>
            </a:xfrm>
            <a:prstGeom prst="rect">
              <a:avLst/>
            </a:prstGeom>
          </p:spPr>
          <p:txBody>
            <a:bodyPr wrap="none">
              <a:spAutoFit/>
            </a:bodyPr>
            <a:lstStyle/>
            <a:p>
              <a:r>
                <a:rPr lang="th-TH" sz="2400" b="1" spc="-30" dirty="0">
                  <a:solidFill>
                    <a:srgbClr val="C00000"/>
                  </a:solidFill>
                  <a:latin typeface="TH SarabunPSK" pitchFamily="34" charset="-34"/>
                  <a:cs typeface="TH SarabunPSK" pitchFamily="34" charset="-34"/>
                </a:rPr>
                <a:t>การพัฒนาระยะสมบูรณ์</a:t>
              </a:r>
              <a:endParaRPr lang="en-US" sz="2400" dirty="0"/>
            </a:p>
          </p:txBody>
        </p:sp>
      </p:grpSp>
    </p:spTree>
    <p:extLst>
      <p:ext uri="{BB962C8B-B14F-4D97-AF65-F5344CB8AC3E}">
        <p14:creationId xmlns:p14="http://schemas.microsoft.com/office/powerpoint/2010/main" xmlns="" val="1808470406"/>
      </p:ext>
    </p:extLst>
  </p:cSld>
  <p:clrMapOvr>
    <a:masterClrMapping/>
  </p:clrMapOvr>
  <p:transition>
    <p:fade thruBlk="1"/>
  </p:transition>
  <p:timing>
    <p:tnLst>
      <p:par>
        <p:cTn id="1" dur="indefinite" restart="never" nodeType="tmRoot"/>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p>
            <a:fld id="{9AD1DEDE-A8E2-443A-8984-27DBEE18883A}" type="datetime1">
              <a:rPr lang="en-US" smtClean="0">
                <a:solidFill>
                  <a:prstClr val="white"/>
                </a:solidFill>
              </a:rPr>
              <a:pPr/>
              <a:t>9/20/2015</a:t>
            </a:fld>
            <a:endParaRPr lang="en-US">
              <a:solidFill>
                <a:prstClr val="white"/>
              </a:solidFill>
            </a:endParaRPr>
          </a:p>
        </p:txBody>
      </p:sp>
      <p:sp>
        <p:nvSpPr>
          <p:cNvPr id="16" name="TextBox 15"/>
          <p:cNvSpPr txBox="1"/>
          <p:nvPr/>
        </p:nvSpPr>
        <p:spPr>
          <a:xfrm>
            <a:off x="228600" y="480730"/>
            <a:ext cx="8686800" cy="2026709"/>
          </a:xfrm>
          <a:prstGeom prst="rect">
            <a:avLst/>
          </a:prstGeom>
          <a:noFill/>
        </p:spPr>
        <p:txBody>
          <a:bodyPr wrap="square" rtlCol="0">
            <a:spAutoFit/>
          </a:bodyPr>
          <a:lstStyle/>
          <a:p>
            <a:pPr marL="341312" lvl="2" indent="-285750">
              <a:lnSpc>
                <a:spcPct val="90000"/>
              </a:lnSpc>
              <a:buFont typeface="Arial" pitchFamily="34" charset="0"/>
              <a:buChar char="•"/>
            </a:pPr>
            <a:r>
              <a:rPr lang="th-TH" sz="1800" b="1" dirty="0" smtClean="0">
                <a:solidFill>
                  <a:srgbClr val="C00000"/>
                </a:solidFill>
                <a:latin typeface="TH SarabunPSK" pitchFamily="34" charset="-34"/>
                <a:cs typeface="TH SarabunPSK" pitchFamily="34" charset="-34"/>
              </a:rPr>
              <a:t>บูรณา</a:t>
            </a:r>
            <a:r>
              <a:rPr lang="th-TH" sz="1800" b="1" dirty="0">
                <a:solidFill>
                  <a:srgbClr val="C00000"/>
                </a:solidFill>
                <a:latin typeface="TH SarabunPSK" pitchFamily="34" charset="-34"/>
                <a:cs typeface="TH SarabunPSK" pitchFamily="34" charset="-34"/>
              </a:rPr>
              <a:t>การโครงสร้างพื้นฐานขนส่งโลจิ</a:t>
            </a:r>
            <a:r>
              <a:rPr lang="th-TH" sz="1800" b="1" dirty="0" smtClean="0">
                <a:solidFill>
                  <a:srgbClr val="C00000"/>
                </a:solidFill>
                <a:latin typeface="TH SarabunPSK" pitchFamily="34" charset="-34"/>
                <a:cs typeface="TH SarabunPSK" pitchFamily="34" charset="-34"/>
              </a:rPr>
              <a:t>สติกส์</a:t>
            </a:r>
            <a:r>
              <a:rPr lang="en-US" sz="1800" b="1" dirty="0" smtClean="0">
                <a:solidFill>
                  <a:srgbClr val="C00000"/>
                </a:solidFill>
                <a:latin typeface="TH SarabunPSK" pitchFamily="34" charset="-34"/>
                <a:cs typeface="TH SarabunPSK" pitchFamily="34" charset="-34"/>
              </a:rPr>
              <a:t> </a:t>
            </a:r>
            <a:r>
              <a:rPr lang="th-TH" sz="1800" dirty="0" smtClean="0">
                <a:solidFill>
                  <a:prstClr val="black"/>
                </a:solidFill>
                <a:latin typeface="TH SarabunPSK" pitchFamily="34" charset="-34"/>
                <a:cs typeface="TH SarabunPSK" pitchFamily="34" charset="-34"/>
              </a:rPr>
              <a:t>ประกอบด้วย </a:t>
            </a:r>
            <a:r>
              <a:rPr lang="th-TH" sz="1800" b="1" dirty="0">
                <a:solidFill>
                  <a:prstClr val="black"/>
                </a:solidFill>
                <a:latin typeface="TH SarabunPSK" pitchFamily="34" charset="-34"/>
                <a:cs typeface="TH SarabunPSK" pitchFamily="34" charset="-34"/>
              </a:rPr>
              <a:t>การขนส่งทางถนน</a:t>
            </a:r>
            <a:r>
              <a:rPr lang="th-TH" sz="1800" dirty="0">
                <a:solidFill>
                  <a:prstClr val="black"/>
                </a:solidFill>
                <a:latin typeface="TH SarabunPSK" pitchFamily="34" charset="-34"/>
                <a:cs typeface="TH SarabunPSK" pitchFamily="34" charset="-34"/>
              </a:rPr>
              <a:t> (ทางหลวงพิเศษระหว่างเมือง บางใหญ่ -กาญจนบุรี และทางหลวงพิเศษสายกาญจนบุรี - ชายแดนไทย/</a:t>
            </a:r>
            <a:r>
              <a:rPr lang="th-TH" sz="1800" dirty="0" err="1">
                <a:solidFill>
                  <a:prstClr val="black"/>
                </a:solidFill>
                <a:latin typeface="TH SarabunPSK" pitchFamily="34" charset="-34"/>
                <a:cs typeface="TH SarabunPSK" pitchFamily="34" charset="-34"/>
              </a:rPr>
              <a:t>เมียนมา</a:t>
            </a:r>
            <a:r>
              <a:rPr lang="th-TH" sz="1800" dirty="0">
                <a:solidFill>
                  <a:prstClr val="black"/>
                </a:solidFill>
                <a:latin typeface="TH SarabunPSK" pitchFamily="34" charset="-34"/>
                <a:cs typeface="TH SarabunPSK" pitchFamily="34" charset="-34"/>
              </a:rPr>
              <a:t> (บ้านพุน้ำร้อน)) </a:t>
            </a:r>
            <a:r>
              <a:rPr lang="th-TH" sz="1800" b="1" dirty="0">
                <a:solidFill>
                  <a:prstClr val="black"/>
                </a:solidFill>
                <a:latin typeface="TH SarabunPSK" pitchFamily="34" charset="-34"/>
                <a:cs typeface="TH SarabunPSK" pitchFamily="34" charset="-34"/>
              </a:rPr>
              <a:t>การขนส่งทางรถไฟ</a:t>
            </a:r>
            <a:r>
              <a:rPr lang="th-TH" sz="1800" dirty="0">
                <a:solidFill>
                  <a:prstClr val="black"/>
                </a:solidFill>
                <a:latin typeface="TH SarabunPSK" pitchFamily="34" charset="-34"/>
                <a:cs typeface="TH SarabunPSK" pitchFamily="34" charset="-34"/>
              </a:rPr>
              <a:t> (เส้นทางเชื่อมต่อโครงข่ายรถไฟปัจจุบันไปยังบ้านพุน้ำร้อน) </a:t>
            </a:r>
            <a:r>
              <a:rPr lang="th-TH" sz="1800" b="1" dirty="0">
                <a:solidFill>
                  <a:prstClr val="black"/>
                </a:solidFill>
                <a:latin typeface="TH SarabunPSK" pitchFamily="34" charset="-34"/>
                <a:cs typeface="TH SarabunPSK" pitchFamily="34" charset="-34"/>
              </a:rPr>
              <a:t>ระบบสายส่งไฟฟ้า ระบบท่อก๊าซและท่อน้ำมัน</a:t>
            </a:r>
            <a:r>
              <a:rPr lang="th-TH" sz="1800" dirty="0">
                <a:solidFill>
                  <a:prstClr val="black"/>
                </a:solidFill>
                <a:latin typeface="TH SarabunPSK" pitchFamily="34" charset="-34"/>
                <a:cs typeface="TH SarabunPSK" pitchFamily="34" charset="-34"/>
              </a:rPr>
              <a:t> </a:t>
            </a:r>
            <a:endParaRPr lang="en-US" sz="1800" dirty="0" smtClean="0">
              <a:solidFill>
                <a:prstClr val="black"/>
              </a:solidFill>
              <a:latin typeface="TH SarabunPSK" pitchFamily="34" charset="-34"/>
              <a:cs typeface="TH SarabunPSK" pitchFamily="34" charset="-34"/>
            </a:endParaRPr>
          </a:p>
          <a:p>
            <a:pPr marL="341312" lvl="2" indent="-285750">
              <a:lnSpc>
                <a:spcPct val="90000"/>
              </a:lnSpc>
              <a:buFont typeface="Arial" pitchFamily="34" charset="0"/>
              <a:buChar char="•"/>
            </a:pPr>
            <a:r>
              <a:rPr lang="th-TH" sz="1800" b="1" dirty="0" smtClean="0">
                <a:solidFill>
                  <a:srgbClr val="C00000"/>
                </a:solidFill>
                <a:latin typeface="TH SarabunPSK" pitchFamily="34" charset="-34"/>
                <a:cs typeface="TH SarabunPSK" pitchFamily="34" charset="-34"/>
              </a:rPr>
              <a:t>การเตรียมการด้านการพัฒนาชายแดน สิ่งอำนวยความสะดวก และเขตเศรษฐกิจบริเวณชายแดนไทย-เมียนมา </a:t>
            </a:r>
            <a:r>
              <a:rPr lang="th-TH" sz="1800" dirty="0" smtClean="0">
                <a:solidFill>
                  <a:prstClr val="black"/>
                </a:solidFill>
                <a:latin typeface="TH SarabunPSK" pitchFamily="34" charset="-34"/>
                <a:cs typeface="TH SarabunPSK" pitchFamily="34" charset="-34"/>
              </a:rPr>
              <a:t>โดยการจัดตั้งเขตเศรษฐกิจพิเศษชายแดน จ.กาญจนบุรี รวมถึงการปรับปรุงสิ่งอำนวยความสะดวกบริเวณจุดผ่านแดนถาวรบ้านพุน้ำร้อน และระบบ </a:t>
            </a:r>
            <a:r>
              <a:rPr lang="en-US" sz="1800" dirty="0" smtClean="0">
                <a:solidFill>
                  <a:prstClr val="black"/>
                </a:solidFill>
                <a:latin typeface="TH SarabunPSK" pitchFamily="34" charset="-34"/>
                <a:cs typeface="TH SarabunPSK" pitchFamily="34" charset="-34"/>
              </a:rPr>
              <a:t>CIQ </a:t>
            </a:r>
            <a:r>
              <a:rPr lang="th-TH" sz="1800" dirty="0" smtClean="0">
                <a:solidFill>
                  <a:prstClr val="black"/>
                </a:solidFill>
                <a:latin typeface="TH SarabunPSK" pitchFamily="34" charset="-34"/>
                <a:cs typeface="TH SarabunPSK" pitchFamily="34" charset="-34"/>
              </a:rPr>
              <a:t>ให้ทันสมัยเพื่อรองรับการค้าข้ามพรมแดน แบบ </a:t>
            </a:r>
            <a:r>
              <a:rPr lang="en-US" sz="1800" dirty="0" smtClean="0">
                <a:solidFill>
                  <a:prstClr val="black"/>
                </a:solidFill>
                <a:latin typeface="TH SarabunPSK" pitchFamily="34" charset="-34"/>
                <a:cs typeface="TH SarabunPSK" pitchFamily="34" charset="-34"/>
              </a:rPr>
              <a:t>National Single Window</a:t>
            </a:r>
          </a:p>
          <a:p>
            <a:pPr marL="55563" lvl="2">
              <a:lnSpc>
                <a:spcPct val="90000"/>
              </a:lnSpc>
            </a:pPr>
            <a:endParaRPr lang="en-US" sz="2000" dirty="0">
              <a:solidFill>
                <a:prstClr val="black"/>
              </a:solidFill>
              <a:latin typeface="TH SarabunPSK" pitchFamily="34" charset="-34"/>
              <a:cs typeface="TH SarabunPSK" pitchFamily="34" charset="-34"/>
            </a:endParaRPr>
          </a:p>
          <a:p>
            <a:pPr marL="55563"/>
            <a:endParaRPr lang="en-US" sz="1050" dirty="0" smtClean="0">
              <a:solidFill>
                <a:prstClr val="black"/>
              </a:solidFill>
              <a:latin typeface="TH SarabunPSK" pitchFamily="34" charset="-34"/>
              <a:cs typeface="TH SarabunPSK" pitchFamily="34" charset="-34"/>
            </a:endParaRPr>
          </a:p>
        </p:txBody>
      </p:sp>
      <p:pic>
        <p:nvPicPr>
          <p:cNvPr id="17410" name="Picture 2"/>
          <p:cNvPicPr>
            <a:picLocks noChangeAspect="1" noChangeArrowheads="1"/>
          </p:cNvPicPr>
          <p:nvPr/>
        </p:nvPicPr>
        <p:blipFill>
          <a:blip r:embed="rId2" cstate="print"/>
          <a:srcRect l="29444" t="33778" r="15000" b="22667"/>
          <a:stretch>
            <a:fillRect/>
          </a:stretch>
        </p:blipFill>
        <p:spPr bwMode="auto">
          <a:xfrm>
            <a:off x="323528" y="2067694"/>
            <a:ext cx="8534752" cy="2718634"/>
          </a:xfrm>
          <a:prstGeom prst="rect">
            <a:avLst/>
          </a:prstGeom>
          <a:noFill/>
          <a:ln w="9525">
            <a:noFill/>
            <a:miter lim="800000"/>
            <a:headEnd/>
            <a:tailEnd/>
          </a:ln>
          <a:effectLst/>
        </p:spPr>
      </p:pic>
      <p:sp>
        <p:nvSpPr>
          <p:cNvPr id="11" name="TextBox 10"/>
          <p:cNvSpPr txBox="1"/>
          <p:nvPr/>
        </p:nvSpPr>
        <p:spPr>
          <a:xfrm>
            <a:off x="0" y="-61262"/>
            <a:ext cx="9144000" cy="492443"/>
          </a:xfrm>
          <a:prstGeom prst="rect">
            <a:avLst/>
          </a:prstGeom>
          <a:noFill/>
        </p:spPr>
        <p:txBody>
          <a:bodyPr wrap="square" rtlCol="0">
            <a:spAutoFit/>
          </a:bodyPr>
          <a:lstStyle/>
          <a:p>
            <a:r>
              <a:rPr lang="th-TH" sz="2600" b="1" dirty="0" smtClean="0">
                <a:solidFill>
                  <a:prstClr val="black"/>
                </a:solidFill>
                <a:latin typeface="TH SarabunPSK" pitchFamily="34" charset="-34"/>
                <a:cs typeface="TH SarabunPSK" pitchFamily="34" charset="-34"/>
              </a:rPr>
              <a:t>แผนการพัฒนา </a:t>
            </a:r>
            <a:r>
              <a:rPr lang="en-US" sz="2600" b="1" dirty="0" smtClean="0">
                <a:solidFill>
                  <a:prstClr val="black"/>
                </a:solidFill>
                <a:latin typeface="TH SarabunPSK" pitchFamily="34" charset="-34"/>
                <a:cs typeface="TH SarabunPSK" pitchFamily="34" charset="-34"/>
              </a:rPr>
              <a:t>: </a:t>
            </a:r>
            <a:r>
              <a:rPr lang="th-TH" sz="2600" b="1" dirty="0" smtClean="0">
                <a:solidFill>
                  <a:prstClr val="black"/>
                </a:solidFill>
                <a:latin typeface="TH SarabunPSK" pitchFamily="34" charset="-34"/>
                <a:cs typeface="TH SarabunPSK" pitchFamily="34" charset="-34"/>
              </a:rPr>
              <a:t>การเตรียมการของฝั่งไทย</a:t>
            </a:r>
            <a:endParaRPr lang="en-US" sz="1800" dirty="0">
              <a:solidFill>
                <a:prstClr val="black"/>
              </a:solidFill>
            </a:endParaRPr>
          </a:p>
        </p:txBody>
      </p:sp>
    </p:spTree>
    <p:extLst>
      <p:ext uri="{BB962C8B-B14F-4D97-AF65-F5344CB8AC3E}">
        <p14:creationId xmlns:p14="http://schemas.microsoft.com/office/powerpoint/2010/main" xmlns="" val="2846953051"/>
      </p:ext>
    </p:extLst>
  </p:cSld>
  <p:clrMapOvr>
    <a:masterClrMapping/>
  </p:clrMapOvr>
  <p:transition>
    <p:fade thruBlk="1"/>
  </p:transition>
  <p:timing>
    <p:tnLst>
      <p:par>
        <p:cTn id="1" dur="indefinite" restart="never" nodeType="tmRoot"/>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p:cNvSpPr/>
          <p:nvPr/>
        </p:nvSpPr>
        <p:spPr>
          <a:xfrm>
            <a:off x="0" y="2"/>
            <a:ext cx="9144000" cy="58934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th-TH">
              <a:solidFill>
                <a:prstClr val="white"/>
              </a:solidFill>
            </a:endParaRPr>
          </a:p>
        </p:txBody>
      </p:sp>
      <p:pic>
        <p:nvPicPr>
          <p:cNvPr id="6" name="Picture 3" descr="Picture2"/>
          <p:cNvPicPr>
            <a:picLocks noChangeAspect="1" noChangeArrowheads="1"/>
          </p:cNvPicPr>
          <p:nvPr/>
        </p:nvPicPr>
        <p:blipFill>
          <a:blip r:embed="rId3" cstate="print">
            <a:duotone>
              <a:schemeClr val="accent1">
                <a:shade val="45000"/>
                <a:satMod val="135000"/>
              </a:schemeClr>
              <a:prstClr val="white"/>
            </a:duotone>
          </a:blip>
          <a:srcRect/>
          <a:stretch>
            <a:fillRect/>
          </a:stretch>
        </p:blipFill>
        <p:spPr bwMode="auto">
          <a:xfrm>
            <a:off x="990604" y="1147341"/>
            <a:ext cx="6476999" cy="2537460"/>
          </a:xfrm>
          <a:prstGeom prst="rect">
            <a:avLst/>
          </a:prstGeom>
          <a:noFill/>
          <a:ln w="9525">
            <a:noFill/>
            <a:miter lim="800000"/>
            <a:headEnd/>
            <a:tailEnd/>
          </a:ln>
        </p:spPr>
      </p:pic>
      <p:sp>
        <p:nvSpPr>
          <p:cNvPr id="8" name="Text Box 7"/>
          <p:cNvSpPr txBox="1">
            <a:spLocks noChangeArrowheads="1"/>
          </p:cNvSpPr>
          <p:nvPr/>
        </p:nvSpPr>
        <p:spPr bwMode="auto">
          <a:xfrm>
            <a:off x="2834327" y="3376032"/>
            <a:ext cx="3429001" cy="707886"/>
          </a:xfrm>
          <a:prstGeom prst="rect">
            <a:avLst/>
          </a:prstGeom>
          <a:noFill/>
          <a:ln w="9525">
            <a:noFill/>
            <a:miter lim="800000"/>
            <a:headEnd/>
            <a:tailEnd/>
          </a:ln>
          <a:effectLst/>
        </p:spPr>
        <p:txBody>
          <a:bodyPr wrap="square">
            <a:spAutoFit/>
          </a:bodyPr>
          <a:lstStyle/>
          <a:p>
            <a:pPr algn="ctr">
              <a:defRPr/>
            </a:pPr>
            <a:r>
              <a:rPr lang="th-TH" sz="4000" b="1" dirty="0" smtClean="0">
                <a:solidFill>
                  <a:srgbClr val="376092"/>
                </a:solidFill>
                <a:latin typeface="Century Gothic" pitchFamily="34" charset="0"/>
                <a:cs typeface="TH SarabunPSK" pitchFamily="34" charset="-34"/>
              </a:rPr>
              <a:t>ขอบคุณ</a:t>
            </a:r>
            <a:endParaRPr lang="en-US" sz="4000" b="1" dirty="0">
              <a:solidFill>
                <a:srgbClr val="376092"/>
              </a:solidFill>
              <a:latin typeface="Century Gothic" pitchFamily="34" charset="0"/>
              <a:cs typeface="TH SarabunPSK" pitchFamily="34" charset="-34"/>
            </a:endParaRPr>
          </a:p>
        </p:txBody>
      </p:sp>
      <p:sp>
        <p:nvSpPr>
          <p:cNvPr id="10" name="Text Box 7"/>
          <p:cNvSpPr txBox="1">
            <a:spLocks noChangeArrowheads="1"/>
          </p:cNvSpPr>
          <p:nvPr/>
        </p:nvSpPr>
        <p:spPr bwMode="auto">
          <a:xfrm>
            <a:off x="3390903" y="4083923"/>
            <a:ext cx="2362201" cy="461665"/>
          </a:xfrm>
          <a:prstGeom prst="rect">
            <a:avLst/>
          </a:prstGeom>
          <a:noFill/>
          <a:ln w="9525">
            <a:noFill/>
            <a:miter lim="800000"/>
            <a:headEnd/>
            <a:tailEnd/>
          </a:ln>
          <a:effectLst/>
        </p:spPr>
        <p:txBody>
          <a:bodyPr wrap="square">
            <a:spAutoFit/>
          </a:bodyPr>
          <a:lstStyle/>
          <a:p>
            <a:pPr algn="ctr">
              <a:defRPr/>
            </a:pPr>
            <a:r>
              <a:rPr lang="en-US" sz="2400" b="1" i="1" dirty="0" smtClean="0">
                <a:solidFill>
                  <a:prstClr val="black">
                    <a:lumMod val="65000"/>
                    <a:lumOff val="35000"/>
                  </a:prstClr>
                </a:solidFill>
                <a:latin typeface="TH SarabunPSK" pitchFamily="34" charset="-34"/>
                <a:cs typeface="TH SarabunPSK" pitchFamily="34" charset="-34"/>
              </a:rPr>
              <a:t>www.nesdb.go.th</a:t>
            </a:r>
            <a:endParaRPr lang="en-US" sz="2400" b="1" i="1" dirty="0">
              <a:solidFill>
                <a:prstClr val="black">
                  <a:lumMod val="65000"/>
                  <a:lumOff val="35000"/>
                </a:prstClr>
              </a:solidFill>
              <a:latin typeface="TH SarabunPSK" pitchFamily="34" charset="-34"/>
              <a:cs typeface="TH SarabunPSK" pitchFamily="34" charset="-34"/>
            </a:endParaRPr>
          </a:p>
        </p:txBody>
      </p:sp>
    </p:spTree>
    <p:extLst>
      <p:ext uri="{BB962C8B-B14F-4D97-AF65-F5344CB8AC3E}">
        <p14:creationId xmlns:p14="http://schemas.microsoft.com/office/powerpoint/2010/main" xmlns="" val="4075902921"/>
      </p:ext>
    </p:extLst>
  </p:cSld>
  <p:clrMapOvr>
    <a:masterClrMapping/>
  </p:clrMapOvr>
  <p:transition>
    <p:fade thruBlk="1"/>
  </p:transition>
  <p:timing>
    <p:tnLst>
      <p:par>
        <p:cTn id="1" dur="indefinite" restart="never" nodeType="tmRoot"/>
      </p:par>
    </p:tn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12"/>
          <p:cNvSpPr>
            <a:spLocks noChangeArrowheads="1"/>
          </p:cNvSpPr>
          <p:nvPr/>
        </p:nvSpPr>
        <p:spPr bwMode="auto">
          <a:xfrm>
            <a:off x="6205589" y="4587720"/>
            <a:ext cx="2876643" cy="26116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tIns="0" rIns="0" bIns="0">
            <a:spAutoFit/>
          </a:bodyPr>
          <a:lstStyle/>
          <a:p>
            <a:pPr marL="0" lvl="1" algn="r" eaLnBrk="0" hangingPunct="0">
              <a:lnSpc>
                <a:spcPts val="1000"/>
              </a:lnSpc>
            </a:pPr>
            <a:r>
              <a:rPr lang="th-TH" sz="1050" dirty="0">
                <a:latin typeface="TH SarabunPSK" pitchFamily="34" charset="-34"/>
                <a:cs typeface="TH SarabunPSK" pitchFamily="34" charset="-34"/>
              </a:rPr>
              <a:t>ที่มา</a:t>
            </a:r>
            <a:r>
              <a:rPr lang="en-US" sz="1050" dirty="0">
                <a:latin typeface="TH SarabunPSK" pitchFamily="34" charset="-34"/>
                <a:cs typeface="TH SarabunPSK" pitchFamily="34" charset="-34"/>
              </a:rPr>
              <a:t>: </a:t>
            </a:r>
            <a:r>
              <a:rPr lang="th-TH" sz="1050" dirty="0" smtClean="0">
                <a:latin typeface="TH SarabunPSK" pitchFamily="34" charset="-34"/>
                <a:cs typeface="TH SarabunPSK" pitchFamily="34" charset="-34"/>
              </a:rPr>
              <a:t>กฟผ., กฟภ., กฟน.</a:t>
            </a:r>
            <a:endParaRPr lang="en-US" sz="1050" dirty="0" smtClean="0">
              <a:latin typeface="TH SarabunPSK" pitchFamily="34" charset="-34"/>
              <a:cs typeface="TH SarabunPSK" pitchFamily="34" charset="-34"/>
            </a:endParaRPr>
          </a:p>
          <a:p>
            <a:pPr marL="0" lvl="1" algn="r" eaLnBrk="0" hangingPunct="0">
              <a:lnSpc>
                <a:spcPts val="1000"/>
              </a:lnSpc>
            </a:pPr>
            <a:r>
              <a:rPr lang="th-TH" sz="1050" dirty="0" smtClean="0">
                <a:latin typeface="TH SarabunPSK" pitchFamily="34" charset="-34"/>
                <a:cs typeface="TH SarabunPSK" pitchFamily="34" charset="-34"/>
              </a:rPr>
              <a:t>หมายเหตุ</a:t>
            </a:r>
            <a:r>
              <a:rPr lang="en-US" sz="1050" dirty="0" smtClean="0">
                <a:latin typeface="TH SarabunPSK" pitchFamily="34" charset="-34"/>
                <a:cs typeface="TH SarabunPSK" pitchFamily="34" charset="-34"/>
              </a:rPr>
              <a:t>: * </a:t>
            </a:r>
            <a:r>
              <a:rPr lang="th-TH" sz="1050" dirty="0" smtClean="0">
                <a:latin typeface="TH SarabunPSK" pitchFamily="34" charset="-34"/>
                <a:cs typeface="TH SarabunPSK" pitchFamily="34" charset="-34"/>
              </a:rPr>
              <a:t>เป็นค่าประมาณการเบื้องต้นจากความต้องการใช้ไฟฟ้าที่เพิ่มขึ้น</a:t>
            </a:r>
            <a:endParaRPr lang="en-US" sz="1050" dirty="0">
              <a:latin typeface="TH SarabunPSK" pitchFamily="34" charset="-34"/>
              <a:cs typeface="TH SarabunPSK" pitchFamily="34" charset="-34"/>
            </a:endParaRPr>
          </a:p>
        </p:txBody>
      </p:sp>
      <p:graphicFrame>
        <p:nvGraphicFramePr>
          <p:cNvPr id="5" name="Table 4"/>
          <p:cNvGraphicFramePr>
            <a:graphicFrameLocks noGrp="1"/>
          </p:cNvGraphicFramePr>
          <p:nvPr>
            <p:extLst>
              <p:ext uri="{D42A27DB-BD31-4B8C-83A1-F6EECF244321}">
                <p14:modId xmlns:p14="http://schemas.microsoft.com/office/powerpoint/2010/main" xmlns="" val="595431693"/>
              </p:ext>
            </p:extLst>
          </p:nvPr>
        </p:nvGraphicFramePr>
        <p:xfrm>
          <a:off x="906352" y="576074"/>
          <a:ext cx="8202153" cy="3860800"/>
        </p:xfrm>
        <a:graphic>
          <a:graphicData uri="http://schemas.openxmlformats.org/drawingml/2006/table">
            <a:tbl>
              <a:tblPr firstRow="1" bandRow="1">
                <a:tableStyleId>{5C22544A-7EE6-4342-B048-85BDC9FD1C3A}</a:tableStyleId>
              </a:tblPr>
              <a:tblGrid>
                <a:gridCol w="5825889"/>
                <a:gridCol w="1152128"/>
                <a:gridCol w="1224136"/>
              </a:tblGrid>
              <a:tr h="282815">
                <a:tc>
                  <a:txBody>
                    <a:bodyPr/>
                    <a:lstStyle/>
                    <a:p>
                      <a:pPr algn="ctr">
                        <a:lnSpc>
                          <a:spcPts val="1600"/>
                        </a:lnSpc>
                      </a:pPr>
                      <a:r>
                        <a:rPr lang="th-TH" sz="1700" dirty="0" smtClean="0">
                          <a:solidFill>
                            <a:schemeClr val="accent3"/>
                          </a:solidFill>
                          <a:latin typeface="TH SarabunPSK" pitchFamily="34" charset="-34"/>
                          <a:cs typeface="TH SarabunPSK" pitchFamily="34" charset="-34"/>
                        </a:rPr>
                        <a:t>โครงการ/แผน</a:t>
                      </a:r>
                      <a:endParaRPr lang="en-US" sz="1700" dirty="0">
                        <a:solidFill>
                          <a:schemeClr val="accent3"/>
                        </a:solidFill>
                        <a:latin typeface="TH SarabunPSK" pitchFamily="34" charset="-34"/>
                        <a:cs typeface="TH SarabunPSK" pitchFamily="34" charset="-34"/>
                      </a:endParaRPr>
                    </a:p>
                  </a:txBody>
                  <a:tcPr marT="41148" marB="41148">
                    <a:solidFill>
                      <a:schemeClr val="accent1"/>
                    </a:solidFill>
                  </a:tcPr>
                </a:tc>
                <a:tc>
                  <a:txBody>
                    <a:bodyPr/>
                    <a:lstStyle/>
                    <a:p>
                      <a:pPr algn="ctr">
                        <a:lnSpc>
                          <a:spcPts val="1600"/>
                        </a:lnSpc>
                      </a:pPr>
                      <a:r>
                        <a:rPr lang="th-TH" sz="1700" dirty="0" smtClean="0">
                          <a:solidFill>
                            <a:schemeClr val="accent3"/>
                          </a:solidFill>
                          <a:latin typeface="TH SarabunPSK" pitchFamily="34" charset="-34"/>
                          <a:cs typeface="TH SarabunPSK" pitchFamily="34" charset="-34"/>
                        </a:rPr>
                        <a:t>ระยะเวลา</a:t>
                      </a:r>
                      <a:endParaRPr lang="en-US" sz="1700" dirty="0">
                        <a:solidFill>
                          <a:schemeClr val="accent3"/>
                        </a:solidFill>
                        <a:latin typeface="TH SarabunPSK" pitchFamily="34" charset="-34"/>
                        <a:cs typeface="TH SarabunPSK" pitchFamily="34" charset="-34"/>
                      </a:endParaRPr>
                    </a:p>
                  </a:txBody>
                  <a:tcPr marT="41148" marB="41148">
                    <a:solidFill>
                      <a:schemeClr val="accent1"/>
                    </a:solidFill>
                  </a:tcPr>
                </a:tc>
                <a:tc>
                  <a:txBody>
                    <a:bodyPr/>
                    <a:lstStyle/>
                    <a:p>
                      <a:pPr marL="0" marR="111760" indent="0" algn="ctr">
                        <a:lnSpc>
                          <a:spcPts val="1600"/>
                        </a:lnSpc>
                        <a:spcAft>
                          <a:spcPts val="0"/>
                        </a:spcAft>
                      </a:pPr>
                      <a:r>
                        <a:rPr lang="th-TH" sz="1700" b="1" kern="1200" baseline="0" dirty="0" smtClean="0">
                          <a:solidFill>
                            <a:schemeClr val="accent3"/>
                          </a:solidFill>
                          <a:effectLst/>
                          <a:latin typeface="TH SarabunPSK" pitchFamily="34" charset="-34"/>
                          <a:ea typeface="+mn-ea"/>
                          <a:cs typeface="TH SarabunPSK" pitchFamily="34" charset="-34"/>
                        </a:rPr>
                        <a:t> </a:t>
                      </a:r>
                      <a:r>
                        <a:rPr lang="th-TH" sz="1700" b="1" kern="1200" dirty="0" smtClean="0">
                          <a:solidFill>
                            <a:schemeClr val="accent3"/>
                          </a:solidFill>
                          <a:effectLst/>
                          <a:latin typeface="TH SarabunPSK" pitchFamily="34" charset="-34"/>
                          <a:ea typeface="+mn-ea"/>
                          <a:cs typeface="TH SarabunPSK" pitchFamily="34" charset="-34"/>
                        </a:rPr>
                        <a:t> </a:t>
                      </a:r>
                      <a:r>
                        <a:rPr lang="th-TH" sz="1600" b="1" kern="1200" spc="-40" dirty="0" smtClean="0">
                          <a:solidFill>
                            <a:schemeClr val="accent3"/>
                          </a:solidFill>
                          <a:effectLst/>
                          <a:latin typeface="TH SarabunPSK" pitchFamily="34" charset="-34"/>
                          <a:ea typeface="+mn-ea"/>
                          <a:cs typeface="TH SarabunPSK" pitchFamily="34" charset="-34"/>
                        </a:rPr>
                        <a:t>วงเงินลงทุน</a:t>
                      </a:r>
                      <a:r>
                        <a:rPr lang="en-US" sz="1600" b="1" kern="1200" spc="-40" baseline="0" dirty="0" smtClean="0">
                          <a:solidFill>
                            <a:schemeClr val="accent3"/>
                          </a:solidFill>
                          <a:effectLst/>
                          <a:latin typeface="TH SarabunPSK" pitchFamily="34" charset="-34"/>
                          <a:ea typeface="+mn-ea"/>
                          <a:cs typeface="TH SarabunPSK" pitchFamily="34" charset="-34"/>
                        </a:rPr>
                        <a:t> </a:t>
                      </a:r>
                    </a:p>
                    <a:p>
                      <a:pPr marL="0" marR="111760" indent="0" algn="ctr">
                        <a:lnSpc>
                          <a:spcPts val="1600"/>
                        </a:lnSpc>
                        <a:spcAft>
                          <a:spcPts val="0"/>
                        </a:spcAft>
                      </a:pPr>
                      <a:r>
                        <a:rPr lang="en-US" sz="1600" b="1" kern="1200" baseline="0" dirty="0" smtClean="0">
                          <a:solidFill>
                            <a:schemeClr val="accent3"/>
                          </a:solidFill>
                          <a:effectLst/>
                          <a:latin typeface="TH SarabunPSK" pitchFamily="34" charset="-34"/>
                          <a:ea typeface="+mn-ea"/>
                          <a:cs typeface="TH SarabunPSK" pitchFamily="34" charset="-34"/>
                        </a:rPr>
                        <a:t>  </a:t>
                      </a:r>
                      <a:r>
                        <a:rPr lang="th-TH" sz="1600" b="1" kern="1200" dirty="0" smtClean="0">
                          <a:solidFill>
                            <a:schemeClr val="accent3"/>
                          </a:solidFill>
                          <a:effectLst/>
                          <a:latin typeface="TH SarabunPSK" pitchFamily="34" charset="-34"/>
                          <a:ea typeface="+mn-ea"/>
                          <a:cs typeface="TH SarabunPSK" pitchFamily="34" charset="-34"/>
                        </a:rPr>
                        <a:t>(ล้านบาท)</a:t>
                      </a:r>
                      <a:endParaRPr lang="en-US" sz="1600" dirty="0">
                        <a:solidFill>
                          <a:schemeClr val="accent3"/>
                        </a:solidFill>
                        <a:effectLst/>
                        <a:latin typeface="TH SarabunPSK" pitchFamily="34" charset="-34"/>
                        <a:ea typeface="Times New Roman"/>
                        <a:cs typeface="TH SarabunPSK" pitchFamily="34" charset="-34"/>
                      </a:endParaRPr>
                    </a:p>
                  </a:txBody>
                  <a:tcPr marL="68580" marR="68580" marT="0" marB="0">
                    <a:solidFill>
                      <a:schemeClr val="accent1"/>
                    </a:solidFill>
                  </a:tcPr>
                </a:tc>
              </a:tr>
              <a:tr h="237035">
                <a:tc>
                  <a:txBody>
                    <a:bodyPr/>
                    <a:lstStyle/>
                    <a:p>
                      <a:pPr>
                        <a:lnSpc>
                          <a:spcPts val="1600"/>
                        </a:lnSpc>
                        <a:spcAft>
                          <a:spcPts val="0"/>
                        </a:spcAft>
                      </a:pPr>
                      <a:r>
                        <a:rPr lang="th-TH" sz="1400" dirty="0" smtClean="0">
                          <a:solidFill>
                            <a:srgbClr val="000000"/>
                          </a:solidFill>
                          <a:effectLst/>
                          <a:latin typeface="TH SarabunPSK" pitchFamily="34" charset="-34"/>
                          <a:ea typeface="Calibri"/>
                          <a:cs typeface="TH SarabunPSK" pitchFamily="34" charset="-34"/>
                        </a:rPr>
                        <a:t>โครงการปรับปรุงระบบส่งไฟฟ้าบริเวณภาคตะวันออกเฉียงเหนือ</a:t>
                      </a:r>
                      <a:r>
                        <a:rPr lang="th-TH" sz="1400" baseline="0" dirty="0" smtClean="0">
                          <a:solidFill>
                            <a:srgbClr val="000000"/>
                          </a:solidFill>
                          <a:effectLst/>
                          <a:latin typeface="TH SarabunPSK" pitchFamily="34" charset="-34"/>
                          <a:ea typeface="Calibri"/>
                          <a:cs typeface="TH SarabunPSK" pitchFamily="34" charset="-34"/>
                        </a:rPr>
                        <a:t> ภาคเหนือตอนล่าง </a:t>
                      </a:r>
                      <a:br>
                        <a:rPr lang="th-TH" sz="1400" baseline="0" dirty="0" smtClean="0">
                          <a:solidFill>
                            <a:srgbClr val="000000"/>
                          </a:solidFill>
                          <a:effectLst/>
                          <a:latin typeface="TH SarabunPSK" pitchFamily="34" charset="-34"/>
                          <a:ea typeface="Calibri"/>
                          <a:cs typeface="TH SarabunPSK" pitchFamily="34" charset="-34"/>
                        </a:rPr>
                      </a:br>
                      <a:r>
                        <a:rPr lang="th-TH" sz="1400" baseline="0" dirty="0" smtClean="0">
                          <a:solidFill>
                            <a:srgbClr val="000000"/>
                          </a:solidFill>
                          <a:effectLst/>
                          <a:latin typeface="TH SarabunPSK" pitchFamily="34" charset="-34"/>
                          <a:ea typeface="Calibri"/>
                          <a:cs typeface="TH SarabunPSK" pitchFamily="34" charset="-34"/>
                        </a:rPr>
                        <a:t>ภาคกลาง และกรุงเทพมหานคร เพื่อเสริมความมั่นคงระบบไฟฟ้า</a:t>
                      </a:r>
                      <a:endParaRPr lang="th-TH" sz="1400" dirty="0" smtClean="0">
                        <a:solidFill>
                          <a:srgbClr val="000000"/>
                        </a:solidFill>
                        <a:effectLst/>
                        <a:latin typeface="TH SarabunPSK" pitchFamily="34" charset="-34"/>
                        <a:ea typeface="Calibri"/>
                        <a:cs typeface="TH SarabunPSK" pitchFamily="34" charset="-34"/>
                      </a:endParaRPr>
                    </a:p>
                  </a:txBody>
                  <a:tcPr marL="68580" marR="68580" marT="0" marB="0">
                    <a:solidFill>
                      <a:srgbClr val="EDE35D"/>
                    </a:solidFill>
                  </a:tcPr>
                </a:tc>
                <a:tc>
                  <a:txBody>
                    <a:bodyPr/>
                    <a:lstStyle/>
                    <a:p>
                      <a:pPr marL="0" marR="0" indent="0" algn="ctr" defTabSz="914400" rtl="0" eaLnBrk="1" fontAlgn="auto" latinLnBrk="0" hangingPunct="1">
                        <a:lnSpc>
                          <a:spcPts val="1600"/>
                        </a:lnSpc>
                        <a:spcBef>
                          <a:spcPts val="0"/>
                        </a:spcBef>
                        <a:spcAft>
                          <a:spcPts val="0"/>
                        </a:spcAft>
                        <a:buClrTx/>
                        <a:buSzTx/>
                        <a:buFontTx/>
                        <a:buNone/>
                        <a:tabLst/>
                        <a:defRPr/>
                      </a:pPr>
                      <a:r>
                        <a:rPr lang="en-US" sz="1400" b="0" kern="1200" dirty="0" smtClean="0">
                          <a:solidFill>
                            <a:schemeClr val="dk1"/>
                          </a:solidFill>
                          <a:effectLst/>
                          <a:latin typeface="TH SarabunPSK" pitchFamily="34" charset="-34"/>
                          <a:ea typeface="Calibri"/>
                          <a:cs typeface="TH SarabunPSK" pitchFamily="34" charset="-34"/>
                        </a:rPr>
                        <a:t>2560 – 2563</a:t>
                      </a:r>
                      <a:endParaRPr lang="en-US" sz="1400" b="0" kern="1200" dirty="0">
                        <a:solidFill>
                          <a:schemeClr val="dk1"/>
                        </a:solidFill>
                        <a:effectLst/>
                        <a:latin typeface="TH SarabunPSK" pitchFamily="34" charset="-34"/>
                        <a:ea typeface="Calibri"/>
                        <a:cs typeface="TH SarabunPSK" pitchFamily="34" charset="-34"/>
                      </a:endParaRPr>
                    </a:p>
                  </a:txBody>
                  <a:tcPr marL="68580" marR="68580" marT="0" marB="0">
                    <a:solidFill>
                      <a:srgbClr val="EDE35D"/>
                    </a:solidFill>
                  </a:tcPr>
                </a:tc>
                <a:tc>
                  <a:txBody>
                    <a:bodyPr/>
                    <a:lstStyle/>
                    <a:p>
                      <a:pPr marR="111760" algn="r" fontAlgn="ctr">
                        <a:lnSpc>
                          <a:spcPts val="1600"/>
                        </a:lnSpc>
                        <a:spcAft>
                          <a:spcPts val="0"/>
                        </a:spcAft>
                      </a:pPr>
                      <a:r>
                        <a:rPr lang="en-US" sz="1400" kern="1200" dirty="0">
                          <a:solidFill>
                            <a:srgbClr val="000000"/>
                          </a:solidFill>
                          <a:effectLst/>
                          <a:latin typeface="TH SarabunPSK" pitchFamily="34" charset="-34"/>
                          <a:ea typeface="Calibri"/>
                          <a:cs typeface="TH SarabunPSK" pitchFamily="34" charset="-34"/>
                        </a:rPr>
                        <a:t>     </a:t>
                      </a:r>
                      <a:r>
                        <a:rPr lang="th-TH" sz="1400" kern="1200" dirty="0" smtClean="0">
                          <a:solidFill>
                            <a:srgbClr val="000000"/>
                          </a:solidFill>
                          <a:effectLst/>
                          <a:latin typeface="TH SarabunPSK" pitchFamily="34" charset="-34"/>
                          <a:ea typeface="Calibri"/>
                          <a:cs typeface="TH SarabunPSK" pitchFamily="34" charset="-34"/>
                        </a:rPr>
                        <a:t>94</a:t>
                      </a:r>
                      <a:r>
                        <a:rPr lang="en-US" sz="1400" kern="1200" dirty="0" smtClean="0">
                          <a:solidFill>
                            <a:srgbClr val="000000"/>
                          </a:solidFill>
                          <a:effectLst/>
                          <a:latin typeface="TH SarabunPSK" pitchFamily="34" charset="-34"/>
                          <a:ea typeface="Calibri"/>
                          <a:cs typeface="TH SarabunPSK" pitchFamily="34" charset="-34"/>
                        </a:rPr>
                        <a:t>,</a:t>
                      </a:r>
                      <a:r>
                        <a:rPr lang="th-TH" sz="1400" kern="1200" dirty="0" smtClean="0">
                          <a:solidFill>
                            <a:srgbClr val="000000"/>
                          </a:solidFill>
                          <a:effectLst/>
                          <a:latin typeface="TH SarabunPSK" pitchFamily="34" charset="-34"/>
                          <a:ea typeface="Calibri"/>
                          <a:cs typeface="TH SarabunPSK" pitchFamily="34" charset="-34"/>
                        </a:rPr>
                        <a:t>040</a:t>
                      </a:r>
                      <a:r>
                        <a:rPr lang="en-US" sz="1400" kern="1200" dirty="0" smtClean="0">
                          <a:solidFill>
                            <a:srgbClr val="000000"/>
                          </a:solidFill>
                          <a:effectLst/>
                          <a:latin typeface="TH SarabunPSK" pitchFamily="34" charset="-34"/>
                          <a:ea typeface="Calibri"/>
                          <a:cs typeface="TH SarabunPSK" pitchFamily="34" charset="-34"/>
                        </a:rPr>
                        <a:t> </a:t>
                      </a:r>
                      <a:endParaRPr lang="en-US" sz="1400" dirty="0">
                        <a:effectLst/>
                        <a:latin typeface="TH SarabunPSK" pitchFamily="34" charset="-34"/>
                        <a:ea typeface="Times New Roman"/>
                        <a:cs typeface="TH SarabunPSK" pitchFamily="34" charset="-34"/>
                      </a:endParaRPr>
                    </a:p>
                  </a:txBody>
                  <a:tcPr marL="68580" marR="68580" marT="0" marB="0">
                    <a:solidFill>
                      <a:srgbClr val="EDE35D"/>
                    </a:solidFill>
                  </a:tcPr>
                </a:tc>
              </a:tr>
              <a:tr h="118667">
                <a:tc>
                  <a:txBody>
                    <a:bodyPr/>
                    <a:lstStyle/>
                    <a:p>
                      <a:pPr>
                        <a:lnSpc>
                          <a:spcPts val="1600"/>
                        </a:lnSpc>
                        <a:spcAft>
                          <a:spcPts val="0"/>
                        </a:spcAft>
                      </a:pPr>
                      <a:r>
                        <a:rPr lang="th-TH" sz="1400" spc="-30" dirty="0" smtClean="0">
                          <a:effectLst/>
                          <a:latin typeface="TH SarabunPSK" pitchFamily="34" charset="-34"/>
                          <a:ea typeface="Calibri"/>
                          <a:cs typeface="TH SarabunPSK" pitchFamily="34" charset="-34"/>
                        </a:rPr>
                        <a:t>โครงการปรับปรุงระบบส่งไฟฟ้าบริเวณภาคเหนือตอนบน</a:t>
                      </a:r>
                      <a:r>
                        <a:rPr lang="th-TH" sz="1400" spc="-30" baseline="0" dirty="0" smtClean="0">
                          <a:effectLst/>
                          <a:latin typeface="TH SarabunPSK" pitchFamily="34" charset="-34"/>
                          <a:ea typeface="Calibri"/>
                          <a:cs typeface="TH SarabunPSK" pitchFamily="34" charset="-34"/>
                        </a:rPr>
                        <a:t> </a:t>
                      </a:r>
                      <a:r>
                        <a:rPr lang="th-TH" sz="1400" spc="-30" baseline="0" dirty="0" smtClean="0">
                          <a:solidFill>
                            <a:srgbClr val="000000"/>
                          </a:solidFill>
                          <a:effectLst/>
                          <a:latin typeface="TH SarabunPSK" pitchFamily="34" charset="-34"/>
                          <a:ea typeface="Calibri"/>
                          <a:cs typeface="TH SarabunPSK" pitchFamily="34" charset="-34"/>
                        </a:rPr>
                        <a:t>เพื่อเสริมความมั่นคงระบบไฟฟ้า</a:t>
                      </a:r>
                      <a:endParaRPr lang="th-TH" sz="1400" spc="-30" dirty="0" smtClean="0">
                        <a:effectLst/>
                        <a:latin typeface="TH SarabunPSK" pitchFamily="34" charset="-34"/>
                        <a:ea typeface="Calibri"/>
                        <a:cs typeface="TH SarabunPSK" pitchFamily="34" charset="-34"/>
                      </a:endParaRPr>
                    </a:p>
                  </a:txBody>
                  <a:tcPr marL="68580" marR="68580" marT="0" marB="0">
                    <a:solidFill>
                      <a:srgbClr val="EDE35D"/>
                    </a:solidFill>
                  </a:tcPr>
                </a:tc>
                <a:tc>
                  <a:txBody>
                    <a:bodyPr/>
                    <a:lstStyle/>
                    <a:p>
                      <a:pPr marL="0" marR="0" indent="0" algn="ctr" defTabSz="914400" rtl="0" eaLnBrk="1" fontAlgn="auto" latinLnBrk="0" hangingPunct="1">
                        <a:lnSpc>
                          <a:spcPts val="1600"/>
                        </a:lnSpc>
                        <a:spcBef>
                          <a:spcPts val="0"/>
                        </a:spcBef>
                        <a:spcAft>
                          <a:spcPts val="0"/>
                        </a:spcAft>
                        <a:buClrTx/>
                        <a:buSzTx/>
                        <a:buFontTx/>
                        <a:buNone/>
                        <a:tabLst/>
                        <a:defRPr/>
                      </a:pPr>
                      <a:r>
                        <a:rPr lang="en-US" sz="1400" b="0" kern="1200" dirty="0" smtClean="0">
                          <a:solidFill>
                            <a:schemeClr val="dk1"/>
                          </a:solidFill>
                          <a:effectLst/>
                          <a:latin typeface="TH SarabunPSK" pitchFamily="34" charset="-34"/>
                          <a:ea typeface="Calibri"/>
                          <a:cs typeface="TH SarabunPSK" pitchFamily="34" charset="-34"/>
                        </a:rPr>
                        <a:t>2560 - 2562</a:t>
                      </a:r>
                      <a:endParaRPr lang="en-US" sz="1400" b="0" kern="1200" dirty="0">
                        <a:solidFill>
                          <a:schemeClr val="dk1"/>
                        </a:solidFill>
                        <a:effectLst/>
                        <a:latin typeface="TH SarabunPSK" pitchFamily="34" charset="-34"/>
                        <a:ea typeface="Calibri"/>
                        <a:cs typeface="TH SarabunPSK" pitchFamily="34" charset="-34"/>
                      </a:endParaRPr>
                    </a:p>
                  </a:txBody>
                  <a:tcPr marL="68580" marR="68580" marT="0" marB="0" anchor="ctr">
                    <a:solidFill>
                      <a:srgbClr val="EDE35D"/>
                    </a:solidFill>
                  </a:tcPr>
                </a:tc>
                <a:tc>
                  <a:txBody>
                    <a:bodyPr/>
                    <a:lstStyle/>
                    <a:p>
                      <a:pPr marR="111760" algn="r" fontAlgn="ctr">
                        <a:lnSpc>
                          <a:spcPts val="1600"/>
                        </a:lnSpc>
                        <a:spcAft>
                          <a:spcPts val="0"/>
                        </a:spcAft>
                      </a:pPr>
                      <a:r>
                        <a:rPr lang="en-US" sz="1400" kern="1200" dirty="0">
                          <a:solidFill>
                            <a:srgbClr val="000000"/>
                          </a:solidFill>
                          <a:effectLst/>
                          <a:latin typeface="TH SarabunPSK" pitchFamily="34" charset="-34"/>
                          <a:ea typeface="Calibri"/>
                          <a:cs typeface="TH SarabunPSK" pitchFamily="34" charset="-34"/>
                        </a:rPr>
                        <a:t>    </a:t>
                      </a:r>
                      <a:r>
                        <a:rPr lang="th-TH" sz="1400" kern="1200" dirty="0" smtClean="0">
                          <a:solidFill>
                            <a:srgbClr val="000000"/>
                          </a:solidFill>
                          <a:effectLst/>
                          <a:latin typeface="TH SarabunPSK" pitchFamily="34" charset="-34"/>
                          <a:ea typeface="Calibri"/>
                          <a:cs typeface="TH SarabunPSK" pitchFamily="34" charset="-34"/>
                        </a:rPr>
                        <a:t>12</a:t>
                      </a:r>
                      <a:r>
                        <a:rPr lang="en-US" sz="1400" kern="1200" dirty="0" smtClean="0">
                          <a:solidFill>
                            <a:srgbClr val="000000"/>
                          </a:solidFill>
                          <a:effectLst/>
                          <a:latin typeface="TH SarabunPSK" pitchFamily="34" charset="-34"/>
                          <a:ea typeface="Calibri"/>
                          <a:cs typeface="TH SarabunPSK" pitchFamily="34" charset="-34"/>
                        </a:rPr>
                        <a:t>,</a:t>
                      </a:r>
                      <a:r>
                        <a:rPr lang="th-TH" sz="1400" kern="1200" dirty="0" smtClean="0">
                          <a:solidFill>
                            <a:srgbClr val="000000"/>
                          </a:solidFill>
                          <a:effectLst/>
                          <a:latin typeface="TH SarabunPSK" pitchFamily="34" charset="-34"/>
                          <a:ea typeface="Calibri"/>
                          <a:cs typeface="TH SarabunPSK" pitchFamily="34" charset="-34"/>
                        </a:rPr>
                        <a:t>240</a:t>
                      </a:r>
                      <a:r>
                        <a:rPr lang="en-US" sz="1400" kern="1200" dirty="0" smtClean="0">
                          <a:solidFill>
                            <a:srgbClr val="000000"/>
                          </a:solidFill>
                          <a:effectLst/>
                          <a:latin typeface="TH SarabunPSK" pitchFamily="34" charset="-34"/>
                          <a:ea typeface="Calibri"/>
                          <a:cs typeface="TH SarabunPSK" pitchFamily="34" charset="-34"/>
                        </a:rPr>
                        <a:t> </a:t>
                      </a:r>
                      <a:endParaRPr lang="en-US" sz="1400" dirty="0">
                        <a:effectLst/>
                        <a:latin typeface="TH SarabunPSK" pitchFamily="34" charset="-34"/>
                        <a:ea typeface="Times New Roman"/>
                        <a:cs typeface="TH SarabunPSK" pitchFamily="34" charset="-34"/>
                      </a:endParaRPr>
                    </a:p>
                  </a:txBody>
                  <a:tcPr marL="68580" marR="68580" marT="0" marB="0" anchor="ctr">
                    <a:solidFill>
                      <a:srgbClr val="EDE35D"/>
                    </a:solidFill>
                  </a:tcPr>
                </a:tc>
              </a:tr>
              <a:tr h="128951">
                <a:tc>
                  <a:txBody>
                    <a:bodyPr/>
                    <a:lstStyle/>
                    <a:p>
                      <a:pPr>
                        <a:lnSpc>
                          <a:spcPts val="1600"/>
                        </a:lnSpc>
                        <a:spcAft>
                          <a:spcPts val="0"/>
                        </a:spcAft>
                      </a:pPr>
                      <a:r>
                        <a:rPr lang="th-TH" sz="1400" dirty="0" smtClean="0">
                          <a:solidFill>
                            <a:srgbClr val="000000"/>
                          </a:solidFill>
                          <a:effectLst/>
                          <a:latin typeface="TH SarabunPSK" pitchFamily="34" charset="-34"/>
                          <a:ea typeface="Calibri"/>
                          <a:cs typeface="TH SarabunPSK" pitchFamily="34" charset="-34"/>
                        </a:rPr>
                        <a:t>โครงการขยายระบบส่งไฟฟ้าระยะที่</a:t>
                      </a:r>
                      <a:r>
                        <a:rPr lang="th-TH" sz="1400" baseline="0" dirty="0" smtClean="0">
                          <a:solidFill>
                            <a:srgbClr val="000000"/>
                          </a:solidFill>
                          <a:effectLst/>
                          <a:latin typeface="TH SarabunPSK" pitchFamily="34" charset="-34"/>
                          <a:ea typeface="Calibri"/>
                          <a:cs typeface="TH SarabunPSK" pitchFamily="34" charset="-34"/>
                        </a:rPr>
                        <a:t> 13</a:t>
                      </a:r>
                      <a:endParaRPr lang="th-TH" sz="1400" dirty="0" smtClean="0">
                        <a:solidFill>
                          <a:srgbClr val="000000"/>
                        </a:solidFill>
                        <a:effectLst/>
                        <a:latin typeface="TH SarabunPSK" pitchFamily="34" charset="-34"/>
                        <a:ea typeface="Calibri"/>
                        <a:cs typeface="TH SarabunPSK" pitchFamily="34" charset="-34"/>
                      </a:endParaRPr>
                    </a:p>
                  </a:txBody>
                  <a:tcPr marL="68580" marR="68580" marT="0" marB="0">
                    <a:solidFill>
                      <a:srgbClr val="EDE35D"/>
                    </a:solidFill>
                  </a:tcPr>
                </a:tc>
                <a:tc>
                  <a:txBody>
                    <a:bodyPr/>
                    <a:lstStyle/>
                    <a:p>
                      <a:pPr marL="0" marR="0" indent="0" algn="ctr" defTabSz="914400" rtl="0" eaLnBrk="1" fontAlgn="auto" latinLnBrk="0" hangingPunct="1">
                        <a:lnSpc>
                          <a:spcPts val="1600"/>
                        </a:lnSpc>
                        <a:spcBef>
                          <a:spcPts val="0"/>
                        </a:spcBef>
                        <a:spcAft>
                          <a:spcPts val="0"/>
                        </a:spcAft>
                        <a:buClrTx/>
                        <a:buSzTx/>
                        <a:buFontTx/>
                        <a:buNone/>
                        <a:tabLst/>
                        <a:defRPr/>
                      </a:pPr>
                      <a:r>
                        <a:rPr lang="th-TH" sz="1400" b="0" kern="1200" dirty="0" smtClean="0">
                          <a:solidFill>
                            <a:schemeClr val="dk1"/>
                          </a:solidFill>
                          <a:effectLst/>
                          <a:latin typeface="TH SarabunPSK" pitchFamily="34" charset="-34"/>
                          <a:ea typeface="Calibri"/>
                          <a:cs typeface="TH SarabunPSK" pitchFamily="34" charset="-34"/>
                        </a:rPr>
                        <a:t>2562 - 2568</a:t>
                      </a:r>
                      <a:endParaRPr lang="en-US" sz="1400" b="0" kern="1200" dirty="0" smtClean="0">
                        <a:solidFill>
                          <a:schemeClr val="dk1"/>
                        </a:solidFill>
                        <a:effectLst/>
                        <a:latin typeface="TH SarabunPSK" pitchFamily="34" charset="-34"/>
                        <a:ea typeface="Calibri"/>
                        <a:cs typeface="TH SarabunPSK" pitchFamily="34" charset="-34"/>
                      </a:endParaRPr>
                    </a:p>
                  </a:txBody>
                  <a:tcPr marL="68580" marR="68580" marT="0" marB="0" anchor="ctr">
                    <a:solidFill>
                      <a:srgbClr val="EDE35D"/>
                    </a:solidFill>
                  </a:tcPr>
                </a:tc>
                <a:tc>
                  <a:txBody>
                    <a:bodyPr/>
                    <a:lstStyle/>
                    <a:p>
                      <a:pPr marR="111760" algn="r" fontAlgn="ctr">
                        <a:lnSpc>
                          <a:spcPts val="1600"/>
                        </a:lnSpc>
                        <a:spcAft>
                          <a:spcPts val="0"/>
                        </a:spcAft>
                      </a:pPr>
                      <a:r>
                        <a:rPr lang="en-US" sz="1400" dirty="0" smtClean="0">
                          <a:effectLst/>
                          <a:latin typeface="TH SarabunPSK" pitchFamily="34" charset="-34"/>
                          <a:ea typeface="Times New Roman"/>
                          <a:cs typeface="TH SarabunPSK" pitchFamily="34" charset="-34"/>
                        </a:rPr>
                        <a:t>41,905*</a:t>
                      </a:r>
                      <a:endParaRPr lang="en-US" sz="1400" dirty="0">
                        <a:effectLst/>
                        <a:latin typeface="TH SarabunPSK" pitchFamily="34" charset="-34"/>
                        <a:ea typeface="Times New Roman"/>
                        <a:cs typeface="TH SarabunPSK" pitchFamily="34" charset="-34"/>
                      </a:endParaRPr>
                    </a:p>
                  </a:txBody>
                  <a:tcPr marL="68580" marR="68580" marT="0" marB="0" anchor="ctr">
                    <a:solidFill>
                      <a:srgbClr val="EDE35D"/>
                    </a:solidFill>
                  </a:tcPr>
                </a:tc>
              </a:tr>
              <a:tr h="139235">
                <a:tc>
                  <a:txBody>
                    <a:bodyPr/>
                    <a:lstStyle/>
                    <a:p>
                      <a:pPr marL="0" marR="0" indent="0" algn="l" defTabSz="914400" rtl="0" eaLnBrk="1" fontAlgn="auto" latinLnBrk="0" hangingPunct="1">
                        <a:lnSpc>
                          <a:spcPts val="1600"/>
                        </a:lnSpc>
                        <a:spcBef>
                          <a:spcPts val="0"/>
                        </a:spcBef>
                        <a:spcAft>
                          <a:spcPts val="0"/>
                        </a:spcAft>
                        <a:buClrTx/>
                        <a:buSzTx/>
                        <a:buFontTx/>
                        <a:buNone/>
                        <a:tabLst/>
                        <a:defRPr/>
                      </a:pPr>
                      <a:r>
                        <a:rPr lang="th-TH" sz="1400" dirty="0" smtClean="0">
                          <a:solidFill>
                            <a:srgbClr val="000000"/>
                          </a:solidFill>
                          <a:effectLst/>
                          <a:latin typeface="TH SarabunPSK" pitchFamily="34" charset="-34"/>
                          <a:ea typeface="Calibri"/>
                          <a:cs typeface="TH SarabunPSK" pitchFamily="34" charset="-34"/>
                        </a:rPr>
                        <a:t>โครงการขยายระบบส่งไฟฟ้าในเขตกรุงเทพ</a:t>
                      </a:r>
                      <a:r>
                        <a:rPr lang="th-TH" sz="1400" baseline="0" dirty="0" smtClean="0">
                          <a:solidFill>
                            <a:srgbClr val="000000"/>
                          </a:solidFill>
                          <a:effectLst/>
                          <a:latin typeface="TH SarabunPSK" pitchFamily="34" charset="-34"/>
                          <a:ea typeface="Calibri"/>
                          <a:cs typeface="TH SarabunPSK" pitchFamily="34" charset="-34"/>
                        </a:rPr>
                        <a:t>ฯ และปริมณฑล ระยะที่ 4</a:t>
                      </a:r>
                      <a:endParaRPr lang="th-TH" sz="1400" dirty="0" smtClean="0">
                        <a:solidFill>
                          <a:srgbClr val="000000"/>
                        </a:solidFill>
                        <a:effectLst/>
                        <a:latin typeface="TH SarabunPSK" pitchFamily="34" charset="-34"/>
                        <a:ea typeface="Calibri"/>
                        <a:cs typeface="TH SarabunPSK" pitchFamily="34" charset="-34"/>
                      </a:endParaRPr>
                    </a:p>
                  </a:txBody>
                  <a:tcPr marL="68580" marR="68580" marT="0" marB="0">
                    <a:solidFill>
                      <a:srgbClr val="EDE35D"/>
                    </a:solidFill>
                  </a:tcPr>
                </a:tc>
                <a:tc>
                  <a:txBody>
                    <a:bodyPr/>
                    <a:lstStyle/>
                    <a:p>
                      <a:pPr marL="0" marR="0" indent="0" algn="ctr" defTabSz="914400" rtl="0" eaLnBrk="1" fontAlgn="auto" latinLnBrk="0" hangingPunct="1">
                        <a:lnSpc>
                          <a:spcPts val="1600"/>
                        </a:lnSpc>
                        <a:spcBef>
                          <a:spcPts val="0"/>
                        </a:spcBef>
                        <a:spcAft>
                          <a:spcPts val="0"/>
                        </a:spcAft>
                        <a:buClrTx/>
                        <a:buSzTx/>
                        <a:buFontTx/>
                        <a:buNone/>
                        <a:tabLst/>
                        <a:defRPr/>
                      </a:pPr>
                      <a:r>
                        <a:rPr lang="th-TH" sz="1400" b="0" kern="1200" dirty="0" smtClean="0">
                          <a:solidFill>
                            <a:schemeClr val="dk1"/>
                          </a:solidFill>
                          <a:effectLst/>
                          <a:latin typeface="TH SarabunPSK" pitchFamily="34" charset="-34"/>
                          <a:ea typeface="Calibri"/>
                          <a:cs typeface="TH SarabunPSK" pitchFamily="34" charset="-34"/>
                        </a:rPr>
                        <a:t>2562 - 2568</a:t>
                      </a:r>
                      <a:endParaRPr lang="en-US" sz="1400" b="0" kern="1200" dirty="0">
                        <a:solidFill>
                          <a:schemeClr val="dk1"/>
                        </a:solidFill>
                        <a:effectLst/>
                        <a:latin typeface="TH SarabunPSK" pitchFamily="34" charset="-34"/>
                        <a:ea typeface="Calibri"/>
                        <a:cs typeface="TH SarabunPSK" pitchFamily="34" charset="-34"/>
                      </a:endParaRPr>
                    </a:p>
                  </a:txBody>
                  <a:tcPr marL="68580" marR="68580" marT="0" marB="0" anchor="ctr">
                    <a:solidFill>
                      <a:srgbClr val="EDE35D"/>
                    </a:solidFill>
                  </a:tcPr>
                </a:tc>
                <a:tc>
                  <a:txBody>
                    <a:bodyPr/>
                    <a:lstStyle/>
                    <a:p>
                      <a:pPr marR="111760" algn="r" fontAlgn="ctr">
                        <a:lnSpc>
                          <a:spcPts val="1600"/>
                        </a:lnSpc>
                        <a:spcAft>
                          <a:spcPts val="0"/>
                        </a:spcAft>
                      </a:pPr>
                      <a:r>
                        <a:rPr lang="en-US" sz="1400" dirty="0" smtClean="0">
                          <a:effectLst/>
                          <a:latin typeface="TH SarabunPSK" pitchFamily="34" charset="-34"/>
                          <a:ea typeface="Times New Roman"/>
                          <a:cs typeface="TH SarabunPSK" pitchFamily="34" charset="-34"/>
                        </a:rPr>
                        <a:t>14,190*</a:t>
                      </a:r>
                      <a:endParaRPr lang="en-US" sz="1400" dirty="0">
                        <a:effectLst/>
                        <a:latin typeface="TH SarabunPSK" pitchFamily="34" charset="-34"/>
                        <a:ea typeface="Times New Roman"/>
                        <a:cs typeface="TH SarabunPSK" pitchFamily="34" charset="-34"/>
                      </a:endParaRPr>
                    </a:p>
                  </a:txBody>
                  <a:tcPr marL="68580" marR="68580" marT="0" marB="0" anchor="ctr">
                    <a:solidFill>
                      <a:srgbClr val="EDE35D"/>
                    </a:solidFill>
                  </a:tcPr>
                </a:tc>
              </a:tr>
              <a:tr h="149519">
                <a:tc>
                  <a:txBody>
                    <a:bodyPr/>
                    <a:lstStyle/>
                    <a:p>
                      <a:pPr>
                        <a:lnSpc>
                          <a:spcPts val="1600"/>
                        </a:lnSpc>
                        <a:spcAft>
                          <a:spcPts val="0"/>
                        </a:spcAft>
                      </a:pPr>
                      <a:r>
                        <a:rPr lang="th-TH" sz="1400" dirty="0" smtClean="0">
                          <a:solidFill>
                            <a:srgbClr val="000000"/>
                          </a:solidFill>
                          <a:effectLst/>
                          <a:latin typeface="TH SarabunPSK" pitchFamily="34" charset="-34"/>
                          <a:ea typeface="Calibri"/>
                          <a:cs typeface="TH SarabunPSK" pitchFamily="34" charset="-34"/>
                        </a:rPr>
                        <a:t>โครงการโรงไฟฟ้าถ่านหิน จังหวัดกระบี่) (รวมระบบส่ง)</a:t>
                      </a:r>
                    </a:p>
                  </a:txBody>
                  <a:tcPr marL="68580" marR="68580" marT="0" marB="0">
                    <a:solidFill>
                      <a:srgbClr val="EDE35D"/>
                    </a:solidFill>
                  </a:tcPr>
                </a:tc>
                <a:tc>
                  <a:txBody>
                    <a:bodyPr/>
                    <a:lstStyle/>
                    <a:p>
                      <a:pPr marL="0" marR="0" indent="0" algn="ctr" defTabSz="914400" rtl="0" eaLnBrk="1" fontAlgn="auto" latinLnBrk="0" hangingPunct="1">
                        <a:lnSpc>
                          <a:spcPts val="1600"/>
                        </a:lnSpc>
                        <a:spcBef>
                          <a:spcPts val="0"/>
                        </a:spcBef>
                        <a:spcAft>
                          <a:spcPts val="0"/>
                        </a:spcAft>
                        <a:buClrTx/>
                        <a:buSzTx/>
                        <a:buFontTx/>
                        <a:buNone/>
                        <a:tabLst/>
                        <a:defRPr/>
                      </a:pPr>
                      <a:r>
                        <a:rPr lang="en-US" sz="1400" b="0" kern="1200" dirty="0" smtClean="0">
                          <a:solidFill>
                            <a:schemeClr val="dk1"/>
                          </a:solidFill>
                          <a:effectLst/>
                          <a:latin typeface="TH SarabunPSK" pitchFamily="34" charset="-34"/>
                          <a:ea typeface="Calibri"/>
                          <a:cs typeface="TH SarabunPSK" pitchFamily="34" charset="-34"/>
                        </a:rPr>
                        <a:t>2560 – 2563</a:t>
                      </a:r>
                      <a:endParaRPr lang="en-US" sz="1400" b="0" kern="1200" dirty="0">
                        <a:solidFill>
                          <a:schemeClr val="dk1"/>
                        </a:solidFill>
                        <a:effectLst/>
                        <a:latin typeface="TH SarabunPSK" pitchFamily="34" charset="-34"/>
                        <a:ea typeface="Calibri"/>
                        <a:cs typeface="TH SarabunPSK" pitchFamily="34" charset="-34"/>
                      </a:endParaRPr>
                    </a:p>
                  </a:txBody>
                  <a:tcPr marL="68580" marR="68580" marT="0" marB="0" anchor="ctr">
                    <a:solidFill>
                      <a:srgbClr val="EDE35D"/>
                    </a:solidFill>
                  </a:tcPr>
                </a:tc>
                <a:tc>
                  <a:txBody>
                    <a:bodyPr/>
                    <a:lstStyle/>
                    <a:p>
                      <a:pPr marR="111760" algn="r" fontAlgn="ctr">
                        <a:lnSpc>
                          <a:spcPts val="1600"/>
                        </a:lnSpc>
                        <a:spcAft>
                          <a:spcPts val="0"/>
                        </a:spcAft>
                      </a:pPr>
                      <a:r>
                        <a:rPr lang="en-US" sz="1400" kern="1200" dirty="0">
                          <a:solidFill>
                            <a:srgbClr val="000000"/>
                          </a:solidFill>
                          <a:effectLst/>
                          <a:latin typeface="TH SarabunPSK" pitchFamily="34" charset="-34"/>
                          <a:ea typeface="Calibri"/>
                          <a:cs typeface="TH SarabunPSK" pitchFamily="34" charset="-34"/>
                        </a:rPr>
                        <a:t>     </a:t>
                      </a:r>
                      <a:r>
                        <a:rPr lang="en-US" sz="1400" kern="1200" dirty="0" smtClean="0">
                          <a:solidFill>
                            <a:srgbClr val="000000"/>
                          </a:solidFill>
                          <a:effectLst/>
                          <a:latin typeface="TH SarabunPSK" pitchFamily="34" charset="-34"/>
                          <a:ea typeface="Calibri"/>
                          <a:cs typeface="TH SarabunPSK" pitchFamily="34" charset="-34"/>
                        </a:rPr>
                        <a:t>71,830 </a:t>
                      </a:r>
                      <a:endParaRPr lang="en-US" sz="1400" dirty="0">
                        <a:effectLst/>
                        <a:latin typeface="TH SarabunPSK" pitchFamily="34" charset="-34"/>
                        <a:ea typeface="Times New Roman"/>
                        <a:cs typeface="TH SarabunPSK" pitchFamily="34" charset="-34"/>
                      </a:endParaRPr>
                    </a:p>
                  </a:txBody>
                  <a:tcPr marL="68580" marR="68580" marT="0" marB="0" anchor="ctr">
                    <a:solidFill>
                      <a:srgbClr val="EDE35D"/>
                    </a:solidFill>
                  </a:tcPr>
                </a:tc>
              </a:tr>
              <a:tr h="87795">
                <a:tc>
                  <a:txBody>
                    <a:bodyPr/>
                    <a:lstStyle/>
                    <a:p>
                      <a:pPr>
                        <a:lnSpc>
                          <a:spcPts val="1600"/>
                        </a:lnSpc>
                        <a:spcAft>
                          <a:spcPts val="0"/>
                        </a:spcAft>
                      </a:pPr>
                      <a:r>
                        <a:rPr lang="th-TH" sz="1400" dirty="0" smtClean="0">
                          <a:effectLst/>
                          <a:latin typeface="TH SarabunPSK" pitchFamily="34" charset="-34"/>
                          <a:ea typeface="Calibri"/>
                          <a:cs typeface="TH SarabunPSK" pitchFamily="34" charset="-34"/>
                        </a:rPr>
                        <a:t>โครงการโรงไฟฟ้าบางปะกง (ทดแทน เครื่องที่ 1-2) (รวมระบบส่ง)</a:t>
                      </a:r>
                    </a:p>
                  </a:txBody>
                  <a:tcPr marL="68580" marR="68580" marT="0" marB="0">
                    <a:solidFill>
                      <a:srgbClr val="EDE35D"/>
                    </a:solidFill>
                  </a:tcPr>
                </a:tc>
                <a:tc>
                  <a:txBody>
                    <a:bodyPr/>
                    <a:lstStyle/>
                    <a:p>
                      <a:pPr marL="0" marR="0" indent="0" algn="ctr" defTabSz="914400" rtl="0" eaLnBrk="1" fontAlgn="auto" latinLnBrk="0" hangingPunct="1">
                        <a:lnSpc>
                          <a:spcPts val="1600"/>
                        </a:lnSpc>
                        <a:spcBef>
                          <a:spcPts val="0"/>
                        </a:spcBef>
                        <a:spcAft>
                          <a:spcPts val="0"/>
                        </a:spcAft>
                        <a:buClrTx/>
                        <a:buSzTx/>
                        <a:buFontTx/>
                        <a:buNone/>
                        <a:tabLst/>
                        <a:defRPr/>
                      </a:pPr>
                      <a:r>
                        <a:rPr lang="en-US" sz="1400" b="0" kern="1200" dirty="0" smtClean="0">
                          <a:solidFill>
                            <a:schemeClr val="dk1"/>
                          </a:solidFill>
                          <a:effectLst/>
                          <a:latin typeface="TH SarabunPSK" pitchFamily="34" charset="-34"/>
                          <a:ea typeface="Calibri"/>
                          <a:cs typeface="TH SarabunPSK" pitchFamily="34" charset="-34"/>
                        </a:rPr>
                        <a:t>2560 - 2562</a:t>
                      </a:r>
                      <a:endParaRPr lang="en-US" sz="1400" b="0" kern="1200" dirty="0">
                        <a:solidFill>
                          <a:schemeClr val="dk1"/>
                        </a:solidFill>
                        <a:effectLst/>
                        <a:latin typeface="TH SarabunPSK" pitchFamily="34" charset="-34"/>
                        <a:ea typeface="Calibri"/>
                        <a:cs typeface="TH SarabunPSK" pitchFamily="34" charset="-34"/>
                      </a:endParaRPr>
                    </a:p>
                  </a:txBody>
                  <a:tcPr marL="68580" marR="68580" marT="0" marB="0" anchor="ctr">
                    <a:solidFill>
                      <a:srgbClr val="EDE35D"/>
                    </a:solidFill>
                  </a:tcPr>
                </a:tc>
                <a:tc>
                  <a:txBody>
                    <a:bodyPr/>
                    <a:lstStyle/>
                    <a:p>
                      <a:pPr marR="111760" algn="r" fontAlgn="ctr">
                        <a:lnSpc>
                          <a:spcPts val="1600"/>
                        </a:lnSpc>
                        <a:spcAft>
                          <a:spcPts val="0"/>
                        </a:spcAft>
                      </a:pPr>
                      <a:r>
                        <a:rPr lang="en-US" sz="1400" kern="1200" dirty="0">
                          <a:solidFill>
                            <a:srgbClr val="000000"/>
                          </a:solidFill>
                          <a:effectLst/>
                          <a:latin typeface="TH SarabunPSK" pitchFamily="34" charset="-34"/>
                          <a:ea typeface="Calibri"/>
                          <a:cs typeface="TH SarabunPSK" pitchFamily="34" charset="-34"/>
                        </a:rPr>
                        <a:t>    </a:t>
                      </a:r>
                      <a:r>
                        <a:rPr lang="en-US" sz="1400" kern="1200" dirty="0" smtClean="0">
                          <a:solidFill>
                            <a:srgbClr val="000000"/>
                          </a:solidFill>
                          <a:effectLst/>
                          <a:latin typeface="TH SarabunPSK" pitchFamily="34" charset="-34"/>
                          <a:ea typeface="Calibri"/>
                          <a:cs typeface="TH SarabunPSK" pitchFamily="34" charset="-34"/>
                        </a:rPr>
                        <a:t>33,943 </a:t>
                      </a:r>
                      <a:endParaRPr lang="en-US" sz="1400" dirty="0">
                        <a:effectLst/>
                        <a:latin typeface="TH SarabunPSK" pitchFamily="34" charset="-34"/>
                        <a:ea typeface="Times New Roman"/>
                        <a:cs typeface="TH SarabunPSK" pitchFamily="34" charset="-34"/>
                      </a:endParaRPr>
                    </a:p>
                  </a:txBody>
                  <a:tcPr marL="68580" marR="68580" marT="0" marB="0" anchor="ctr">
                    <a:solidFill>
                      <a:srgbClr val="EDE35D"/>
                    </a:solidFill>
                  </a:tcPr>
                </a:tc>
              </a:tr>
              <a:tr h="170087">
                <a:tc>
                  <a:txBody>
                    <a:bodyPr/>
                    <a:lstStyle/>
                    <a:p>
                      <a:pPr>
                        <a:lnSpc>
                          <a:spcPts val="1600"/>
                        </a:lnSpc>
                        <a:spcAft>
                          <a:spcPts val="0"/>
                        </a:spcAft>
                      </a:pPr>
                      <a:r>
                        <a:rPr lang="th-TH" sz="1400" dirty="0" smtClean="0">
                          <a:solidFill>
                            <a:srgbClr val="000000"/>
                          </a:solidFill>
                          <a:effectLst/>
                          <a:latin typeface="TH SarabunPSK" pitchFamily="34" charset="-34"/>
                          <a:ea typeface="Calibri"/>
                          <a:cs typeface="TH SarabunPSK" pitchFamily="34" charset="-34"/>
                        </a:rPr>
                        <a:t>โครงการโรงไฟฟ้าพระนครใต้ (ระยะที่ 1) (รวมระบบส่ง)</a:t>
                      </a:r>
                    </a:p>
                  </a:txBody>
                  <a:tcPr marL="68580" marR="68580" marT="0" marB="0">
                    <a:solidFill>
                      <a:srgbClr val="EDE35D"/>
                    </a:solidFill>
                  </a:tcPr>
                </a:tc>
                <a:tc>
                  <a:txBody>
                    <a:bodyPr/>
                    <a:lstStyle/>
                    <a:p>
                      <a:pPr marL="0" marR="0" indent="0" algn="ctr" defTabSz="914400" rtl="0" eaLnBrk="1" fontAlgn="auto" latinLnBrk="0" hangingPunct="1">
                        <a:lnSpc>
                          <a:spcPts val="1600"/>
                        </a:lnSpc>
                        <a:spcBef>
                          <a:spcPts val="0"/>
                        </a:spcBef>
                        <a:spcAft>
                          <a:spcPts val="0"/>
                        </a:spcAft>
                        <a:buClrTx/>
                        <a:buSzTx/>
                        <a:buFontTx/>
                        <a:buNone/>
                        <a:tabLst/>
                        <a:defRPr/>
                      </a:pPr>
                      <a:r>
                        <a:rPr lang="en-US" sz="1400" b="0" kern="1200" dirty="0" smtClean="0">
                          <a:solidFill>
                            <a:schemeClr val="dk1"/>
                          </a:solidFill>
                          <a:effectLst/>
                          <a:latin typeface="TH SarabunPSK" pitchFamily="34" charset="-34"/>
                          <a:ea typeface="Calibri"/>
                          <a:cs typeface="TH SarabunPSK" pitchFamily="34" charset="-34"/>
                        </a:rPr>
                        <a:t>2560 – 2562</a:t>
                      </a:r>
                      <a:endParaRPr lang="en-US" sz="1400" b="0" kern="1200" dirty="0">
                        <a:solidFill>
                          <a:schemeClr val="dk1"/>
                        </a:solidFill>
                        <a:effectLst/>
                        <a:latin typeface="TH SarabunPSK" pitchFamily="34" charset="-34"/>
                        <a:ea typeface="Calibri"/>
                        <a:cs typeface="TH SarabunPSK" pitchFamily="34" charset="-34"/>
                      </a:endParaRPr>
                    </a:p>
                  </a:txBody>
                  <a:tcPr marL="68580" marR="68580" marT="0" marB="0" anchor="ctr">
                    <a:solidFill>
                      <a:srgbClr val="EDE35D"/>
                    </a:solidFill>
                  </a:tcPr>
                </a:tc>
                <a:tc>
                  <a:txBody>
                    <a:bodyPr/>
                    <a:lstStyle/>
                    <a:p>
                      <a:pPr marR="111760" algn="r" fontAlgn="ctr">
                        <a:lnSpc>
                          <a:spcPts val="1600"/>
                        </a:lnSpc>
                        <a:spcAft>
                          <a:spcPts val="0"/>
                        </a:spcAft>
                      </a:pPr>
                      <a:r>
                        <a:rPr lang="en-US" sz="1400" kern="1200" dirty="0" smtClean="0">
                          <a:solidFill>
                            <a:srgbClr val="000000"/>
                          </a:solidFill>
                          <a:effectLst/>
                          <a:latin typeface="TH SarabunPSK" pitchFamily="34" charset="-34"/>
                          <a:ea typeface="Calibri"/>
                          <a:cs typeface="TH SarabunPSK" pitchFamily="34" charset="-34"/>
                        </a:rPr>
                        <a:t>     33,580 </a:t>
                      </a:r>
                      <a:endParaRPr lang="en-US" sz="1400" dirty="0">
                        <a:effectLst/>
                        <a:latin typeface="TH SarabunPSK" pitchFamily="34" charset="-34"/>
                        <a:ea typeface="Times New Roman"/>
                        <a:cs typeface="TH SarabunPSK" pitchFamily="34" charset="-34"/>
                      </a:endParaRPr>
                    </a:p>
                  </a:txBody>
                  <a:tcPr marL="68580" marR="68580" marT="0" marB="0" anchor="ctr">
                    <a:solidFill>
                      <a:srgbClr val="EDE35D"/>
                    </a:solidFill>
                  </a:tcPr>
                </a:tc>
              </a:tr>
              <a:tr h="108363">
                <a:tc>
                  <a:txBody>
                    <a:bodyPr/>
                    <a:lstStyle/>
                    <a:p>
                      <a:pPr marL="0" marR="494665" indent="0" algn="l" defTabSz="914400" rtl="0" eaLnBrk="1" fontAlgn="auto" latinLnBrk="0" hangingPunct="1">
                        <a:lnSpc>
                          <a:spcPts val="1600"/>
                        </a:lnSpc>
                        <a:spcBef>
                          <a:spcPts val="0"/>
                        </a:spcBef>
                        <a:spcAft>
                          <a:spcPts val="0"/>
                        </a:spcAft>
                        <a:buClrTx/>
                        <a:buSzTx/>
                        <a:buFontTx/>
                        <a:buNone/>
                        <a:tabLst/>
                        <a:defRPr/>
                      </a:pPr>
                      <a:r>
                        <a:rPr lang="th-TH" sz="1400" b="0" kern="1200" dirty="0" smtClean="0">
                          <a:solidFill>
                            <a:schemeClr val="dk1"/>
                          </a:solidFill>
                          <a:effectLst/>
                          <a:latin typeface="TH SarabunPSK" pitchFamily="34" charset="-34"/>
                          <a:ea typeface="Calibri"/>
                          <a:cs typeface="TH SarabunPSK" pitchFamily="34" charset="-34"/>
                        </a:rPr>
                        <a:t>โครงการโรงไฟฟ้าพระนครใต้ (ระยะที่ 2) (รวมระบบส่ง)</a:t>
                      </a:r>
                    </a:p>
                  </a:txBody>
                  <a:tcPr marL="68580" marR="68580" marT="0" marB="0" anchor="ctr">
                    <a:solidFill>
                      <a:srgbClr val="EDE35D"/>
                    </a:solidFill>
                  </a:tcPr>
                </a:tc>
                <a:tc>
                  <a:txBody>
                    <a:bodyPr/>
                    <a:lstStyle/>
                    <a:p>
                      <a:pPr marL="0" marR="0" indent="0" algn="ctr" defTabSz="914400" rtl="0" eaLnBrk="1" fontAlgn="auto" latinLnBrk="0" hangingPunct="1">
                        <a:lnSpc>
                          <a:spcPts val="1600"/>
                        </a:lnSpc>
                        <a:spcBef>
                          <a:spcPts val="0"/>
                        </a:spcBef>
                        <a:spcAft>
                          <a:spcPts val="0"/>
                        </a:spcAft>
                        <a:buClrTx/>
                        <a:buSzTx/>
                        <a:buFontTx/>
                        <a:buNone/>
                        <a:tabLst/>
                        <a:defRPr/>
                      </a:pPr>
                      <a:r>
                        <a:rPr lang="en-US" sz="1400" b="0" kern="1200" dirty="0" smtClean="0">
                          <a:solidFill>
                            <a:schemeClr val="dk1"/>
                          </a:solidFill>
                          <a:effectLst/>
                          <a:latin typeface="TH SarabunPSK" pitchFamily="34" charset="-34"/>
                          <a:ea typeface="Calibri"/>
                          <a:cs typeface="TH SarabunPSK" pitchFamily="34" charset="-34"/>
                        </a:rPr>
                        <a:t>2562 – 2565</a:t>
                      </a:r>
                      <a:endParaRPr lang="en-US" sz="1400" b="0" kern="1200" dirty="0">
                        <a:solidFill>
                          <a:schemeClr val="dk1"/>
                        </a:solidFill>
                        <a:effectLst/>
                        <a:latin typeface="TH SarabunPSK" pitchFamily="34" charset="-34"/>
                        <a:ea typeface="Calibri"/>
                        <a:cs typeface="TH SarabunPSK" pitchFamily="34" charset="-34"/>
                      </a:endParaRPr>
                    </a:p>
                  </a:txBody>
                  <a:tcPr marL="68580" marR="68580" marT="0" marB="0" anchor="ctr">
                    <a:solidFill>
                      <a:srgbClr val="EDE35D"/>
                    </a:solidFill>
                  </a:tcPr>
                </a:tc>
                <a:tc>
                  <a:txBody>
                    <a:bodyPr/>
                    <a:lstStyle/>
                    <a:p>
                      <a:pPr marR="111760" algn="r" fontAlgn="ctr">
                        <a:lnSpc>
                          <a:spcPts val="1600"/>
                        </a:lnSpc>
                        <a:spcAft>
                          <a:spcPts val="0"/>
                        </a:spcAft>
                      </a:pPr>
                      <a:r>
                        <a:rPr lang="en-US" sz="1400" kern="1200" dirty="0">
                          <a:solidFill>
                            <a:srgbClr val="000000"/>
                          </a:solidFill>
                          <a:effectLst/>
                          <a:latin typeface="TH SarabunPSK" pitchFamily="34" charset="-34"/>
                          <a:ea typeface="Calibri"/>
                          <a:cs typeface="TH SarabunPSK" pitchFamily="34" charset="-34"/>
                        </a:rPr>
                        <a:t>    </a:t>
                      </a:r>
                      <a:r>
                        <a:rPr lang="en-US" sz="1400" kern="1200" dirty="0" smtClean="0">
                          <a:solidFill>
                            <a:srgbClr val="000000"/>
                          </a:solidFill>
                          <a:effectLst/>
                          <a:latin typeface="TH SarabunPSK" pitchFamily="34" charset="-34"/>
                          <a:ea typeface="Calibri"/>
                          <a:cs typeface="TH SarabunPSK" pitchFamily="34" charset="-34"/>
                        </a:rPr>
                        <a:t>34,353</a:t>
                      </a:r>
                      <a:endParaRPr lang="en-US" sz="1400" dirty="0">
                        <a:effectLst/>
                        <a:latin typeface="TH SarabunPSK" pitchFamily="34" charset="-34"/>
                        <a:ea typeface="Times New Roman"/>
                        <a:cs typeface="TH SarabunPSK" pitchFamily="34" charset="-34"/>
                      </a:endParaRPr>
                    </a:p>
                  </a:txBody>
                  <a:tcPr marL="68580" marR="68580" marT="0" marB="0" anchor="ctr">
                    <a:solidFill>
                      <a:srgbClr val="EDE35D"/>
                    </a:solidFill>
                  </a:tcPr>
                </a:tc>
              </a:tr>
              <a:tr h="118647">
                <a:tc>
                  <a:txBody>
                    <a:bodyPr/>
                    <a:lstStyle/>
                    <a:p>
                      <a:pPr>
                        <a:lnSpc>
                          <a:spcPts val="1600"/>
                        </a:lnSpc>
                        <a:spcAft>
                          <a:spcPts val="0"/>
                        </a:spcAft>
                      </a:pPr>
                      <a:r>
                        <a:rPr lang="th-TH" sz="1400" dirty="0" smtClean="0">
                          <a:solidFill>
                            <a:srgbClr val="000000"/>
                          </a:solidFill>
                          <a:effectLst/>
                          <a:latin typeface="TH SarabunPSK" pitchFamily="34" charset="-34"/>
                          <a:ea typeface="Calibri"/>
                          <a:cs typeface="TH SarabunPSK" pitchFamily="34" charset="-34"/>
                        </a:rPr>
                        <a:t>โครงการพัฒนา</a:t>
                      </a:r>
                      <a:r>
                        <a:rPr lang="th-TH" sz="1400" dirty="0">
                          <a:solidFill>
                            <a:srgbClr val="000000"/>
                          </a:solidFill>
                          <a:effectLst/>
                          <a:latin typeface="TH SarabunPSK" pitchFamily="34" charset="-34"/>
                          <a:ea typeface="Calibri"/>
                          <a:cs typeface="TH SarabunPSK" pitchFamily="34" charset="-34"/>
                        </a:rPr>
                        <a:t>ระบบไฟฟ้าเพื่อรองรับการจัดตั้งเขตพัฒนาเศรษฐกิจพิเศษ ระยะแรก</a:t>
                      </a:r>
                      <a:endParaRPr lang="en-US" sz="1400" dirty="0">
                        <a:effectLst/>
                        <a:latin typeface="TH SarabunPSK" pitchFamily="34" charset="-34"/>
                        <a:ea typeface="Calibri"/>
                        <a:cs typeface="TH SarabunPSK" pitchFamily="34" charset="-34"/>
                      </a:endParaRPr>
                    </a:p>
                  </a:txBody>
                  <a:tcPr marL="68580" marR="68580" marT="0" marB="0">
                    <a:solidFill>
                      <a:schemeClr val="accent4">
                        <a:lumMod val="20000"/>
                        <a:lumOff val="80000"/>
                      </a:schemeClr>
                    </a:solidFill>
                  </a:tcPr>
                </a:tc>
                <a:tc>
                  <a:txBody>
                    <a:bodyPr/>
                    <a:lstStyle/>
                    <a:p>
                      <a:pPr marL="0" marR="0" indent="0" algn="ctr" defTabSz="914400" rtl="0" eaLnBrk="1" fontAlgn="auto" latinLnBrk="0" hangingPunct="1">
                        <a:lnSpc>
                          <a:spcPts val="1600"/>
                        </a:lnSpc>
                        <a:spcBef>
                          <a:spcPts val="0"/>
                        </a:spcBef>
                        <a:spcAft>
                          <a:spcPts val="0"/>
                        </a:spcAft>
                        <a:buClrTx/>
                        <a:buSzTx/>
                        <a:buFontTx/>
                        <a:buNone/>
                        <a:tabLst/>
                        <a:defRPr/>
                      </a:pPr>
                      <a:r>
                        <a:rPr lang="en-US" sz="1400" b="0" kern="1200" dirty="0">
                          <a:solidFill>
                            <a:schemeClr val="dk1"/>
                          </a:solidFill>
                          <a:effectLst/>
                          <a:latin typeface="TH SarabunPSK" pitchFamily="34" charset="-34"/>
                          <a:ea typeface="Calibri"/>
                          <a:cs typeface="TH SarabunPSK" pitchFamily="34" charset="-34"/>
                        </a:rPr>
                        <a:t>2560 </a:t>
                      </a:r>
                      <a:r>
                        <a:rPr lang="en-US" sz="1400" b="0" kern="1200" dirty="0" smtClean="0">
                          <a:solidFill>
                            <a:schemeClr val="dk1"/>
                          </a:solidFill>
                          <a:effectLst/>
                          <a:latin typeface="TH SarabunPSK" pitchFamily="34" charset="-34"/>
                          <a:ea typeface="Calibri"/>
                          <a:cs typeface="TH SarabunPSK" pitchFamily="34" charset="-34"/>
                        </a:rPr>
                        <a:t>– 2562</a:t>
                      </a:r>
                      <a:endParaRPr lang="en-US" sz="1400" b="0" kern="1200" dirty="0">
                        <a:solidFill>
                          <a:schemeClr val="dk1"/>
                        </a:solidFill>
                        <a:effectLst/>
                        <a:latin typeface="TH SarabunPSK" pitchFamily="34" charset="-34"/>
                        <a:ea typeface="Calibri"/>
                        <a:cs typeface="TH SarabunPSK" pitchFamily="34" charset="-34"/>
                      </a:endParaRPr>
                    </a:p>
                  </a:txBody>
                  <a:tcPr marL="68580" marR="68580" marT="0" marB="0">
                    <a:solidFill>
                      <a:schemeClr val="accent4">
                        <a:lumMod val="20000"/>
                        <a:lumOff val="80000"/>
                      </a:schemeClr>
                    </a:solidFill>
                  </a:tcPr>
                </a:tc>
                <a:tc>
                  <a:txBody>
                    <a:bodyPr/>
                    <a:lstStyle/>
                    <a:p>
                      <a:pPr marR="111760" algn="r">
                        <a:lnSpc>
                          <a:spcPts val="1600"/>
                        </a:lnSpc>
                        <a:spcAft>
                          <a:spcPts val="0"/>
                        </a:spcAft>
                      </a:pPr>
                      <a:r>
                        <a:rPr lang="en-US" sz="1400" kern="1200" dirty="0">
                          <a:solidFill>
                            <a:srgbClr val="000000"/>
                          </a:solidFill>
                          <a:effectLst/>
                          <a:latin typeface="TH SarabunPSK" pitchFamily="34" charset="-34"/>
                          <a:ea typeface="Calibri"/>
                          <a:cs typeface="TH SarabunPSK" pitchFamily="34" charset="-34"/>
                        </a:rPr>
                        <a:t>3,140</a:t>
                      </a:r>
                      <a:endParaRPr lang="en-US" sz="1400" dirty="0">
                        <a:effectLst/>
                        <a:latin typeface="TH SarabunPSK" pitchFamily="34" charset="-34"/>
                        <a:ea typeface="Times New Roman"/>
                        <a:cs typeface="TH SarabunPSK" pitchFamily="34" charset="-34"/>
                      </a:endParaRPr>
                    </a:p>
                  </a:txBody>
                  <a:tcPr marL="68580" marR="68580" marT="0" marB="0">
                    <a:solidFill>
                      <a:schemeClr val="accent4">
                        <a:lumMod val="20000"/>
                        <a:lumOff val="80000"/>
                      </a:schemeClr>
                    </a:solidFill>
                  </a:tcPr>
                </a:tc>
              </a:tr>
              <a:tr h="59463">
                <a:tc>
                  <a:txBody>
                    <a:bodyPr/>
                    <a:lstStyle/>
                    <a:p>
                      <a:pPr>
                        <a:lnSpc>
                          <a:spcPts val="1600"/>
                        </a:lnSpc>
                        <a:spcAft>
                          <a:spcPts val="0"/>
                        </a:spcAft>
                      </a:pPr>
                      <a:r>
                        <a:rPr lang="th-TH" sz="1400" dirty="0" smtClean="0">
                          <a:solidFill>
                            <a:srgbClr val="000000"/>
                          </a:solidFill>
                          <a:effectLst/>
                          <a:latin typeface="TH SarabunPSK" pitchFamily="34" charset="-34"/>
                          <a:ea typeface="Calibri"/>
                          <a:cs typeface="TH SarabunPSK" pitchFamily="34" charset="-34"/>
                        </a:rPr>
                        <a:t>โครงการ</a:t>
                      </a:r>
                      <a:r>
                        <a:rPr lang="th-TH" sz="1400" dirty="0" smtClean="0">
                          <a:effectLst/>
                          <a:latin typeface="TH SarabunPSK" pitchFamily="34" charset="-34"/>
                          <a:ea typeface="Calibri"/>
                          <a:cs typeface="TH SarabunPSK" pitchFamily="34" charset="-34"/>
                        </a:rPr>
                        <a:t>ติดตั้ง</a:t>
                      </a:r>
                      <a:r>
                        <a:rPr lang="th-TH" sz="1400" dirty="0">
                          <a:effectLst/>
                          <a:latin typeface="TH SarabunPSK" pitchFamily="34" charset="-34"/>
                          <a:ea typeface="Calibri"/>
                          <a:cs typeface="TH SarabunPSK" pitchFamily="34" charset="-34"/>
                        </a:rPr>
                        <a:t>ระบบมิเตอร์อัจฉริยะ ระยะที่ </a:t>
                      </a:r>
                      <a:r>
                        <a:rPr lang="en-US" sz="1400" dirty="0">
                          <a:effectLst/>
                          <a:latin typeface="TH SarabunPSK" pitchFamily="34" charset="-34"/>
                          <a:ea typeface="Calibri"/>
                          <a:cs typeface="TH SarabunPSK" pitchFamily="34" charset="-34"/>
                        </a:rPr>
                        <a:t>1</a:t>
                      </a:r>
                    </a:p>
                  </a:txBody>
                  <a:tcPr marL="68580" marR="68580" marT="0" marB="0">
                    <a:solidFill>
                      <a:schemeClr val="accent4">
                        <a:lumMod val="20000"/>
                        <a:lumOff val="80000"/>
                      </a:schemeClr>
                    </a:solidFill>
                  </a:tcPr>
                </a:tc>
                <a:tc>
                  <a:txBody>
                    <a:bodyPr/>
                    <a:lstStyle/>
                    <a:p>
                      <a:pPr marL="0" marR="0" indent="0" algn="ctr" defTabSz="914400" rtl="0" eaLnBrk="1" fontAlgn="auto" latinLnBrk="0" hangingPunct="1">
                        <a:lnSpc>
                          <a:spcPts val="1600"/>
                        </a:lnSpc>
                        <a:spcBef>
                          <a:spcPts val="0"/>
                        </a:spcBef>
                        <a:spcAft>
                          <a:spcPts val="0"/>
                        </a:spcAft>
                        <a:buClrTx/>
                        <a:buSzTx/>
                        <a:buFontTx/>
                        <a:buNone/>
                        <a:tabLst/>
                        <a:defRPr/>
                      </a:pPr>
                      <a:r>
                        <a:rPr lang="en-US" sz="1400" b="0" kern="1200" dirty="0">
                          <a:solidFill>
                            <a:schemeClr val="dk1"/>
                          </a:solidFill>
                          <a:effectLst/>
                          <a:latin typeface="TH SarabunPSK" pitchFamily="34" charset="-34"/>
                          <a:ea typeface="Calibri"/>
                          <a:cs typeface="TH SarabunPSK" pitchFamily="34" charset="-34"/>
                        </a:rPr>
                        <a:t>2561 </a:t>
                      </a:r>
                      <a:r>
                        <a:rPr lang="en-US" sz="1400" b="0" kern="1200" dirty="0" smtClean="0">
                          <a:solidFill>
                            <a:schemeClr val="dk1"/>
                          </a:solidFill>
                          <a:effectLst/>
                          <a:latin typeface="TH SarabunPSK" pitchFamily="34" charset="-34"/>
                          <a:ea typeface="Calibri"/>
                          <a:cs typeface="TH SarabunPSK" pitchFamily="34" charset="-34"/>
                        </a:rPr>
                        <a:t>– 2565</a:t>
                      </a:r>
                      <a:endParaRPr lang="en-US" sz="1400" b="0" kern="1200" dirty="0">
                        <a:solidFill>
                          <a:schemeClr val="dk1"/>
                        </a:solidFill>
                        <a:effectLst/>
                        <a:latin typeface="TH SarabunPSK" pitchFamily="34" charset="-34"/>
                        <a:ea typeface="Calibri"/>
                        <a:cs typeface="TH SarabunPSK" pitchFamily="34" charset="-34"/>
                      </a:endParaRPr>
                    </a:p>
                  </a:txBody>
                  <a:tcPr marL="68580" marR="68580" marT="0" marB="0">
                    <a:solidFill>
                      <a:schemeClr val="accent4">
                        <a:lumMod val="20000"/>
                        <a:lumOff val="80000"/>
                      </a:schemeClr>
                    </a:solidFill>
                  </a:tcPr>
                </a:tc>
                <a:tc>
                  <a:txBody>
                    <a:bodyPr/>
                    <a:lstStyle/>
                    <a:p>
                      <a:pPr marR="111760" algn="r">
                        <a:lnSpc>
                          <a:spcPts val="1600"/>
                        </a:lnSpc>
                        <a:spcAft>
                          <a:spcPts val="0"/>
                        </a:spcAft>
                      </a:pPr>
                      <a:r>
                        <a:rPr lang="en-US" sz="1400" kern="1200" dirty="0" smtClean="0">
                          <a:solidFill>
                            <a:srgbClr val="000000"/>
                          </a:solidFill>
                          <a:effectLst/>
                          <a:latin typeface="TH SarabunPSK" pitchFamily="34" charset="-34"/>
                          <a:ea typeface="Calibri"/>
                          <a:cs typeface="TH SarabunPSK" pitchFamily="34" charset="-34"/>
                        </a:rPr>
                        <a:t>5,300</a:t>
                      </a:r>
                      <a:endParaRPr lang="en-US" sz="1400" dirty="0">
                        <a:effectLst/>
                        <a:latin typeface="TH SarabunPSK" pitchFamily="34" charset="-34"/>
                        <a:ea typeface="Times New Roman"/>
                        <a:cs typeface="TH SarabunPSK" pitchFamily="34" charset="-34"/>
                      </a:endParaRPr>
                    </a:p>
                  </a:txBody>
                  <a:tcPr marL="68580" marR="68580" marT="0" marB="0">
                    <a:solidFill>
                      <a:schemeClr val="accent4">
                        <a:lumMod val="20000"/>
                        <a:lumOff val="80000"/>
                      </a:schemeClr>
                    </a:solidFill>
                  </a:tcPr>
                </a:tc>
              </a:tr>
              <a:tr h="72287">
                <a:tc>
                  <a:txBody>
                    <a:bodyPr/>
                    <a:lstStyle/>
                    <a:p>
                      <a:pPr>
                        <a:lnSpc>
                          <a:spcPts val="1600"/>
                        </a:lnSpc>
                        <a:spcAft>
                          <a:spcPts val="0"/>
                        </a:spcAft>
                      </a:pPr>
                      <a:r>
                        <a:rPr lang="th-TH" sz="1400" dirty="0" smtClean="0">
                          <a:solidFill>
                            <a:srgbClr val="000000"/>
                          </a:solidFill>
                          <a:effectLst/>
                          <a:latin typeface="TH SarabunPSK" pitchFamily="34" charset="-34"/>
                          <a:ea typeface="Calibri"/>
                          <a:cs typeface="TH SarabunPSK" pitchFamily="34" charset="-34"/>
                        </a:rPr>
                        <a:t>โครงการพัฒนา</a:t>
                      </a:r>
                      <a:r>
                        <a:rPr lang="th-TH" sz="1400" dirty="0">
                          <a:solidFill>
                            <a:srgbClr val="000000"/>
                          </a:solidFill>
                          <a:effectLst/>
                          <a:latin typeface="TH SarabunPSK" pitchFamily="34" charset="-34"/>
                          <a:ea typeface="Calibri"/>
                          <a:cs typeface="TH SarabunPSK" pitchFamily="34" charset="-34"/>
                        </a:rPr>
                        <a:t>โครงข่ายไฟฟ้าอัจฉริยะ ระยะที่ </a:t>
                      </a:r>
                      <a:r>
                        <a:rPr lang="en-US" sz="1400" dirty="0">
                          <a:solidFill>
                            <a:srgbClr val="000000"/>
                          </a:solidFill>
                          <a:effectLst/>
                          <a:latin typeface="TH SarabunPSK" pitchFamily="34" charset="-34"/>
                          <a:ea typeface="Calibri"/>
                          <a:cs typeface="TH SarabunPSK" pitchFamily="34" charset="-34"/>
                        </a:rPr>
                        <a:t>1</a:t>
                      </a:r>
                      <a:endParaRPr lang="en-US" sz="1400" dirty="0">
                        <a:effectLst/>
                        <a:latin typeface="TH SarabunPSK" pitchFamily="34" charset="-34"/>
                        <a:ea typeface="Calibri"/>
                        <a:cs typeface="TH SarabunPSK" pitchFamily="34" charset="-34"/>
                      </a:endParaRPr>
                    </a:p>
                  </a:txBody>
                  <a:tcPr marL="68580" marR="68580" marT="0" marB="0">
                    <a:solidFill>
                      <a:schemeClr val="accent4">
                        <a:lumMod val="20000"/>
                        <a:lumOff val="80000"/>
                      </a:schemeClr>
                    </a:solidFill>
                  </a:tcPr>
                </a:tc>
                <a:tc>
                  <a:txBody>
                    <a:bodyPr/>
                    <a:lstStyle/>
                    <a:p>
                      <a:pPr marL="0" marR="0" indent="0" algn="ctr" defTabSz="914400" rtl="0" eaLnBrk="1" fontAlgn="auto" latinLnBrk="0" hangingPunct="1">
                        <a:lnSpc>
                          <a:spcPts val="1600"/>
                        </a:lnSpc>
                        <a:spcBef>
                          <a:spcPts val="0"/>
                        </a:spcBef>
                        <a:spcAft>
                          <a:spcPts val="0"/>
                        </a:spcAft>
                        <a:buClrTx/>
                        <a:buSzTx/>
                        <a:buFontTx/>
                        <a:buNone/>
                        <a:tabLst/>
                        <a:defRPr/>
                      </a:pPr>
                      <a:r>
                        <a:rPr lang="en-US" sz="1400" b="0" kern="1200" dirty="0">
                          <a:solidFill>
                            <a:schemeClr val="dk1"/>
                          </a:solidFill>
                          <a:effectLst/>
                          <a:latin typeface="TH SarabunPSK" pitchFamily="34" charset="-34"/>
                          <a:ea typeface="Calibri"/>
                          <a:cs typeface="TH SarabunPSK" pitchFamily="34" charset="-34"/>
                        </a:rPr>
                        <a:t>2561 </a:t>
                      </a:r>
                      <a:r>
                        <a:rPr lang="en-US" sz="1400" b="0" kern="1200" dirty="0" smtClean="0">
                          <a:solidFill>
                            <a:schemeClr val="dk1"/>
                          </a:solidFill>
                          <a:effectLst/>
                          <a:latin typeface="TH SarabunPSK" pitchFamily="34" charset="-34"/>
                          <a:ea typeface="Calibri"/>
                          <a:cs typeface="TH SarabunPSK" pitchFamily="34" charset="-34"/>
                        </a:rPr>
                        <a:t>- 256</a:t>
                      </a:r>
                      <a:r>
                        <a:rPr lang="th-TH" sz="1400" b="0" kern="1200" dirty="0" smtClean="0">
                          <a:solidFill>
                            <a:schemeClr val="dk1"/>
                          </a:solidFill>
                          <a:effectLst/>
                          <a:latin typeface="TH SarabunPSK" pitchFamily="34" charset="-34"/>
                          <a:ea typeface="Calibri"/>
                          <a:cs typeface="TH SarabunPSK" pitchFamily="34" charset="-34"/>
                        </a:rPr>
                        <a:t>6</a:t>
                      </a:r>
                      <a:endParaRPr lang="en-US" sz="1400" b="0" kern="1200" dirty="0">
                        <a:solidFill>
                          <a:schemeClr val="dk1"/>
                        </a:solidFill>
                        <a:effectLst/>
                        <a:latin typeface="TH SarabunPSK" pitchFamily="34" charset="-34"/>
                        <a:ea typeface="Calibri"/>
                        <a:cs typeface="TH SarabunPSK" pitchFamily="34" charset="-34"/>
                      </a:endParaRPr>
                    </a:p>
                  </a:txBody>
                  <a:tcPr marL="68580" marR="68580" marT="0" marB="0">
                    <a:solidFill>
                      <a:schemeClr val="accent4">
                        <a:lumMod val="20000"/>
                        <a:lumOff val="80000"/>
                      </a:schemeClr>
                    </a:solidFill>
                  </a:tcPr>
                </a:tc>
                <a:tc>
                  <a:txBody>
                    <a:bodyPr/>
                    <a:lstStyle/>
                    <a:p>
                      <a:pPr marR="111760" algn="r">
                        <a:lnSpc>
                          <a:spcPts val="1600"/>
                        </a:lnSpc>
                        <a:spcAft>
                          <a:spcPts val="0"/>
                        </a:spcAft>
                      </a:pPr>
                      <a:r>
                        <a:rPr lang="en-US" sz="1400" kern="1200" dirty="0">
                          <a:solidFill>
                            <a:srgbClr val="000000"/>
                          </a:solidFill>
                          <a:effectLst/>
                          <a:latin typeface="TH SarabunPSK" pitchFamily="34" charset="-34"/>
                          <a:ea typeface="Calibri"/>
                          <a:cs typeface="TH SarabunPSK" pitchFamily="34" charset="-34"/>
                        </a:rPr>
                        <a:t>4,800</a:t>
                      </a:r>
                      <a:endParaRPr lang="en-US" sz="1400" dirty="0">
                        <a:effectLst/>
                        <a:latin typeface="TH SarabunPSK" pitchFamily="34" charset="-34"/>
                        <a:ea typeface="Times New Roman"/>
                        <a:cs typeface="TH SarabunPSK" pitchFamily="34" charset="-34"/>
                      </a:endParaRPr>
                    </a:p>
                  </a:txBody>
                  <a:tcPr marL="68580" marR="68580" marT="0" marB="0">
                    <a:solidFill>
                      <a:schemeClr val="accent4">
                        <a:lumMod val="20000"/>
                        <a:lumOff val="80000"/>
                      </a:schemeClr>
                    </a:solidFill>
                  </a:tcPr>
                </a:tc>
              </a:tr>
              <a:tr h="157119">
                <a:tc>
                  <a:txBody>
                    <a:bodyPr/>
                    <a:lstStyle/>
                    <a:p>
                      <a:pPr>
                        <a:lnSpc>
                          <a:spcPts val="1600"/>
                        </a:lnSpc>
                        <a:spcAft>
                          <a:spcPts val="0"/>
                        </a:spcAft>
                      </a:pPr>
                      <a:r>
                        <a:rPr lang="th-TH" sz="1400" dirty="0" smtClean="0">
                          <a:solidFill>
                            <a:srgbClr val="000000"/>
                          </a:solidFill>
                          <a:effectLst/>
                          <a:latin typeface="TH SarabunPSK" pitchFamily="34" charset="-34"/>
                          <a:ea typeface="Calibri"/>
                          <a:cs typeface="TH SarabunPSK" pitchFamily="34" charset="-34"/>
                        </a:rPr>
                        <a:t>โครงการพัฒนา</a:t>
                      </a:r>
                      <a:r>
                        <a:rPr lang="th-TH" sz="1400" dirty="0">
                          <a:solidFill>
                            <a:srgbClr val="000000"/>
                          </a:solidFill>
                          <a:effectLst/>
                          <a:latin typeface="TH SarabunPSK" pitchFamily="34" charset="-34"/>
                          <a:ea typeface="Calibri"/>
                          <a:cs typeface="TH SarabunPSK" pitchFamily="34" charset="-34"/>
                        </a:rPr>
                        <a:t>ระบบไฟฟ้าให้พื้นที่เกาะต่างๆ ระยะที่ </a:t>
                      </a:r>
                      <a:r>
                        <a:rPr lang="en-US" sz="1400" dirty="0">
                          <a:solidFill>
                            <a:srgbClr val="000000"/>
                          </a:solidFill>
                          <a:effectLst/>
                          <a:latin typeface="TH SarabunPSK" pitchFamily="34" charset="-34"/>
                          <a:ea typeface="Calibri"/>
                          <a:cs typeface="TH SarabunPSK" pitchFamily="34" charset="-34"/>
                        </a:rPr>
                        <a:t>2</a:t>
                      </a:r>
                      <a:endParaRPr lang="en-US" sz="1400" dirty="0">
                        <a:effectLst/>
                        <a:latin typeface="TH SarabunPSK" pitchFamily="34" charset="-34"/>
                        <a:ea typeface="Calibri"/>
                        <a:cs typeface="TH SarabunPSK" pitchFamily="34" charset="-34"/>
                      </a:endParaRPr>
                    </a:p>
                  </a:txBody>
                  <a:tcPr marL="68580" marR="68580" marT="0" marB="0">
                    <a:solidFill>
                      <a:schemeClr val="accent4">
                        <a:lumMod val="20000"/>
                        <a:lumOff val="80000"/>
                      </a:schemeClr>
                    </a:solidFill>
                  </a:tcPr>
                </a:tc>
                <a:tc>
                  <a:txBody>
                    <a:bodyPr/>
                    <a:lstStyle/>
                    <a:p>
                      <a:pPr marL="0" marR="0" indent="0" algn="ctr" defTabSz="914400" rtl="0" eaLnBrk="1" fontAlgn="auto" latinLnBrk="0" hangingPunct="1">
                        <a:lnSpc>
                          <a:spcPts val="1600"/>
                        </a:lnSpc>
                        <a:spcBef>
                          <a:spcPts val="0"/>
                        </a:spcBef>
                        <a:spcAft>
                          <a:spcPts val="0"/>
                        </a:spcAft>
                        <a:buClrTx/>
                        <a:buSzTx/>
                        <a:buFontTx/>
                        <a:buNone/>
                        <a:tabLst/>
                        <a:defRPr/>
                      </a:pPr>
                      <a:r>
                        <a:rPr lang="en-US" sz="1400" b="0" kern="1200" dirty="0">
                          <a:solidFill>
                            <a:schemeClr val="dk1"/>
                          </a:solidFill>
                          <a:effectLst/>
                          <a:latin typeface="TH SarabunPSK" pitchFamily="34" charset="-34"/>
                          <a:ea typeface="Calibri"/>
                          <a:cs typeface="TH SarabunPSK" pitchFamily="34" charset="-34"/>
                        </a:rPr>
                        <a:t>2561 </a:t>
                      </a:r>
                      <a:r>
                        <a:rPr lang="en-US" sz="1400" b="0" kern="1200" dirty="0" smtClean="0">
                          <a:solidFill>
                            <a:schemeClr val="dk1"/>
                          </a:solidFill>
                          <a:effectLst/>
                          <a:latin typeface="TH SarabunPSK" pitchFamily="34" charset="-34"/>
                          <a:ea typeface="Calibri"/>
                          <a:cs typeface="TH SarabunPSK" pitchFamily="34" charset="-34"/>
                        </a:rPr>
                        <a:t>– 2563</a:t>
                      </a:r>
                      <a:endParaRPr lang="en-US" sz="1400" b="0" kern="1200" dirty="0">
                        <a:solidFill>
                          <a:schemeClr val="dk1"/>
                        </a:solidFill>
                        <a:effectLst/>
                        <a:latin typeface="TH SarabunPSK" pitchFamily="34" charset="-34"/>
                        <a:ea typeface="Calibri"/>
                        <a:cs typeface="TH SarabunPSK" pitchFamily="34" charset="-34"/>
                      </a:endParaRPr>
                    </a:p>
                  </a:txBody>
                  <a:tcPr marL="68580" marR="68580" marT="0" marB="0">
                    <a:solidFill>
                      <a:schemeClr val="accent4">
                        <a:lumMod val="20000"/>
                        <a:lumOff val="80000"/>
                      </a:schemeClr>
                    </a:solidFill>
                  </a:tcPr>
                </a:tc>
                <a:tc>
                  <a:txBody>
                    <a:bodyPr/>
                    <a:lstStyle/>
                    <a:p>
                      <a:pPr marR="111760" algn="r">
                        <a:lnSpc>
                          <a:spcPts val="1600"/>
                        </a:lnSpc>
                        <a:spcAft>
                          <a:spcPts val="0"/>
                        </a:spcAft>
                      </a:pPr>
                      <a:r>
                        <a:rPr lang="en-US" sz="1400" kern="1200" dirty="0">
                          <a:solidFill>
                            <a:srgbClr val="000000"/>
                          </a:solidFill>
                          <a:effectLst/>
                          <a:latin typeface="TH SarabunPSK" pitchFamily="34" charset="-34"/>
                          <a:ea typeface="Calibri"/>
                          <a:cs typeface="TH SarabunPSK" pitchFamily="34" charset="-34"/>
                        </a:rPr>
                        <a:t>1,900</a:t>
                      </a:r>
                      <a:endParaRPr lang="en-US" sz="1400" dirty="0">
                        <a:effectLst/>
                        <a:latin typeface="TH SarabunPSK" pitchFamily="34" charset="-34"/>
                        <a:ea typeface="Times New Roman"/>
                        <a:cs typeface="TH SarabunPSK" pitchFamily="34" charset="-34"/>
                      </a:endParaRPr>
                    </a:p>
                  </a:txBody>
                  <a:tcPr marL="68580" marR="68580" marT="0" marB="0">
                    <a:solidFill>
                      <a:schemeClr val="accent4">
                        <a:lumMod val="20000"/>
                        <a:lumOff val="80000"/>
                      </a:schemeClr>
                    </a:solidFill>
                  </a:tcPr>
                </a:tc>
              </a:tr>
              <a:tr h="97935">
                <a:tc>
                  <a:txBody>
                    <a:bodyPr/>
                    <a:lstStyle/>
                    <a:p>
                      <a:pPr>
                        <a:lnSpc>
                          <a:spcPts val="1600"/>
                        </a:lnSpc>
                        <a:spcAft>
                          <a:spcPts val="0"/>
                        </a:spcAft>
                      </a:pPr>
                      <a:r>
                        <a:rPr lang="th-TH" sz="1400" dirty="0" smtClean="0">
                          <a:solidFill>
                            <a:srgbClr val="000000"/>
                          </a:solidFill>
                          <a:effectLst/>
                          <a:latin typeface="TH SarabunPSK" pitchFamily="34" charset="-34"/>
                          <a:ea typeface="Calibri"/>
                          <a:cs typeface="TH SarabunPSK" pitchFamily="34" charset="-34"/>
                        </a:rPr>
                        <a:t>โครงการขยาย</a:t>
                      </a:r>
                      <a:r>
                        <a:rPr lang="th-TH" sz="1400" dirty="0">
                          <a:solidFill>
                            <a:srgbClr val="000000"/>
                          </a:solidFill>
                          <a:effectLst/>
                          <a:latin typeface="TH SarabunPSK" pitchFamily="34" charset="-34"/>
                          <a:ea typeface="Calibri"/>
                          <a:cs typeface="TH SarabunPSK" pitchFamily="34" charset="-34"/>
                        </a:rPr>
                        <a:t>เขตไฟฟ้าให้บ้านเรือนราษฎรรายใหม่ ระยะที่ 2</a:t>
                      </a:r>
                      <a:endParaRPr lang="en-US" sz="1400" dirty="0">
                        <a:effectLst/>
                        <a:latin typeface="TH SarabunPSK" pitchFamily="34" charset="-34"/>
                        <a:ea typeface="Calibri"/>
                        <a:cs typeface="TH SarabunPSK" pitchFamily="34" charset="-34"/>
                      </a:endParaRPr>
                    </a:p>
                  </a:txBody>
                  <a:tcPr marL="68580" marR="68580" marT="0" marB="0">
                    <a:solidFill>
                      <a:schemeClr val="accent4">
                        <a:lumMod val="20000"/>
                        <a:lumOff val="80000"/>
                      </a:schemeClr>
                    </a:solidFill>
                  </a:tcPr>
                </a:tc>
                <a:tc>
                  <a:txBody>
                    <a:bodyPr/>
                    <a:lstStyle/>
                    <a:p>
                      <a:pPr marL="0" marR="0" indent="0" algn="ctr" defTabSz="914400" rtl="0" eaLnBrk="1" fontAlgn="auto" latinLnBrk="0" hangingPunct="1">
                        <a:lnSpc>
                          <a:spcPts val="1600"/>
                        </a:lnSpc>
                        <a:spcBef>
                          <a:spcPts val="0"/>
                        </a:spcBef>
                        <a:spcAft>
                          <a:spcPts val="0"/>
                        </a:spcAft>
                        <a:buClrTx/>
                        <a:buSzTx/>
                        <a:buFontTx/>
                        <a:buNone/>
                        <a:tabLst/>
                        <a:defRPr/>
                      </a:pPr>
                      <a:r>
                        <a:rPr lang="en-US" sz="1400" b="0" kern="1200" dirty="0">
                          <a:solidFill>
                            <a:schemeClr val="dk1"/>
                          </a:solidFill>
                          <a:effectLst/>
                          <a:latin typeface="TH SarabunPSK" pitchFamily="34" charset="-34"/>
                          <a:ea typeface="Calibri"/>
                          <a:cs typeface="TH SarabunPSK" pitchFamily="34" charset="-34"/>
                        </a:rPr>
                        <a:t>2561 </a:t>
                      </a:r>
                      <a:r>
                        <a:rPr lang="en-US" sz="1400" b="0" kern="1200" dirty="0" smtClean="0">
                          <a:solidFill>
                            <a:schemeClr val="dk1"/>
                          </a:solidFill>
                          <a:effectLst/>
                          <a:latin typeface="TH SarabunPSK" pitchFamily="34" charset="-34"/>
                          <a:ea typeface="Calibri"/>
                          <a:cs typeface="TH SarabunPSK" pitchFamily="34" charset="-34"/>
                        </a:rPr>
                        <a:t>– 2566</a:t>
                      </a:r>
                      <a:endParaRPr lang="en-US" sz="1400" b="0" kern="1200" dirty="0">
                        <a:solidFill>
                          <a:schemeClr val="dk1"/>
                        </a:solidFill>
                        <a:effectLst/>
                        <a:latin typeface="TH SarabunPSK" pitchFamily="34" charset="-34"/>
                        <a:ea typeface="Calibri"/>
                        <a:cs typeface="TH SarabunPSK" pitchFamily="34" charset="-34"/>
                      </a:endParaRPr>
                    </a:p>
                  </a:txBody>
                  <a:tcPr marL="68580" marR="68580" marT="0" marB="0">
                    <a:solidFill>
                      <a:schemeClr val="accent4">
                        <a:lumMod val="20000"/>
                        <a:lumOff val="80000"/>
                      </a:schemeClr>
                    </a:solidFill>
                  </a:tcPr>
                </a:tc>
                <a:tc>
                  <a:txBody>
                    <a:bodyPr/>
                    <a:lstStyle/>
                    <a:p>
                      <a:pPr marR="111760" algn="r">
                        <a:lnSpc>
                          <a:spcPts val="1600"/>
                        </a:lnSpc>
                        <a:spcAft>
                          <a:spcPts val="0"/>
                        </a:spcAft>
                      </a:pPr>
                      <a:r>
                        <a:rPr lang="th-TH" sz="1400" kern="1200" dirty="0">
                          <a:solidFill>
                            <a:srgbClr val="000000"/>
                          </a:solidFill>
                          <a:effectLst/>
                          <a:latin typeface="TH SarabunPSK" pitchFamily="34" charset="-34"/>
                          <a:ea typeface="Calibri"/>
                          <a:cs typeface="TH SarabunPSK" pitchFamily="34" charset="-34"/>
                        </a:rPr>
                        <a:t>3</a:t>
                      </a:r>
                      <a:r>
                        <a:rPr lang="en-US" sz="1400" kern="1200" dirty="0">
                          <a:solidFill>
                            <a:srgbClr val="000000"/>
                          </a:solidFill>
                          <a:effectLst/>
                          <a:latin typeface="TH SarabunPSK" pitchFamily="34" charset="-34"/>
                          <a:ea typeface="Calibri"/>
                          <a:cs typeface="TH SarabunPSK" pitchFamily="34" charset="-34"/>
                        </a:rPr>
                        <a:t>,</a:t>
                      </a:r>
                      <a:r>
                        <a:rPr lang="th-TH" sz="1400" kern="1200" dirty="0">
                          <a:solidFill>
                            <a:srgbClr val="000000"/>
                          </a:solidFill>
                          <a:effectLst/>
                          <a:latin typeface="TH SarabunPSK" pitchFamily="34" charset="-34"/>
                          <a:ea typeface="Calibri"/>
                          <a:cs typeface="TH SarabunPSK" pitchFamily="34" charset="-34"/>
                        </a:rPr>
                        <a:t>600</a:t>
                      </a:r>
                      <a:endParaRPr lang="en-US" sz="1400" dirty="0">
                        <a:effectLst/>
                        <a:latin typeface="TH SarabunPSK" pitchFamily="34" charset="-34"/>
                        <a:ea typeface="Times New Roman"/>
                        <a:cs typeface="TH SarabunPSK" pitchFamily="34" charset="-34"/>
                      </a:endParaRPr>
                    </a:p>
                  </a:txBody>
                  <a:tcPr marL="68580" marR="68580" marT="0" marB="0">
                    <a:solidFill>
                      <a:schemeClr val="accent4">
                        <a:lumMod val="20000"/>
                        <a:lumOff val="80000"/>
                      </a:schemeClr>
                    </a:solidFill>
                  </a:tcPr>
                </a:tc>
              </a:tr>
              <a:tr h="38751">
                <a:tc>
                  <a:txBody>
                    <a:bodyPr/>
                    <a:lstStyle/>
                    <a:p>
                      <a:pPr>
                        <a:lnSpc>
                          <a:spcPts val="1600"/>
                        </a:lnSpc>
                        <a:spcAft>
                          <a:spcPts val="0"/>
                        </a:spcAft>
                      </a:pPr>
                      <a:r>
                        <a:rPr lang="th-TH" sz="1400" dirty="0" smtClean="0">
                          <a:solidFill>
                            <a:srgbClr val="000000"/>
                          </a:solidFill>
                          <a:effectLst/>
                          <a:latin typeface="TH SarabunPSK" pitchFamily="34" charset="-34"/>
                          <a:ea typeface="Calibri"/>
                          <a:cs typeface="TH SarabunPSK" pitchFamily="34" charset="-34"/>
                        </a:rPr>
                        <a:t>โครงการพัฒนา</a:t>
                      </a:r>
                      <a:r>
                        <a:rPr lang="th-TH" sz="1400" dirty="0">
                          <a:solidFill>
                            <a:srgbClr val="000000"/>
                          </a:solidFill>
                          <a:effectLst/>
                          <a:latin typeface="TH SarabunPSK" pitchFamily="34" charset="-34"/>
                          <a:ea typeface="Calibri"/>
                          <a:cs typeface="TH SarabunPSK" pitchFamily="34" charset="-34"/>
                        </a:rPr>
                        <a:t>ระบบส่งและจำหน่าย ระยะที่ </a:t>
                      </a:r>
                      <a:r>
                        <a:rPr lang="en-US" sz="1400" dirty="0">
                          <a:solidFill>
                            <a:srgbClr val="000000"/>
                          </a:solidFill>
                          <a:effectLst/>
                          <a:latin typeface="TH SarabunPSK" pitchFamily="34" charset="-34"/>
                          <a:ea typeface="Calibri"/>
                          <a:cs typeface="TH SarabunPSK" pitchFamily="34" charset="-34"/>
                        </a:rPr>
                        <a:t>2</a:t>
                      </a:r>
                      <a:endParaRPr lang="en-US" sz="1400" dirty="0">
                        <a:effectLst/>
                        <a:latin typeface="TH SarabunPSK" pitchFamily="34" charset="-34"/>
                        <a:ea typeface="Calibri"/>
                        <a:cs typeface="TH SarabunPSK" pitchFamily="34" charset="-34"/>
                      </a:endParaRPr>
                    </a:p>
                  </a:txBody>
                  <a:tcPr marL="68580" marR="68580" marT="0" marB="0">
                    <a:solidFill>
                      <a:schemeClr val="accent4">
                        <a:lumMod val="20000"/>
                        <a:lumOff val="80000"/>
                      </a:schemeClr>
                    </a:solidFill>
                  </a:tcPr>
                </a:tc>
                <a:tc>
                  <a:txBody>
                    <a:bodyPr/>
                    <a:lstStyle/>
                    <a:p>
                      <a:pPr marL="0" marR="0" indent="0" algn="ctr" defTabSz="914400" rtl="0" eaLnBrk="1" fontAlgn="auto" latinLnBrk="0" hangingPunct="1">
                        <a:lnSpc>
                          <a:spcPts val="1600"/>
                        </a:lnSpc>
                        <a:spcBef>
                          <a:spcPts val="0"/>
                        </a:spcBef>
                        <a:spcAft>
                          <a:spcPts val="0"/>
                        </a:spcAft>
                        <a:buClrTx/>
                        <a:buSzTx/>
                        <a:buFontTx/>
                        <a:buNone/>
                        <a:tabLst/>
                        <a:defRPr/>
                      </a:pPr>
                      <a:r>
                        <a:rPr lang="en-US" sz="1400" b="0" kern="1200" dirty="0">
                          <a:solidFill>
                            <a:schemeClr val="dk1"/>
                          </a:solidFill>
                          <a:effectLst/>
                          <a:latin typeface="TH SarabunPSK" pitchFamily="34" charset="-34"/>
                          <a:ea typeface="Calibri"/>
                          <a:cs typeface="TH SarabunPSK" pitchFamily="34" charset="-34"/>
                        </a:rPr>
                        <a:t>2562 </a:t>
                      </a:r>
                      <a:r>
                        <a:rPr lang="en-US" sz="1400" b="0" kern="1200" dirty="0" smtClean="0">
                          <a:solidFill>
                            <a:schemeClr val="dk1"/>
                          </a:solidFill>
                          <a:effectLst/>
                          <a:latin typeface="TH SarabunPSK" pitchFamily="34" charset="-34"/>
                          <a:ea typeface="Calibri"/>
                          <a:cs typeface="TH SarabunPSK" pitchFamily="34" charset="-34"/>
                        </a:rPr>
                        <a:t>– 2567</a:t>
                      </a:r>
                      <a:endParaRPr lang="en-US" sz="1400" b="0" kern="1200" dirty="0">
                        <a:solidFill>
                          <a:schemeClr val="dk1"/>
                        </a:solidFill>
                        <a:effectLst/>
                        <a:latin typeface="TH SarabunPSK" pitchFamily="34" charset="-34"/>
                        <a:ea typeface="Calibri"/>
                        <a:cs typeface="TH SarabunPSK" pitchFamily="34" charset="-34"/>
                      </a:endParaRPr>
                    </a:p>
                  </a:txBody>
                  <a:tcPr marL="68580" marR="68580" marT="0" marB="0">
                    <a:solidFill>
                      <a:schemeClr val="accent4">
                        <a:lumMod val="20000"/>
                        <a:lumOff val="80000"/>
                      </a:schemeClr>
                    </a:solidFill>
                  </a:tcPr>
                </a:tc>
                <a:tc>
                  <a:txBody>
                    <a:bodyPr/>
                    <a:lstStyle/>
                    <a:p>
                      <a:pPr marR="111760" algn="r">
                        <a:lnSpc>
                          <a:spcPts val="1600"/>
                        </a:lnSpc>
                        <a:spcAft>
                          <a:spcPts val="0"/>
                        </a:spcAft>
                      </a:pPr>
                      <a:r>
                        <a:rPr lang="en-US" sz="1400" kern="1200" dirty="0">
                          <a:solidFill>
                            <a:srgbClr val="000000"/>
                          </a:solidFill>
                          <a:effectLst/>
                          <a:latin typeface="TH SarabunPSK" pitchFamily="34" charset="-34"/>
                          <a:ea typeface="Calibri"/>
                          <a:cs typeface="TH SarabunPSK" pitchFamily="34" charset="-34"/>
                        </a:rPr>
                        <a:t>59,000</a:t>
                      </a:r>
                      <a:endParaRPr lang="en-US" sz="1400" dirty="0">
                        <a:effectLst/>
                        <a:latin typeface="TH SarabunPSK" pitchFamily="34" charset="-34"/>
                        <a:ea typeface="Times New Roman"/>
                        <a:cs typeface="TH SarabunPSK" pitchFamily="34" charset="-34"/>
                      </a:endParaRPr>
                    </a:p>
                  </a:txBody>
                  <a:tcPr marL="68580" marR="68580" marT="0" marB="0">
                    <a:solidFill>
                      <a:schemeClr val="accent4">
                        <a:lumMod val="20000"/>
                        <a:lumOff val="80000"/>
                      </a:schemeClr>
                    </a:solidFill>
                  </a:tcPr>
                </a:tc>
              </a:tr>
              <a:tr h="123583">
                <a:tc>
                  <a:txBody>
                    <a:bodyPr/>
                    <a:lstStyle/>
                    <a:p>
                      <a:pPr marL="0" algn="l" defTabSz="914400" rtl="0" eaLnBrk="1" latinLnBrk="0" hangingPunct="1">
                        <a:lnSpc>
                          <a:spcPts val="1600"/>
                        </a:lnSpc>
                        <a:spcAft>
                          <a:spcPts val="0"/>
                        </a:spcAft>
                      </a:pPr>
                      <a:r>
                        <a:rPr lang="th-TH" sz="1400" b="0" kern="1200" dirty="0" smtClean="0">
                          <a:solidFill>
                            <a:schemeClr val="dk1"/>
                          </a:solidFill>
                          <a:effectLst/>
                          <a:latin typeface="TH SarabunPSK" pitchFamily="34" charset="-34"/>
                          <a:ea typeface="Calibri"/>
                          <a:cs typeface="TH SarabunPSK" pitchFamily="34" charset="-34"/>
                        </a:rPr>
                        <a:t>แผน</a:t>
                      </a:r>
                      <a:r>
                        <a:rPr lang="th-TH" sz="1400" b="0" kern="1200" dirty="0">
                          <a:solidFill>
                            <a:schemeClr val="dk1"/>
                          </a:solidFill>
                          <a:effectLst/>
                          <a:latin typeface="TH SarabunPSK" pitchFamily="34" charset="-34"/>
                          <a:ea typeface="Calibri"/>
                          <a:cs typeface="TH SarabunPSK" pitchFamily="34" charset="-34"/>
                        </a:rPr>
                        <a:t>ปรับปรุงและขยายระบบจำหน่ายพลังไฟฟ้าฉบับที่ </a:t>
                      </a:r>
                      <a:r>
                        <a:rPr lang="en-US" sz="1400" b="0" kern="1200" dirty="0">
                          <a:solidFill>
                            <a:schemeClr val="dk1"/>
                          </a:solidFill>
                          <a:effectLst/>
                          <a:latin typeface="TH SarabunPSK" pitchFamily="34" charset="-34"/>
                          <a:ea typeface="Calibri"/>
                          <a:cs typeface="TH SarabunPSK" pitchFamily="34" charset="-34"/>
                        </a:rPr>
                        <a:t>12  </a:t>
                      </a:r>
                    </a:p>
                  </a:txBody>
                  <a:tcPr marL="68580" marR="68580" marT="0" marB="0">
                    <a:solidFill>
                      <a:schemeClr val="accent6">
                        <a:lumMod val="40000"/>
                        <a:lumOff val="60000"/>
                      </a:schemeClr>
                    </a:solidFill>
                  </a:tcPr>
                </a:tc>
                <a:tc>
                  <a:txBody>
                    <a:bodyPr/>
                    <a:lstStyle/>
                    <a:p>
                      <a:pPr marL="0" marR="0" indent="0" algn="ctr" defTabSz="914400" rtl="0" eaLnBrk="1" fontAlgn="auto" latinLnBrk="0" hangingPunct="1">
                        <a:lnSpc>
                          <a:spcPts val="1600"/>
                        </a:lnSpc>
                        <a:spcBef>
                          <a:spcPts val="0"/>
                        </a:spcBef>
                        <a:spcAft>
                          <a:spcPts val="0"/>
                        </a:spcAft>
                        <a:buClrTx/>
                        <a:buSzTx/>
                        <a:buFontTx/>
                        <a:buNone/>
                        <a:tabLst/>
                        <a:defRPr/>
                      </a:pPr>
                      <a:r>
                        <a:rPr lang="en-US" sz="1400" b="0" kern="1200" dirty="0" smtClean="0">
                          <a:solidFill>
                            <a:schemeClr val="dk1"/>
                          </a:solidFill>
                          <a:effectLst/>
                          <a:latin typeface="TH SarabunPSK" pitchFamily="34" charset="-34"/>
                          <a:ea typeface="Calibri"/>
                          <a:cs typeface="TH SarabunPSK" pitchFamily="34" charset="-34"/>
                        </a:rPr>
                        <a:t>256</a:t>
                      </a:r>
                      <a:r>
                        <a:rPr lang="th-TH" sz="1400" b="0" kern="1200" dirty="0" smtClean="0">
                          <a:solidFill>
                            <a:schemeClr val="dk1"/>
                          </a:solidFill>
                          <a:effectLst/>
                          <a:latin typeface="TH SarabunPSK" pitchFamily="34" charset="-34"/>
                          <a:ea typeface="Calibri"/>
                          <a:cs typeface="TH SarabunPSK" pitchFamily="34" charset="-34"/>
                        </a:rPr>
                        <a:t>0</a:t>
                      </a:r>
                      <a:r>
                        <a:rPr lang="en-US" sz="1400" b="0" kern="1200" dirty="0" smtClean="0">
                          <a:solidFill>
                            <a:schemeClr val="dk1"/>
                          </a:solidFill>
                          <a:effectLst/>
                          <a:latin typeface="TH SarabunPSK" pitchFamily="34" charset="-34"/>
                          <a:ea typeface="Calibri"/>
                          <a:cs typeface="TH SarabunPSK" pitchFamily="34" charset="-34"/>
                        </a:rPr>
                        <a:t> – 256</a:t>
                      </a:r>
                      <a:r>
                        <a:rPr lang="th-TH" sz="1400" b="0" kern="1200" dirty="0" smtClean="0">
                          <a:solidFill>
                            <a:schemeClr val="dk1"/>
                          </a:solidFill>
                          <a:effectLst/>
                          <a:latin typeface="TH SarabunPSK" pitchFamily="34" charset="-34"/>
                          <a:ea typeface="Calibri"/>
                          <a:cs typeface="TH SarabunPSK" pitchFamily="34" charset="-34"/>
                        </a:rPr>
                        <a:t>4</a:t>
                      </a:r>
                      <a:endParaRPr lang="en-US" sz="1400" b="0" kern="1200" dirty="0">
                        <a:solidFill>
                          <a:schemeClr val="dk1"/>
                        </a:solidFill>
                        <a:effectLst/>
                        <a:latin typeface="TH SarabunPSK" pitchFamily="34" charset="-34"/>
                        <a:ea typeface="Calibri"/>
                        <a:cs typeface="TH SarabunPSK" pitchFamily="34" charset="-34"/>
                      </a:endParaRPr>
                    </a:p>
                  </a:txBody>
                  <a:tcPr marL="68580" marR="68580" marT="0" marB="0">
                    <a:solidFill>
                      <a:schemeClr val="accent6">
                        <a:lumMod val="40000"/>
                        <a:lumOff val="60000"/>
                      </a:schemeClr>
                    </a:solidFill>
                  </a:tcPr>
                </a:tc>
                <a:tc>
                  <a:txBody>
                    <a:bodyPr/>
                    <a:lstStyle/>
                    <a:p>
                      <a:pPr marR="111760" algn="r">
                        <a:lnSpc>
                          <a:spcPts val="1600"/>
                        </a:lnSpc>
                        <a:spcAft>
                          <a:spcPts val="0"/>
                        </a:spcAft>
                      </a:pPr>
                      <a:r>
                        <a:rPr lang="th-TH" sz="1400" kern="1200" dirty="0" smtClean="0">
                          <a:solidFill>
                            <a:srgbClr val="000000"/>
                          </a:solidFill>
                          <a:effectLst/>
                          <a:latin typeface="TH SarabunPSK" pitchFamily="34" charset="-34"/>
                          <a:ea typeface="Calibri"/>
                          <a:cs typeface="TH SarabunPSK" pitchFamily="34" charset="-34"/>
                        </a:rPr>
                        <a:t>127</a:t>
                      </a:r>
                      <a:r>
                        <a:rPr lang="en-US" sz="1400" kern="1200" dirty="0" smtClean="0">
                          <a:solidFill>
                            <a:srgbClr val="000000"/>
                          </a:solidFill>
                          <a:effectLst/>
                          <a:latin typeface="TH SarabunPSK" pitchFamily="34" charset="-34"/>
                          <a:ea typeface="Calibri"/>
                          <a:cs typeface="TH SarabunPSK" pitchFamily="34" charset="-34"/>
                        </a:rPr>
                        <a:t>,</a:t>
                      </a:r>
                      <a:r>
                        <a:rPr lang="th-TH" sz="1400" kern="1200" dirty="0" smtClean="0">
                          <a:solidFill>
                            <a:srgbClr val="000000"/>
                          </a:solidFill>
                          <a:effectLst/>
                          <a:latin typeface="TH SarabunPSK" pitchFamily="34" charset="-34"/>
                          <a:ea typeface="Calibri"/>
                          <a:cs typeface="TH SarabunPSK" pitchFamily="34" charset="-34"/>
                        </a:rPr>
                        <a:t>948</a:t>
                      </a:r>
                      <a:endParaRPr lang="en-US" sz="1400" dirty="0">
                        <a:effectLst/>
                        <a:latin typeface="TH SarabunPSK" pitchFamily="34" charset="-34"/>
                        <a:ea typeface="Times New Roman"/>
                        <a:cs typeface="TH SarabunPSK" pitchFamily="34" charset="-34"/>
                      </a:endParaRPr>
                    </a:p>
                  </a:txBody>
                  <a:tcPr marL="68580" marR="68580" marT="0" marB="0">
                    <a:solidFill>
                      <a:schemeClr val="accent6">
                        <a:lumMod val="40000"/>
                        <a:lumOff val="60000"/>
                      </a:schemeClr>
                    </a:solidFill>
                  </a:tcPr>
                </a:tc>
              </a:tr>
              <a:tr h="64399">
                <a:tc>
                  <a:txBody>
                    <a:bodyPr/>
                    <a:lstStyle/>
                    <a:p>
                      <a:pPr marL="0" algn="l" defTabSz="914400" rtl="0" eaLnBrk="1" latinLnBrk="0" hangingPunct="1">
                        <a:lnSpc>
                          <a:spcPts val="1600"/>
                        </a:lnSpc>
                        <a:spcAft>
                          <a:spcPts val="0"/>
                        </a:spcAft>
                      </a:pPr>
                      <a:r>
                        <a:rPr lang="th-TH" sz="1400" b="0" kern="1200" spc="-30" baseline="0" dirty="0" smtClean="0">
                          <a:solidFill>
                            <a:schemeClr val="dk1"/>
                          </a:solidFill>
                          <a:effectLst/>
                          <a:latin typeface="TH SarabunPSK" pitchFamily="34" charset="-34"/>
                          <a:ea typeface="Calibri"/>
                          <a:cs typeface="TH SarabunPSK" pitchFamily="34" charset="-34"/>
                        </a:rPr>
                        <a:t>แผนงาน</a:t>
                      </a:r>
                      <a:r>
                        <a:rPr lang="th-TH" sz="1400" b="0" kern="1200" spc="-30" baseline="0" dirty="0">
                          <a:solidFill>
                            <a:schemeClr val="dk1"/>
                          </a:solidFill>
                          <a:effectLst/>
                          <a:latin typeface="TH SarabunPSK" pitchFamily="34" charset="-34"/>
                          <a:ea typeface="Calibri"/>
                          <a:cs typeface="TH SarabunPSK" pitchFamily="34" charset="-34"/>
                        </a:rPr>
                        <a:t>เปลี่ยนสายไฟฟ้าอากาศเป็นสายไฟฟ้าใต้ดิน </a:t>
                      </a:r>
                      <a:r>
                        <a:rPr lang="th-TH" sz="1400" b="0" kern="1200" spc="-30" baseline="0" dirty="0" smtClean="0">
                          <a:solidFill>
                            <a:schemeClr val="dk1"/>
                          </a:solidFill>
                          <a:effectLst/>
                          <a:latin typeface="TH SarabunPSK" pitchFamily="34" charset="-34"/>
                          <a:ea typeface="Calibri"/>
                          <a:cs typeface="TH SarabunPSK" pitchFamily="34" charset="-34"/>
                        </a:rPr>
                        <a:t>เพื่อ</a:t>
                      </a:r>
                      <a:r>
                        <a:rPr lang="th-TH" sz="1400" b="0" kern="1200" spc="-30" baseline="0" dirty="0">
                          <a:solidFill>
                            <a:schemeClr val="dk1"/>
                          </a:solidFill>
                          <a:effectLst/>
                          <a:latin typeface="TH SarabunPSK" pitchFamily="34" charset="-34"/>
                          <a:ea typeface="Calibri"/>
                          <a:cs typeface="TH SarabunPSK" pitchFamily="34" charset="-34"/>
                        </a:rPr>
                        <a:t>รองรับการเป็นมหา</a:t>
                      </a:r>
                      <a:r>
                        <a:rPr lang="th-TH" sz="1400" b="0" kern="1200" spc="-30" baseline="0" dirty="0" smtClean="0">
                          <a:solidFill>
                            <a:schemeClr val="dk1"/>
                          </a:solidFill>
                          <a:effectLst/>
                          <a:latin typeface="TH SarabunPSK" pitchFamily="34" charset="-34"/>
                          <a:ea typeface="Calibri"/>
                          <a:cs typeface="TH SarabunPSK" pitchFamily="34" charset="-34"/>
                        </a:rPr>
                        <a:t>นครแห่งอาเซียน</a:t>
                      </a:r>
                      <a:endParaRPr lang="en-US" sz="1400" b="0" kern="1200" spc="-30" baseline="0" dirty="0">
                        <a:solidFill>
                          <a:schemeClr val="dk1"/>
                        </a:solidFill>
                        <a:effectLst/>
                        <a:latin typeface="TH SarabunPSK" pitchFamily="34" charset="-34"/>
                        <a:ea typeface="Calibri"/>
                        <a:cs typeface="TH SarabunPSK" pitchFamily="34" charset="-34"/>
                      </a:endParaRPr>
                    </a:p>
                  </a:txBody>
                  <a:tcPr marL="68580" marR="68580" marT="0" marB="0">
                    <a:solidFill>
                      <a:schemeClr val="accent6">
                        <a:lumMod val="40000"/>
                        <a:lumOff val="60000"/>
                      </a:schemeClr>
                    </a:solidFill>
                  </a:tcPr>
                </a:tc>
                <a:tc>
                  <a:txBody>
                    <a:bodyPr/>
                    <a:lstStyle/>
                    <a:p>
                      <a:pPr marL="0" marR="0" indent="0" algn="ctr" defTabSz="914400" rtl="0" eaLnBrk="1" fontAlgn="auto" latinLnBrk="0" hangingPunct="1">
                        <a:lnSpc>
                          <a:spcPts val="1600"/>
                        </a:lnSpc>
                        <a:spcBef>
                          <a:spcPts val="0"/>
                        </a:spcBef>
                        <a:spcAft>
                          <a:spcPts val="0"/>
                        </a:spcAft>
                        <a:buClrTx/>
                        <a:buSzTx/>
                        <a:buFontTx/>
                        <a:buNone/>
                        <a:tabLst/>
                        <a:defRPr/>
                      </a:pPr>
                      <a:r>
                        <a:rPr lang="en-US" sz="1400" b="0" kern="1200" dirty="0" smtClean="0">
                          <a:solidFill>
                            <a:schemeClr val="dk1"/>
                          </a:solidFill>
                          <a:effectLst/>
                          <a:latin typeface="TH SarabunPSK" pitchFamily="34" charset="-34"/>
                          <a:ea typeface="Calibri"/>
                          <a:cs typeface="TH SarabunPSK" pitchFamily="34" charset="-34"/>
                        </a:rPr>
                        <a:t>25</a:t>
                      </a:r>
                      <a:r>
                        <a:rPr lang="th-TH" sz="1400" b="0" kern="1200" dirty="0" smtClean="0">
                          <a:solidFill>
                            <a:schemeClr val="dk1"/>
                          </a:solidFill>
                          <a:effectLst/>
                          <a:latin typeface="TH SarabunPSK" pitchFamily="34" charset="-34"/>
                          <a:ea typeface="Calibri"/>
                          <a:cs typeface="TH SarabunPSK" pitchFamily="34" charset="-34"/>
                        </a:rPr>
                        <a:t>59</a:t>
                      </a:r>
                      <a:r>
                        <a:rPr lang="en-US" sz="1400" b="0" kern="1200" dirty="0" smtClean="0">
                          <a:solidFill>
                            <a:schemeClr val="dk1"/>
                          </a:solidFill>
                          <a:effectLst/>
                          <a:latin typeface="TH SarabunPSK" pitchFamily="34" charset="-34"/>
                          <a:ea typeface="Calibri"/>
                          <a:cs typeface="TH SarabunPSK" pitchFamily="34" charset="-34"/>
                        </a:rPr>
                        <a:t> – 2567</a:t>
                      </a:r>
                      <a:endParaRPr lang="en-US" sz="1400" b="0" kern="1200" dirty="0">
                        <a:solidFill>
                          <a:schemeClr val="dk1"/>
                        </a:solidFill>
                        <a:effectLst/>
                        <a:latin typeface="TH SarabunPSK" pitchFamily="34" charset="-34"/>
                        <a:ea typeface="Calibri"/>
                        <a:cs typeface="TH SarabunPSK" pitchFamily="34" charset="-34"/>
                      </a:endParaRPr>
                    </a:p>
                  </a:txBody>
                  <a:tcPr marL="68580" marR="68580" marT="0" marB="0">
                    <a:solidFill>
                      <a:schemeClr val="accent6">
                        <a:lumMod val="40000"/>
                        <a:lumOff val="60000"/>
                      </a:schemeClr>
                    </a:solidFill>
                  </a:tcPr>
                </a:tc>
                <a:tc>
                  <a:txBody>
                    <a:bodyPr/>
                    <a:lstStyle/>
                    <a:p>
                      <a:pPr marR="111760" algn="r">
                        <a:lnSpc>
                          <a:spcPts val="1600"/>
                        </a:lnSpc>
                        <a:spcAft>
                          <a:spcPts val="0"/>
                        </a:spcAft>
                      </a:pPr>
                      <a:r>
                        <a:rPr lang="th-TH" sz="1400" kern="1200" dirty="0" smtClean="0">
                          <a:solidFill>
                            <a:srgbClr val="000000"/>
                          </a:solidFill>
                          <a:effectLst/>
                          <a:latin typeface="TH SarabunPSK" pitchFamily="34" charset="-34"/>
                          <a:ea typeface="Calibri"/>
                          <a:cs typeface="TH SarabunPSK" pitchFamily="34" charset="-34"/>
                        </a:rPr>
                        <a:t>48</a:t>
                      </a:r>
                      <a:r>
                        <a:rPr lang="en-US" sz="1400" kern="1200" dirty="0" smtClean="0">
                          <a:solidFill>
                            <a:srgbClr val="000000"/>
                          </a:solidFill>
                          <a:effectLst/>
                          <a:latin typeface="TH SarabunPSK" pitchFamily="34" charset="-34"/>
                          <a:ea typeface="Calibri"/>
                          <a:cs typeface="TH SarabunPSK" pitchFamily="34" charset="-34"/>
                        </a:rPr>
                        <a:t>,</a:t>
                      </a:r>
                      <a:r>
                        <a:rPr lang="th-TH" sz="1400" kern="1200" dirty="0" smtClean="0">
                          <a:solidFill>
                            <a:srgbClr val="000000"/>
                          </a:solidFill>
                          <a:effectLst/>
                          <a:latin typeface="TH SarabunPSK" pitchFamily="34" charset="-34"/>
                          <a:ea typeface="Calibri"/>
                          <a:cs typeface="TH SarabunPSK" pitchFamily="34" charset="-34"/>
                        </a:rPr>
                        <a:t>717</a:t>
                      </a:r>
                      <a:endParaRPr lang="en-US" sz="1400" dirty="0">
                        <a:effectLst/>
                        <a:latin typeface="TH SarabunPSK" pitchFamily="34" charset="-34"/>
                        <a:ea typeface="Times New Roman"/>
                        <a:cs typeface="TH SarabunPSK" pitchFamily="34" charset="-34"/>
                      </a:endParaRPr>
                    </a:p>
                  </a:txBody>
                  <a:tcPr marL="68580" marR="68580" marT="0" marB="0">
                    <a:solidFill>
                      <a:schemeClr val="accent6">
                        <a:lumMod val="40000"/>
                        <a:lumOff val="60000"/>
                      </a:schemeClr>
                    </a:solidFill>
                  </a:tcPr>
                </a:tc>
              </a:tr>
            </a:tbl>
          </a:graphicData>
        </a:graphic>
      </p:graphicFrame>
      <p:sp>
        <p:nvSpPr>
          <p:cNvPr id="3" name="TextBox 2"/>
          <p:cNvSpPr txBox="1"/>
          <p:nvPr/>
        </p:nvSpPr>
        <p:spPr>
          <a:xfrm>
            <a:off x="57266" y="3240371"/>
            <a:ext cx="838200" cy="471051"/>
          </a:xfrm>
          <a:prstGeom prst="roundRect">
            <a:avLst/>
          </a:prstGeom>
          <a:solidFill>
            <a:schemeClr val="accent4">
              <a:lumMod val="60000"/>
              <a:lumOff val="40000"/>
            </a:schemeClr>
          </a:solidFill>
        </p:spPr>
        <p:txBody>
          <a:bodyPr wrap="square" rtlCol="0">
            <a:spAutoFit/>
          </a:bodyPr>
          <a:lstStyle/>
          <a:p>
            <a:pPr algn="ctr">
              <a:lnSpc>
                <a:spcPts val="2600"/>
              </a:lnSpc>
            </a:pPr>
            <a:r>
              <a:rPr lang="th-TH" sz="2800" b="1" dirty="0" smtClean="0">
                <a:latin typeface="TH SarabunPSK" pitchFamily="34" charset="-34"/>
                <a:cs typeface="TH SarabunPSK" pitchFamily="34" charset="-34"/>
              </a:rPr>
              <a:t>กฟภ.</a:t>
            </a:r>
            <a:endParaRPr lang="en-US" sz="2800" b="1" dirty="0">
              <a:latin typeface="TH SarabunPSK" pitchFamily="34" charset="-34"/>
              <a:cs typeface="TH SarabunPSK" pitchFamily="34" charset="-34"/>
            </a:endParaRPr>
          </a:p>
        </p:txBody>
      </p:sp>
      <p:sp>
        <p:nvSpPr>
          <p:cNvPr id="10" name="TextBox 9"/>
          <p:cNvSpPr txBox="1"/>
          <p:nvPr/>
        </p:nvSpPr>
        <p:spPr>
          <a:xfrm>
            <a:off x="35496" y="4011910"/>
            <a:ext cx="838200" cy="471051"/>
          </a:xfrm>
          <a:prstGeom prst="roundRect">
            <a:avLst/>
          </a:prstGeom>
          <a:solidFill>
            <a:srgbClr val="FFC000"/>
          </a:solidFill>
        </p:spPr>
        <p:txBody>
          <a:bodyPr wrap="square" rtlCol="0">
            <a:spAutoFit/>
          </a:bodyPr>
          <a:lstStyle/>
          <a:p>
            <a:pPr algn="ctr">
              <a:lnSpc>
                <a:spcPts val="2600"/>
              </a:lnSpc>
            </a:pPr>
            <a:r>
              <a:rPr lang="th-TH" sz="2800" b="1" dirty="0" smtClean="0">
                <a:latin typeface="TH SarabunPSK" pitchFamily="34" charset="-34"/>
                <a:cs typeface="TH SarabunPSK" pitchFamily="34" charset="-34"/>
              </a:rPr>
              <a:t>กฟน.</a:t>
            </a:r>
            <a:endParaRPr lang="en-US" sz="2800" b="1" dirty="0">
              <a:latin typeface="TH SarabunPSK" pitchFamily="34" charset="-34"/>
              <a:cs typeface="TH SarabunPSK" pitchFamily="34" charset="-34"/>
            </a:endParaRPr>
          </a:p>
        </p:txBody>
      </p:sp>
      <p:sp>
        <p:nvSpPr>
          <p:cNvPr id="11" name="TextBox 10"/>
          <p:cNvSpPr txBox="1"/>
          <p:nvPr/>
        </p:nvSpPr>
        <p:spPr>
          <a:xfrm>
            <a:off x="68152" y="1621895"/>
            <a:ext cx="838200" cy="471051"/>
          </a:xfrm>
          <a:prstGeom prst="roundRect">
            <a:avLst/>
          </a:prstGeom>
          <a:solidFill>
            <a:srgbClr val="EDE35D"/>
          </a:solidFill>
        </p:spPr>
        <p:txBody>
          <a:bodyPr wrap="square" rtlCol="0">
            <a:spAutoFit/>
          </a:bodyPr>
          <a:lstStyle/>
          <a:p>
            <a:pPr algn="ctr">
              <a:lnSpc>
                <a:spcPts val="2600"/>
              </a:lnSpc>
            </a:pPr>
            <a:r>
              <a:rPr lang="th-TH" sz="2800" b="1" dirty="0" smtClean="0">
                <a:latin typeface="TH SarabunPSK" pitchFamily="34" charset="-34"/>
                <a:cs typeface="TH SarabunPSK" pitchFamily="34" charset="-34"/>
              </a:rPr>
              <a:t>กฟผ.</a:t>
            </a:r>
            <a:endParaRPr lang="en-US" sz="2800" b="1" dirty="0">
              <a:latin typeface="TH SarabunPSK" pitchFamily="34" charset="-34"/>
              <a:cs typeface="TH SarabunPSK" pitchFamily="34" charset="-34"/>
            </a:endParaRPr>
          </a:p>
        </p:txBody>
      </p:sp>
      <p:sp>
        <p:nvSpPr>
          <p:cNvPr id="9" name="RbNavigator"/>
          <p:cNvSpPr txBox="1"/>
          <p:nvPr/>
        </p:nvSpPr>
        <p:spPr>
          <a:xfrm>
            <a:off x="107504" y="92614"/>
            <a:ext cx="444744" cy="246888"/>
          </a:xfrm>
          <a:prstGeom prst="rect">
            <a:avLst/>
          </a:prstGeom>
          <a:solidFill>
            <a:srgbClr val="003F56"/>
          </a:solidFill>
          <a:ln w="9525">
            <a:noFill/>
          </a:ln>
        </p:spPr>
        <p:txBody>
          <a:bodyPr vert="horz" wrap="none" lIns="0" tIns="0" rIns="0" bIns="0" rtlCol="0" anchor="ctr">
            <a:noAutofit/>
          </a:bodyPr>
          <a:lstStyle/>
          <a:p>
            <a:pPr marL="0" marR="0" lvl="0" indent="0" algn="ctr" defTabSz="914400" eaLnBrk="1" fontAlgn="auto" latinLnBrk="0" hangingPunct="1">
              <a:lnSpc>
                <a:spcPct val="90000"/>
              </a:lnSpc>
              <a:spcBef>
                <a:spcPts val="400"/>
              </a:spcBef>
              <a:spcAft>
                <a:spcPts val="0"/>
              </a:spcAft>
              <a:buClr>
                <a:srgbClr val="000000"/>
              </a:buClr>
              <a:buSzPct val="100000"/>
              <a:buFontTx/>
              <a:buNone/>
              <a:tabLst/>
              <a:defRPr/>
            </a:pPr>
            <a:r>
              <a:rPr kumimoji="1" lang="en-US" b="1" i="0" u="none" strike="noStrike" kern="0" cap="none" spc="0" normalizeH="0" baseline="0" noProof="0" dirty="0" smtClean="0">
                <a:ln>
                  <a:noFill/>
                </a:ln>
                <a:solidFill>
                  <a:srgbClr val="FFFFFF"/>
                </a:solidFill>
                <a:effectLst/>
                <a:uLnTx/>
                <a:uFillTx/>
                <a:latin typeface="TH SarabunPSK" pitchFamily="34" charset="-34"/>
                <a:cs typeface="TH SarabunPSK" pitchFamily="34" charset="-34"/>
              </a:rPr>
              <a:t>7</a:t>
            </a:r>
          </a:p>
        </p:txBody>
      </p:sp>
      <p:sp>
        <p:nvSpPr>
          <p:cNvPr id="12" name="RbSticker"/>
          <p:cNvSpPr txBox="1"/>
          <p:nvPr/>
        </p:nvSpPr>
        <p:spPr>
          <a:xfrm>
            <a:off x="638258" y="1686"/>
            <a:ext cx="5733942" cy="430887"/>
          </a:xfrm>
          <a:prstGeom prst="rect">
            <a:avLst/>
          </a:prstGeom>
          <a:noFill/>
          <a:ln w="9525">
            <a:noFill/>
          </a:ln>
        </p:spPr>
        <p:txBody>
          <a:bodyPr vert="horz" wrap="none" lIns="0" tIns="0" rIns="0" bIns="0" rtlCol="0" anchor="ctr">
            <a:spAutoFit/>
          </a:bodyPr>
          <a:lstStyle/>
          <a:p>
            <a:r>
              <a:rPr lang="th-TH" b="1" dirty="0" smtClean="0">
                <a:solidFill>
                  <a:srgbClr val="000000"/>
                </a:solidFill>
                <a:latin typeface="TH SarabunPSK"/>
                <a:cs typeface="TH SarabunPSK"/>
              </a:rPr>
              <a:t>การลงทุนโครงสร้างพื้นฐานด้านพลังงาน</a:t>
            </a:r>
            <a:r>
              <a:rPr lang="en-US" b="1" dirty="0" smtClean="0">
                <a:solidFill>
                  <a:srgbClr val="000000"/>
                </a:solidFill>
                <a:latin typeface="TH SarabunPSK"/>
                <a:cs typeface="TH SarabunPSK"/>
              </a:rPr>
              <a:t> </a:t>
            </a:r>
            <a:r>
              <a:rPr lang="th-TH" b="1" dirty="0" smtClean="0">
                <a:solidFill>
                  <a:srgbClr val="000000"/>
                </a:solidFill>
                <a:latin typeface="TH SarabunPSK"/>
                <a:cs typeface="TH SarabunPSK"/>
              </a:rPr>
              <a:t>(</a:t>
            </a:r>
            <a:r>
              <a:rPr lang="th-TH" b="1" dirty="0">
                <a:latin typeface="TH SarabunPSK" pitchFamily="34" charset="-34"/>
                <a:cs typeface="TH SarabunPSK" pitchFamily="34" charset="-34"/>
              </a:rPr>
              <a:t>ในช่วงแผนฯ </a:t>
            </a:r>
            <a:r>
              <a:rPr lang="th-TH" b="1" dirty="0" smtClean="0">
                <a:latin typeface="TH SarabunPSK" pitchFamily="34" charset="-34"/>
                <a:cs typeface="TH SarabunPSK" pitchFamily="34" charset="-34"/>
              </a:rPr>
              <a:t>12</a:t>
            </a:r>
            <a:r>
              <a:rPr lang="th-TH" b="1" dirty="0">
                <a:solidFill>
                  <a:srgbClr val="000000"/>
                </a:solidFill>
                <a:latin typeface="TH SarabunPSK"/>
                <a:cs typeface="TH SarabunPSK"/>
              </a:rPr>
              <a:t>)</a:t>
            </a:r>
            <a:endParaRPr lang="th-TH" b="1" dirty="0">
              <a:latin typeface="TH SarabunPSK" pitchFamily="34" charset="-34"/>
              <a:cs typeface="TH SarabunPSK" pitchFamily="34" charset="-34"/>
            </a:endParaRPr>
          </a:p>
        </p:txBody>
      </p:sp>
    </p:spTree>
    <p:extLst>
      <p:ext uri="{BB962C8B-B14F-4D97-AF65-F5344CB8AC3E}">
        <p14:creationId xmlns:p14="http://schemas.microsoft.com/office/powerpoint/2010/main" xmlns="" val="504918313"/>
      </p:ext>
    </p:extLst>
  </p:cSld>
  <p:clrMapOvr>
    <a:masterClrMapping/>
  </p:clrMapOvr>
  <p:transition>
    <p:fade thruBlk="1"/>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1490303" y="22645"/>
            <a:ext cx="8272536" cy="646331"/>
          </a:xfrm>
          <a:prstGeom prst="rect">
            <a:avLst/>
          </a:prstGeom>
        </p:spPr>
        <p:txBody>
          <a:bodyPr wrap="square">
            <a:spAutoFit/>
          </a:bodyPr>
          <a:lstStyle/>
          <a:p>
            <a:pPr marL="0" indent="0">
              <a:lnSpc>
                <a:spcPct val="100000"/>
              </a:lnSpc>
              <a:buFont typeface="+mj-lt"/>
              <a:buNone/>
            </a:pPr>
            <a:r>
              <a:rPr lang="th-TH" sz="3600" b="1" dirty="0">
                <a:solidFill>
                  <a:srgbClr val="0070C0"/>
                </a:solidFill>
                <a:latin typeface="TH SarabunPSK" pitchFamily="34" charset="-34"/>
                <a:ea typeface="Tahoma" pitchFamily="34" charset="0"/>
                <a:cs typeface="TH SarabunPSK" pitchFamily="34" charset="-34"/>
              </a:rPr>
              <a:t>การพัฒนาพื้นที่ ภาค </a:t>
            </a:r>
            <a:r>
              <a:rPr lang="th-TH" sz="3600" b="1" dirty="0" smtClean="0">
                <a:solidFill>
                  <a:srgbClr val="0070C0"/>
                </a:solidFill>
                <a:latin typeface="TH SarabunPSK" pitchFamily="34" charset="-34"/>
                <a:ea typeface="Tahoma" pitchFamily="34" charset="0"/>
                <a:cs typeface="TH SarabunPSK" pitchFamily="34" charset="-34"/>
              </a:rPr>
              <a:t>และการ</a:t>
            </a:r>
            <a:r>
              <a:rPr lang="th-TH" sz="3600" b="1" dirty="0">
                <a:solidFill>
                  <a:srgbClr val="0070C0"/>
                </a:solidFill>
                <a:latin typeface="TH SarabunPSK" pitchFamily="34" charset="-34"/>
                <a:ea typeface="Tahoma" pitchFamily="34" charset="0"/>
                <a:cs typeface="TH SarabunPSK" pitchFamily="34" charset="-34"/>
              </a:rPr>
              <a:t>เชื่อมโยงภูมิภาค</a:t>
            </a:r>
          </a:p>
        </p:txBody>
      </p:sp>
      <p:sp>
        <p:nvSpPr>
          <p:cNvPr id="19" name="Rounded Rectangle 18"/>
          <p:cNvSpPr/>
          <p:nvPr/>
        </p:nvSpPr>
        <p:spPr>
          <a:xfrm>
            <a:off x="179512" y="2722893"/>
            <a:ext cx="4248472" cy="1872208"/>
          </a:xfrm>
          <a:prstGeom prst="round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th-TH" dirty="0"/>
          </a:p>
        </p:txBody>
      </p:sp>
      <p:sp>
        <p:nvSpPr>
          <p:cNvPr id="20" name="Rounded Rectangle 19"/>
          <p:cNvSpPr/>
          <p:nvPr/>
        </p:nvSpPr>
        <p:spPr>
          <a:xfrm>
            <a:off x="179512" y="915566"/>
            <a:ext cx="4248472" cy="1663309"/>
          </a:xfrm>
          <a:prstGeom prst="round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th-TH" dirty="0"/>
          </a:p>
        </p:txBody>
      </p:sp>
      <p:sp>
        <p:nvSpPr>
          <p:cNvPr id="21" name="Rounded Rectangle 20"/>
          <p:cNvSpPr/>
          <p:nvPr/>
        </p:nvSpPr>
        <p:spPr>
          <a:xfrm>
            <a:off x="4716016" y="915566"/>
            <a:ext cx="4248472" cy="1663309"/>
          </a:xfrm>
          <a:prstGeom prst="round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th-TH" dirty="0"/>
          </a:p>
        </p:txBody>
      </p:sp>
      <p:sp>
        <p:nvSpPr>
          <p:cNvPr id="22" name="Rounded Rectangle 21"/>
          <p:cNvSpPr/>
          <p:nvPr/>
        </p:nvSpPr>
        <p:spPr>
          <a:xfrm>
            <a:off x="4716016" y="2722893"/>
            <a:ext cx="4248472" cy="1872208"/>
          </a:xfrm>
          <a:prstGeom prst="round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th-TH" dirty="0"/>
          </a:p>
        </p:txBody>
      </p:sp>
      <p:pic>
        <p:nvPicPr>
          <p:cNvPr id="23" name="Picture 4"/>
          <p:cNvPicPr>
            <a:picLocks noChangeAspect="1" noChangeArrowheads="1"/>
          </p:cNvPicPr>
          <p:nvPr/>
        </p:nvPicPr>
        <p:blipFill>
          <a:blip r:embed="rId2" cstate="print">
            <a:extLst>
              <a:ext uri="{28A0092B-C50C-407E-A947-70E740481C1C}">
                <a14:useLocalDpi xmlns:a14="http://schemas.microsoft.com/office/drawing/2010/main" xmlns="" val="0"/>
              </a:ext>
            </a:extLst>
          </a:blip>
          <a:srcRect/>
          <a:stretch>
            <a:fillRect/>
          </a:stretch>
        </p:blipFill>
        <p:spPr bwMode="auto">
          <a:xfrm>
            <a:off x="341200" y="1210725"/>
            <a:ext cx="1494497" cy="1224136"/>
          </a:xfrm>
          <a:prstGeom prst="roundRect">
            <a:avLst>
              <a:gd name="adj" fmla="val 8594"/>
            </a:avLst>
          </a:prstGeom>
          <a:solidFill>
            <a:srgbClr val="FFFFFF">
              <a:shade val="85000"/>
            </a:srgbClr>
          </a:solidFill>
          <a:ln>
            <a:noFill/>
          </a:ln>
          <a:effectLst>
            <a:outerShdw dist="35921" dir="2700000" algn="ctr" rotWithShape="0">
              <a:schemeClr val="bg2"/>
            </a:outerShdw>
          </a:effectLst>
          <a:extLst>
            <a:ext uri="{91240B29-F687-4F45-9708-019B960494DF}">
              <a14:hiddenLine xmlns:a14="http://schemas.microsoft.com/office/drawing/2010/main" xmlns="" w="9525">
                <a:solidFill>
                  <a:schemeClr val="tx1"/>
                </a:solidFill>
                <a:miter lim="800000"/>
                <a:headEnd/>
                <a:tailEnd/>
              </a14:hiddenLine>
            </a:ext>
          </a:extLst>
        </p:spPr>
      </p:pic>
      <p:sp>
        <p:nvSpPr>
          <p:cNvPr id="24" name="Rectangle 23"/>
          <p:cNvSpPr/>
          <p:nvPr/>
        </p:nvSpPr>
        <p:spPr>
          <a:xfrm>
            <a:off x="1907706" y="1183432"/>
            <a:ext cx="2526245" cy="1323439"/>
          </a:xfrm>
          <a:prstGeom prst="rect">
            <a:avLst/>
          </a:prstGeom>
        </p:spPr>
        <p:txBody>
          <a:bodyPr wrap="square">
            <a:spAutoFit/>
          </a:bodyPr>
          <a:lstStyle/>
          <a:p>
            <a:pPr lvl="0">
              <a:spcBef>
                <a:spcPts val="0"/>
              </a:spcBef>
            </a:pPr>
            <a:r>
              <a:rPr lang="th-TH" sz="2000" b="1" dirty="0">
                <a:latin typeface="TH SarabunPSK" pitchFamily="34" charset="-34"/>
                <a:cs typeface="TH SarabunPSK" pitchFamily="34" charset="-34"/>
              </a:rPr>
              <a:t>พื้นที่เศรษฐกิจชายแดนได้รับการพัฒนาทางด้านเศรษฐกิจ สังคม </a:t>
            </a:r>
            <a:r>
              <a:rPr lang="th-TH" sz="2000" b="1" dirty="0" smtClean="0">
                <a:latin typeface="TH SarabunPSK" pitchFamily="34" charset="-34"/>
                <a:cs typeface="TH SarabunPSK" pitchFamily="34" charset="-34"/>
              </a:rPr>
              <a:t>สิ่งแวดล้อม และ</a:t>
            </a:r>
            <a:r>
              <a:rPr lang="th-TH" sz="2000" b="1" dirty="0">
                <a:latin typeface="TH SarabunPSK" pitchFamily="34" charset="-34"/>
                <a:cs typeface="TH SarabunPSK" pitchFamily="34" charset="-34"/>
              </a:rPr>
              <a:t>ความ</a:t>
            </a:r>
            <a:r>
              <a:rPr lang="th-TH" sz="2000" b="1" dirty="0" smtClean="0">
                <a:latin typeface="TH SarabunPSK" pitchFamily="34" charset="-34"/>
                <a:cs typeface="TH SarabunPSK" pitchFamily="34" charset="-34"/>
              </a:rPr>
              <a:t>มั่นคง</a:t>
            </a:r>
            <a:br>
              <a:rPr lang="th-TH" sz="2000" b="1" dirty="0" smtClean="0">
                <a:latin typeface="TH SarabunPSK" pitchFamily="34" charset="-34"/>
                <a:cs typeface="TH SarabunPSK" pitchFamily="34" charset="-34"/>
              </a:rPr>
            </a:br>
            <a:r>
              <a:rPr lang="th-TH" sz="2000" b="1" dirty="0" smtClean="0">
                <a:latin typeface="TH SarabunPSK" pitchFamily="34" charset="-34"/>
                <a:cs typeface="TH SarabunPSK" pitchFamily="34" charset="-34"/>
              </a:rPr>
              <a:t>อย่าง</a:t>
            </a:r>
            <a:r>
              <a:rPr lang="th-TH" sz="2000" b="1" dirty="0">
                <a:latin typeface="TH SarabunPSK" pitchFamily="34" charset="-34"/>
                <a:cs typeface="TH SarabunPSK" pitchFamily="34" charset="-34"/>
              </a:rPr>
              <a:t>มี</a:t>
            </a:r>
            <a:r>
              <a:rPr lang="th-TH" sz="2000" b="1" dirty="0" smtClean="0">
                <a:latin typeface="TH SarabunPSK" pitchFamily="34" charset="-34"/>
                <a:cs typeface="TH SarabunPSK" pitchFamily="34" charset="-34"/>
              </a:rPr>
              <a:t>สมดุล</a:t>
            </a:r>
            <a:endParaRPr lang="en-US" sz="2000" b="1" dirty="0">
              <a:latin typeface="TH SarabunPSK" pitchFamily="34" charset="-34"/>
              <a:cs typeface="TH SarabunPSK" pitchFamily="34" charset="-34"/>
            </a:endParaRPr>
          </a:p>
        </p:txBody>
      </p:sp>
      <p:pic>
        <p:nvPicPr>
          <p:cNvPr id="25" name="Picture 24"/>
          <p:cNvPicPr>
            <a:picLocks noChangeAspect="1"/>
          </p:cNvPicPr>
          <p:nvPr/>
        </p:nvPicPr>
        <p:blipFill>
          <a:blip r:embed="rId3" cstate="print">
            <a:extLst>
              <a:ext uri="{28A0092B-C50C-407E-A947-70E740481C1C}">
                <a14:useLocalDpi xmlns:a14="http://schemas.microsoft.com/office/drawing/2010/main" xmlns="" val="0"/>
              </a:ext>
            </a:extLst>
          </a:blip>
          <a:stretch>
            <a:fillRect/>
          </a:stretch>
        </p:blipFill>
        <p:spPr>
          <a:xfrm>
            <a:off x="4860032" y="1183428"/>
            <a:ext cx="1533078" cy="1224136"/>
          </a:xfrm>
          <a:prstGeom prst="roundRect">
            <a:avLst>
              <a:gd name="adj" fmla="val 8594"/>
            </a:avLst>
          </a:prstGeom>
          <a:solidFill>
            <a:srgbClr val="FFFFFF">
              <a:shade val="85000"/>
            </a:srgbClr>
          </a:solidFill>
          <a:ln>
            <a:noFill/>
          </a:ln>
          <a:effectLst>
            <a:outerShdw dist="35921" dir="2700000" algn="ctr" rotWithShape="0">
              <a:schemeClr val="bg2"/>
            </a:outerShdw>
          </a:effectLst>
        </p:spPr>
      </p:pic>
      <p:sp>
        <p:nvSpPr>
          <p:cNvPr id="26" name="Rectangle 25"/>
          <p:cNvSpPr/>
          <p:nvPr/>
        </p:nvSpPr>
        <p:spPr>
          <a:xfrm>
            <a:off x="6444208" y="1138719"/>
            <a:ext cx="2571378" cy="1374735"/>
          </a:xfrm>
          <a:prstGeom prst="rect">
            <a:avLst/>
          </a:prstGeom>
        </p:spPr>
        <p:txBody>
          <a:bodyPr wrap="square">
            <a:spAutoFit/>
          </a:bodyPr>
          <a:lstStyle/>
          <a:p>
            <a:pPr lvl="0">
              <a:lnSpc>
                <a:spcPts val="2000"/>
              </a:lnSpc>
              <a:spcBef>
                <a:spcPts val="0"/>
              </a:spcBef>
            </a:pPr>
            <a:r>
              <a:rPr lang="th-TH" sz="2000" b="1" dirty="0">
                <a:latin typeface="TH SarabunPSK" pitchFamily="34" charset="-34"/>
                <a:cs typeface="TH SarabunPSK" pitchFamily="34" charset="-34"/>
              </a:rPr>
              <a:t>พื้นที่ฐานเศรษฐกิจหลักมีการปรับระบบการผลิตให้เป็นมิตรต่อสิ่งแวดล้อม ควบคู่กับการพัฒนาโครงสร้างพื้นฐานที่มีประสิทธิภาพและเพียงพอ</a:t>
            </a:r>
            <a:endParaRPr lang="en-US" sz="2000" b="1" dirty="0">
              <a:latin typeface="TH SarabunPSK" pitchFamily="34" charset="-34"/>
              <a:cs typeface="TH SarabunPSK" pitchFamily="34" charset="-34"/>
            </a:endParaRPr>
          </a:p>
        </p:txBody>
      </p:sp>
      <p:pic>
        <p:nvPicPr>
          <p:cNvPr id="27" name="Picture 3"/>
          <p:cNvPicPr>
            <a:picLocks noChangeAspect="1" noChangeArrowheads="1"/>
          </p:cNvPicPr>
          <p:nvPr/>
        </p:nvPicPr>
        <p:blipFill>
          <a:blip r:embed="rId4" cstate="print">
            <a:extLst>
              <a:ext uri="{28A0092B-C50C-407E-A947-70E740481C1C}">
                <a14:useLocalDpi xmlns:a14="http://schemas.microsoft.com/office/drawing/2010/main" xmlns="" val="0"/>
              </a:ext>
            </a:extLst>
          </a:blip>
          <a:srcRect/>
          <a:stretch>
            <a:fillRect/>
          </a:stretch>
        </p:blipFill>
        <p:spPr bwMode="auto">
          <a:xfrm>
            <a:off x="323529" y="3004673"/>
            <a:ext cx="1485113" cy="1230384"/>
          </a:xfrm>
          <a:prstGeom prst="roundRect">
            <a:avLst>
              <a:gd name="adj" fmla="val 8594"/>
            </a:avLst>
          </a:prstGeom>
          <a:solidFill>
            <a:srgbClr val="FFFFFF">
              <a:shade val="85000"/>
            </a:srgbClr>
          </a:solidFill>
          <a:ln>
            <a:noFill/>
          </a:ln>
          <a:effectLst>
            <a:outerShdw dist="35921" dir="2700000" algn="ctr" rotWithShape="0">
              <a:schemeClr val="bg2"/>
            </a:outerShdw>
          </a:effectLst>
          <a:extLst>
            <a:ext uri="{91240B29-F687-4F45-9708-019B960494DF}">
              <a14:hiddenLine xmlns:a14="http://schemas.microsoft.com/office/drawing/2010/main" xmlns="" w="9525">
                <a:solidFill>
                  <a:schemeClr val="tx1"/>
                </a:solidFill>
                <a:miter lim="800000"/>
                <a:headEnd/>
                <a:tailEnd/>
              </a14:hiddenLine>
            </a:ext>
          </a:extLst>
        </p:spPr>
      </p:pic>
      <p:sp>
        <p:nvSpPr>
          <p:cNvPr id="28" name="Rectangle 27"/>
          <p:cNvSpPr/>
          <p:nvPr/>
        </p:nvSpPr>
        <p:spPr>
          <a:xfrm>
            <a:off x="1888714" y="2788128"/>
            <a:ext cx="2539270" cy="1797928"/>
          </a:xfrm>
          <a:prstGeom prst="rect">
            <a:avLst/>
          </a:prstGeom>
        </p:spPr>
        <p:txBody>
          <a:bodyPr wrap="square">
            <a:spAutoFit/>
          </a:bodyPr>
          <a:lstStyle/>
          <a:p>
            <a:pPr lvl="0">
              <a:lnSpc>
                <a:spcPts val="1900"/>
              </a:lnSpc>
              <a:spcBef>
                <a:spcPts val="0"/>
              </a:spcBef>
            </a:pPr>
            <a:r>
              <a:rPr lang="th-TH" sz="2000" b="1" dirty="0" smtClean="0">
                <a:latin typeface="TH SarabunPSK" pitchFamily="34" charset="-34"/>
                <a:cs typeface="TH SarabunPSK" pitchFamily="34" charset="-34"/>
              </a:rPr>
              <a:t>เมือง</a:t>
            </a:r>
            <a:r>
              <a:rPr lang="th-TH" sz="2000" b="1" dirty="0">
                <a:latin typeface="TH SarabunPSK" pitchFamily="34" charset="-34"/>
                <a:cs typeface="TH SarabunPSK" pitchFamily="34" charset="-34"/>
              </a:rPr>
              <a:t>ศูนย์กลางความเจริญในภูมิภาคได้รับการพัฒนาให้เป็นเมืองน่าอยู่และปลอดภัยที่สามารถตอบสนองต่อการดำรงชีวิตของคนในพื้นที่ </a:t>
            </a:r>
            <a:r>
              <a:rPr lang="th-TH" sz="2000" b="1" dirty="0" smtClean="0">
                <a:latin typeface="TH SarabunPSK" pitchFamily="34" charset="-34"/>
                <a:cs typeface="TH SarabunPSK" pitchFamily="34" charset="-34"/>
              </a:rPr>
              <a:t>และ</a:t>
            </a:r>
            <a:r>
              <a:rPr lang="th-TH" sz="2000" b="1" dirty="0">
                <a:latin typeface="TH SarabunPSK" pitchFamily="34" charset="-34"/>
                <a:cs typeface="TH SarabunPSK" pitchFamily="34" charset="-34"/>
              </a:rPr>
              <a:t>มีการพัฒนาระบบขนส่งสาธารณะในเขตเมืองอย่างทั่วถึง </a:t>
            </a:r>
          </a:p>
        </p:txBody>
      </p:sp>
      <p:pic>
        <p:nvPicPr>
          <p:cNvPr id="29" name="Picture 28" descr="05CA14K8W6CAEFMBBACA9QFERECABZMBH7CARRHJIQCAAMTE12CA62D8YFCAA9T0S5CA6UK5SOCAN1VRTUCAB8NNPACATPXVI8CASIPYW4CA8L38SICANAHNY1CADNUIDECAG9W5T9CA98NJFYCAII1UJW.jpg"/>
          <p:cNvPicPr preferRelativeResize="0">
            <a:picLocks/>
          </p:cNvPicPr>
          <p:nvPr/>
        </p:nvPicPr>
        <p:blipFill>
          <a:blip r:embed="rId5" cstate="print"/>
          <a:stretch>
            <a:fillRect/>
          </a:stretch>
        </p:blipFill>
        <p:spPr>
          <a:xfrm>
            <a:off x="4860032" y="2983631"/>
            <a:ext cx="1533078" cy="1251431"/>
          </a:xfrm>
          <a:prstGeom prst="roundRect">
            <a:avLst>
              <a:gd name="adj" fmla="val 8594"/>
            </a:avLst>
          </a:prstGeom>
          <a:solidFill>
            <a:srgbClr val="FFFFFF">
              <a:shade val="85000"/>
            </a:srgbClr>
          </a:solidFill>
          <a:ln>
            <a:noFill/>
          </a:ln>
          <a:effectLst>
            <a:outerShdw dist="35921" dir="2700000" algn="ctr" rotWithShape="0">
              <a:schemeClr val="bg2"/>
            </a:outerShdw>
          </a:effectLst>
        </p:spPr>
      </p:pic>
      <p:sp>
        <p:nvSpPr>
          <p:cNvPr id="30" name="Rectangle 29"/>
          <p:cNvSpPr/>
          <p:nvPr/>
        </p:nvSpPr>
        <p:spPr>
          <a:xfrm>
            <a:off x="6357106" y="2866905"/>
            <a:ext cx="2607382" cy="1631216"/>
          </a:xfrm>
          <a:prstGeom prst="rect">
            <a:avLst/>
          </a:prstGeom>
        </p:spPr>
        <p:txBody>
          <a:bodyPr wrap="square">
            <a:spAutoFit/>
          </a:bodyPr>
          <a:lstStyle/>
          <a:p>
            <a:pPr lvl="0">
              <a:lnSpc>
                <a:spcPts val="2000"/>
              </a:lnSpc>
              <a:spcBef>
                <a:spcPts val="0"/>
              </a:spcBef>
            </a:pPr>
            <a:r>
              <a:rPr lang="th-TH" sz="2000" b="1" dirty="0">
                <a:latin typeface="TH SarabunPSK" pitchFamily="34" charset="-34"/>
                <a:cs typeface="TH SarabunPSK" pitchFamily="34" charset="-34"/>
              </a:rPr>
              <a:t>การเชื่อมโยงภูมิภาคด้วยการพัฒนาระบบโครงสร้างพื้นฐานที่มีคุณภาพและทั่วถึง รวมทั้งจัดระบบอำนวยความสะดวกด้านการค้าและการผ่านแดนที่มีความคล่องตัวในประตูการค้าชายแดนที่สำคัญ</a:t>
            </a:r>
            <a:endParaRPr lang="en-US" sz="2000" b="1" dirty="0">
              <a:latin typeface="TH SarabunPSK" pitchFamily="34" charset="-34"/>
              <a:cs typeface="TH SarabunPSK" pitchFamily="34" charset="-34"/>
            </a:endParaRPr>
          </a:p>
        </p:txBody>
      </p:sp>
      <p:sp>
        <p:nvSpPr>
          <p:cNvPr id="31" name="Title 1"/>
          <p:cNvSpPr txBox="1">
            <a:spLocks/>
          </p:cNvSpPr>
          <p:nvPr/>
        </p:nvSpPr>
        <p:spPr>
          <a:xfrm>
            <a:off x="43706" y="125880"/>
            <a:ext cx="9100294" cy="535531"/>
          </a:xfrm>
          <a:prstGeom prst="rect">
            <a:avLst/>
          </a:prstGeom>
          <a:ln>
            <a:noFill/>
          </a:ln>
          <a:effectLst/>
          <a:scene3d>
            <a:camera prst="orthographicFront">
              <a:rot lat="0" lon="0" rev="0"/>
            </a:camera>
            <a:lightRig rig="brightRoom" dir="t">
              <a:rot lat="0" lon="0" rev="600000"/>
            </a:lightRig>
          </a:scene3d>
          <a:sp3d prstMaterial="metal">
            <a:bevelT w="38100" h="57150" prst="angle"/>
          </a:sp3d>
        </p:spPr>
        <p:txBody>
          <a:bodyPr wrap="square" anchor="ctr">
            <a:spAutoFit/>
          </a:bodyPr>
          <a:lstStyle/>
          <a:p>
            <a:pPr indent="-2509838">
              <a:lnSpc>
                <a:spcPct val="80000"/>
              </a:lnSpc>
              <a:spcBef>
                <a:spcPct val="50000"/>
              </a:spcBef>
              <a:defRPr/>
            </a:pPr>
            <a:r>
              <a:rPr lang="th-TH" sz="3600" b="1" dirty="0" smtClean="0">
                <a:latin typeface="TH SarabunPSK" pitchFamily="34" charset="-34"/>
                <a:ea typeface="Tahoma" pitchFamily="34" charset="0"/>
                <a:cs typeface="TH SarabunPSK" pitchFamily="34" charset="-34"/>
              </a:rPr>
              <a:t>เป้าหมาย </a:t>
            </a:r>
            <a:r>
              <a:rPr lang="en-US" sz="3600" b="1" dirty="0" smtClean="0">
                <a:latin typeface="TH SarabunPSK" pitchFamily="34" charset="-34"/>
                <a:ea typeface="Tahoma" pitchFamily="34" charset="0"/>
                <a:cs typeface="TH SarabunPSK" pitchFamily="34" charset="-34"/>
              </a:rPr>
              <a:t>: </a:t>
            </a:r>
            <a:endParaRPr lang="th-TH" sz="3600" b="1" dirty="0">
              <a:latin typeface="TH SarabunPSK" pitchFamily="34" charset="-34"/>
              <a:ea typeface="Tahoma" pitchFamily="34" charset="0"/>
              <a:cs typeface="TH SarabunPSK" pitchFamily="34" charset="-34"/>
            </a:endParaRPr>
          </a:p>
        </p:txBody>
      </p:sp>
    </p:spTree>
    <p:extLst>
      <p:ext uri="{BB962C8B-B14F-4D97-AF65-F5344CB8AC3E}">
        <p14:creationId xmlns:p14="http://schemas.microsoft.com/office/powerpoint/2010/main" xmlns="" val="3565922632"/>
      </p:ext>
    </p:extLst>
  </p:cSld>
  <p:clrMapOvr>
    <a:masterClrMapping/>
  </p:clrMapOvr>
  <p:transition>
    <p:fade thruBlk="1"/>
  </p:transition>
  <p:timing>
    <p:tnLst>
      <p:par>
        <p:cTn id="1" dur="indefinite" restart="never" nodeType="tmRoot"/>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590872" y="1786508"/>
            <a:ext cx="8229600" cy="857250"/>
          </a:xfrm>
          <a:solidFill>
            <a:schemeClr val="accent1">
              <a:lumMod val="20000"/>
              <a:lumOff val="80000"/>
            </a:schemeClr>
          </a:solidFill>
          <a:ln w="19050">
            <a:solidFill>
              <a:schemeClr val="accent1"/>
            </a:solidFill>
          </a:ln>
        </p:spPr>
        <p:txBody>
          <a:bodyPr>
            <a:normAutofit/>
          </a:bodyPr>
          <a:lstStyle/>
          <a:p>
            <a:r>
              <a:rPr lang="th-TH" sz="3600" b="1" dirty="0" smtClean="0">
                <a:solidFill>
                  <a:schemeClr val="accent1"/>
                </a:solidFill>
                <a:latin typeface="TH SarabunPSK" pitchFamily="34" charset="-34"/>
                <a:cs typeface="TH SarabunPSK" pitchFamily="34" charset="-34"/>
              </a:rPr>
              <a:t>ข้อมูล </a:t>
            </a:r>
            <a:r>
              <a:rPr lang="en-US" sz="3600" b="1" dirty="0" smtClean="0">
                <a:solidFill>
                  <a:schemeClr val="accent1"/>
                </a:solidFill>
                <a:latin typeface="TH SarabunPSK" pitchFamily="34" charset="-34"/>
                <a:cs typeface="TH SarabunPSK" pitchFamily="34" charset="-34"/>
              </a:rPr>
              <a:t>Back-Up </a:t>
            </a:r>
            <a:r>
              <a:rPr lang="th-TH" sz="3600" b="1" dirty="0" smtClean="0">
                <a:solidFill>
                  <a:schemeClr val="accent1"/>
                </a:solidFill>
                <a:latin typeface="TH SarabunPSK" pitchFamily="34" charset="-34"/>
                <a:cs typeface="TH SarabunPSK" pitchFamily="34" charset="-34"/>
              </a:rPr>
              <a:t>โลจิสติกส์</a:t>
            </a:r>
            <a:endParaRPr lang="th-TH" sz="3600" b="1" dirty="0">
              <a:solidFill>
                <a:schemeClr val="accent1"/>
              </a:solidFill>
              <a:latin typeface="TH SarabunPSK" pitchFamily="34" charset="-34"/>
              <a:cs typeface="TH SarabunPSK" pitchFamily="34" charset="-34"/>
            </a:endParaRPr>
          </a:p>
        </p:txBody>
      </p:sp>
    </p:spTree>
    <p:extLst>
      <p:ext uri="{BB962C8B-B14F-4D97-AF65-F5344CB8AC3E}">
        <p14:creationId xmlns:p14="http://schemas.microsoft.com/office/powerpoint/2010/main" xmlns="" val="2836949363"/>
      </p:ext>
    </p:extLst>
  </p:cSld>
  <p:clrMapOvr>
    <a:masterClrMapping/>
  </p:clrMapOvr>
  <p:transition spd="slow">
    <p:fade thruBlk="1"/>
  </p:transition>
  <p:timing>
    <p:tnLst>
      <p:par>
        <p:cTn id="1" dur="indefinite" restart="never" nodeType="tmRoot"/>
      </p:par>
    </p:tn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p:cNvSpPr/>
          <p:nvPr/>
        </p:nvSpPr>
        <p:spPr>
          <a:xfrm>
            <a:off x="179512" y="2049680"/>
            <a:ext cx="8964488" cy="1389754"/>
          </a:xfrm>
          <a:prstGeom prst="rect">
            <a:avLst/>
          </a:prstGeom>
          <a:solidFill>
            <a:schemeClr val="tx2">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171450" indent="-171450">
              <a:lnSpc>
                <a:spcPts val="1800"/>
              </a:lnSpc>
              <a:defRPr/>
            </a:pPr>
            <a:endParaRPr lang="th-TH" sz="2000" b="1" dirty="0">
              <a:solidFill>
                <a:srgbClr val="000066"/>
              </a:solidFill>
              <a:latin typeface="TH SarabunPSK" pitchFamily="34" charset="-34"/>
              <a:cs typeface="TH SarabunPSK" pitchFamily="34" charset="-34"/>
            </a:endParaRPr>
          </a:p>
        </p:txBody>
      </p:sp>
      <p:sp>
        <p:nvSpPr>
          <p:cNvPr id="5" name="Rounded Rectangle 4"/>
          <p:cNvSpPr/>
          <p:nvPr/>
        </p:nvSpPr>
        <p:spPr>
          <a:xfrm>
            <a:off x="179389" y="915551"/>
            <a:ext cx="8713787" cy="1080135"/>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266700" indent="-266700" algn="thaiDist">
              <a:lnSpc>
                <a:spcPts val="1800"/>
              </a:lnSpc>
              <a:spcBef>
                <a:spcPts val="1800"/>
              </a:spcBef>
              <a:buFont typeface="Calibri" pitchFamily="34" charset="0"/>
              <a:buAutoNum type="arabicParenR"/>
              <a:defRPr/>
            </a:pPr>
            <a:r>
              <a:rPr lang="th-TH" sz="2000" b="1" dirty="0">
                <a:solidFill>
                  <a:schemeClr val="tx1"/>
                </a:solidFill>
                <a:latin typeface="TH SarabunPSK" pitchFamily="34" charset="-34"/>
                <a:cs typeface="TH SarabunPSK" pitchFamily="34" charset="-34"/>
              </a:rPr>
              <a:t>ตำแหน่งทางยุทธศาสตร์ (</a:t>
            </a:r>
            <a:r>
              <a:rPr lang="en-US" sz="2000" b="1" dirty="0">
                <a:solidFill>
                  <a:schemeClr val="tx1"/>
                </a:solidFill>
                <a:latin typeface="TH SarabunPSK" pitchFamily="34" charset="-34"/>
                <a:cs typeface="TH SarabunPSK" pitchFamily="34" charset="-34"/>
              </a:rPr>
              <a:t>Strategic position)</a:t>
            </a:r>
            <a:r>
              <a:rPr lang="en-US" sz="1800" dirty="0">
                <a:solidFill>
                  <a:schemeClr val="tx1"/>
                </a:solidFill>
                <a:latin typeface="TH SarabunPSK" pitchFamily="34" charset="-34"/>
                <a:cs typeface="TH SarabunPSK" pitchFamily="34" charset="-34"/>
              </a:rPr>
              <a:t> </a:t>
            </a:r>
            <a:r>
              <a:rPr lang="th-TH" sz="1800" dirty="0">
                <a:solidFill>
                  <a:schemeClr val="tx1"/>
                </a:solidFill>
                <a:latin typeface="TH SarabunPSK" pitchFamily="34" charset="-34"/>
                <a:cs typeface="TH SarabunPSK" pitchFamily="34" charset="-34"/>
              </a:rPr>
              <a:t>คือ </a:t>
            </a:r>
            <a:r>
              <a:rPr lang="th-TH" sz="1800" i="1" dirty="0">
                <a:solidFill>
                  <a:srgbClr val="0000FF"/>
                </a:solidFill>
                <a:latin typeface="TH SarabunPSK" pitchFamily="34" charset="-34"/>
                <a:cs typeface="TH SarabunPSK" pitchFamily="34" charset="-34"/>
              </a:rPr>
              <a:t>ประเทศไทยควรวางบทบาทตนเองเป็นศูนย์กลางธุรกรรมการค้าและบริการของกลุ่มประเทศลุ่มแม่น้ำโขงและเป็นประตูการค้าสู่ตลาดเอเซีย </a:t>
            </a:r>
            <a:r>
              <a:rPr lang="th-TH" sz="1800" i="1" dirty="0">
                <a:solidFill>
                  <a:schemeClr val="tx1"/>
                </a:solidFill>
                <a:latin typeface="TH SarabunPSK" pitchFamily="34" charset="-34"/>
                <a:cs typeface="TH SarabunPSK" pitchFamily="34" charset="-34"/>
              </a:rPr>
              <a:t>(</a:t>
            </a:r>
            <a:r>
              <a:rPr lang="en-US" sz="1800" dirty="0">
                <a:solidFill>
                  <a:schemeClr val="tx1"/>
                </a:solidFill>
                <a:latin typeface="TH SarabunPSK" pitchFamily="34" charset="-34"/>
                <a:cs typeface="TH SarabunPSK" pitchFamily="34" charset="-34"/>
              </a:rPr>
              <a:t>Trade and Service Hub of GMS,  and Gateway to Asia</a:t>
            </a:r>
            <a:r>
              <a:rPr lang="th-TH" sz="1800" dirty="0">
                <a:solidFill>
                  <a:schemeClr val="tx1"/>
                </a:solidFill>
                <a:latin typeface="TH SarabunPSK" pitchFamily="34" charset="-34"/>
                <a:cs typeface="TH SarabunPSK" pitchFamily="34" charset="-34"/>
              </a:rPr>
              <a:t>) เพื่อให้สอดคล้องกับศักยภาพและหลักความได้เปรียบโดยเปรียบเทียบ (</a:t>
            </a:r>
            <a:r>
              <a:rPr lang="en-US" sz="1800" dirty="0">
                <a:solidFill>
                  <a:schemeClr val="tx1"/>
                </a:solidFill>
                <a:latin typeface="TH SarabunPSK" pitchFamily="34" charset="-34"/>
                <a:cs typeface="TH SarabunPSK" pitchFamily="34" charset="-34"/>
              </a:rPr>
              <a:t>Comparative advantage) </a:t>
            </a:r>
            <a:r>
              <a:rPr lang="th-TH" sz="1800" dirty="0">
                <a:solidFill>
                  <a:schemeClr val="tx1"/>
                </a:solidFill>
                <a:latin typeface="TH SarabunPSK" pitchFamily="34" charset="-34"/>
                <a:cs typeface="TH SarabunPSK" pitchFamily="34" charset="-34"/>
              </a:rPr>
              <a:t>และนำไปสู่ความร่วมมือและการเติบโตที่ยั่งยืนร่วมกันในภูมิภาค</a:t>
            </a:r>
            <a:endParaRPr lang="en-US" sz="1800" dirty="0">
              <a:solidFill>
                <a:schemeClr val="tx1"/>
              </a:solidFill>
              <a:latin typeface="TH SarabunPSK" pitchFamily="34" charset="-34"/>
              <a:cs typeface="TH SarabunPSK" pitchFamily="34" charset="-34"/>
            </a:endParaRPr>
          </a:p>
        </p:txBody>
      </p:sp>
      <p:sp>
        <p:nvSpPr>
          <p:cNvPr id="8" name="Rounded Rectangle 7"/>
          <p:cNvSpPr/>
          <p:nvPr/>
        </p:nvSpPr>
        <p:spPr>
          <a:xfrm>
            <a:off x="179389" y="2049100"/>
            <a:ext cx="8713787" cy="1458754"/>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268288" indent="-268288" algn="thaiDist">
              <a:lnSpc>
                <a:spcPts val="1800"/>
              </a:lnSpc>
              <a:spcBef>
                <a:spcPts val="1800"/>
              </a:spcBef>
              <a:defRPr/>
            </a:pPr>
            <a:r>
              <a:rPr lang="th-TH" sz="1800" b="1" dirty="0">
                <a:solidFill>
                  <a:schemeClr val="tx1"/>
                </a:solidFill>
                <a:latin typeface="TH SarabunPSK" pitchFamily="34" charset="-34"/>
                <a:cs typeface="TH SarabunPSK" pitchFamily="34" charset="-34"/>
              </a:rPr>
              <a:t>2</a:t>
            </a:r>
            <a:r>
              <a:rPr lang="en-US" sz="1800" b="1" dirty="0">
                <a:solidFill>
                  <a:schemeClr val="tx1"/>
                </a:solidFill>
                <a:latin typeface="TH SarabunPSK" pitchFamily="34" charset="-34"/>
                <a:cs typeface="TH SarabunPSK" pitchFamily="34" charset="-34"/>
              </a:rPr>
              <a:t>)</a:t>
            </a:r>
            <a:r>
              <a:rPr lang="th-TH" sz="1800" b="1" dirty="0">
                <a:solidFill>
                  <a:schemeClr val="tx1"/>
                </a:solidFill>
                <a:latin typeface="TH SarabunPSK" pitchFamily="34" charset="-34"/>
                <a:cs typeface="TH SarabunPSK" pitchFamily="34" charset="-34"/>
              </a:rPr>
              <a:t>	</a:t>
            </a:r>
            <a:r>
              <a:rPr lang="th-TH" sz="2000" b="1" dirty="0">
                <a:solidFill>
                  <a:schemeClr val="tx1"/>
                </a:solidFill>
                <a:latin typeface="TH SarabunPSK" pitchFamily="34" charset="-34"/>
                <a:cs typeface="TH SarabunPSK" pitchFamily="34" charset="-34"/>
              </a:rPr>
              <a:t>เป้าประสงค์เชิงยุทธศาสตร์ (</a:t>
            </a:r>
            <a:r>
              <a:rPr lang="en-US" sz="2000" b="1" dirty="0">
                <a:solidFill>
                  <a:schemeClr val="tx1"/>
                </a:solidFill>
                <a:latin typeface="TH SarabunPSK" pitchFamily="34" charset="-34"/>
                <a:cs typeface="TH SarabunPSK" pitchFamily="34" charset="-34"/>
              </a:rPr>
              <a:t>Strategic Objectives)</a:t>
            </a:r>
            <a:r>
              <a:rPr lang="en-US" sz="1800" b="1" dirty="0">
                <a:solidFill>
                  <a:schemeClr val="tx1"/>
                </a:solidFill>
                <a:latin typeface="TH SarabunPSK" pitchFamily="34" charset="-34"/>
                <a:cs typeface="TH SarabunPSK" pitchFamily="34" charset="-34"/>
              </a:rPr>
              <a:t> </a:t>
            </a:r>
            <a:r>
              <a:rPr lang="th-TH" sz="1800" b="1" dirty="0">
                <a:solidFill>
                  <a:schemeClr val="tx1"/>
                </a:solidFill>
                <a:latin typeface="TH SarabunPSK" pitchFamily="34" charset="-34"/>
                <a:cs typeface="TH SarabunPSK" pitchFamily="34" charset="-34"/>
              </a:rPr>
              <a:t>ประกอบด้วย 3 ส่วนคือ (1)</a:t>
            </a:r>
            <a:r>
              <a:rPr lang="th-TH" sz="1800" i="1" dirty="0">
                <a:solidFill>
                  <a:srgbClr val="0000FF"/>
                </a:solidFill>
                <a:latin typeface="TH SarabunPSK" pitchFamily="34" charset="-34"/>
                <a:cs typeface="TH SarabunPSK" pitchFamily="34" charset="-34"/>
              </a:rPr>
              <a:t> การเพิ่มประสิทธิภาพและความสามารถในการตอบสนองลูกค้าของระบบโลจิสติกส์ </a:t>
            </a:r>
            <a:r>
              <a:rPr lang="th-TH" sz="1800" dirty="0">
                <a:solidFill>
                  <a:schemeClr val="tx1"/>
                </a:solidFill>
                <a:latin typeface="TH SarabunPSK" pitchFamily="34" charset="-34"/>
                <a:cs typeface="TH SarabunPSK" pitchFamily="34" charset="-34"/>
              </a:rPr>
              <a:t>(</a:t>
            </a:r>
            <a:r>
              <a:rPr lang="en-US" sz="1800" dirty="0">
                <a:solidFill>
                  <a:schemeClr val="tx1"/>
                </a:solidFill>
                <a:latin typeface="TH SarabunPSK" pitchFamily="34" charset="-34"/>
                <a:cs typeface="TH SarabunPSK" pitchFamily="34" charset="-34"/>
              </a:rPr>
              <a:t>Logistics efficiency and responsiveness) </a:t>
            </a:r>
            <a:r>
              <a:rPr lang="th-TH" sz="1800" dirty="0">
                <a:solidFill>
                  <a:schemeClr val="tx1"/>
                </a:solidFill>
                <a:latin typeface="TH SarabunPSK" pitchFamily="34" charset="-34"/>
                <a:cs typeface="TH SarabunPSK" pitchFamily="34" charset="-34"/>
              </a:rPr>
              <a:t>ทั้งในระดับสถานประกอบการและระดับกลไกและกระบวนการอำนวยความสะดวกทางการค้าของประเทศ (2) </a:t>
            </a:r>
            <a:r>
              <a:rPr lang="th-TH" sz="1800" i="1" dirty="0">
                <a:solidFill>
                  <a:srgbClr val="0000FF"/>
                </a:solidFill>
                <a:latin typeface="TH SarabunPSK" pitchFamily="34" charset="-34"/>
                <a:cs typeface="TH SarabunPSK" pitchFamily="34" charset="-34"/>
              </a:rPr>
              <a:t>การสร้างความเข้มแข็งและมูลค่าเพิ่มให้กับธุรกิจไทยในโซ่อุปทาน </a:t>
            </a:r>
            <a:r>
              <a:rPr lang="th-TH" sz="1800" dirty="0">
                <a:solidFill>
                  <a:schemeClr val="tx1"/>
                </a:solidFill>
                <a:latin typeface="TH SarabunPSK" pitchFamily="34" charset="-34"/>
                <a:cs typeface="TH SarabunPSK" pitchFamily="34" charset="-34"/>
              </a:rPr>
              <a:t>(</a:t>
            </a:r>
            <a:r>
              <a:rPr lang="en-US" sz="1800" dirty="0">
                <a:solidFill>
                  <a:schemeClr val="tx1"/>
                </a:solidFill>
                <a:latin typeface="TH SarabunPSK" pitchFamily="34" charset="-34"/>
                <a:cs typeface="TH SarabunPSK" pitchFamily="34" charset="-34"/>
              </a:rPr>
              <a:t>Value creation) </a:t>
            </a:r>
            <a:r>
              <a:rPr lang="th-TH" sz="1800" dirty="0">
                <a:solidFill>
                  <a:schemeClr val="tx1"/>
                </a:solidFill>
                <a:latin typeface="TH SarabunPSK" pitchFamily="34" charset="-34"/>
                <a:cs typeface="TH SarabunPSK" pitchFamily="34" charset="-34"/>
              </a:rPr>
              <a:t>และ (3) </a:t>
            </a:r>
            <a:r>
              <a:rPr lang="th-TH" sz="1800" i="1" dirty="0">
                <a:solidFill>
                  <a:srgbClr val="0000FF"/>
                </a:solidFill>
                <a:latin typeface="TH SarabunPSK" pitchFamily="34" charset="-34"/>
                <a:cs typeface="TH SarabunPSK" pitchFamily="34" charset="-34"/>
              </a:rPr>
              <a:t>การเติบโตที่ช่วยลดความเหลื่อมล้ำทางเศรษฐกิจทั้งในระดับประเทศและในระดับภูมิภาค </a:t>
            </a:r>
            <a:r>
              <a:rPr lang="th-TH" sz="1800" dirty="0">
                <a:solidFill>
                  <a:schemeClr val="tx1"/>
                </a:solidFill>
                <a:latin typeface="TH SarabunPSK" pitchFamily="34" charset="-34"/>
                <a:cs typeface="TH SarabunPSK" pitchFamily="34" charset="-34"/>
              </a:rPr>
              <a:t>(</a:t>
            </a:r>
            <a:r>
              <a:rPr lang="en-US" sz="1800" dirty="0">
                <a:solidFill>
                  <a:schemeClr val="tx1"/>
                </a:solidFill>
                <a:latin typeface="TH SarabunPSK" pitchFamily="34" charset="-34"/>
                <a:cs typeface="TH SarabunPSK" pitchFamily="34" charset="-34"/>
              </a:rPr>
              <a:t>Regional inclusive growth) </a:t>
            </a:r>
          </a:p>
        </p:txBody>
      </p:sp>
      <p:sp>
        <p:nvSpPr>
          <p:cNvPr id="9" name="Rounded Rectangle 8"/>
          <p:cNvSpPr/>
          <p:nvPr/>
        </p:nvSpPr>
        <p:spPr>
          <a:xfrm>
            <a:off x="179389" y="3490437"/>
            <a:ext cx="8713787" cy="1457325"/>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268288" indent="-268288" algn="thaiDist">
              <a:lnSpc>
                <a:spcPts val="1800"/>
              </a:lnSpc>
              <a:spcBef>
                <a:spcPts val="1800"/>
              </a:spcBef>
              <a:defRPr/>
            </a:pPr>
            <a:r>
              <a:rPr lang="en-US" sz="1800" b="1" dirty="0">
                <a:solidFill>
                  <a:schemeClr val="tx1"/>
                </a:solidFill>
                <a:latin typeface="TH SarabunPSK" pitchFamily="34" charset="-34"/>
                <a:cs typeface="TH SarabunPSK" pitchFamily="34" charset="-34"/>
              </a:rPr>
              <a:t>3)</a:t>
            </a:r>
            <a:r>
              <a:rPr lang="th-TH" sz="1800" b="1" dirty="0">
                <a:solidFill>
                  <a:schemeClr val="tx1"/>
                </a:solidFill>
                <a:latin typeface="TH SarabunPSK" pitchFamily="34" charset="-34"/>
                <a:cs typeface="TH SarabunPSK" pitchFamily="34" charset="-34"/>
              </a:rPr>
              <a:t>	</a:t>
            </a:r>
            <a:r>
              <a:rPr lang="th-TH" sz="2000" b="1" dirty="0">
                <a:solidFill>
                  <a:schemeClr val="tx1"/>
                </a:solidFill>
                <a:latin typeface="TH SarabunPSK" pitchFamily="34" charset="-34"/>
                <a:cs typeface="TH SarabunPSK" pitchFamily="34" charset="-34"/>
              </a:rPr>
              <a:t>ผลสัมฤทธิ์สุดท้าย (</a:t>
            </a:r>
            <a:r>
              <a:rPr lang="en-US" sz="2000" b="1" dirty="0" smtClean="0">
                <a:solidFill>
                  <a:schemeClr val="tx1"/>
                </a:solidFill>
                <a:latin typeface="TH SarabunPSK" pitchFamily="34" charset="-34"/>
                <a:cs typeface="TH SarabunPSK" pitchFamily="34" charset="-34"/>
              </a:rPr>
              <a:t>Ultimate Goals</a:t>
            </a:r>
            <a:r>
              <a:rPr lang="en-US" sz="2000" b="1" dirty="0">
                <a:solidFill>
                  <a:schemeClr val="tx1"/>
                </a:solidFill>
                <a:latin typeface="TH SarabunPSK" pitchFamily="34" charset="-34"/>
                <a:cs typeface="TH SarabunPSK" pitchFamily="34" charset="-34"/>
              </a:rPr>
              <a:t>)</a:t>
            </a:r>
            <a:r>
              <a:rPr lang="en-US" sz="1800" b="1" dirty="0">
                <a:solidFill>
                  <a:schemeClr val="tx1"/>
                </a:solidFill>
                <a:latin typeface="TH SarabunPSK" pitchFamily="34" charset="-34"/>
                <a:cs typeface="TH SarabunPSK" pitchFamily="34" charset="-34"/>
              </a:rPr>
              <a:t> </a:t>
            </a:r>
            <a:r>
              <a:rPr lang="th-TH" sz="1800" b="1" dirty="0">
                <a:solidFill>
                  <a:schemeClr val="tx1"/>
                </a:solidFill>
                <a:latin typeface="TH SarabunPSK" pitchFamily="34" charset="-34"/>
                <a:cs typeface="TH SarabunPSK" pitchFamily="34" charset="-34"/>
              </a:rPr>
              <a:t>คือ</a:t>
            </a:r>
            <a:r>
              <a:rPr lang="th-TH" sz="1800" b="1" i="1" dirty="0">
                <a:solidFill>
                  <a:srgbClr val="0000FF"/>
                </a:solidFill>
                <a:latin typeface="TH SarabunPSK" pitchFamily="34" charset="-34"/>
                <a:cs typeface="TH SarabunPSK" pitchFamily="34" charset="-34"/>
              </a:rPr>
              <a:t> การสร้างขีดความสามารถในการแข่งขันของภาคธุรกิจ</a:t>
            </a:r>
            <a:r>
              <a:rPr lang="th-TH" sz="1800" b="1" i="1" dirty="0" smtClean="0">
                <a:solidFill>
                  <a:srgbClr val="0000FF"/>
                </a:solidFill>
                <a:latin typeface="TH SarabunPSK" pitchFamily="34" charset="-34"/>
                <a:cs typeface="TH SarabunPSK" pitchFamily="34" charset="-34"/>
              </a:rPr>
              <a:t>และการ</a:t>
            </a:r>
            <a:r>
              <a:rPr lang="th-TH" sz="1800" b="1" i="1" dirty="0">
                <a:solidFill>
                  <a:srgbClr val="0000FF"/>
                </a:solidFill>
                <a:latin typeface="TH SarabunPSK" pitchFamily="34" charset="-34"/>
                <a:cs typeface="TH SarabunPSK" pitchFamily="34" charset="-34"/>
              </a:rPr>
              <a:t>สร้างความ</a:t>
            </a:r>
            <a:r>
              <a:rPr lang="th-TH" sz="1800" b="1" i="1" dirty="0" smtClean="0">
                <a:solidFill>
                  <a:srgbClr val="0000FF"/>
                </a:solidFill>
                <a:latin typeface="TH SarabunPSK" pitchFamily="34" charset="-34"/>
                <a:cs typeface="TH SarabunPSK" pitchFamily="34" charset="-34"/>
              </a:rPr>
              <a:t>เติบโต</a:t>
            </a:r>
            <a:r>
              <a:rPr lang="en-US" sz="1800" b="1" i="1" dirty="0" smtClean="0">
                <a:solidFill>
                  <a:srgbClr val="0000FF"/>
                </a:solidFill>
                <a:latin typeface="TH SarabunPSK" pitchFamily="34" charset="-34"/>
                <a:cs typeface="TH SarabunPSK" pitchFamily="34" charset="-34"/>
              </a:rPr>
              <a:t/>
            </a:r>
            <a:br>
              <a:rPr lang="en-US" sz="1800" b="1" i="1" dirty="0" smtClean="0">
                <a:solidFill>
                  <a:srgbClr val="0000FF"/>
                </a:solidFill>
                <a:latin typeface="TH SarabunPSK" pitchFamily="34" charset="-34"/>
                <a:cs typeface="TH SarabunPSK" pitchFamily="34" charset="-34"/>
              </a:rPr>
            </a:br>
            <a:r>
              <a:rPr lang="th-TH" sz="1800" b="1" i="1" dirty="0" smtClean="0">
                <a:solidFill>
                  <a:srgbClr val="0000FF"/>
                </a:solidFill>
                <a:latin typeface="TH SarabunPSK" pitchFamily="34" charset="-34"/>
                <a:cs typeface="TH SarabunPSK" pitchFamily="34" charset="-34"/>
              </a:rPr>
              <a:t>ทาง</a:t>
            </a:r>
            <a:r>
              <a:rPr lang="th-TH" sz="1800" b="1" i="1" dirty="0">
                <a:solidFill>
                  <a:srgbClr val="0000FF"/>
                </a:solidFill>
                <a:latin typeface="TH SarabunPSK" pitchFamily="34" charset="-34"/>
                <a:cs typeface="TH SarabunPSK" pitchFamily="34" charset="-34"/>
              </a:rPr>
              <a:t>เศรษฐกิจร่วมกัน </a:t>
            </a:r>
            <a:r>
              <a:rPr lang="th-TH" sz="1800" b="1" dirty="0">
                <a:solidFill>
                  <a:schemeClr val="tx1"/>
                </a:solidFill>
                <a:latin typeface="TH SarabunPSK" pitchFamily="34" charset="-34"/>
                <a:cs typeface="TH SarabunPSK" pitchFamily="34" charset="-34"/>
              </a:rPr>
              <a:t>บนพื้นฐานของการมีภาคธุรกิจที่เข้มแข็ง มีการกระจายโอกาสทางเศรษฐกิจ รวมถึงการคำนึงถึงคุณค่าที่สังคมต้องการทั้งในเรื่องของการอนุรักษ์ทรัพยากรธรรมชาติ สิ่งแวดล้อม และพลังงาน การมีชีวิตอย่างมีคุณภาพ และการให้คุณค่าความเป็นมนุษย์กับคนทุกระดับ ซึ่งในท้ายที่สุดจะก่อให้เกิดผลลัพธ์ที่บูรณาการไปสู่</a:t>
            </a:r>
            <a:r>
              <a:rPr lang="th-TH" sz="1800" b="1" i="1" dirty="0">
                <a:solidFill>
                  <a:srgbClr val="0000FF"/>
                </a:solidFill>
                <a:latin typeface="TH SarabunPSK" pitchFamily="34" charset="-34"/>
                <a:cs typeface="TH SarabunPSK" pitchFamily="34" charset="-34"/>
              </a:rPr>
              <a:t>การยกระดับคุณภาพชีวิตของประชาชนร่วมกันอย่างยั่งยืนในภูมิภาค </a:t>
            </a:r>
            <a:r>
              <a:rPr lang="th-TH" sz="1800" b="1" dirty="0">
                <a:solidFill>
                  <a:schemeClr val="tx1"/>
                </a:solidFill>
                <a:latin typeface="TH SarabunPSK" pitchFamily="34" charset="-34"/>
                <a:cs typeface="TH SarabunPSK" pitchFamily="34" charset="-34"/>
              </a:rPr>
              <a:t>(</a:t>
            </a:r>
            <a:r>
              <a:rPr lang="en-US" sz="1800" b="1" dirty="0">
                <a:solidFill>
                  <a:schemeClr val="tx1"/>
                </a:solidFill>
                <a:latin typeface="TH SarabunPSK" pitchFamily="34" charset="-34"/>
                <a:cs typeface="TH SarabunPSK" pitchFamily="34" charset="-34"/>
              </a:rPr>
              <a:t>Competitiveness,  Co-prosperity, Sustainability, and Quality of life)</a:t>
            </a:r>
          </a:p>
        </p:txBody>
      </p:sp>
      <p:sp>
        <p:nvSpPr>
          <p:cNvPr id="6" name="Rectangle 5"/>
          <p:cNvSpPr/>
          <p:nvPr/>
        </p:nvSpPr>
        <p:spPr>
          <a:xfrm>
            <a:off x="180528" y="469796"/>
            <a:ext cx="8963472" cy="44577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tabLst>
                <a:tab pos="1706563" algn="l"/>
              </a:tabLst>
            </a:pPr>
            <a:r>
              <a:rPr lang="th-TH" sz="2400" b="1" dirty="0" smtClean="0">
                <a:solidFill>
                  <a:schemeClr val="tx1"/>
                </a:solidFill>
                <a:latin typeface="TH SarabunPSK" pitchFamily="34" charset="-34"/>
                <a:cs typeface="TH SarabunPSK" pitchFamily="34" charset="-34"/>
              </a:rPr>
              <a:t>เป้าหมายของแผนฯ: สามเหลี่ยมแห่งความสำเร็จ (</a:t>
            </a:r>
            <a:r>
              <a:rPr lang="en-US" sz="2400" b="1" dirty="0" smtClean="0">
                <a:solidFill>
                  <a:schemeClr val="tx1"/>
                </a:solidFill>
                <a:latin typeface="TH SarabunPSK" pitchFamily="34" charset="-34"/>
                <a:cs typeface="TH SarabunPSK" pitchFamily="34" charset="-34"/>
              </a:rPr>
              <a:t>Triangle of achievement) </a:t>
            </a:r>
          </a:p>
        </p:txBody>
      </p:sp>
      <p:cxnSp>
        <p:nvCxnSpPr>
          <p:cNvPr id="10" name="Straight Connector 9"/>
          <p:cNvCxnSpPr/>
          <p:nvPr/>
        </p:nvCxnSpPr>
        <p:spPr>
          <a:xfrm>
            <a:off x="0" y="445770"/>
            <a:ext cx="9144000" cy="0"/>
          </a:xfrm>
          <a:prstGeom prst="line">
            <a:avLst/>
          </a:prstGeom>
          <a:ln w="38100">
            <a:solidFill>
              <a:schemeClr val="tx2">
                <a:lumMod val="40000"/>
                <a:lumOff val="60000"/>
              </a:schemeClr>
            </a:solidFill>
          </a:ln>
        </p:spPr>
        <p:style>
          <a:lnRef idx="1">
            <a:schemeClr val="accent1"/>
          </a:lnRef>
          <a:fillRef idx="0">
            <a:schemeClr val="accent1"/>
          </a:fillRef>
          <a:effectRef idx="0">
            <a:schemeClr val="accent1"/>
          </a:effectRef>
          <a:fontRef idx="minor">
            <a:schemeClr val="tx1"/>
          </a:fontRef>
        </p:style>
      </p:cxnSp>
      <p:sp>
        <p:nvSpPr>
          <p:cNvPr id="15" name="RbNavigator"/>
          <p:cNvSpPr txBox="1"/>
          <p:nvPr/>
        </p:nvSpPr>
        <p:spPr>
          <a:xfrm>
            <a:off x="94808" y="92614"/>
            <a:ext cx="444744" cy="246888"/>
          </a:xfrm>
          <a:prstGeom prst="rect">
            <a:avLst/>
          </a:prstGeom>
          <a:solidFill>
            <a:srgbClr val="003F56"/>
          </a:solidFill>
          <a:ln w="9525">
            <a:noFill/>
          </a:ln>
        </p:spPr>
        <p:txBody>
          <a:bodyPr vert="horz" wrap="none" lIns="0" tIns="0" rIns="0" bIns="0" rtlCol="0" anchor="ctr">
            <a:noAutofit/>
          </a:bodyPr>
          <a:lstStyle/>
          <a:p>
            <a:pPr marL="0" marR="0" lvl="0" indent="0" algn="ctr" defTabSz="914400" eaLnBrk="1" fontAlgn="auto" latinLnBrk="0" hangingPunct="1">
              <a:lnSpc>
                <a:spcPct val="90000"/>
              </a:lnSpc>
              <a:spcBef>
                <a:spcPts val="400"/>
              </a:spcBef>
              <a:spcAft>
                <a:spcPts val="0"/>
              </a:spcAft>
              <a:buClr>
                <a:srgbClr val="000000"/>
              </a:buClr>
              <a:buSzPct val="100000"/>
              <a:buFontTx/>
              <a:buNone/>
              <a:tabLst/>
              <a:defRPr/>
            </a:pPr>
            <a:r>
              <a:rPr kumimoji="1" lang="en-US" b="1" kern="0" dirty="0" smtClean="0">
                <a:solidFill>
                  <a:srgbClr val="FFFFFF"/>
                </a:solidFill>
                <a:latin typeface="TH SarabunPSK" pitchFamily="34" charset="-34"/>
                <a:cs typeface="TH SarabunPSK" pitchFamily="34" charset="-34"/>
              </a:rPr>
              <a:t>2</a:t>
            </a:r>
            <a:endParaRPr kumimoji="1" lang="en-US" b="1" i="0" u="none" strike="noStrike" kern="0" cap="none" spc="0" normalizeH="0" baseline="0" noProof="0" dirty="0" smtClean="0">
              <a:ln>
                <a:noFill/>
              </a:ln>
              <a:solidFill>
                <a:srgbClr val="FFFFFF"/>
              </a:solidFill>
              <a:effectLst/>
              <a:uLnTx/>
              <a:uFillTx/>
              <a:latin typeface="TH SarabunPSK" pitchFamily="34" charset="-34"/>
              <a:cs typeface="TH SarabunPSK" pitchFamily="34" charset="-34"/>
            </a:endParaRPr>
          </a:p>
        </p:txBody>
      </p:sp>
      <p:sp>
        <p:nvSpPr>
          <p:cNvPr id="16" name="RbSticker"/>
          <p:cNvSpPr txBox="1"/>
          <p:nvPr/>
        </p:nvSpPr>
        <p:spPr>
          <a:xfrm>
            <a:off x="642127" y="123478"/>
            <a:ext cx="7971734" cy="256480"/>
          </a:xfrm>
          <a:prstGeom prst="rect">
            <a:avLst/>
          </a:prstGeom>
          <a:noFill/>
          <a:ln w="9525">
            <a:noFill/>
          </a:ln>
        </p:spPr>
        <p:txBody>
          <a:bodyPr vert="horz" wrap="none" lIns="0" tIns="0" rIns="0" bIns="0" rtlCol="0" anchor="ctr">
            <a:spAutoFit/>
          </a:bodyPr>
          <a:lstStyle/>
          <a:p>
            <a:pPr>
              <a:lnSpc>
                <a:spcPts val="2000"/>
              </a:lnSpc>
              <a:spcBef>
                <a:spcPts val="400"/>
              </a:spcBef>
              <a:buSzPct val="100000"/>
              <a:defRPr/>
            </a:pPr>
            <a:r>
              <a:rPr lang="th-TH" b="1" dirty="0" smtClean="0">
                <a:solidFill>
                  <a:srgbClr val="002060"/>
                </a:solidFill>
                <a:latin typeface="TH SarabunPSK" pitchFamily="34" charset="-34"/>
                <a:cs typeface="TH SarabunPSK" pitchFamily="34" charset="-34"/>
              </a:rPr>
              <a:t>แผนยุทธศาสตร์การพัฒนา</a:t>
            </a:r>
            <a:r>
              <a:rPr lang="th-TH" b="1" dirty="0" err="1" smtClean="0">
                <a:solidFill>
                  <a:srgbClr val="002060"/>
                </a:solidFill>
                <a:latin typeface="TH SarabunPSK" pitchFamily="34" charset="-34"/>
                <a:cs typeface="TH SarabunPSK" pitchFamily="34" charset="-34"/>
              </a:rPr>
              <a:t>ระบบโล</a:t>
            </a:r>
            <a:r>
              <a:rPr lang="th-TH" b="1" dirty="0" smtClean="0">
                <a:solidFill>
                  <a:srgbClr val="002060"/>
                </a:solidFill>
                <a:latin typeface="TH SarabunPSK" pitchFamily="34" charset="-34"/>
                <a:cs typeface="TH SarabunPSK" pitchFamily="34" charset="-34"/>
              </a:rPr>
              <a:t>จิ</a:t>
            </a:r>
            <a:r>
              <a:rPr lang="th-TH" b="1" dirty="0" err="1" smtClean="0">
                <a:solidFill>
                  <a:srgbClr val="002060"/>
                </a:solidFill>
                <a:latin typeface="TH SarabunPSK" pitchFamily="34" charset="-34"/>
                <a:cs typeface="TH SarabunPSK" pitchFamily="34" charset="-34"/>
              </a:rPr>
              <a:t>สติกส์</a:t>
            </a:r>
            <a:r>
              <a:rPr lang="th-TH" b="1" dirty="0" smtClean="0">
                <a:solidFill>
                  <a:srgbClr val="002060"/>
                </a:solidFill>
                <a:latin typeface="TH SarabunPSK" pitchFamily="34" charset="-34"/>
                <a:cs typeface="TH SarabunPSK" pitchFamily="34" charset="-34"/>
              </a:rPr>
              <a:t>ของประเทศไทย ฉบับที่ 2 </a:t>
            </a:r>
            <a:r>
              <a:rPr lang="th-TH" i="1" dirty="0" smtClean="0">
                <a:solidFill>
                  <a:srgbClr val="002060"/>
                </a:solidFill>
                <a:latin typeface="TH SarabunPSK" pitchFamily="34" charset="-34"/>
                <a:cs typeface="TH SarabunPSK" pitchFamily="34" charset="-34"/>
              </a:rPr>
              <a:t>(</a:t>
            </a:r>
            <a:r>
              <a:rPr lang="en-US" b="1" dirty="0" smtClean="0">
                <a:solidFill>
                  <a:srgbClr val="002060"/>
                </a:solidFill>
                <a:latin typeface="TH SarabunPSK" pitchFamily="34" charset="-34"/>
                <a:cs typeface="TH SarabunPSK" pitchFamily="34" charset="-34"/>
              </a:rPr>
              <a:t>2556-2560)</a:t>
            </a:r>
            <a:endParaRPr lang="th-TH" sz="2000" b="1" kern="0" dirty="0" smtClean="0">
              <a:solidFill>
                <a:srgbClr val="003F56"/>
              </a:solidFill>
              <a:latin typeface="TH SarabunPSK" pitchFamily="34" charset="-34"/>
              <a:cs typeface="TH SarabunPSK" pitchFamily="34" charset="-34"/>
            </a:endParaRPr>
          </a:p>
        </p:txBody>
      </p:sp>
    </p:spTree>
    <p:extLst>
      <p:ext uri="{BB962C8B-B14F-4D97-AF65-F5344CB8AC3E}">
        <p14:creationId xmlns:p14="http://schemas.microsoft.com/office/powerpoint/2010/main" xmlns="" val="1029338470"/>
      </p:ext>
    </p:extLst>
  </p:cSld>
  <p:clrMapOvr>
    <a:masterClrMapping/>
  </p:clrMapOvr>
  <p:transition spd="slow">
    <p:fade thruBlk="1"/>
  </p:transition>
  <p:timing>
    <p:tnLst>
      <p:par>
        <p:cTn id="1" dur="indefinite" restart="never" nodeType="tmRoot"/>
      </p:par>
    </p:tn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0" name="Title 1"/>
          <p:cNvSpPr>
            <a:spLocks noGrp="1"/>
          </p:cNvSpPr>
          <p:nvPr>
            <p:ph type="title"/>
          </p:nvPr>
        </p:nvSpPr>
        <p:spPr>
          <a:xfrm>
            <a:off x="0" y="545232"/>
            <a:ext cx="9144000" cy="370334"/>
          </a:xfrm>
          <a:solidFill>
            <a:schemeClr val="tx2">
              <a:lumMod val="40000"/>
              <a:lumOff val="60000"/>
            </a:schemeClr>
          </a:solidFill>
        </p:spPr>
        <p:txBody>
          <a:bodyPr>
            <a:noAutofit/>
          </a:bodyPr>
          <a:lstStyle/>
          <a:p>
            <a:pPr algn="ctr" eaLnBrk="1" hangingPunct="1"/>
            <a:r>
              <a:rPr lang="en-US" sz="2800" b="1" dirty="0" smtClean="0">
                <a:solidFill>
                  <a:srgbClr val="002060"/>
                </a:solidFill>
                <a:latin typeface="TH SarabunPSK" pitchFamily="34" charset="-34"/>
                <a:cs typeface="TH SarabunPSK" pitchFamily="34" charset="-34"/>
              </a:rPr>
              <a:t>3 </a:t>
            </a:r>
            <a:r>
              <a:rPr lang="th-TH" sz="2800" b="1" dirty="0" smtClean="0">
                <a:solidFill>
                  <a:srgbClr val="002060"/>
                </a:solidFill>
                <a:latin typeface="TH SarabunPSK" pitchFamily="34" charset="-34"/>
                <a:cs typeface="TH SarabunPSK" pitchFamily="34" charset="-34"/>
              </a:rPr>
              <a:t>ภารกิจ และ</a:t>
            </a:r>
            <a:r>
              <a:rPr lang="en-US" sz="2800" b="1" dirty="0" smtClean="0">
                <a:solidFill>
                  <a:srgbClr val="002060"/>
                </a:solidFill>
                <a:latin typeface="TH SarabunPSK" pitchFamily="34" charset="-34"/>
                <a:cs typeface="TH SarabunPSK" pitchFamily="34" charset="-34"/>
              </a:rPr>
              <a:t> 7 </a:t>
            </a:r>
            <a:r>
              <a:rPr lang="th-TH" sz="2800" b="1" dirty="0" smtClean="0">
                <a:solidFill>
                  <a:srgbClr val="002060"/>
                </a:solidFill>
                <a:latin typeface="TH SarabunPSK" pitchFamily="34" charset="-34"/>
                <a:cs typeface="TH SarabunPSK" pitchFamily="34" charset="-34"/>
              </a:rPr>
              <a:t>ประเด็นยุทธศาสตร์</a:t>
            </a:r>
          </a:p>
        </p:txBody>
      </p:sp>
      <p:sp>
        <p:nvSpPr>
          <p:cNvPr id="5" name="Right Arrow 4"/>
          <p:cNvSpPr/>
          <p:nvPr/>
        </p:nvSpPr>
        <p:spPr>
          <a:xfrm>
            <a:off x="395536" y="1081825"/>
            <a:ext cx="2119312" cy="898683"/>
          </a:xfrm>
          <a:prstGeom prst="rightArrow">
            <a:avLst>
              <a:gd name="adj1" fmla="val 71053"/>
              <a:gd name="adj2" fmla="val 50000"/>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a:defRPr/>
            </a:pPr>
            <a:r>
              <a:rPr lang="en-US" sz="2000" b="1" dirty="0">
                <a:latin typeface="TH SarabunPSK" pitchFamily="34" charset="-34"/>
                <a:cs typeface="TH SarabunPSK" pitchFamily="34" charset="-34"/>
              </a:rPr>
              <a:t>Supply chain enhancement</a:t>
            </a:r>
            <a:endParaRPr lang="th-TH" sz="2000" b="1" dirty="0">
              <a:latin typeface="TH SarabunPSK" pitchFamily="34" charset="-34"/>
              <a:cs typeface="TH SarabunPSK" pitchFamily="34" charset="-34"/>
            </a:endParaRPr>
          </a:p>
        </p:txBody>
      </p:sp>
      <p:sp>
        <p:nvSpPr>
          <p:cNvPr id="7" name="Right Arrow 6"/>
          <p:cNvSpPr/>
          <p:nvPr/>
        </p:nvSpPr>
        <p:spPr>
          <a:xfrm>
            <a:off x="395536" y="2453425"/>
            <a:ext cx="2119312" cy="898683"/>
          </a:xfrm>
          <a:prstGeom prst="rightArrow">
            <a:avLst>
              <a:gd name="adj1" fmla="val 71053"/>
              <a:gd name="adj2" fmla="val 50000"/>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a:defRPr/>
            </a:pPr>
            <a:r>
              <a:rPr lang="en-US" sz="2000" b="1" dirty="0">
                <a:latin typeface="TH SarabunPSK" pitchFamily="34" charset="-34"/>
                <a:cs typeface="TH SarabunPSK" pitchFamily="34" charset="-34"/>
              </a:rPr>
              <a:t>Trade facilitation enhancement</a:t>
            </a:r>
            <a:endParaRPr lang="th-TH" sz="2000" b="1" dirty="0">
              <a:latin typeface="TH SarabunPSK" pitchFamily="34" charset="-34"/>
              <a:cs typeface="TH SarabunPSK" pitchFamily="34" charset="-34"/>
            </a:endParaRPr>
          </a:p>
        </p:txBody>
      </p:sp>
      <p:sp>
        <p:nvSpPr>
          <p:cNvPr id="8" name="Right Arrow 7"/>
          <p:cNvSpPr/>
          <p:nvPr/>
        </p:nvSpPr>
        <p:spPr>
          <a:xfrm>
            <a:off x="395536" y="3825025"/>
            <a:ext cx="2119312" cy="898683"/>
          </a:xfrm>
          <a:prstGeom prst="rightArrow">
            <a:avLst>
              <a:gd name="adj1" fmla="val 71053"/>
              <a:gd name="adj2" fmla="val 50000"/>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a:lnSpc>
                <a:spcPts val="1900"/>
              </a:lnSpc>
              <a:defRPr/>
            </a:pPr>
            <a:r>
              <a:rPr lang="en-US" sz="2000" b="1" dirty="0">
                <a:latin typeface="TH SarabunPSK" pitchFamily="34" charset="-34"/>
                <a:cs typeface="TH SarabunPSK" pitchFamily="34" charset="-34"/>
              </a:rPr>
              <a:t>Capacity building and Policy driving factors</a:t>
            </a:r>
          </a:p>
        </p:txBody>
      </p:sp>
      <p:sp>
        <p:nvSpPr>
          <p:cNvPr id="9" name="Rectangle 8"/>
          <p:cNvSpPr/>
          <p:nvPr/>
        </p:nvSpPr>
        <p:spPr>
          <a:xfrm>
            <a:off x="2681559" y="1110324"/>
            <a:ext cx="6084001" cy="421200"/>
          </a:xfrm>
          <a:prstGeom prst="rect">
            <a:avLst/>
          </a:prstGeom>
          <a:solidFill>
            <a:srgbClr val="FFFF99"/>
          </a:solid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171450" indent="-171450">
              <a:lnSpc>
                <a:spcPts val="1800"/>
              </a:lnSpc>
              <a:defRPr/>
            </a:pPr>
            <a:r>
              <a:rPr lang="en-US" sz="2000" b="1" dirty="0">
                <a:solidFill>
                  <a:srgbClr val="0033CC"/>
                </a:solidFill>
                <a:latin typeface="TH SarabunPSK" pitchFamily="34" charset="-34"/>
                <a:cs typeface="TH SarabunPSK" pitchFamily="34" charset="-34"/>
              </a:rPr>
              <a:t>1</a:t>
            </a:r>
            <a:r>
              <a:rPr lang="en-US" sz="2000" b="1" dirty="0">
                <a:solidFill>
                  <a:schemeClr val="tx1"/>
                </a:solidFill>
                <a:latin typeface="TH SarabunPSK" pitchFamily="34" charset="-34"/>
                <a:cs typeface="TH SarabunPSK" pitchFamily="34" charset="-34"/>
              </a:rPr>
              <a:t>.</a:t>
            </a:r>
            <a:r>
              <a:rPr lang="th-TH" sz="2000" b="1" dirty="0">
                <a:solidFill>
                  <a:schemeClr val="tx1"/>
                </a:solidFill>
                <a:latin typeface="TH SarabunPSK" pitchFamily="34" charset="-34"/>
                <a:cs typeface="TH SarabunPSK" pitchFamily="34" charset="-34"/>
              </a:rPr>
              <a:t> เพิ่มขีดความสามารถในการบริหารจัดการโซ่อุปทาน</a:t>
            </a:r>
            <a:endParaRPr lang="th-TH" sz="2000" b="1" dirty="0">
              <a:solidFill>
                <a:srgbClr val="000066"/>
              </a:solidFill>
              <a:latin typeface="TH SarabunPSK" pitchFamily="34" charset="-34"/>
              <a:cs typeface="TH SarabunPSK" pitchFamily="34" charset="-34"/>
            </a:endParaRPr>
          </a:p>
        </p:txBody>
      </p:sp>
      <p:sp>
        <p:nvSpPr>
          <p:cNvPr id="10" name="Rectangle 9"/>
          <p:cNvSpPr/>
          <p:nvPr/>
        </p:nvSpPr>
        <p:spPr>
          <a:xfrm>
            <a:off x="2681559" y="1588173"/>
            <a:ext cx="6084001" cy="421200"/>
          </a:xfrm>
          <a:prstGeom prst="rect">
            <a:avLst/>
          </a:prstGeom>
          <a:solidFill>
            <a:srgbClr val="FFFF99"/>
          </a:solid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176213" indent="-176213">
              <a:lnSpc>
                <a:spcPts val="1800"/>
              </a:lnSpc>
              <a:defRPr/>
            </a:pPr>
            <a:r>
              <a:rPr lang="en-US" sz="2000" b="1" dirty="0">
                <a:solidFill>
                  <a:srgbClr val="0033CC"/>
                </a:solidFill>
                <a:latin typeface="TH SarabunPSK" pitchFamily="34" charset="-34"/>
                <a:cs typeface="TH SarabunPSK" pitchFamily="34" charset="-34"/>
              </a:rPr>
              <a:t>2.</a:t>
            </a:r>
            <a:r>
              <a:rPr lang="th-TH" sz="2000" b="1" dirty="0">
                <a:solidFill>
                  <a:srgbClr val="0033CC"/>
                </a:solidFill>
                <a:latin typeface="TH SarabunPSK" pitchFamily="34" charset="-34"/>
                <a:cs typeface="TH SarabunPSK" pitchFamily="34" charset="-34"/>
              </a:rPr>
              <a:t> </a:t>
            </a:r>
            <a:r>
              <a:rPr lang="th-TH" sz="2000" b="1" dirty="0">
                <a:solidFill>
                  <a:srgbClr val="002060"/>
                </a:solidFill>
                <a:latin typeface="TH SarabunPSK" pitchFamily="34" charset="-34"/>
                <a:cs typeface="TH SarabunPSK" pitchFamily="34" charset="-34"/>
              </a:rPr>
              <a:t>ส่งเสริมธุรกิจการค้าและบริการในพื้นที่เมืองชายแดน </a:t>
            </a:r>
            <a:endParaRPr lang="th-TH" sz="2000" b="1" dirty="0">
              <a:solidFill>
                <a:srgbClr val="000066"/>
              </a:solidFill>
              <a:latin typeface="TH SarabunPSK" pitchFamily="34" charset="-34"/>
              <a:cs typeface="TH SarabunPSK" pitchFamily="34" charset="-34"/>
            </a:endParaRPr>
          </a:p>
        </p:txBody>
      </p:sp>
      <p:sp>
        <p:nvSpPr>
          <p:cNvPr id="12" name="Rectangle 11"/>
          <p:cNvSpPr/>
          <p:nvPr/>
        </p:nvSpPr>
        <p:spPr>
          <a:xfrm>
            <a:off x="2681559" y="2179689"/>
            <a:ext cx="6084001" cy="421200"/>
          </a:xfrm>
          <a:prstGeom prst="rect">
            <a:avLst/>
          </a:prstGeom>
          <a:no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r>
              <a:rPr lang="en-US" sz="2000" b="1" dirty="0">
                <a:solidFill>
                  <a:srgbClr val="0033CC"/>
                </a:solidFill>
                <a:latin typeface="TH SarabunPSK" pitchFamily="34" charset="-34"/>
                <a:cs typeface="TH SarabunPSK" pitchFamily="34" charset="-34"/>
              </a:rPr>
              <a:t>3</a:t>
            </a:r>
            <a:r>
              <a:rPr lang="en-US" sz="2000" b="1" dirty="0" smtClean="0">
                <a:solidFill>
                  <a:srgbClr val="0033CC"/>
                </a:solidFill>
                <a:latin typeface="TH SarabunPSK" pitchFamily="34" charset="-34"/>
                <a:cs typeface="TH SarabunPSK" pitchFamily="34" charset="-34"/>
              </a:rPr>
              <a:t>.</a:t>
            </a:r>
            <a:r>
              <a:rPr lang="th-TH" sz="2000" b="1" dirty="0" smtClean="0">
                <a:solidFill>
                  <a:srgbClr val="0033CC"/>
                </a:solidFill>
                <a:latin typeface="TH SarabunPSK" pitchFamily="34" charset="-34"/>
                <a:cs typeface="TH SarabunPSK" pitchFamily="34" charset="-34"/>
              </a:rPr>
              <a:t> </a:t>
            </a:r>
            <a:r>
              <a:rPr lang="th-TH" sz="2000" b="1" dirty="0">
                <a:solidFill>
                  <a:srgbClr val="0033CC"/>
                </a:solidFill>
                <a:latin typeface="TH SarabunPSK" pitchFamily="34" charset="-34"/>
                <a:cs typeface="TH SarabunPSK" pitchFamily="34" charset="-34"/>
              </a:rPr>
              <a:t>พัฒนาบริการขนส่งและเครือข่ายโลจิสติกส์ตามเส้นทางยุทธศาสตร์ </a:t>
            </a:r>
          </a:p>
        </p:txBody>
      </p:sp>
      <p:sp>
        <p:nvSpPr>
          <p:cNvPr id="13" name="Rectangle 12"/>
          <p:cNvSpPr/>
          <p:nvPr/>
        </p:nvSpPr>
        <p:spPr>
          <a:xfrm>
            <a:off x="2681559" y="2660419"/>
            <a:ext cx="6084001" cy="421200"/>
          </a:xfrm>
          <a:prstGeom prst="rect">
            <a:avLst/>
          </a:prstGeom>
          <a:no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indent="-514350">
              <a:spcBef>
                <a:spcPct val="20000"/>
              </a:spcBef>
              <a:defRPr/>
            </a:pPr>
            <a:r>
              <a:rPr lang="en-US" sz="2000" b="1" dirty="0">
                <a:solidFill>
                  <a:srgbClr val="0033CC"/>
                </a:solidFill>
                <a:latin typeface="TH SarabunPSK" pitchFamily="34" charset="-34"/>
                <a:cs typeface="TH SarabunPSK" pitchFamily="34" charset="-34"/>
              </a:rPr>
              <a:t>4</a:t>
            </a:r>
            <a:r>
              <a:rPr lang="en-US" sz="2000" b="1" dirty="0" smtClean="0">
                <a:solidFill>
                  <a:srgbClr val="0033CC"/>
                </a:solidFill>
                <a:latin typeface="TH SarabunPSK" pitchFamily="34" charset="-34"/>
                <a:cs typeface="TH SarabunPSK" pitchFamily="34" charset="-34"/>
              </a:rPr>
              <a:t>.</a:t>
            </a:r>
            <a:r>
              <a:rPr lang="th-TH" sz="2000" b="1" dirty="0" smtClean="0">
                <a:solidFill>
                  <a:srgbClr val="0033CC"/>
                </a:solidFill>
                <a:latin typeface="TH SarabunPSK" pitchFamily="34" charset="-34"/>
                <a:cs typeface="TH SarabunPSK" pitchFamily="34" charset="-34"/>
              </a:rPr>
              <a:t> </a:t>
            </a:r>
            <a:r>
              <a:rPr lang="th-TH" sz="2000" b="1" dirty="0">
                <a:solidFill>
                  <a:srgbClr val="0033CC"/>
                </a:solidFill>
                <a:latin typeface="TH SarabunPSK" pitchFamily="34" charset="-34"/>
                <a:cs typeface="TH SarabunPSK" pitchFamily="34" charset="-34"/>
              </a:rPr>
              <a:t>พัฒนาระบบอำนวยความสะดวกทางการค้า </a:t>
            </a:r>
            <a:endParaRPr lang="en-US" sz="2000" b="1" dirty="0">
              <a:solidFill>
                <a:srgbClr val="0033CC"/>
              </a:solidFill>
              <a:latin typeface="TH SarabunPSK" pitchFamily="34" charset="-34"/>
              <a:cs typeface="TH SarabunPSK" pitchFamily="34" charset="-34"/>
            </a:endParaRPr>
          </a:p>
        </p:txBody>
      </p:sp>
      <p:sp>
        <p:nvSpPr>
          <p:cNvPr id="14" name="Rectangle 13"/>
          <p:cNvSpPr/>
          <p:nvPr/>
        </p:nvSpPr>
        <p:spPr>
          <a:xfrm>
            <a:off x="2681559" y="3153619"/>
            <a:ext cx="6084000" cy="421200"/>
          </a:xfrm>
          <a:prstGeom prst="rect">
            <a:avLst/>
          </a:prstGeom>
          <a:no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indent="-514350">
              <a:spcBef>
                <a:spcPct val="20000"/>
              </a:spcBef>
              <a:defRPr/>
            </a:pPr>
            <a:r>
              <a:rPr lang="en-US" sz="2000" b="1" dirty="0">
                <a:solidFill>
                  <a:srgbClr val="0033CC"/>
                </a:solidFill>
                <a:latin typeface="TH SarabunPSK" pitchFamily="34" charset="-34"/>
                <a:cs typeface="TH SarabunPSK" pitchFamily="34" charset="-34"/>
              </a:rPr>
              <a:t>5</a:t>
            </a:r>
            <a:r>
              <a:rPr lang="en-US" sz="2000" b="1" dirty="0" smtClean="0">
                <a:solidFill>
                  <a:srgbClr val="0033CC"/>
                </a:solidFill>
                <a:latin typeface="TH SarabunPSK" pitchFamily="34" charset="-34"/>
                <a:cs typeface="TH SarabunPSK" pitchFamily="34" charset="-34"/>
              </a:rPr>
              <a:t>.</a:t>
            </a:r>
            <a:r>
              <a:rPr lang="th-TH" sz="2000" b="1" dirty="0" smtClean="0">
                <a:solidFill>
                  <a:srgbClr val="0033CC"/>
                </a:solidFill>
                <a:latin typeface="TH SarabunPSK" pitchFamily="34" charset="-34"/>
                <a:cs typeface="TH SarabunPSK" pitchFamily="34" charset="-34"/>
              </a:rPr>
              <a:t> </a:t>
            </a:r>
            <a:r>
              <a:rPr lang="th-TH" sz="2000" b="1" dirty="0">
                <a:solidFill>
                  <a:srgbClr val="0033CC"/>
                </a:solidFill>
                <a:latin typeface="TH SarabunPSK" pitchFamily="34" charset="-34"/>
                <a:cs typeface="TH SarabunPSK" pitchFamily="34" charset="-34"/>
              </a:rPr>
              <a:t>ส่งเสริมการพัฒนาบริการและขยายเครือข่ายของผู้</a:t>
            </a:r>
            <a:r>
              <a:rPr lang="th-TH" sz="2000" b="1" dirty="0" smtClean="0">
                <a:solidFill>
                  <a:srgbClr val="0033CC"/>
                </a:solidFill>
                <a:latin typeface="TH SarabunPSK" pitchFamily="34" charset="-34"/>
                <a:cs typeface="TH SarabunPSK" pitchFamily="34" charset="-34"/>
              </a:rPr>
              <a:t>ให้บริการโล</a:t>
            </a:r>
            <a:r>
              <a:rPr lang="th-TH" sz="2000" b="1" dirty="0">
                <a:solidFill>
                  <a:srgbClr val="0033CC"/>
                </a:solidFill>
                <a:latin typeface="TH SarabunPSK" pitchFamily="34" charset="-34"/>
                <a:cs typeface="TH SarabunPSK" pitchFamily="34" charset="-34"/>
              </a:rPr>
              <a:t>จิสติกส์</a:t>
            </a:r>
          </a:p>
        </p:txBody>
      </p:sp>
      <p:sp>
        <p:nvSpPr>
          <p:cNvPr id="15" name="Rectangle 14"/>
          <p:cNvSpPr/>
          <p:nvPr/>
        </p:nvSpPr>
        <p:spPr>
          <a:xfrm>
            <a:off x="2681559" y="3767419"/>
            <a:ext cx="6084000" cy="518386"/>
          </a:xfrm>
          <a:prstGeom prst="rect">
            <a:avLst/>
          </a:prstGeom>
          <a:solidFill>
            <a:schemeClr val="accent5">
              <a:lumMod val="20000"/>
              <a:lumOff val="80000"/>
            </a:schemeClr>
          </a:solid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179388" indent="-179388">
              <a:lnSpc>
                <a:spcPts val="1800"/>
              </a:lnSpc>
              <a:defRPr/>
            </a:pPr>
            <a:r>
              <a:rPr lang="en-US" sz="2000" b="1" dirty="0">
                <a:solidFill>
                  <a:schemeClr val="tx1"/>
                </a:solidFill>
                <a:latin typeface="TH SarabunPSK" pitchFamily="34" charset="-34"/>
                <a:cs typeface="TH SarabunPSK" pitchFamily="34" charset="-34"/>
              </a:rPr>
              <a:t>6</a:t>
            </a:r>
            <a:r>
              <a:rPr lang="en-US" sz="2000" b="1" dirty="0" smtClean="0">
                <a:solidFill>
                  <a:schemeClr val="tx1"/>
                </a:solidFill>
                <a:latin typeface="TH SarabunPSK" pitchFamily="34" charset="-34"/>
                <a:cs typeface="TH SarabunPSK" pitchFamily="34" charset="-34"/>
              </a:rPr>
              <a:t>. </a:t>
            </a:r>
            <a:r>
              <a:rPr lang="th-TH" sz="2000" b="1" dirty="0">
                <a:solidFill>
                  <a:schemeClr val="tx1"/>
                </a:solidFill>
                <a:latin typeface="TH SarabunPSK" pitchFamily="34" charset="-34"/>
                <a:cs typeface="TH SarabunPSK" pitchFamily="34" charset="-34"/>
              </a:rPr>
              <a:t>ปรับปรุงระบบการพัฒนาและจัดการกำลังคน (</a:t>
            </a:r>
            <a:r>
              <a:rPr lang="en-US" sz="2000" b="1" dirty="0">
                <a:solidFill>
                  <a:schemeClr val="tx1"/>
                </a:solidFill>
                <a:latin typeface="TH SarabunPSK" pitchFamily="34" charset="-34"/>
                <a:cs typeface="TH SarabunPSK" pitchFamily="34" charset="-34"/>
              </a:rPr>
              <a:t>Human resource development system)</a:t>
            </a:r>
            <a:endParaRPr lang="th-TH" sz="2000" b="1" dirty="0">
              <a:solidFill>
                <a:schemeClr val="tx1"/>
              </a:solidFill>
              <a:latin typeface="TH SarabunPSK" pitchFamily="34" charset="-34"/>
              <a:cs typeface="TH SarabunPSK" pitchFamily="34" charset="-34"/>
            </a:endParaRPr>
          </a:p>
        </p:txBody>
      </p:sp>
      <p:sp>
        <p:nvSpPr>
          <p:cNvPr id="16" name="Rectangle 15"/>
          <p:cNvSpPr/>
          <p:nvPr/>
        </p:nvSpPr>
        <p:spPr>
          <a:xfrm>
            <a:off x="2681559" y="4350756"/>
            <a:ext cx="6084000" cy="648000"/>
          </a:xfrm>
          <a:prstGeom prst="rect">
            <a:avLst/>
          </a:prstGeom>
          <a:solidFill>
            <a:schemeClr val="accent5">
              <a:lumMod val="20000"/>
              <a:lumOff val="80000"/>
            </a:schemeClr>
          </a:solid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179388" indent="-179388">
              <a:lnSpc>
                <a:spcPts val="1800"/>
              </a:lnSpc>
              <a:defRPr/>
            </a:pPr>
            <a:r>
              <a:rPr lang="en-US" sz="2000" b="1" dirty="0">
                <a:solidFill>
                  <a:schemeClr val="tx1"/>
                </a:solidFill>
                <a:latin typeface="TH SarabunPSK" pitchFamily="34" charset="-34"/>
                <a:cs typeface="TH SarabunPSK" pitchFamily="34" charset="-34"/>
              </a:rPr>
              <a:t>7</a:t>
            </a:r>
            <a:r>
              <a:rPr lang="en-US" sz="2000" b="1" dirty="0" smtClean="0">
                <a:solidFill>
                  <a:schemeClr val="tx1"/>
                </a:solidFill>
                <a:latin typeface="TH SarabunPSK" pitchFamily="34" charset="-34"/>
                <a:cs typeface="TH SarabunPSK" pitchFamily="34" charset="-34"/>
              </a:rPr>
              <a:t>.</a:t>
            </a:r>
            <a:r>
              <a:rPr lang="th-TH" sz="2000" b="1" dirty="0" smtClean="0">
                <a:solidFill>
                  <a:schemeClr val="tx1"/>
                </a:solidFill>
                <a:latin typeface="TH SarabunPSK" pitchFamily="34" charset="-34"/>
                <a:cs typeface="TH SarabunPSK" pitchFamily="34" charset="-34"/>
              </a:rPr>
              <a:t> </a:t>
            </a:r>
            <a:r>
              <a:rPr lang="th-TH" sz="2000" b="1" dirty="0">
                <a:solidFill>
                  <a:schemeClr val="tx1"/>
                </a:solidFill>
                <a:latin typeface="TH SarabunPSK" pitchFamily="34" charset="-34"/>
                <a:cs typeface="TH SarabunPSK" pitchFamily="34" charset="-34"/>
              </a:rPr>
              <a:t>พัฒนาระบบติดตามและประเมินผลเพื่อการปรับปรุงตนเอง (</a:t>
            </a:r>
            <a:r>
              <a:rPr lang="en-US" sz="2000" b="1" dirty="0">
                <a:solidFill>
                  <a:schemeClr val="tx1"/>
                </a:solidFill>
                <a:latin typeface="TH SarabunPSK" pitchFamily="34" charset="-34"/>
                <a:cs typeface="TH SarabunPSK" pitchFamily="34" charset="-34"/>
              </a:rPr>
              <a:t>Monitoring system for self improvement) </a:t>
            </a:r>
            <a:r>
              <a:rPr lang="th-TH" sz="2000" b="1" dirty="0">
                <a:solidFill>
                  <a:schemeClr val="tx1"/>
                </a:solidFill>
                <a:latin typeface="TH SarabunPSK" pitchFamily="34" charset="-34"/>
                <a:cs typeface="TH SarabunPSK" pitchFamily="34" charset="-34"/>
              </a:rPr>
              <a:t>และสร้างความเข้มแข็งให้กับองค์กร/เครือข่ายขับเคลื่อนยุทธศาสตร์ </a:t>
            </a:r>
            <a:endParaRPr lang="en-US" sz="2000" b="1" dirty="0">
              <a:solidFill>
                <a:schemeClr val="tx1"/>
              </a:solidFill>
              <a:latin typeface="TH SarabunPSK" pitchFamily="34" charset="-34"/>
              <a:cs typeface="TH SarabunPSK" pitchFamily="34" charset="-34"/>
            </a:endParaRPr>
          </a:p>
        </p:txBody>
      </p:sp>
      <p:sp>
        <p:nvSpPr>
          <p:cNvPr id="19" name="RbNavigator"/>
          <p:cNvSpPr txBox="1"/>
          <p:nvPr/>
        </p:nvSpPr>
        <p:spPr>
          <a:xfrm>
            <a:off x="94808" y="92614"/>
            <a:ext cx="444744" cy="246888"/>
          </a:xfrm>
          <a:prstGeom prst="rect">
            <a:avLst/>
          </a:prstGeom>
          <a:solidFill>
            <a:srgbClr val="003F56"/>
          </a:solidFill>
          <a:ln w="9525">
            <a:noFill/>
          </a:ln>
        </p:spPr>
        <p:txBody>
          <a:bodyPr vert="horz" wrap="none" lIns="0" tIns="0" rIns="0" bIns="0" rtlCol="0" anchor="ctr">
            <a:noAutofit/>
          </a:bodyPr>
          <a:lstStyle/>
          <a:p>
            <a:pPr marL="0" marR="0" lvl="0" indent="0" algn="ctr" defTabSz="914400" eaLnBrk="1" fontAlgn="auto" latinLnBrk="0" hangingPunct="1">
              <a:lnSpc>
                <a:spcPct val="90000"/>
              </a:lnSpc>
              <a:spcBef>
                <a:spcPts val="400"/>
              </a:spcBef>
              <a:spcAft>
                <a:spcPts val="0"/>
              </a:spcAft>
              <a:buClr>
                <a:srgbClr val="000000"/>
              </a:buClr>
              <a:buSzPct val="100000"/>
              <a:buFontTx/>
              <a:buNone/>
              <a:tabLst/>
              <a:defRPr/>
            </a:pPr>
            <a:r>
              <a:rPr kumimoji="1" lang="en-US" b="1" kern="0" dirty="0" smtClean="0">
                <a:solidFill>
                  <a:srgbClr val="FFFFFF"/>
                </a:solidFill>
                <a:latin typeface="TH SarabunPSK" pitchFamily="34" charset="-34"/>
                <a:cs typeface="TH SarabunPSK" pitchFamily="34" charset="-34"/>
              </a:rPr>
              <a:t>2</a:t>
            </a:r>
            <a:endParaRPr kumimoji="1" lang="en-US" b="1" i="0" u="none" strike="noStrike" kern="0" cap="none" spc="0" normalizeH="0" baseline="0" noProof="0" dirty="0" smtClean="0">
              <a:ln>
                <a:noFill/>
              </a:ln>
              <a:solidFill>
                <a:srgbClr val="FFFFFF"/>
              </a:solidFill>
              <a:effectLst/>
              <a:uLnTx/>
              <a:uFillTx/>
              <a:latin typeface="TH SarabunPSK" pitchFamily="34" charset="-34"/>
              <a:cs typeface="TH SarabunPSK" pitchFamily="34" charset="-34"/>
            </a:endParaRPr>
          </a:p>
        </p:txBody>
      </p:sp>
      <p:sp>
        <p:nvSpPr>
          <p:cNvPr id="20" name="RbSticker"/>
          <p:cNvSpPr txBox="1"/>
          <p:nvPr/>
        </p:nvSpPr>
        <p:spPr>
          <a:xfrm>
            <a:off x="642127" y="123478"/>
            <a:ext cx="7971734" cy="256480"/>
          </a:xfrm>
          <a:prstGeom prst="rect">
            <a:avLst/>
          </a:prstGeom>
          <a:noFill/>
          <a:ln w="9525">
            <a:noFill/>
          </a:ln>
        </p:spPr>
        <p:txBody>
          <a:bodyPr vert="horz" wrap="none" lIns="0" tIns="0" rIns="0" bIns="0" rtlCol="0" anchor="ctr">
            <a:spAutoFit/>
          </a:bodyPr>
          <a:lstStyle/>
          <a:p>
            <a:pPr>
              <a:lnSpc>
                <a:spcPts val="2000"/>
              </a:lnSpc>
              <a:spcBef>
                <a:spcPts val="400"/>
              </a:spcBef>
              <a:buSzPct val="100000"/>
              <a:defRPr/>
            </a:pPr>
            <a:r>
              <a:rPr lang="th-TH" b="1" dirty="0" smtClean="0">
                <a:solidFill>
                  <a:srgbClr val="002060"/>
                </a:solidFill>
                <a:latin typeface="TH SarabunPSK" pitchFamily="34" charset="-34"/>
                <a:cs typeface="TH SarabunPSK" pitchFamily="34" charset="-34"/>
              </a:rPr>
              <a:t>แผนยุทธศาสตร์การพัฒนา</a:t>
            </a:r>
            <a:r>
              <a:rPr lang="th-TH" b="1" dirty="0" err="1" smtClean="0">
                <a:solidFill>
                  <a:srgbClr val="002060"/>
                </a:solidFill>
                <a:latin typeface="TH SarabunPSK" pitchFamily="34" charset="-34"/>
                <a:cs typeface="TH SarabunPSK" pitchFamily="34" charset="-34"/>
              </a:rPr>
              <a:t>ระบบโล</a:t>
            </a:r>
            <a:r>
              <a:rPr lang="th-TH" b="1" dirty="0" smtClean="0">
                <a:solidFill>
                  <a:srgbClr val="002060"/>
                </a:solidFill>
                <a:latin typeface="TH SarabunPSK" pitchFamily="34" charset="-34"/>
                <a:cs typeface="TH SarabunPSK" pitchFamily="34" charset="-34"/>
              </a:rPr>
              <a:t>จิ</a:t>
            </a:r>
            <a:r>
              <a:rPr lang="th-TH" b="1" dirty="0" err="1" smtClean="0">
                <a:solidFill>
                  <a:srgbClr val="002060"/>
                </a:solidFill>
                <a:latin typeface="TH SarabunPSK" pitchFamily="34" charset="-34"/>
                <a:cs typeface="TH SarabunPSK" pitchFamily="34" charset="-34"/>
              </a:rPr>
              <a:t>สติกส์</a:t>
            </a:r>
            <a:r>
              <a:rPr lang="th-TH" b="1" dirty="0" smtClean="0">
                <a:solidFill>
                  <a:srgbClr val="002060"/>
                </a:solidFill>
                <a:latin typeface="TH SarabunPSK" pitchFamily="34" charset="-34"/>
                <a:cs typeface="TH SarabunPSK" pitchFamily="34" charset="-34"/>
              </a:rPr>
              <a:t>ของประเทศไทย ฉบับที่ 2 </a:t>
            </a:r>
            <a:r>
              <a:rPr lang="th-TH" i="1" dirty="0" smtClean="0">
                <a:solidFill>
                  <a:srgbClr val="002060"/>
                </a:solidFill>
                <a:latin typeface="TH SarabunPSK" pitchFamily="34" charset="-34"/>
                <a:cs typeface="TH SarabunPSK" pitchFamily="34" charset="-34"/>
              </a:rPr>
              <a:t>(</a:t>
            </a:r>
            <a:r>
              <a:rPr lang="en-US" b="1" dirty="0" smtClean="0">
                <a:solidFill>
                  <a:srgbClr val="002060"/>
                </a:solidFill>
                <a:latin typeface="TH SarabunPSK" pitchFamily="34" charset="-34"/>
                <a:cs typeface="TH SarabunPSK" pitchFamily="34" charset="-34"/>
              </a:rPr>
              <a:t>2556-2560)</a:t>
            </a:r>
            <a:endParaRPr lang="th-TH" sz="2000" b="1" kern="0" dirty="0" smtClean="0">
              <a:solidFill>
                <a:srgbClr val="003F56"/>
              </a:solidFill>
              <a:latin typeface="TH SarabunPSK" pitchFamily="34" charset="-34"/>
              <a:cs typeface="TH SarabunPSK" pitchFamily="34" charset="-34"/>
            </a:endParaRPr>
          </a:p>
        </p:txBody>
      </p:sp>
    </p:spTree>
    <p:extLst>
      <p:ext uri="{BB962C8B-B14F-4D97-AF65-F5344CB8AC3E}">
        <p14:creationId xmlns:p14="http://schemas.microsoft.com/office/powerpoint/2010/main" xmlns="" val="1302759470"/>
      </p:ext>
    </p:extLst>
  </p:cSld>
  <p:clrMapOvr>
    <a:masterClrMapping/>
  </p:clrMapOvr>
  <p:transition spd="slow">
    <p:fade thruBlk="1"/>
  </p:transition>
  <p:timing>
    <p:tnLst>
      <p:par>
        <p:cTn id="1" dur="indefinite" restart="never" nodeType="tmRoot"/>
      </p:par>
    </p:tn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le 3"/>
          <p:cNvGraphicFramePr>
            <a:graphicFrameLocks noGrp="1"/>
          </p:cNvGraphicFramePr>
          <p:nvPr>
            <p:extLst>
              <p:ext uri="{D42A27DB-BD31-4B8C-83A1-F6EECF244321}">
                <p14:modId xmlns:p14="http://schemas.microsoft.com/office/powerpoint/2010/main" xmlns="" val="3770472598"/>
              </p:ext>
            </p:extLst>
          </p:nvPr>
        </p:nvGraphicFramePr>
        <p:xfrm>
          <a:off x="1588" y="-4286"/>
          <a:ext cx="9144000" cy="739070"/>
        </p:xfrm>
        <a:graphic>
          <a:graphicData uri="http://schemas.openxmlformats.org/drawingml/2006/table">
            <a:tbl>
              <a:tblPr firstRow="1" bandRow="1">
                <a:tableStyleId>{5C22544A-7EE6-4342-B048-85BDC9FD1C3A}</a:tableStyleId>
              </a:tblPr>
              <a:tblGrid>
                <a:gridCol w="1828800"/>
                <a:gridCol w="7315200"/>
              </a:tblGrid>
              <a:tr h="739070">
                <a:tc>
                  <a:txBody>
                    <a:bodyPr/>
                    <a:lstStyle/>
                    <a:p>
                      <a:pPr algn="r"/>
                      <a:r>
                        <a:rPr lang="th-TH" sz="2200" b="1" dirty="0" smtClean="0">
                          <a:solidFill>
                            <a:schemeClr val="bg1"/>
                          </a:solidFill>
                          <a:latin typeface="TH SarabunPSK" pitchFamily="34" charset="-34"/>
                          <a:cs typeface="TH SarabunPSK" pitchFamily="34" charset="-34"/>
                        </a:rPr>
                        <a:t>ประเด็น</a:t>
                      </a:r>
                      <a:br>
                        <a:rPr lang="th-TH" sz="2200" b="1" dirty="0" smtClean="0">
                          <a:solidFill>
                            <a:schemeClr val="bg1"/>
                          </a:solidFill>
                          <a:latin typeface="TH SarabunPSK" pitchFamily="34" charset="-34"/>
                          <a:cs typeface="TH SarabunPSK" pitchFamily="34" charset="-34"/>
                        </a:rPr>
                      </a:br>
                      <a:r>
                        <a:rPr lang="th-TH" sz="2200" b="1" dirty="0" smtClean="0">
                          <a:solidFill>
                            <a:schemeClr val="bg1"/>
                          </a:solidFill>
                          <a:latin typeface="TH SarabunPSK" pitchFamily="34" charset="-34"/>
                          <a:cs typeface="TH SarabunPSK" pitchFamily="34" charset="-34"/>
                        </a:rPr>
                        <a:t>ยุทธศาสตร์ที่ </a:t>
                      </a:r>
                      <a:r>
                        <a:rPr lang="en-US" sz="2200" b="1" dirty="0" smtClean="0">
                          <a:solidFill>
                            <a:schemeClr val="bg1"/>
                          </a:solidFill>
                          <a:latin typeface="TH SarabunPSK" pitchFamily="34" charset="-34"/>
                          <a:cs typeface="TH SarabunPSK" pitchFamily="34" charset="-34"/>
                        </a:rPr>
                        <a:t>1</a:t>
                      </a:r>
                      <a:endParaRPr lang="th-TH" sz="2200" dirty="0">
                        <a:solidFill>
                          <a:schemeClr val="bg1"/>
                        </a:solidFill>
                        <a:latin typeface="TH SarabunPSK" pitchFamily="34" charset="-34"/>
                        <a:cs typeface="TH SarabunPSK" pitchFamily="34" charset="-34"/>
                      </a:endParaRPr>
                    </a:p>
                  </a:txBody>
                  <a:tcPr marT="34255" marB="34255"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1">
                        <a:lumMod val="50000"/>
                      </a:schemeClr>
                    </a:solidFill>
                  </a:tcPr>
                </a:tc>
                <a:tc>
                  <a:txBody>
                    <a:bodyPr/>
                    <a:lstStyle/>
                    <a:p>
                      <a:pPr marL="171450" indent="0" algn="l"/>
                      <a:r>
                        <a:rPr lang="th-TH" sz="2200" b="1" dirty="0" smtClean="0">
                          <a:latin typeface="TH SarabunPSK" pitchFamily="34" charset="-34"/>
                          <a:ea typeface="Calibri" pitchFamily="34" charset="0"/>
                          <a:cs typeface="TH SarabunPSK" pitchFamily="34" charset="-34"/>
                        </a:rPr>
                        <a:t>เพิ่มขีดความสามารถในการบริหารจัดการโซ่อุปทาน</a:t>
                      </a:r>
                      <a:endParaRPr lang="th-TH" sz="2200" dirty="0">
                        <a:solidFill>
                          <a:schemeClr val="bg1"/>
                        </a:solidFill>
                        <a:latin typeface="TH SarabunPSK" pitchFamily="34" charset="-34"/>
                        <a:cs typeface="TH SarabunPSK" pitchFamily="34" charset="-34"/>
                      </a:endParaRPr>
                    </a:p>
                  </a:txBody>
                  <a:tcPr marT="34255" marB="34255"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0070C0"/>
                    </a:solidFill>
                  </a:tcPr>
                </a:tc>
              </a:tr>
            </a:tbl>
          </a:graphicData>
        </a:graphic>
      </p:graphicFrame>
      <p:sp>
        <p:nvSpPr>
          <p:cNvPr id="36869" name="Rectangle 1"/>
          <p:cNvSpPr>
            <a:spLocks noChangeArrowheads="1"/>
          </p:cNvSpPr>
          <p:nvPr/>
        </p:nvSpPr>
        <p:spPr bwMode="auto">
          <a:xfrm>
            <a:off x="298450" y="819234"/>
            <a:ext cx="8693150" cy="13619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nchor="ctr">
            <a:spAutoFit/>
          </a:bodyPr>
          <a:lstStyle/>
          <a:p>
            <a:pPr marL="355600" lvl="2" indent="-355600" algn="thaiDist">
              <a:lnSpc>
                <a:spcPts val="2500"/>
              </a:lnSpc>
              <a:spcBef>
                <a:spcPts val="1200"/>
              </a:spcBef>
            </a:pPr>
            <a:r>
              <a:rPr lang="th-TH" sz="2000" b="1" dirty="0" smtClean="0">
                <a:latin typeface="TH SarabunPSK" pitchFamily="34" charset="-34"/>
                <a:ea typeface="Calibri" pitchFamily="34" charset="0"/>
                <a:cs typeface="TH SarabunPSK" pitchFamily="34" charset="-34"/>
              </a:rPr>
              <a:t>1.1	ส่งเสริม</a:t>
            </a:r>
            <a:r>
              <a:rPr lang="th-TH" sz="2000" b="1" dirty="0">
                <a:latin typeface="TH SarabunPSK" pitchFamily="34" charset="-34"/>
                <a:ea typeface="Calibri" pitchFamily="34" charset="0"/>
                <a:cs typeface="TH SarabunPSK" pitchFamily="34" charset="-34"/>
              </a:rPr>
              <a:t>บทบาทของเกษตรกรและผู้ประกอบการเกษตรในโซ่อุปทานสินค้าเกษตรและอาหารจากต้นน้ำถึงปลาย</a:t>
            </a:r>
            <a:r>
              <a:rPr lang="th-TH" sz="2000" b="1" dirty="0" smtClean="0">
                <a:latin typeface="TH SarabunPSK" pitchFamily="34" charset="-34"/>
                <a:ea typeface="Calibri" pitchFamily="34" charset="0"/>
                <a:cs typeface="TH SarabunPSK" pitchFamily="34" charset="-34"/>
              </a:rPr>
              <a:t>น้ำ</a:t>
            </a:r>
          </a:p>
          <a:p>
            <a:pPr marL="900113" lvl="2" indent="-544513" algn="thaiDist" defTabSz="804863">
              <a:lnSpc>
                <a:spcPts val="2500"/>
              </a:lnSpc>
              <a:spcBef>
                <a:spcPts val="1200"/>
              </a:spcBef>
            </a:pPr>
            <a:r>
              <a:rPr lang="en-US" sz="2000" b="1" dirty="0" smtClean="0">
                <a:solidFill>
                  <a:srgbClr val="000099"/>
                </a:solidFill>
                <a:latin typeface="TH SarabunPSK" pitchFamily="34" charset="-34"/>
                <a:ea typeface="Calibri" pitchFamily="34" charset="0"/>
                <a:cs typeface="TH SarabunPSK" pitchFamily="34" charset="-34"/>
              </a:rPr>
              <a:t>1.1</a:t>
            </a:r>
            <a:r>
              <a:rPr lang="th-TH" sz="2000" b="1" dirty="0" smtClean="0">
                <a:solidFill>
                  <a:srgbClr val="000099"/>
                </a:solidFill>
                <a:latin typeface="TH SarabunPSK" pitchFamily="34" charset="-34"/>
                <a:ea typeface="Calibri" pitchFamily="34" charset="0"/>
                <a:cs typeface="TH SarabunPSK" pitchFamily="34" charset="-34"/>
              </a:rPr>
              <a:t>.1</a:t>
            </a:r>
            <a:r>
              <a:rPr lang="th-TH" sz="2000" b="1" dirty="0">
                <a:solidFill>
                  <a:srgbClr val="000099"/>
                </a:solidFill>
                <a:latin typeface="TH SarabunPSK" pitchFamily="34" charset="-34"/>
                <a:ea typeface="Calibri" pitchFamily="34" charset="0"/>
                <a:cs typeface="TH SarabunPSK" pitchFamily="34" charset="-34"/>
              </a:rPr>
              <a:t>	พัฒนาทักษะการบริหารจัดการโลจิสติกส์ในระดับฟาร์มให้กับกลุ่มและสถาบันเกษตรกร </a:t>
            </a:r>
            <a:endParaRPr lang="th-TH" sz="2000" dirty="0">
              <a:solidFill>
                <a:srgbClr val="000099"/>
              </a:solidFill>
              <a:latin typeface="TH SarabunPSK" pitchFamily="34" charset="-34"/>
              <a:ea typeface="Calibri" pitchFamily="34" charset="0"/>
              <a:cs typeface="TH SarabunPSK" pitchFamily="34" charset="-34"/>
            </a:endParaRPr>
          </a:p>
          <a:p>
            <a:pPr marL="900113" indent="-544513" algn="thaiDist" defTabSz="804863" eaLnBrk="0" hangingPunct="0">
              <a:lnSpc>
                <a:spcPts val="2500"/>
              </a:lnSpc>
              <a:spcBef>
                <a:spcPts val="1200"/>
              </a:spcBef>
            </a:pPr>
            <a:r>
              <a:rPr lang="en-US" sz="2000" b="1" dirty="0" smtClean="0">
                <a:solidFill>
                  <a:srgbClr val="000099"/>
                </a:solidFill>
                <a:latin typeface="TH SarabunPSK" pitchFamily="34" charset="-34"/>
                <a:ea typeface="Calibri" pitchFamily="34" charset="0"/>
                <a:cs typeface="TH SarabunPSK" pitchFamily="34" charset="-34"/>
              </a:rPr>
              <a:t>1.1.2</a:t>
            </a:r>
            <a:r>
              <a:rPr lang="en-US" sz="2000" b="1" dirty="0">
                <a:solidFill>
                  <a:srgbClr val="000099"/>
                </a:solidFill>
                <a:latin typeface="TH SarabunPSK" pitchFamily="34" charset="-34"/>
                <a:ea typeface="Calibri" pitchFamily="34" charset="0"/>
                <a:cs typeface="TH SarabunPSK" pitchFamily="34" charset="-34"/>
              </a:rPr>
              <a:t>	</a:t>
            </a:r>
            <a:r>
              <a:rPr lang="th-TH" sz="2000" b="1" dirty="0">
                <a:solidFill>
                  <a:srgbClr val="000099"/>
                </a:solidFill>
                <a:latin typeface="TH SarabunPSK" pitchFamily="34" charset="-34"/>
                <a:ea typeface="Calibri" pitchFamily="34" charset="0"/>
                <a:cs typeface="TH SarabunPSK" pitchFamily="34" charset="-34"/>
              </a:rPr>
              <a:t>ส่งเสริมการพัฒนาสถาบันเกษตรกรให้ทำหน้าที่เป็นกลไกการจัดการธุรกิจ (</a:t>
            </a:r>
            <a:r>
              <a:rPr lang="en-US" sz="2000" b="1" dirty="0">
                <a:solidFill>
                  <a:srgbClr val="000099"/>
                </a:solidFill>
                <a:latin typeface="TH SarabunPSK" pitchFamily="34" charset="-34"/>
                <a:ea typeface="Calibri" pitchFamily="34" charset="0"/>
                <a:cs typeface="TH SarabunPSK" pitchFamily="34" charset="-34"/>
              </a:rPr>
              <a:t>Business arm) </a:t>
            </a:r>
            <a:r>
              <a:rPr lang="th-TH" sz="2000" b="1" dirty="0">
                <a:solidFill>
                  <a:srgbClr val="000099"/>
                </a:solidFill>
                <a:latin typeface="TH SarabunPSK" pitchFamily="34" charset="-34"/>
                <a:ea typeface="Calibri" pitchFamily="34" charset="0"/>
                <a:cs typeface="TH SarabunPSK" pitchFamily="34" charset="-34"/>
              </a:rPr>
              <a:t>ให้กับเกษตรกร </a:t>
            </a:r>
            <a:endParaRPr lang="th-TH" sz="2000" dirty="0">
              <a:solidFill>
                <a:srgbClr val="000099"/>
              </a:solidFill>
              <a:latin typeface="TH SarabunPSK" pitchFamily="34" charset="-34"/>
              <a:ea typeface="Calibri" pitchFamily="34" charset="0"/>
              <a:cs typeface="TH SarabunPSK" pitchFamily="34" charset="-34"/>
            </a:endParaRPr>
          </a:p>
        </p:txBody>
      </p:sp>
      <p:sp>
        <p:nvSpPr>
          <p:cNvPr id="36870" name="AutoShape 6" descr="data:image/jpeg;base64,/9j/4AAQSkZJRgABAQAAAQABAAD/2wCEAAkGBhQSEBQUEhQVFRUWFxcVFBQYFxUXFRQUFhgXFBQXFxYXHCYeFxkjGRQVHy8gJCcpLCwsFR4xNTAqNSYrLCkBCQoKDgwOGg8PGiwkHyQqLCwsLCwsKS0sKSksLCwsKSwsKSkpLCwsLCwsLCwsKSwsLCksLCkpKSwsLCksKSwpLP/AABEIAMIBBAMBIgACEQEDEQH/xAAcAAABBQEBAQAAAAAAAAAAAAAAAQIDBAUGBwj/xABDEAABAwIDBAgCBwcCBgMAAAABAAIRAyEEEjEFIkFRBhMyYXGBkbGhwQcjQlKC0fAUYnKywuHxY5IVM1Nzg6M0Q5P/xAAaAQACAwEBAAAAAAAAAAAAAAAAAgEDBAUG/8QAMBEAAgIBAwMCBAUEAwAAAAAAAAECEQMSITEEE0EyURQiYfCBkaGxwUJScdEFFTP/2gAMAwEAAhEDEQA/APbkIQkFBCEIAEIQgAQhCABCEIAEIQgAQhCABCEIAEISIAEiVIpIFRCEqgBISoQgkEIQgAQhCABCQuTS9TQWOlIXKJ1VMNVMoEWSlyVVjVQn0AXUIQqSQQhCABCEIAEIQgAQhCABCEIAEIQgAQhVNo7WpUG5q1RrBwk3PgNT5IJSstprnLh9q/SYLjDUi7/UqbrY5hg3j55VyW0dr18SfrqrnNmMg3acH9wWPnKR5EjTDpMkudj0Pa/T3C0Za1/W1AOxT3r97uyPWe5Z2x/pFzf/ACafVzcPZLmgSBDgb2JFx42XngZBgaCQFfpHc/A73aqnmdm6HQw07nsWExrKrc1N7XjmCDB5Hke5Trx1tZ1NxdSe6m7f3mmNHNNxoeOvMrpdndP6jN2uzrBJGdkNf28olp3TYi8jinjlTMuTopx3jud6hYmzOmOFxDxTpVQXkE5CHNdbWxC1jVVyVmF7bMkJSFyhNVMdWTqBFkzqiYaqrOrqF9dWLGK2W3Vkx1dUXYhNNdWKAtlt1ZMNVVTVR1ibSFlk1Uir9YkU0SdEhCFgLAQhCABCEIAEIQgAQhYe2ukv7PVyloIyB05iDJc5saH7oQNGLk6RuIXN0unVE6tcPAsPzBVTbH0gNYGjDgPJkHPmGTSLfa46Hgo1Is7GS6o68lYG1Om+GoyA7rXD7NOHXFru7I9Z7l59tHb9bESKtRzhMZBus0+6NfOSs9x/Xkq5ZaNePor3kzodqdPcTVkU4oNv2d5/+9wgeQ81zdQ5nFziXOJu5xLnH8Ruhxv+uSaSs8sjZ0MeCMOELw8vmnsvb94fkoc1vL5pwdr4hVai/TsNqdo+LvdWmHc/A/3aqM/NW2u3PwP9wovclKkWKx7X/k92pXPufxfztUdZ3a/8n9KKjrn8X8zEyZDWxz2IfFdxAJIANjBG8649Fv7H+kTEUQAXdcA2SyrIqcI3+Guplc5WrZazzBNuHAZ33TqtWk6k0tP1mV2cH7pc3LbUW910sL+VHH6iKcnZ6rgvpBwzwc7upcNRUsPJ+h1W5+0ggEGQbg8wvEcTs15Y/Kc7dXDtZQ4AcbgiDzXW7I6fgBtOszQBudlxYalpMjTmtMZLyYZ4q9J3j66gfiFl0Nu0akZKrDmuBmAJ/CbqcvVyM72LJrJRUVUOUjSpILIcnBQtKmYgB4alUjWFCgY30IQueWghCEACEIQAIQhAAuH6bVQMQP8Att/ncV3C876abQaMXIfowDdhxkSY/XNLLg0dO6nZiVKtJxM5QLwCRM2590LOxDxu5fvH+mFI/HOJMS4Hi8CY8iqTqJ5xroND3SskpJHS7yFp1ILp+9/T/dI7Eg6SdRI005oNEaxOh537pSGoSBDYk8eHkqZTt2L35JUiNz3Omd0X01tNvMQpxTcGy8OkSSWjMDqdBvfdGnA6qGm0jXvWlisIS1xa5wsSbyI42OiTWJrnd2Ui3gCCdIBGadYLdZSF0SCNT4fBWcXTdJDg0th8GDI3TA/uonta1obL2y7SMwM1CNXixPinpeGWR6uS2krK0/NWmO3PwP8Aks7a1YsAc0MIvJa4+NmnTjYFSYbGNe1sOElr4GhOmgOqVLybIZozNKs7tfj9mpKrtfxe7FDVf2vxfyhFV+v4v6FKZazCxbgKzi7NEHs69t/wUNN4MSQ8ZCOTu0NeQV1mJYzEk1Iy5Kgu3Ncudlt4xdVQWOptgfWQ8l02NMkZQBrbe+C6eH0I5Gf1ssVqhaypkeR2SWPGsgTleb8ZGszCSnTY4syuALmtzm248tdJt5cFDWrOyPbMg5d12gFyII4giVBg3BzgLGRTETlMFrhBM27iriiibEYNzatFxgiCWPETIaSLjjLZBXV4HpPVYYdFRsxezgI+9x81yGLcRUoAl8ZbNfq2zmwCBDhbvvKtvrzI8fyVbk4vYdY1Nbo9H2RtyniC4MDgWhpcHCO1IEHQ9krWa1eVbM21UovBpuicgIIBDhJsR+tV2GyPpBpuf1ddhpGGnrBvMJdbTtN46jgteOdxtnPy49EqRexnTTCUXuY+oc7SWua1j3EEaiwj4qk76SAZ/Z8JWqxxdutI4ndDjbvAXCdLKjTj65YQ5pcCCDIILWmQR4rU2F0wZh8OymWOcW9ZMZQCHGRvG9rq5RbVleyZpv8ApXxMnLToNHAQ9x8zmHshcK6ohX9qPsLqZ9SIXBDp5XZVHW02tpkgQCCQC4S6x1g6d4TKn0qt61zW05BtTveZiXR7BcjSy89AQuZwPTMOzCtTdQhr3Nc/suDCA7vkSD5q9sbbNPEvLqNXO0CHNILSD9ktBAtZ0zy9SmBsIQhKBDjMR1dN74nK0ujSYE6risX0/quH1dNlPvJLz8h7rrNvOjC1j/pu9l5MXWVOWbjwXY4p8lzH7arVf+ZVe4fdmG/7WwFnl368lJQwj6hIY0uIEnTTzWnQ6K1HdpzG+eY6chb4rK3OZd8sTDlMd+a6JmxqDZzOe4gExZoOWQRxPAqy2nQYLU2BwEnNvRLw03Pdf0R2G+WkHc9kckfySBgue9bfS/8A57Y/6bfdywyfdZcy0ScSyD1KyMn5rSdtIsY/ccQWObOuo1tdZoN1tPw00XvkQJEcdOHqog5X8ozqtyniMW07s337fgcndYcrbiA4zOvbOiXGs0JGofBjhkcbKqWtOXUGZtMHfcb8Oau/3/JWZ23WA0pDYkgGIjQqnW6PMcA6Wh+sgljm5om7Tex7lf2yyKR3szZEWEg8jorXWAtaC1pgNM8RpdNicv6TZhjFxeowqmHxVKctQuFgBUYHi88WX4cUN25VEipRmNXUnA+MtdEacytilVpvBLMwGYAzPAP0lSY7Zzt4OAdABgt4GYM+qtk69SLYxbfyy2OUdtdr6mcAts4ODuEuJ4KTrWkAt1Ac0EcdTAjgs5zAKrwABcW8CEjqI10PPjpzW7Evl2OTmzuM2pGn1TnZshLpggazDXTEX0BKShiAQwQBlaxpPOziHE+ceSy3lwBh2gjgdJPHwVunUOVuhgAehi0+atUWKssWh9WpvUdYBECZF5FlbNRZlTLLODg4Wi0XvqnVsU4EgARa8/rmqJ8mvG74LhrkOBHNvwNlPRxx6yXsn6umNJEAm4IuBcie5UHMJ1ixHP8ANTlpk3JIIAiJjWLd6eOdRjQmTpJZJWV6rh1hj4JwaePCdbe6stw0ktAJJgAXJzGwAHOVq4Lo/WfBawQ4OaCX025nNOUgBzgSZsrI9ZJKoxD4CK9cjDdTNvDvPskWnTZAg2IkEciDBCEvx2T2Ro/67H7s9A6R0OswlKpTpsZm7X2Q0sgONPNqScveco1XCt2fUDRUMBhc5ueRq0ZjA1vwPNeh7XbRdXDK8tEiph2y9xcwND3wCMtNmpJ/0yOSx9uY/Ctdh8sGkWl7mZiMrHEmNBEiHCLTBITHJItk7bquqNBxJyOOasSAWtbIaSC4Tmy2iIsL3Vih03ZQxb6lGmRTLrhxhz3hsHQENEuNgOISdJuiTGCk+jLGOpMLw+QYsHEmIOokDWJ4hc5s7YlR+KbRH1rhmLwwhxDW7s3gcteYmEMU9k6NdLWYmlneWUiXFrWl43gI0mCdV0C+a8RV6t72aZXkC5IGUkR3g2v3L2j6O+k4xWHDIIfRaxribhwiAZixsbJGgTNjpQ6MHW/g9yAvJnOXqfTF0YGt4D+YLyd7lh6l8GrDwQ7Txb6eGqOpuc1wfShzSQdSYtwtpxXUYXpQ2rj2YeiA9rQ576odYQwiAIuMzmiZ1Ky9k0qL21G1suXdIDnFtxm0IuT+a1MJi8FhzNIU2uuCadMyQRcZouJAOvBW4Y4XCMslWna/MTJq1NIt0qocOyQ05Qd0uf8AazEt1gvBb2eMzyTE4SrvNZIGV2U7rQWlhGrYIqB8X4NYLySq56Y0xo2o7TXK0WHcSs6t0rnSk3Qxmc53Lw5BXPqcEfJWseRh0vd9eP8Ats+axCfdTbR2i6s/M+JgCwgQPEnmq0+64meanNyRuxx0xSY3MrlfGuDHDK7KQdLg+Sog3Hir2JxEMMngb8rJE/Ydjq+0S6GFzoGeGmYEMcLSoGv46zY3Ft5x08U+vXDrAgkB08wMrvS8KPK0sBLQSLjyMrS7rf73RUqKe1nfUun7w91bbkyN7YMNuM2U6eSqbaptFIlvMAiTEyL+SuUi/q2w8AQ3dI000KSFv8zo9NSUhHkTZ4NxwAiz9Y81be6ow1IhxDRMOcCBvcCPGyp13OLrhp000MB+vopKz2zU+rcwFoAy2vfgCr1xbLnzS+hw2Jd9fU43JnzuruB2g2nSxDC2TVp5GOtuEZ7+pHoqGK/5z/P3THHX9c108PpPOdXtlZo7exNKpVe6gzIwtackAAOiHWbaJVajVsP1xcqpdZ3h8wmipYfrmt2B/M/8GR8E2JqDq/I/Bv8AdRU6m76+6rVqtj5+ydhTueqq6utP4nR/4/8A9K+jOy6Px1eJe2iKz2HDlrSzPZzyHgDgSBrFolb7clOliKQc3Oyph6tVoFmvNZryA7Rwa0BtvuHmuBoV3NL8rnNkCYJEjkY1UzzOabmJXOU6R1cmG5Pc6DAvZ/xIue5oYKj3lxIy7rnObfxAVip0gDGYQU20nPZSc4vLcxp1aji54bNg4G8wuapuv+FOpOuxLra4LO0m02WqNQkEm5kyeZm6FDRdY+JQqzQbex8ZScaTcQ5wc3OzO0lxJcWxLg/959tLDmV2WJ6FVTWaxwZlcHOYGspQwFwdlMhplrnRmk6gQcxXJ7IqUpD6LcjqbgQYgh0BwIGmhC6c9M8Vp1s+LKfMfurS+oSdNHney/BB0t2LRpUS9j3xTin1fWOPa3Q6HGG9kSAI3ojdTtjYJtOhWq0yaPVBzW1A4OfVeWNaSCCM2VzrWAGYWm653pHt2s9xGYEuyvdYXNMkt/DJkjQwFzVbpTiCCzO/dzEjdaIOVxsLfZae8hXxnqVoqlBrZlvEsfVAqOaGlzsoOhqOcS5zj4T3CF6z9FPR52GwxrVSAa4a5omzaeonhmM+IheJ4fabnOzue47zndoxmcd466njzhXTtTiZPC91Dl4JjFPye6dOdqUv2KqwVGF5yw0PaXdoE2BleXueubwO08zzyg+pIhaTtodx9Wj5rndSm5bGjFSRdc/5ppf81kYvbQYCYB7g4E68gmM2zmaDZsiYMkiecDVZ+zNq6LdSNnOml/ssU7YH3v8A1v8AcqnjtrVbdUQdZkAeEX8ULp5tk39DpTUR1nusAbT/AIzx1aPZNO0P3XH8bvyR8NIdRl7G8Kl/irOLwzXMJBdJEm5g/Fcp/wAScLhkd4JJteLjip2Y11wchDoAFwWk2NwLzPJPHpXyRUntR0lWkAZzE9ux5lrv7pmRxZIcLTY8ASCYvyj0WC7aJtpbWKjtDY8LaqSjtY5SN/W0FhF9Ndfgru06+/cRwknTRpbazCm7NBBIM9+Ya+qssLsjd0kQ0AjyWHjttEgtOYNN5OS54iGhXcLtX6uMrjuiHC48CACZ01jVVrHKO/1/c1YWopxkvYu/tAkhzSI0J1Mh/wCvNNZixL5lumose0VTxGPJdNrDjmHO1xrdPdtdty4iIvcHSefG6dpuNF0ZRjKzmcaT1z+Pa97KEn9eZTse8da4iwIJ8iTy4KHN3hb8XpOH1avI2PcRB/XIqEusn1NP13KFxsteJ0zLWxBVcp8Adz1VOo5WMA7cPiVVn3Rt6R1kRryL/wAIU4Ov8IWf1kc9I0KfVlwloJtGiwaWdmWSK8l+mdP4T8krXdnx/NZrccGgEg2BnT802ltNrxDeFzNh8UaGR34cWazKmvihURhS6+el/wDoB7hCnQw+IidDsjGhrLNJzGxAAmN0cdYar79q5YJY+5gWGp81k0sHTFNhqCG9UKjieM9k+oKzcBS6ylWeahIk5GF2mUyJE8RCJwjy0ctSfBe2hji+o60QMsXkXnhqVzLyJdfj+pWznh5LTcXB8DYrDFaajnOuS4ud3kuzH4ytGOq2Izw0NfUu4Zu7Fp75t8VcoYYHta8dfzVbDCXEtBgkltjMSY9vdXqLSASWka6gi/HXySTbs2YMWNxtrcK1ABtuPgrLNit6jri9jZLg1hnM4tMQOH9lDiXbje//AApP+JfUdVk0+3mP3zUs2LG8TOiW/c1RxL+lefpwVOrCMg5Jzmkagjxskj/CS2a9MfA0BLCCEoaUN2Ljg4xqTsWmLjxU2Iw0BpEdkk7wJtM+FuCgEggx3idDHukfUmJ4D5k/NQO1bVCMFwug2Vgqb6NZz82amGOa4EBu+9rGtLYuSSeOgXP0zcLTw2Pcym+nDHNqupZic2YdW7MzLDo1PEFSnUlYjg5YpqPP3f6FMus7+H+pqs0aLTlJcAZaMuWSQSBIPmfRVnUi2c3FkixEgube/BPZmzMiNWeOo+aZv2K8eOVNT5p/sN2zs1lNnaaXWtkLSLxxV/CYf6oENJtcgkexWTtIvI35JtrM6xxWphqm4y5Ay3vHPgqpb+aDJHTLffZDNrZmUnluZpDHFpzGJtoJXP0cfXP/ANjrRwadfJdFtaoDReJn6t1v9qxcLT7X8LVfgSknaOV1cnCS0vwSDB9YAXkl0kTLRyT8XsMGm7I2Xuc0jeFyJnWALEq1h2Ag2nfPsEbYGWg4i2mluMfNaYqkjHN3J2c1itm1KfbaWw4sN2neABLd0m4BChAEDeI15xYSApH4hzu04u11MnSNT3JKb91o/jn0EKya2K48laBOs3HxEqdlMRx15lQh14I4t/lKsA2Pkogk+Qk6JOrF9deZWjs7YbKwecwbkcwGWz25DIMi5cIhZ4OvkreHxz2B4YQA7KXDK0yWzlO8DpJ9Vo0qtirUx1XZDRUyshwMw4scy7e1LXCW3BHkko4HNG6IOYTFpa3MZtyTK2Jc5znOcS43J5k6lMB08E6SIs2MP0Zc5sk0x4zpz00SrIp6ITJE2b20MHVq0slPKabg0XgE9UeEkH/KzmbPdh2kvp9o5S8Eaaxad2w+CvYHpI91Hstb1ZDIuZzAkuJtyiO9UsZt+pUBaQMp1AkG8zcHvXPkkaE2UKO0YAAbfQnmZ/QVavRIebaifzV9lBuXNpx1468Qs+tUlxEEiY118gLpY1uNKUnVs2+juz6tRlR1KoG9U0ODTfO4zuibNgAXOkq7TxjnYOHkl7azxfXLkaPQER5JnQ7aFKlTqBzg1xeJBsSHNyiJubjyWXWrwaoA+26IIOrjxCnJH5di3p5VO2W67t0KJzrX04phqE6/rRKCsklR2+nnqVnS1dpPrYugKjesFHLLWhsnK1r6xiw7THGP3YTnYjrdpszwQHtggRLGA1Wlw4uiJPcsHD457KgqMcWvBLs1pkzJuIMyfVOw20Xsqiq131kl2YgG7pkwbcT6qdfv7g8LXp/tr8Ts+jtHMKmIeL1H1nNmxBJFJgM99V4Um2cX1GH6ik8MqBrWNZkzvqQxrCGxoQ4kzfRcrV6T13CHOaYcH9n7QeKomOGYAqV/S2uWx9X2w/NkObMHZ9S7SeHJWdxVRl+FyOep1zx+3gv9KnnqKAbHUlznUhlyvpZGimaZHISe8ERwXLn5K9tXbVTEFpflAbmytaCGguOZxuTJJVAn2VM3b2N+CDhjqXIM1HkrbH7zbHtN5cwqlN1wrjao3d4TmbbjrM/AeqirYynpi6XP6bEu0dourHM5oaRSay2hyuF/iU0Yh31YGaNyd6xuCLcIVVzgQb/Z/qarAxfYAJ1ZNhEB08p+KlNvcWSUZOK8L+CvteuXiS3Lpxnie7v+C2MAXdSIa0jLx19ljbXxQeJhwsNY1knn3rTwZb1TJzSRAg291TlTaQkmoz9tkLtRzuqfIEZHRGp0WRh/tfwNWltDL1b4mcjucXANll0DY/wBbenXJxOsdtf4LdOLzPaNx4BG1QDQfBOg1nmEUid6DG98kbVJNB8xpwEcQr48GaXqOXZr6+yVhsL8T8QAmgp9Nwy3+95p58FceSAO0vyU4Nj5Ks43H4feFYbeR4KIBImB18lJm18FAbSpAdfBaUypkk38kNOiaDfyStOiYB9M2QkYUJrAt0XBodvNyucCG5hIjMLzpw4pTjmRqw92dvyVujscESItwVihhGN1a0+IXP1M1NIwsVtRrhDWkd/5BVcJUh0uEi+oP5LtcPSoxvZG+X9k80MKT2mHxDvkFFtkUceSCXEAwYAtcwImEjKRggaayZj1hdDisPTzAtgxOgOU8tVHSaQbbrTy5oZK2MzPYSdO8eKfnE2WzWFJ3bkxpAIideUqmcFSJ0cPCPnf4qqULN2Hqe2qKgcllPr7NH2arh+A3+J9lFUoEaGfD+8KvtGuPXxY6UsqtnPEfA++ijOKOaI8wQQo7bLPjYF2UtoPO0covPnp8VB1vcUorBLpZo78GuSZrr+cqyzVth2m+4VOm8fGFYFUSL8R7qKdoI5IqE7f3Qr7tcYtHdzGqWo+7Y/c87qtUrNgxrHLvHNMdjBaOETcc7q1IyyyqLe/3QuMO56e62MFSJpMIiwkTzWBWxJIy5T4wY9VpYTHQxrSSBB0AMHkZ8eXBVTxulRXLqYSk2+C1jmEU3EukFjreSyqFQQb/YAVyrXBAEl3MeUcAqVRg4MAWjHcTnZnGdMuU68ZrSM3fyT8fWa6g8DXLzHMLFqUniNbHUSPWE8YmpBBcSI7veJVsXtRRKrsziwp9ASI1urGQp4B700pCJFF+DePsmLcJ7+Cc2oWk6jiOBBEwZ14q7mH3fOVdYaMXbU0vcEehSpktGLUxBddxJsACZJgaBKH+y1XuZwZ8G/koy0fdHoFYpsXSjOFUTqE9r9FLUw7SeyEopDlHqfmpU2DiRtehSnDs5FCbuhoO8ZhRkBjx7vNRVaDXagA8zofGFfdSIJIB8f7cVXNRvGRxlsR6H5Kllpn1cF3COYmPXRR/slNoktJ8RI8v8q1Vq5DLXT3iW/BUXOkzJvr+hqlshqi7RoUyPujvB/pBUo2eD2SXeDb/G6rUsFLQZPFSVrBoHBonx4obomKtk9PZrSYc4M7nAz49yKmxGzu1GHzgqm6sRxU1PH1Oc9xv36JdSG0SG19iP4S7lBDvYrPqYUgwRccCtR20iZzMpnhoR7FUHNQ2hlB+SJtJv2mT4Oj5FR1MLR/6RnvcD/SrGRJ1aWxtBRdhGfcA8LKIYLxHqfdaQpJ3VIsdRrgy3YA/et4H89VLRwECCSbzcrQFO6eWKLCm97Kn7OB9geJhDqR7vJWS1BZp5KbFpWZ9TBCJU9HBbvBTVWWU1OnuhI9yaSZSfhgB3wq7afstSpREacPkqtOmPgrIlGQrijM+SKlAZTxsrgAv5JzgMp8Ewnkw+r7lIKVirCCmZCKb6X6808U1NE8Cnhh5IQMr9WnNohWW0in9UnIKnUjklGGHEAK02mnilHJQSVjhmoU5Y79GEIJOrqknifiOPco6lN14YLeK3MSKlspaTxgNb/eUynhCRDg8ReARrI1k3tKhknObRwDmtDjBBANuBPA9/HzCoMZz4rf2xgTyOp11UOxdnzXpZ2nJnbmsYLZCSgsqNcBTjjp5KEMXdbX6LUnOPUy0m4abjXhuz7rncZsKrT7THRzgx6xCJRY8JIxKjbpaDd4eKlq07pa1KDb/EKstsXDNIL2xwvPAcfgoKNIHNPATb0UrahDp18bpGOgu7wR6qSNyN2GI4iDeb8pUbmwtHCv3bxYt9ND8E15AcIvwvoEUKpszihWcWwB1uIHqoCVBZqtCAJQlBUr3WCCLpEGVL1Zt5JxKQvNv7oCyOuyE6nU3bJtZvfP670MaoaIvcVz7KsArJYoLJolU9wATiLJQn9WnEKmQJIHABSvF0gapsgZlTgO5KGSf1b8lKzD8yiwIk4N8FOKA5KajRBcJATWBVDSfL4JDTK0Hsi8Ra/+VA+ib3Jn9WUWMRsw7IuSDyyz8cyVQupPGjvgfzSI3J2Ore8zMmY1StqkEGTPOUIVfgZl57peZvop6AukQrIlUjWwrQTccPmFFtB5D2gExOnDQIQnfApznSQfXeQWRitUIVEuS+JAg6IQkLBE5psUiFIMbXN1XKEKCEOanhCFI3gTFCD6KWl2fT3SoQIVqxuo5uhCgPIijKVCkWQ5imabIQnRU+Ss5Ob8ihCklFgpQhChkCtKe1KhCAXNZDkIUgIlQhSSf//Z"/>
          <p:cNvSpPr>
            <a:spLocks noChangeAspect="1" noChangeArrowheads="1"/>
          </p:cNvSpPr>
          <p:nvPr/>
        </p:nvSpPr>
        <p:spPr bwMode="auto">
          <a:xfrm>
            <a:off x="0" y="-662940"/>
            <a:ext cx="2476500" cy="13858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p>
            <a:endParaRPr lang="th-TH" sz="1800"/>
          </a:p>
        </p:txBody>
      </p:sp>
      <p:sp>
        <p:nvSpPr>
          <p:cNvPr id="36871" name="AutoShape 8" descr="data:image/jpeg;base64,/9j/4AAQSkZJRgABAQAAAQABAAD/2wCEAAkGBhQSEBQUEhQVFRUWFxcVFBQYFxUXFRQUFhgXFBQXFxYXHCYeFxkjGRQVHy8gJCcpLCwsFR4xNTAqNSYrLCkBCQoKDgwOGg8PGiwkHyQqLCwsLCwsKS0sKSksLCwsKSwsKSkpLCwsLCwsLCwsKSwsLCksLCkpKSwsLCksKSwpLP/AABEIAMIBBAMBIgACEQEDEQH/xAAcAAABBQEBAQAAAAAAAAAAAAAAAQIDBAUGBwj/xABDEAABAwIDBAgCBwcCBgMAAAABAAIRAyEEEjEFIkFRBhMyYXGBkbGhwQcjQlKC0fAUYnKywuHxY5IVM1Nzg6M0Q5P/xAAaAQACAwEBAAAAAAAAAAAAAAAAAgEDBAUG/8QAMBEAAgIBAwMCBAUEAwAAAAAAAAECEQMSITEEE0EyURQiYfCBkaGxwUJScdEFFTP/2gAMAwEAAhEDEQA/APbkIQkFBCEIAEIQgAQhCABCEIAEIQgAQhCABCEIAEISIAEiVIpIFRCEqgBISoQgkEIQgAQhCABCQuTS9TQWOlIXKJ1VMNVMoEWSlyVVjVQn0AXUIQqSQQhCABCEIAEIQgAQhCABCEIAEIQgAQhVNo7WpUG5q1RrBwk3PgNT5IJSstprnLh9q/SYLjDUi7/UqbrY5hg3j55VyW0dr18SfrqrnNmMg3acH9wWPnKR5EjTDpMkudj0Pa/T3C0Za1/W1AOxT3r97uyPWe5Z2x/pFzf/ACafVzcPZLmgSBDgb2JFx42XngZBgaCQFfpHc/A73aqnmdm6HQw07nsWExrKrc1N7XjmCDB5Hke5Trx1tZ1NxdSe6m7f3mmNHNNxoeOvMrpdndP6jN2uzrBJGdkNf28olp3TYi8jinjlTMuTopx3jud6hYmzOmOFxDxTpVQXkE5CHNdbWxC1jVVyVmF7bMkJSFyhNVMdWTqBFkzqiYaqrOrqF9dWLGK2W3Vkx1dUXYhNNdWKAtlt1ZMNVVTVR1ibSFlk1Uir9YkU0SdEhCFgLAQhCABCEIAEIQgAQhYe2ukv7PVyloIyB05iDJc5saH7oQNGLk6RuIXN0unVE6tcPAsPzBVTbH0gNYGjDgPJkHPmGTSLfa46Hgo1Is7GS6o68lYG1Om+GoyA7rXD7NOHXFru7I9Z7l59tHb9bESKtRzhMZBus0+6NfOSs9x/Xkq5ZaNePor3kzodqdPcTVkU4oNv2d5/+9wgeQ81zdQ5nFziXOJu5xLnH8Ruhxv+uSaSs8sjZ0MeCMOELw8vmnsvb94fkoc1vL5pwdr4hVai/TsNqdo+LvdWmHc/A/3aqM/NW2u3PwP9wovclKkWKx7X/k92pXPufxfztUdZ3a/8n9KKjrn8X8zEyZDWxz2IfFdxAJIANjBG8649Fv7H+kTEUQAXdcA2SyrIqcI3+Guplc5WrZazzBNuHAZ33TqtWk6k0tP1mV2cH7pc3LbUW910sL+VHH6iKcnZ6rgvpBwzwc7upcNRUsPJ+h1W5+0ggEGQbg8wvEcTs15Y/Kc7dXDtZQ4AcbgiDzXW7I6fgBtOszQBudlxYalpMjTmtMZLyYZ4q9J3j66gfiFl0Nu0akZKrDmuBmAJ/CbqcvVyM72LJrJRUVUOUjSpILIcnBQtKmYgB4alUjWFCgY30IQueWghCEACEIQAIQhAAuH6bVQMQP8Att/ncV3C876abQaMXIfowDdhxkSY/XNLLg0dO6nZiVKtJxM5QLwCRM2590LOxDxu5fvH+mFI/HOJMS4Hi8CY8iqTqJ5xroND3SskpJHS7yFp1ILp+9/T/dI7Eg6SdRI005oNEaxOh537pSGoSBDYk8eHkqZTt2L35JUiNz3Omd0X01tNvMQpxTcGy8OkSSWjMDqdBvfdGnA6qGm0jXvWlisIS1xa5wsSbyI42OiTWJrnd2Ui3gCCdIBGadYLdZSF0SCNT4fBWcXTdJDg0th8GDI3TA/uonta1obL2y7SMwM1CNXixPinpeGWR6uS2krK0/NWmO3PwP8Aks7a1YsAc0MIvJa4+NmnTjYFSYbGNe1sOElr4GhOmgOqVLybIZozNKs7tfj9mpKrtfxe7FDVf2vxfyhFV+v4v6FKZazCxbgKzi7NEHs69t/wUNN4MSQ8ZCOTu0NeQV1mJYzEk1Iy5Kgu3Ncudlt4xdVQWOptgfWQ8l02NMkZQBrbe+C6eH0I5Gf1ssVqhaypkeR2SWPGsgTleb8ZGszCSnTY4syuALmtzm248tdJt5cFDWrOyPbMg5d12gFyII4giVBg3BzgLGRTETlMFrhBM27iriiibEYNzatFxgiCWPETIaSLjjLZBXV4HpPVYYdFRsxezgI+9x81yGLcRUoAl8ZbNfq2zmwCBDhbvvKtvrzI8fyVbk4vYdY1Nbo9H2RtyniC4MDgWhpcHCO1IEHQ9krWa1eVbM21UovBpuicgIIBDhJsR+tV2GyPpBpuf1ddhpGGnrBvMJdbTtN46jgteOdxtnPy49EqRexnTTCUXuY+oc7SWua1j3EEaiwj4qk76SAZ/Z8JWqxxdutI4ndDjbvAXCdLKjTj65YQ5pcCCDIILWmQR4rU2F0wZh8OymWOcW9ZMZQCHGRvG9rq5RbVleyZpv8ApXxMnLToNHAQ9x8zmHshcK6ohX9qPsLqZ9SIXBDp5XZVHW02tpkgQCCQC4S6x1g6d4TKn0qt61zW05BtTveZiXR7BcjSy89AQuZwPTMOzCtTdQhr3Nc/suDCA7vkSD5q9sbbNPEvLqNXO0CHNILSD9ktBAtZ0zy9SmBsIQhKBDjMR1dN74nK0ujSYE6risX0/quH1dNlPvJLz8h7rrNvOjC1j/pu9l5MXWVOWbjwXY4p8lzH7arVf+ZVe4fdmG/7WwFnl368lJQwj6hIY0uIEnTTzWnQ6K1HdpzG+eY6chb4rK3OZd8sTDlMd+a6JmxqDZzOe4gExZoOWQRxPAqy2nQYLU2BwEnNvRLw03Pdf0R2G+WkHc9kckfySBgue9bfS/8A57Y/6bfdywyfdZcy0ScSyD1KyMn5rSdtIsY/ccQWObOuo1tdZoN1tPw00XvkQJEcdOHqog5X8ozqtyniMW07s337fgcndYcrbiA4zOvbOiXGs0JGofBjhkcbKqWtOXUGZtMHfcb8Oau/3/JWZ23WA0pDYkgGIjQqnW6PMcA6Wh+sgljm5om7Tex7lf2yyKR3szZEWEg8jorXWAtaC1pgNM8RpdNicv6TZhjFxeowqmHxVKctQuFgBUYHi88WX4cUN25VEipRmNXUnA+MtdEacytilVpvBLMwGYAzPAP0lSY7Zzt4OAdABgt4GYM+qtk69SLYxbfyy2OUdtdr6mcAts4ODuEuJ4KTrWkAt1Ac0EcdTAjgs5zAKrwABcW8CEjqI10PPjpzW7Evl2OTmzuM2pGn1TnZshLpggazDXTEX0BKShiAQwQBlaxpPOziHE+ceSy3lwBh2gjgdJPHwVunUOVuhgAehi0+atUWKssWh9WpvUdYBECZF5FlbNRZlTLLODg4Wi0XvqnVsU4EgARa8/rmqJ8mvG74LhrkOBHNvwNlPRxx6yXsn6umNJEAm4IuBcie5UHMJ1ixHP8ANTlpk3JIIAiJjWLd6eOdRjQmTpJZJWV6rh1hj4JwaePCdbe6stw0ktAJJgAXJzGwAHOVq4Lo/WfBawQ4OaCX025nNOUgBzgSZsrI9ZJKoxD4CK9cjDdTNvDvPskWnTZAg2IkEciDBCEvx2T2Ro/67H7s9A6R0OswlKpTpsZm7X2Q0sgONPNqScveco1XCt2fUDRUMBhc5ueRq0ZjA1vwPNeh7XbRdXDK8tEiph2y9xcwND3wCMtNmpJ/0yOSx9uY/Ctdh8sGkWl7mZiMrHEmNBEiHCLTBITHJItk7bquqNBxJyOOasSAWtbIaSC4Tmy2iIsL3Vih03ZQxb6lGmRTLrhxhz3hsHQENEuNgOISdJuiTGCk+jLGOpMLw+QYsHEmIOokDWJ4hc5s7YlR+KbRH1rhmLwwhxDW7s3gcteYmEMU9k6NdLWYmlneWUiXFrWl43gI0mCdV0C+a8RV6t72aZXkC5IGUkR3g2v3L2j6O+k4xWHDIIfRaxribhwiAZixsbJGgTNjpQ6MHW/g9yAvJnOXqfTF0YGt4D+YLyd7lh6l8GrDwQ7Txb6eGqOpuc1wfShzSQdSYtwtpxXUYXpQ2rj2YeiA9rQ576odYQwiAIuMzmiZ1Ky9k0qL21G1suXdIDnFtxm0IuT+a1MJi8FhzNIU2uuCadMyQRcZouJAOvBW4Y4XCMslWna/MTJq1NIt0qocOyQ05Qd0uf8AazEt1gvBb2eMzyTE4SrvNZIGV2U7rQWlhGrYIqB8X4NYLySq56Y0xo2o7TXK0WHcSs6t0rnSk3Qxmc53Lw5BXPqcEfJWseRh0vd9eP8Ats+axCfdTbR2i6s/M+JgCwgQPEnmq0+64meanNyRuxx0xSY3MrlfGuDHDK7KQdLg+Sog3Hir2JxEMMngb8rJE/Ydjq+0S6GFzoGeGmYEMcLSoGv46zY3Ft5x08U+vXDrAgkB08wMrvS8KPK0sBLQSLjyMrS7rf73RUqKe1nfUun7w91bbkyN7YMNuM2U6eSqbaptFIlvMAiTEyL+SuUi/q2w8AQ3dI000KSFv8zo9NSUhHkTZ4NxwAiz9Y81be6ow1IhxDRMOcCBvcCPGyp13OLrhp000MB+vopKz2zU+rcwFoAy2vfgCr1xbLnzS+hw2Jd9fU43JnzuruB2g2nSxDC2TVp5GOtuEZ7+pHoqGK/5z/P3THHX9c108PpPOdXtlZo7exNKpVe6gzIwtackAAOiHWbaJVajVsP1xcqpdZ3h8wmipYfrmt2B/M/8GR8E2JqDq/I/Bv8AdRU6m76+6rVqtj5+ydhTueqq6utP4nR/4/8A9K+jOy6Px1eJe2iKz2HDlrSzPZzyHgDgSBrFolb7clOliKQc3Oyph6tVoFmvNZryA7Rwa0BtvuHmuBoV3NL8rnNkCYJEjkY1UzzOabmJXOU6R1cmG5Pc6DAvZ/xIue5oYKj3lxIy7rnObfxAVip0gDGYQU20nPZSc4vLcxp1aji54bNg4G8wuapuv+FOpOuxLra4LO0m02WqNQkEm5kyeZm6FDRdY+JQqzQbex8ZScaTcQ5wc3OzO0lxJcWxLg/959tLDmV2WJ6FVTWaxwZlcHOYGspQwFwdlMhplrnRmk6gQcxXJ7IqUpD6LcjqbgQYgh0BwIGmhC6c9M8Vp1s+LKfMfurS+oSdNHney/BB0t2LRpUS9j3xTin1fWOPa3Q6HGG9kSAI3ojdTtjYJtOhWq0yaPVBzW1A4OfVeWNaSCCM2VzrWAGYWm653pHt2s9xGYEuyvdYXNMkt/DJkjQwFzVbpTiCCzO/dzEjdaIOVxsLfZae8hXxnqVoqlBrZlvEsfVAqOaGlzsoOhqOcS5zj4T3CF6z9FPR52GwxrVSAa4a5omzaeonhmM+IheJ4fabnOzue47zndoxmcd466njzhXTtTiZPC91Dl4JjFPye6dOdqUv2KqwVGF5yw0PaXdoE2BleXueubwO08zzyg+pIhaTtodx9Wj5rndSm5bGjFSRdc/5ppf81kYvbQYCYB7g4E68gmM2zmaDZsiYMkiecDVZ+zNq6LdSNnOml/ssU7YH3v8A1v8AcqnjtrVbdUQdZkAeEX8ULp5tk39DpTUR1nusAbT/AIzx1aPZNO0P3XH8bvyR8NIdRl7G8Kl/irOLwzXMJBdJEm5g/Fcp/wAScLhkd4JJteLjip2Y11wchDoAFwWk2NwLzPJPHpXyRUntR0lWkAZzE9ux5lrv7pmRxZIcLTY8ASCYvyj0WC7aJtpbWKjtDY8LaqSjtY5SN/W0FhF9Ndfgru06+/cRwknTRpbazCm7NBBIM9+Ya+qssLsjd0kQ0AjyWHjttEgtOYNN5OS54iGhXcLtX6uMrjuiHC48CACZ01jVVrHKO/1/c1YWopxkvYu/tAkhzSI0J1Mh/wCvNNZixL5lumose0VTxGPJdNrDjmHO1xrdPdtdty4iIvcHSefG6dpuNF0ZRjKzmcaT1z+Pa97KEn9eZTse8da4iwIJ8iTy4KHN3hb8XpOH1avI2PcRB/XIqEusn1NP13KFxsteJ0zLWxBVcp8Adz1VOo5WMA7cPiVVn3Rt6R1kRryL/wAIU4Ov8IWf1kc9I0KfVlwloJtGiwaWdmWSK8l+mdP4T8krXdnx/NZrccGgEg2BnT802ltNrxDeFzNh8UaGR34cWazKmvihURhS6+el/wDoB7hCnQw+IidDsjGhrLNJzGxAAmN0cdYar79q5YJY+5gWGp81k0sHTFNhqCG9UKjieM9k+oKzcBS6ylWeahIk5GF2mUyJE8RCJwjy0ctSfBe2hji+o60QMsXkXnhqVzLyJdfj+pWznh5LTcXB8DYrDFaajnOuS4ud3kuzH4ytGOq2Izw0NfUu4Zu7Fp75t8VcoYYHta8dfzVbDCXEtBgkltjMSY9vdXqLSASWka6gi/HXySTbs2YMWNxtrcK1ABtuPgrLNit6jri9jZLg1hnM4tMQOH9lDiXbje//AApP+JfUdVk0+3mP3zUs2LG8TOiW/c1RxL+lefpwVOrCMg5Jzmkagjxskj/CS2a9MfA0BLCCEoaUN2Ljg4xqTsWmLjxU2Iw0BpEdkk7wJtM+FuCgEggx3idDHukfUmJ4D5k/NQO1bVCMFwug2Vgqb6NZz82amGOa4EBu+9rGtLYuSSeOgXP0zcLTw2Pcym+nDHNqupZic2YdW7MzLDo1PEFSnUlYjg5YpqPP3f6FMus7+H+pqs0aLTlJcAZaMuWSQSBIPmfRVnUi2c3FkixEgube/BPZmzMiNWeOo+aZv2K8eOVNT5p/sN2zs1lNnaaXWtkLSLxxV/CYf6oENJtcgkexWTtIvI35JtrM6xxWphqm4y5Ay3vHPgqpb+aDJHTLffZDNrZmUnluZpDHFpzGJtoJXP0cfXP/ANjrRwadfJdFtaoDReJn6t1v9qxcLT7X8LVfgSknaOV1cnCS0vwSDB9YAXkl0kTLRyT8XsMGm7I2Xuc0jeFyJnWALEq1h2Ag2nfPsEbYGWg4i2mluMfNaYqkjHN3J2c1itm1KfbaWw4sN2neABLd0m4BChAEDeI15xYSApH4hzu04u11MnSNT3JKb91o/jn0EKya2K48laBOs3HxEqdlMRx15lQh14I4t/lKsA2Pkogk+Qk6JOrF9deZWjs7YbKwecwbkcwGWz25DIMi5cIhZ4OvkreHxz2B4YQA7KXDK0yWzlO8DpJ9Vo0qtirUx1XZDRUyshwMw4scy7e1LXCW3BHkko4HNG6IOYTFpa3MZtyTK2Jc5znOcS43J5k6lMB08E6SIs2MP0Zc5sk0x4zpz00SrIp6ITJE2b20MHVq0slPKabg0XgE9UeEkH/KzmbPdh2kvp9o5S8Eaaxad2w+CvYHpI91Hstb1ZDIuZzAkuJtyiO9UsZt+pUBaQMp1AkG8zcHvXPkkaE2UKO0YAAbfQnmZ/QVavRIebaifzV9lBuXNpx1468Qs+tUlxEEiY118gLpY1uNKUnVs2+juz6tRlR1KoG9U0ODTfO4zuibNgAXOkq7TxjnYOHkl7azxfXLkaPQER5JnQ7aFKlTqBzg1xeJBsSHNyiJubjyWXWrwaoA+26IIOrjxCnJH5di3p5VO2W67t0KJzrX04phqE6/rRKCsklR2+nnqVnS1dpPrYugKjesFHLLWhsnK1r6xiw7THGP3YTnYjrdpszwQHtggRLGA1Wlw4uiJPcsHD457KgqMcWvBLs1pkzJuIMyfVOw20Xsqiq131kl2YgG7pkwbcT6qdfv7g8LXp/tr8Ts+jtHMKmIeL1H1nNmxBJFJgM99V4Um2cX1GH6ik8MqBrWNZkzvqQxrCGxoQ4kzfRcrV6T13CHOaYcH9n7QeKomOGYAqV/S2uWx9X2w/NkObMHZ9S7SeHJWdxVRl+FyOep1zx+3gv9KnnqKAbHUlznUhlyvpZGimaZHISe8ERwXLn5K9tXbVTEFpflAbmytaCGguOZxuTJJVAn2VM3b2N+CDhjqXIM1HkrbH7zbHtN5cwqlN1wrjao3d4TmbbjrM/AeqirYynpi6XP6bEu0dourHM5oaRSay2hyuF/iU0Yh31YGaNyd6xuCLcIVVzgQb/Z/qarAxfYAJ1ZNhEB08p+KlNvcWSUZOK8L+CvteuXiS3Lpxnie7v+C2MAXdSIa0jLx19ljbXxQeJhwsNY1knn3rTwZb1TJzSRAg291TlTaQkmoz9tkLtRzuqfIEZHRGp0WRh/tfwNWltDL1b4mcjucXANll0DY/wBbenXJxOsdtf4LdOLzPaNx4BG1QDQfBOg1nmEUid6DG98kbVJNB8xpwEcQr48GaXqOXZr6+yVhsL8T8QAmgp9Nwy3+95p58FceSAO0vyU4Nj5Ks43H4feFYbeR4KIBImB18lJm18FAbSpAdfBaUypkk38kNOiaDfyStOiYB9M2QkYUJrAt0XBodvNyucCG5hIjMLzpw4pTjmRqw92dvyVujscESItwVihhGN1a0+IXP1M1NIwsVtRrhDWkd/5BVcJUh0uEi+oP5LtcPSoxvZG+X9k80MKT2mHxDvkFFtkUceSCXEAwYAtcwImEjKRggaayZj1hdDisPTzAtgxOgOU8tVHSaQbbrTy5oZK2MzPYSdO8eKfnE2WzWFJ3bkxpAIideUqmcFSJ0cPCPnf4qqULN2Hqe2qKgcllPr7NH2arh+A3+J9lFUoEaGfD+8KvtGuPXxY6UsqtnPEfA++ijOKOaI8wQQo7bLPjYF2UtoPO0covPnp8VB1vcUorBLpZo78GuSZrr+cqyzVth2m+4VOm8fGFYFUSL8R7qKdoI5IqE7f3Qr7tcYtHdzGqWo+7Y/c87qtUrNgxrHLvHNMdjBaOETcc7q1IyyyqLe/3QuMO56e62MFSJpMIiwkTzWBWxJIy5T4wY9VpYTHQxrSSBB0AMHkZ8eXBVTxulRXLqYSk2+C1jmEU3EukFjreSyqFQQb/YAVyrXBAEl3MeUcAqVRg4MAWjHcTnZnGdMuU68ZrSM3fyT8fWa6g8DXLzHMLFqUniNbHUSPWE8YmpBBcSI7veJVsXtRRKrsziwp9ASI1urGQp4B700pCJFF+DePsmLcJ7+Cc2oWk6jiOBBEwZ14q7mH3fOVdYaMXbU0vcEehSpktGLUxBddxJsACZJgaBKH+y1XuZwZ8G/koy0fdHoFYpsXSjOFUTqE9r9FLUw7SeyEopDlHqfmpU2DiRtehSnDs5FCbuhoO8ZhRkBjx7vNRVaDXagA8zofGFfdSIJIB8f7cVXNRvGRxlsR6H5Kllpn1cF3COYmPXRR/slNoktJ8RI8v8q1Vq5DLXT3iW/BUXOkzJvr+hqlshqi7RoUyPujvB/pBUo2eD2SXeDb/G6rUsFLQZPFSVrBoHBonx4obomKtk9PZrSYc4M7nAz49yKmxGzu1GHzgqm6sRxU1PH1Oc9xv36JdSG0SG19iP4S7lBDvYrPqYUgwRccCtR20iZzMpnhoR7FUHNQ2hlB+SJtJv2mT4Oj5FR1MLR/6RnvcD/SrGRJ1aWxtBRdhGfcA8LKIYLxHqfdaQpJ3VIsdRrgy3YA/et4H89VLRwECCSbzcrQFO6eWKLCm97Kn7OB9geJhDqR7vJWS1BZp5KbFpWZ9TBCJU9HBbvBTVWWU1OnuhI9yaSZSfhgB3wq7afstSpREacPkqtOmPgrIlGQrijM+SKlAZTxsrgAv5JzgMp8Ewnkw+r7lIKVirCCmZCKb6X6808U1NE8Cnhh5IQMr9WnNohWW0in9UnIKnUjklGGHEAK02mnilHJQSVjhmoU5Y79GEIJOrqknifiOPco6lN14YLeK3MSKlspaTxgNb/eUynhCRDg8ReARrI1k3tKhknObRwDmtDjBBANuBPA9/HzCoMZz4rf2xgTyOp11UOxdnzXpZ2nJnbmsYLZCSgsqNcBTjjp5KEMXdbX6LUnOPUy0m4abjXhuz7rncZsKrT7THRzgx6xCJRY8JIxKjbpaDd4eKlq07pa1KDb/EKstsXDNIL2xwvPAcfgoKNIHNPATb0UrahDp18bpGOgu7wR6qSNyN2GI4iDeb8pUbmwtHCv3bxYt9ND8E15AcIvwvoEUKpszihWcWwB1uIHqoCVBZqtCAJQlBUr3WCCLpEGVL1Zt5JxKQvNv7oCyOuyE6nU3bJtZvfP670MaoaIvcVz7KsArJYoLJolU9wATiLJQn9WnEKmQJIHABSvF0gapsgZlTgO5KGSf1b8lKzD8yiwIk4N8FOKA5KajRBcJATWBVDSfL4JDTK0Hsi8Ra/+VA+ib3Jn9WUWMRsw7IuSDyyz8cyVQupPGjvgfzSI3J2Ore8zMmY1StqkEGTPOUIVfgZl57peZvop6AukQrIlUjWwrQTccPmFFtB5D2gExOnDQIQnfApznSQfXeQWRitUIVEuS+JAg6IQkLBE5psUiFIMbXN1XKEKCEOanhCFI3gTFCD6KWl2fT3SoQIVqxuo5uhCgPIijKVCkWQ5imabIQnRU+Ss5Ob8ihCklFgpQhChkCtKe1KhCAXNZDkIUgIlQhSSf//Z"/>
          <p:cNvSpPr>
            <a:spLocks noChangeAspect="1" noChangeArrowheads="1"/>
          </p:cNvSpPr>
          <p:nvPr/>
        </p:nvSpPr>
        <p:spPr bwMode="auto">
          <a:xfrm>
            <a:off x="0" y="-662940"/>
            <a:ext cx="2476500" cy="13858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p>
            <a:endParaRPr lang="th-TH" sz="1800"/>
          </a:p>
        </p:txBody>
      </p:sp>
      <p:grpSp>
        <p:nvGrpSpPr>
          <p:cNvPr id="2" name="Group 85"/>
          <p:cNvGrpSpPr>
            <a:grpSpLocks/>
          </p:cNvGrpSpPr>
          <p:nvPr/>
        </p:nvGrpSpPr>
        <p:grpSpPr bwMode="auto">
          <a:xfrm>
            <a:off x="0" y="2355726"/>
            <a:ext cx="9144000" cy="2457450"/>
            <a:chOff x="0" y="3352800"/>
            <a:chExt cx="9144000" cy="3276600"/>
          </a:xfrm>
        </p:grpSpPr>
        <p:grpSp>
          <p:nvGrpSpPr>
            <p:cNvPr id="3" name="Group 11"/>
            <p:cNvGrpSpPr/>
            <p:nvPr/>
          </p:nvGrpSpPr>
          <p:grpSpPr>
            <a:xfrm>
              <a:off x="838200" y="3581400"/>
              <a:ext cx="7391400" cy="1981200"/>
              <a:chOff x="685800" y="2133601"/>
              <a:chExt cx="7620000" cy="2133598"/>
            </a:xfrm>
            <a:solidFill>
              <a:srgbClr val="FFFF99"/>
            </a:solidFill>
          </p:grpSpPr>
          <p:sp>
            <p:nvSpPr>
              <p:cNvPr id="13" name="Rectangle 12"/>
              <p:cNvSpPr/>
              <p:nvPr/>
            </p:nvSpPr>
            <p:spPr>
              <a:xfrm>
                <a:off x="685800" y="2971801"/>
                <a:ext cx="990600" cy="457199"/>
              </a:xfrm>
              <a:prstGeom prst="rect">
                <a:avLst/>
              </a:prstGeom>
              <a:grpFill/>
              <a:ln w="12700">
                <a:solidFill>
                  <a:srgbClr val="0099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36000" tIns="0" rIns="36000" bIns="0" anchor="ctr"/>
              <a:lstStyle/>
              <a:p>
                <a:pPr algn="ctr">
                  <a:lnSpc>
                    <a:spcPts val="1300"/>
                  </a:lnSpc>
                  <a:defRPr/>
                </a:pPr>
                <a:r>
                  <a:rPr lang="th-TH" sz="1600" b="1" dirty="0">
                    <a:solidFill>
                      <a:srgbClr val="009900"/>
                    </a:solidFill>
                    <a:latin typeface="TH SarabunPSK" pitchFamily="34" charset="-34"/>
                    <a:cs typeface="TH SarabunPSK" pitchFamily="34" charset="-34"/>
                  </a:rPr>
                  <a:t>จัดหาปัจจัยการผลิต</a:t>
                </a:r>
                <a:endParaRPr lang="th-TH" sz="1600" dirty="0">
                  <a:solidFill>
                    <a:srgbClr val="009900"/>
                  </a:solidFill>
                  <a:latin typeface="TH SarabunPSK" pitchFamily="34" charset="-34"/>
                  <a:cs typeface="TH SarabunPSK" pitchFamily="34" charset="-34"/>
                </a:endParaRPr>
              </a:p>
            </p:txBody>
          </p:sp>
          <p:sp>
            <p:nvSpPr>
              <p:cNvPr id="14" name="Rectangle 13"/>
              <p:cNvSpPr/>
              <p:nvPr/>
            </p:nvSpPr>
            <p:spPr>
              <a:xfrm>
                <a:off x="4114800" y="2971801"/>
                <a:ext cx="990600" cy="457199"/>
              </a:xfrm>
              <a:prstGeom prst="rect">
                <a:avLst/>
              </a:prstGeom>
              <a:grpFill/>
              <a:ln w="12700">
                <a:solidFill>
                  <a:srgbClr val="0099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36000" tIns="0" rIns="36000" bIns="0" anchor="ctr"/>
              <a:lstStyle/>
              <a:p>
                <a:pPr algn="ctr">
                  <a:lnSpc>
                    <a:spcPts val="1300"/>
                  </a:lnSpc>
                  <a:defRPr/>
                </a:pPr>
                <a:r>
                  <a:rPr lang="th-TH" sz="1600" b="1" dirty="0">
                    <a:solidFill>
                      <a:srgbClr val="009900"/>
                    </a:solidFill>
                    <a:latin typeface="TH SarabunPSK" pitchFamily="34" charset="-34"/>
                    <a:cs typeface="TH SarabunPSK" pitchFamily="34" charset="-34"/>
                  </a:rPr>
                  <a:t>รวบรวมผลผลิต</a:t>
                </a:r>
                <a:endParaRPr lang="th-TH" sz="1600" dirty="0">
                  <a:solidFill>
                    <a:srgbClr val="009900"/>
                  </a:solidFill>
                  <a:latin typeface="TH SarabunPSK" pitchFamily="34" charset="-34"/>
                  <a:cs typeface="TH SarabunPSK" pitchFamily="34" charset="-34"/>
                </a:endParaRPr>
              </a:p>
            </p:txBody>
          </p:sp>
          <p:sp>
            <p:nvSpPr>
              <p:cNvPr id="15" name="Rectangle 14"/>
              <p:cNvSpPr/>
              <p:nvPr/>
            </p:nvSpPr>
            <p:spPr>
              <a:xfrm>
                <a:off x="5562600" y="2971801"/>
                <a:ext cx="990600" cy="457199"/>
              </a:xfrm>
              <a:prstGeom prst="rect">
                <a:avLst/>
              </a:prstGeom>
              <a:grpFill/>
              <a:ln w="12700">
                <a:solidFill>
                  <a:srgbClr val="0099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36000" tIns="0" rIns="36000" bIns="0" anchor="ctr"/>
              <a:lstStyle/>
              <a:p>
                <a:pPr algn="ctr">
                  <a:lnSpc>
                    <a:spcPts val="1300"/>
                  </a:lnSpc>
                  <a:defRPr/>
                </a:pPr>
                <a:r>
                  <a:rPr lang="th-TH" sz="1600" b="1" dirty="0">
                    <a:solidFill>
                      <a:srgbClr val="009900"/>
                    </a:solidFill>
                    <a:latin typeface="TH SarabunPSK" pitchFamily="34" charset="-34"/>
                    <a:cs typeface="TH SarabunPSK" pitchFamily="34" charset="-34"/>
                  </a:rPr>
                  <a:t>จัดส่งผลผลิตสู่ลูกค้า</a:t>
                </a:r>
                <a:endParaRPr lang="th-TH" sz="1600" dirty="0">
                  <a:solidFill>
                    <a:srgbClr val="009900"/>
                  </a:solidFill>
                  <a:latin typeface="TH SarabunPSK" pitchFamily="34" charset="-34"/>
                  <a:cs typeface="TH SarabunPSK" pitchFamily="34" charset="-34"/>
                </a:endParaRPr>
              </a:p>
            </p:txBody>
          </p:sp>
          <p:grpSp>
            <p:nvGrpSpPr>
              <p:cNvPr id="5" name="Group 29"/>
              <p:cNvGrpSpPr/>
              <p:nvPr/>
            </p:nvGrpSpPr>
            <p:grpSpPr>
              <a:xfrm>
                <a:off x="2133600" y="2514600"/>
                <a:ext cx="1524000" cy="1371600"/>
                <a:chOff x="3505200" y="990600"/>
                <a:chExt cx="1524000" cy="1371600"/>
              </a:xfrm>
              <a:grpFill/>
            </p:grpSpPr>
            <p:sp>
              <p:nvSpPr>
                <p:cNvPr id="27" name="Rounded Rectangle 26"/>
                <p:cNvSpPr/>
                <p:nvPr/>
              </p:nvSpPr>
              <p:spPr>
                <a:xfrm>
                  <a:off x="3505200" y="990600"/>
                  <a:ext cx="1524000" cy="1371600"/>
                </a:xfrm>
                <a:prstGeom prst="roundRect">
                  <a:avLst>
                    <a:gd name="adj" fmla="val 8667"/>
                  </a:avLst>
                </a:prstGeom>
                <a:grpFill/>
                <a:ln w="12700">
                  <a:solidFill>
                    <a:srgbClr val="0099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th-TH" sz="1600">
                    <a:solidFill>
                      <a:srgbClr val="009900"/>
                    </a:solidFill>
                  </a:endParaRPr>
                </a:p>
              </p:txBody>
            </p:sp>
            <p:grpSp>
              <p:nvGrpSpPr>
                <p:cNvPr id="6" name="Group 27"/>
                <p:cNvGrpSpPr/>
                <p:nvPr/>
              </p:nvGrpSpPr>
              <p:grpSpPr>
                <a:xfrm>
                  <a:off x="3581400" y="1066800"/>
                  <a:ext cx="1371600" cy="1219200"/>
                  <a:chOff x="3543300" y="1066800"/>
                  <a:chExt cx="1371600" cy="1219200"/>
                </a:xfrm>
                <a:grpFill/>
              </p:grpSpPr>
              <p:sp>
                <p:nvSpPr>
                  <p:cNvPr id="28" name="Rounded Rectangle 27"/>
                  <p:cNvSpPr/>
                  <p:nvPr/>
                </p:nvSpPr>
                <p:spPr>
                  <a:xfrm>
                    <a:off x="3543300" y="1485900"/>
                    <a:ext cx="1371600" cy="381000"/>
                  </a:xfrm>
                  <a:prstGeom prst="roundRect">
                    <a:avLst/>
                  </a:prstGeom>
                  <a:solidFill>
                    <a:schemeClr val="bg1"/>
                  </a:solidFill>
                  <a:ln w="12700">
                    <a:solidFill>
                      <a:srgbClr val="0099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lnSpc>
                        <a:spcPts val="1100"/>
                      </a:lnSpc>
                      <a:defRPr/>
                    </a:pPr>
                    <a:r>
                      <a:rPr lang="th-TH" sz="1600" b="1" dirty="0">
                        <a:solidFill>
                          <a:srgbClr val="009900"/>
                        </a:solidFill>
                        <a:latin typeface="TH SarabunPSK" pitchFamily="34" charset="-34"/>
                        <a:cs typeface="TH SarabunPSK" pitchFamily="34" charset="-34"/>
                      </a:rPr>
                      <a:t>ฟาร์มเกษตรกร...</a:t>
                    </a:r>
                  </a:p>
                </p:txBody>
              </p:sp>
              <p:sp>
                <p:nvSpPr>
                  <p:cNvPr id="29" name="Rounded Rectangle 28"/>
                  <p:cNvSpPr/>
                  <p:nvPr/>
                </p:nvSpPr>
                <p:spPr>
                  <a:xfrm>
                    <a:off x="3543300" y="1066800"/>
                    <a:ext cx="1371600" cy="381000"/>
                  </a:xfrm>
                  <a:prstGeom prst="roundRect">
                    <a:avLst/>
                  </a:prstGeom>
                  <a:solidFill>
                    <a:schemeClr val="bg1"/>
                  </a:solidFill>
                  <a:ln w="12700">
                    <a:solidFill>
                      <a:srgbClr val="0099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lnSpc>
                        <a:spcPts val="1100"/>
                      </a:lnSpc>
                      <a:defRPr/>
                    </a:pPr>
                    <a:r>
                      <a:rPr lang="th-TH" sz="1600" b="1" dirty="0">
                        <a:solidFill>
                          <a:srgbClr val="009900"/>
                        </a:solidFill>
                        <a:latin typeface="TH SarabunPSK" pitchFamily="34" charset="-34"/>
                        <a:cs typeface="TH SarabunPSK" pitchFamily="34" charset="-34"/>
                      </a:rPr>
                      <a:t>ฟาร์มเกษตรกร...</a:t>
                    </a:r>
                  </a:p>
                </p:txBody>
              </p:sp>
              <p:sp>
                <p:nvSpPr>
                  <p:cNvPr id="30" name="Rounded Rectangle 29"/>
                  <p:cNvSpPr/>
                  <p:nvPr/>
                </p:nvSpPr>
                <p:spPr>
                  <a:xfrm>
                    <a:off x="3543300" y="1905000"/>
                    <a:ext cx="1371600" cy="381000"/>
                  </a:xfrm>
                  <a:prstGeom prst="roundRect">
                    <a:avLst/>
                  </a:prstGeom>
                  <a:solidFill>
                    <a:schemeClr val="bg1"/>
                  </a:solidFill>
                  <a:ln w="12700">
                    <a:solidFill>
                      <a:srgbClr val="0099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lnSpc>
                        <a:spcPts val="1100"/>
                      </a:lnSpc>
                      <a:defRPr/>
                    </a:pPr>
                    <a:r>
                      <a:rPr lang="th-TH" sz="1600" b="1" dirty="0">
                        <a:solidFill>
                          <a:srgbClr val="009900"/>
                        </a:solidFill>
                        <a:latin typeface="TH SarabunPSK" pitchFamily="34" charset="-34"/>
                        <a:cs typeface="TH SarabunPSK" pitchFamily="34" charset="-34"/>
                      </a:rPr>
                      <a:t>ฟาร์มเกษตรกร...</a:t>
                    </a:r>
                  </a:p>
                </p:txBody>
              </p:sp>
            </p:grpSp>
          </p:grpSp>
          <p:grpSp>
            <p:nvGrpSpPr>
              <p:cNvPr id="7" name="Group 40"/>
              <p:cNvGrpSpPr/>
              <p:nvPr/>
            </p:nvGrpSpPr>
            <p:grpSpPr>
              <a:xfrm>
                <a:off x="7315200" y="2133601"/>
                <a:ext cx="990600" cy="2133598"/>
                <a:chOff x="7391400" y="2133601"/>
                <a:chExt cx="990600" cy="2133598"/>
              </a:xfrm>
              <a:grpFill/>
            </p:grpSpPr>
            <p:sp>
              <p:nvSpPr>
                <p:cNvPr id="24" name="Rectangle 23"/>
                <p:cNvSpPr/>
                <p:nvPr/>
              </p:nvSpPr>
              <p:spPr>
                <a:xfrm>
                  <a:off x="7391400" y="3810000"/>
                  <a:ext cx="990600" cy="457199"/>
                </a:xfrm>
                <a:prstGeom prst="rect">
                  <a:avLst/>
                </a:prstGeom>
                <a:grpFill/>
                <a:ln w="12700">
                  <a:solidFill>
                    <a:srgbClr val="0099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36000" tIns="0" rIns="36000" bIns="0" anchor="ctr"/>
                <a:lstStyle/>
                <a:p>
                  <a:pPr algn="ctr">
                    <a:lnSpc>
                      <a:spcPts val="1300"/>
                    </a:lnSpc>
                    <a:defRPr/>
                  </a:pPr>
                  <a:r>
                    <a:rPr lang="th-TH" sz="1600" b="1" dirty="0">
                      <a:solidFill>
                        <a:srgbClr val="009900"/>
                      </a:solidFill>
                      <a:latin typeface="TH SarabunPSK" pitchFamily="34" charset="-34"/>
                      <a:cs typeface="TH SarabunPSK" pitchFamily="34" charset="-34"/>
                    </a:rPr>
                    <a:t>ลูกค้าในตลาดส่งออก</a:t>
                  </a:r>
                  <a:endParaRPr lang="th-TH" sz="1600" dirty="0">
                    <a:solidFill>
                      <a:srgbClr val="009900"/>
                    </a:solidFill>
                    <a:latin typeface="TH SarabunPSK" pitchFamily="34" charset="-34"/>
                    <a:cs typeface="TH SarabunPSK" pitchFamily="34" charset="-34"/>
                  </a:endParaRPr>
                </a:p>
              </p:txBody>
            </p:sp>
            <p:sp>
              <p:nvSpPr>
                <p:cNvPr id="25" name="Rectangle 24"/>
                <p:cNvSpPr/>
                <p:nvPr/>
              </p:nvSpPr>
              <p:spPr>
                <a:xfrm>
                  <a:off x="7391400" y="2133601"/>
                  <a:ext cx="990600" cy="457199"/>
                </a:xfrm>
                <a:prstGeom prst="rect">
                  <a:avLst/>
                </a:prstGeom>
                <a:grpFill/>
                <a:ln w="12700">
                  <a:solidFill>
                    <a:srgbClr val="0099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lIns="36000" tIns="0" rIns="36000" bIns="0" anchor="ctr"/>
                <a:lstStyle/>
                <a:p>
                  <a:pPr algn="ctr">
                    <a:lnSpc>
                      <a:spcPts val="1300"/>
                    </a:lnSpc>
                    <a:defRPr/>
                  </a:pPr>
                  <a:r>
                    <a:rPr lang="th-TH" sz="1600" b="1" dirty="0">
                      <a:solidFill>
                        <a:srgbClr val="009900"/>
                      </a:solidFill>
                      <a:latin typeface="TH SarabunPSK" pitchFamily="34" charset="-34"/>
                      <a:cs typeface="TH SarabunPSK" pitchFamily="34" charset="-34"/>
                    </a:rPr>
                    <a:t>ลูกค้าในประเทศ</a:t>
                  </a:r>
                  <a:endParaRPr lang="th-TH" sz="1600" dirty="0">
                    <a:solidFill>
                      <a:srgbClr val="009900"/>
                    </a:solidFill>
                    <a:latin typeface="TH SarabunPSK" pitchFamily="34" charset="-34"/>
                    <a:cs typeface="TH SarabunPSK" pitchFamily="34" charset="-34"/>
                  </a:endParaRPr>
                </a:p>
              </p:txBody>
            </p:sp>
          </p:grpSp>
          <p:cxnSp>
            <p:nvCxnSpPr>
              <p:cNvPr id="18" name="Straight Arrow Connector 17"/>
              <p:cNvCxnSpPr>
                <a:stCxn id="13" idx="3"/>
                <a:endCxn id="27" idx="1"/>
              </p:cNvCxnSpPr>
              <p:nvPr/>
            </p:nvCxnSpPr>
            <p:spPr>
              <a:xfrm flipV="1">
                <a:off x="1676400" y="3200400"/>
                <a:ext cx="457200" cy="1"/>
              </a:xfrm>
              <a:prstGeom prst="straightConnector1">
                <a:avLst/>
              </a:prstGeom>
              <a:grpFill/>
              <a:ln>
                <a:solidFill>
                  <a:srgbClr val="009900"/>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9" name="Straight Arrow Connector 18"/>
              <p:cNvCxnSpPr>
                <a:stCxn id="27" idx="3"/>
                <a:endCxn id="14" idx="1"/>
              </p:cNvCxnSpPr>
              <p:nvPr/>
            </p:nvCxnSpPr>
            <p:spPr>
              <a:xfrm>
                <a:off x="3657600" y="3200400"/>
                <a:ext cx="457200" cy="1"/>
              </a:xfrm>
              <a:prstGeom prst="straightConnector1">
                <a:avLst/>
              </a:prstGeom>
              <a:grpFill/>
              <a:ln>
                <a:solidFill>
                  <a:srgbClr val="009900"/>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0" name="Straight Arrow Connector 19"/>
              <p:cNvCxnSpPr>
                <a:stCxn id="14" idx="3"/>
                <a:endCxn id="15" idx="1"/>
              </p:cNvCxnSpPr>
              <p:nvPr/>
            </p:nvCxnSpPr>
            <p:spPr>
              <a:xfrm>
                <a:off x="5105400" y="3200401"/>
                <a:ext cx="457200" cy="1588"/>
              </a:xfrm>
              <a:prstGeom prst="straightConnector1">
                <a:avLst/>
              </a:prstGeom>
              <a:grpFill/>
              <a:ln>
                <a:solidFill>
                  <a:srgbClr val="009900"/>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1" name="Straight Arrow Connector 20"/>
              <p:cNvCxnSpPr>
                <a:stCxn id="25" idx="2"/>
                <a:endCxn id="24" idx="0"/>
              </p:cNvCxnSpPr>
              <p:nvPr/>
            </p:nvCxnSpPr>
            <p:spPr>
              <a:xfrm rot="5400000">
                <a:off x="7200900" y="3200400"/>
                <a:ext cx="1219200" cy="1588"/>
              </a:xfrm>
              <a:prstGeom prst="straightConnector1">
                <a:avLst/>
              </a:prstGeom>
              <a:grpFill/>
              <a:ln>
                <a:solidFill>
                  <a:srgbClr val="009900"/>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2" name="Elbow Connector 21"/>
              <p:cNvCxnSpPr>
                <a:stCxn id="15" idx="3"/>
                <a:endCxn id="25" idx="1"/>
              </p:cNvCxnSpPr>
              <p:nvPr/>
            </p:nvCxnSpPr>
            <p:spPr>
              <a:xfrm flipV="1">
                <a:off x="6553200" y="2362201"/>
                <a:ext cx="762000" cy="838200"/>
              </a:xfrm>
              <a:prstGeom prst="bentConnector3">
                <a:avLst>
                  <a:gd name="adj1" fmla="val 50000"/>
                </a:avLst>
              </a:prstGeom>
              <a:grpFill/>
              <a:ln>
                <a:solidFill>
                  <a:srgbClr val="009900"/>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3" name="Elbow Connector 22"/>
              <p:cNvCxnSpPr>
                <a:stCxn id="15" idx="3"/>
                <a:endCxn id="24" idx="1"/>
              </p:cNvCxnSpPr>
              <p:nvPr/>
            </p:nvCxnSpPr>
            <p:spPr>
              <a:xfrm>
                <a:off x="6553200" y="3200401"/>
                <a:ext cx="762000" cy="838199"/>
              </a:xfrm>
              <a:prstGeom prst="bentConnector3">
                <a:avLst>
                  <a:gd name="adj1" fmla="val 50000"/>
                </a:avLst>
              </a:prstGeom>
              <a:grpFill/>
              <a:ln>
                <a:solidFill>
                  <a:srgbClr val="009900"/>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grpSp>
        <p:sp>
          <p:nvSpPr>
            <p:cNvPr id="31" name="Rectangle 30"/>
            <p:cNvSpPr/>
            <p:nvPr/>
          </p:nvSpPr>
          <p:spPr>
            <a:xfrm>
              <a:off x="0" y="6248400"/>
              <a:ext cx="9144000" cy="381000"/>
            </a:xfrm>
            <a:prstGeom prst="rect">
              <a:avLst/>
            </a:prstGeom>
            <a:solidFill>
              <a:schemeClr val="accent3">
                <a:lumMod val="60000"/>
                <a:lumOff val="40000"/>
              </a:schemeClr>
            </a:solidFill>
            <a:ln w="12700">
              <a:noFill/>
              <a:prstDash val="sysDot"/>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lnSpc>
                  <a:spcPts val="1900"/>
                </a:lnSpc>
                <a:defRPr/>
              </a:pPr>
              <a:r>
                <a:rPr lang="th-TH" sz="1600" b="1" dirty="0">
                  <a:solidFill>
                    <a:srgbClr val="FF0000"/>
                  </a:solidFill>
                  <a:latin typeface="TH SarabunPSK" pitchFamily="34" charset="-34"/>
                  <a:cs typeface="TH SarabunPSK" pitchFamily="34" charset="-34"/>
                </a:rPr>
                <a:t>สถาบันเกษตรกรฯ </a:t>
              </a:r>
              <a:r>
                <a:rPr lang="en-US" sz="1600" b="1" dirty="0">
                  <a:solidFill>
                    <a:srgbClr val="FF0000"/>
                  </a:solidFill>
                  <a:latin typeface="TH SarabunPSK" pitchFamily="34" charset="-34"/>
                  <a:cs typeface="TH SarabunPSK" pitchFamily="34" charset="-34"/>
                </a:rPr>
                <a:t>(</a:t>
              </a:r>
              <a:r>
                <a:rPr lang="th-TH" sz="1400" b="1" dirty="0">
                  <a:solidFill>
                    <a:srgbClr val="FF0000"/>
                  </a:solidFill>
                  <a:latin typeface="TH SarabunPSK" pitchFamily="34" charset="-34"/>
                  <a:cs typeface="TH SarabunPSK" pitchFamily="34" charset="-34"/>
                </a:rPr>
                <a:t>ในฐานะ </a:t>
              </a:r>
              <a:r>
                <a:rPr lang="en-US" sz="1400" b="1" dirty="0">
                  <a:solidFill>
                    <a:srgbClr val="FF0000"/>
                  </a:solidFill>
                  <a:latin typeface="TH SarabunPSK" pitchFamily="34" charset="-34"/>
                  <a:cs typeface="TH SarabunPSK" pitchFamily="34" charset="-34"/>
                </a:rPr>
                <a:t>Business arm</a:t>
              </a:r>
              <a:r>
                <a:rPr lang="en-US" sz="1600" b="1" dirty="0">
                  <a:solidFill>
                    <a:srgbClr val="FF0000"/>
                  </a:solidFill>
                  <a:latin typeface="TH SarabunPSK" pitchFamily="34" charset="-34"/>
                  <a:cs typeface="TH SarabunPSK" pitchFamily="34" charset="-34"/>
                </a:rPr>
                <a:t>)</a:t>
              </a:r>
              <a:r>
                <a:rPr lang="th-TH" sz="1600" b="1" dirty="0">
                  <a:solidFill>
                    <a:srgbClr val="FF0000"/>
                  </a:solidFill>
                  <a:latin typeface="TH SarabunPSK" pitchFamily="34" charset="-34"/>
                  <a:cs typeface="TH SarabunPSK" pitchFamily="34" charset="-34"/>
                </a:rPr>
                <a:t> </a:t>
              </a:r>
              <a:r>
                <a:rPr lang="th-TH" sz="1600" b="1" dirty="0">
                  <a:solidFill>
                    <a:srgbClr val="0033CC"/>
                  </a:solidFill>
                  <a:latin typeface="TH SarabunPSK" pitchFamily="34" charset="-34"/>
                  <a:cs typeface="TH SarabunPSK" pitchFamily="34" charset="-34"/>
                </a:rPr>
                <a:t>สามารถเพิ่มบทบาทเกษตรกรในโซ่อุปทานด้วยการดำเนินธุรกรรมในโซ่อุปทานแทนเกษตรกรเฉพาะราย</a:t>
              </a:r>
            </a:p>
          </p:txBody>
        </p:sp>
        <p:sp>
          <p:nvSpPr>
            <p:cNvPr id="33" name="Rectangle 32"/>
            <p:cNvSpPr/>
            <p:nvPr/>
          </p:nvSpPr>
          <p:spPr>
            <a:xfrm>
              <a:off x="762000" y="4848226"/>
              <a:ext cx="1295400" cy="685800"/>
            </a:xfrm>
            <a:prstGeom prst="rect">
              <a:avLst/>
            </a:prstGeom>
            <a:noFill/>
            <a:ln w="12700">
              <a:noFill/>
              <a:prstDash val="sysDot"/>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85725" indent="-85725">
                <a:lnSpc>
                  <a:spcPts val="900"/>
                </a:lnSpc>
                <a:spcBef>
                  <a:spcPts val="300"/>
                </a:spcBef>
                <a:buFont typeface="Arial" pitchFamily="34" charset="0"/>
                <a:buChar char="•"/>
                <a:defRPr/>
              </a:pPr>
              <a:r>
                <a:rPr lang="th-TH" sz="1400" i="1" dirty="0">
                  <a:solidFill>
                    <a:srgbClr val="009900"/>
                  </a:solidFill>
                  <a:latin typeface="TH SarabunPSK" pitchFamily="34" charset="-34"/>
                  <a:cs typeface="TH SarabunPSK" pitchFamily="34" charset="-34"/>
                </a:rPr>
                <a:t>จัดหาแบบรวมกลุ่ม</a:t>
              </a:r>
            </a:p>
            <a:p>
              <a:pPr marL="85725" indent="-85725">
                <a:lnSpc>
                  <a:spcPts val="900"/>
                </a:lnSpc>
                <a:spcBef>
                  <a:spcPts val="300"/>
                </a:spcBef>
                <a:buFont typeface="Arial" pitchFamily="34" charset="0"/>
                <a:buChar char="•"/>
                <a:defRPr/>
              </a:pPr>
              <a:r>
                <a:rPr lang="th-TH" sz="1400" i="1" dirty="0">
                  <a:solidFill>
                    <a:srgbClr val="009900"/>
                  </a:solidFill>
                  <a:latin typeface="TH SarabunPSK" pitchFamily="34" charset="-34"/>
                  <a:cs typeface="TH SarabunPSK" pitchFamily="34" charset="-34"/>
                </a:rPr>
                <a:t>อำนาจต่อรอง คุณภาพ และราคาดีกว่าเดิม</a:t>
              </a:r>
            </a:p>
          </p:txBody>
        </p:sp>
        <p:sp>
          <p:nvSpPr>
            <p:cNvPr id="34" name="Rectangle 33"/>
            <p:cNvSpPr/>
            <p:nvPr/>
          </p:nvSpPr>
          <p:spPr>
            <a:xfrm>
              <a:off x="2286000" y="5238750"/>
              <a:ext cx="1752600" cy="990600"/>
            </a:xfrm>
            <a:prstGeom prst="rect">
              <a:avLst/>
            </a:prstGeom>
            <a:noFill/>
            <a:ln w="12700">
              <a:noFill/>
              <a:prstDash val="sysDot"/>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85725" indent="-85725">
                <a:lnSpc>
                  <a:spcPts val="900"/>
                </a:lnSpc>
                <a:spcBef>
                  <a:spcPts val="300"/>
                </a:spcBef>
                <a:buFont typeface="Arial" pitchFamily="34" charset="0"/>
                <a:buChar char="•"/>
                <a:defRPr/>
              </a:pPr>
              <a:r>
                <a:rPr lang="th-TH" sz="1400" i="1" dirty="0">
                  <a:solidFill>
                    <a:srgbClr val="009900"/>
                  </a:solidFill>
                  <a:latin typeface="TH SarabunPSK" pitchFamily="34" charset="-34"/>
                  <a:cs typeface="TH SarabunPSK" pitchFamily="34" charset="-34"/>
                </a:rPr>
                <a:t>วางแผนร่วม ควบคุม กำกับมาตรฐานกระบวนการผลิต</a:t>
              </a:r>
            </a:p>
            <a:p>
              <a:pPr marL="85725" indent="-85725">
                <a:lnSpc>
                  <a:spcPts val="900"/>
                </a:lnSpc>
                <a:spcBef>
                  <a:spcPts val="300"/>
                </a:spcBef>
                <a:buFont typeface="Arial" pitchFamily="34" charset="0"/>
                <a:buChar char="•"/>
                <a:defRPr/>
              </a:pPr>
              <a:r>
                <a:rPr lang="th-TH" sz="1400" i="1" dirty="0">
                  <a:solidFill>
                    <a:srgbClr val="009900"/>
                  </a:solidFill>
                  <a:latin typeface="TH SarabunPSK" pitchFamily="34" charset="-34"/>
                  <a:cs typeface="TH SarabunPSK" pitchFamily="34" charset="-34"/>
                </a:rPr>
                <a:t>รับรองคุณภาพในนามกลุ่มฯ</a:t>
              </a:r>
            </a:p>
            <a:p>
              <a:pPr marL="85725" indent="-85725">
                <a:lnSpc>
                  <a:spcPts val="900"/>
                </a:lnSpc>
                <a:spcBef>
                  <a:spcPts val="300"/>
                </a:spcBef>
                <a:buFont typeface="Arial" pitchFamily="34" charset="0"/>
                <a:buChar char="•"/>
                <a:defRPr/>
              </a:pPr>
              <a:r>
                <a:rPr lang="th-TH" sz="1400" i="1" dirty="0">
                  <a:solidFill>
                    <a:srgbClr val="009900"/>
                  </a:solidFill>
                  <a:latin typeface="TH SarabunPSK" pitchFamily="34" charset="-34"/>
                  <a:cs typeface="TH SarabunPSK" pitchFamily="34" charset="-34"/>
                </a:rPr>
                <a:t>มีพลังทรัพยากรที่จะ </a:t>
              </a:r>
              <a:r>
                <a:rPr lang="en-US" sz="1400" i="1" dirty="0">
                  <a:solidFill>
                    <a:srgbClr val="009900"/>
                  </a:solidFill>
                  <a:latin typeface="TH SarabunPSK" pitchFamily="34" charset="-34"/>
                  <a:cs typeface="TH SarabunPSK" pitchFamily="34" charset="-34"/>
                </a:rPr>
                <a:t>reinvest </a:t>
              </a:r>
              <a:r>
                <a:rPr lang="th-TH" sz="1400" i="1" dirty="0">
                  <a:solidFill>
                    <a:srgbClr val="009900"/>
                  </a:solidFill>
                  <a:latin typeface="TH SarabunPSK" pitchFamily="34" charset="-34"/>
                  <a:cs typeface="TH SarabunPSK" pitchFamily="34" charset="-34"/>
                </a:rPr>
                <a:t>หรือพัฒนากิจการ/บุคลากร</a:t>
              </a:r>
            </a:p>
          </p:txBody>
        </p:sp>
        <p:sp>
          <p:nvSpPr>
            <p:cNvPr id="35" name="Rectangle 34"/>
            <p:cNvSpPr/>
            <p:nvPr/>
          </p:nvSpPr>
          <p:spPr>
            <a:xfrm>
              <a:off x="4800600" y="4983480"/>
              <a:ext cx="1295400" cy="1066800"/>
            </a:xfrm>
            <a:prstGeom prst="rect">
              <a:avLst/>
            </a:prstGeom>
            <a:noFill/>
            <a:ln w="12700">
              <a:noFill/>
              <a:prstDash val="sysDot"/>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85725" indent="-85725">
                <a:lnSpc>
                  <a:spcPts val="900"/>
                </a:lnSpc>
                <a:spcBef>
                  <a:spcPts val="300"/>
                </a:spcBef>
                <a:buFont typeface="Arial" pitchFamily="34" charset="0"/>
                <a:buChar char="•"/>
                <a:defRPr/>
              </a:pPr>
              <a:r>
                <a:rPr lang="th-TH" sz="1400" i="1" dirty="0">
                  <a:solidFill>
                    <a:srgbClr val="009900"/>
                  </a:solidFill>
                  <a:latin typeface="TH SarabunPSK" pitchFamily="34" charset="-34"/>
                  <a:cs typeface="TH SarabunPSK" pitchFamily="34" charset="-34"/>
                </a:rPr>
                <a:t>จัดหาสถานที่ดำเนินการร่วม</a:t>
              </a:r>
            </a:p>
            <a:p>
              <a:pPr marL="85725" indent="-85725">
                <a:lnSpc>
                  <a:spcPts val="900"/>
                </a:lnSpc>
                <a:spcBef>
                  <a:spcPts val="300"/>
                </a:spcBef>
                <a:buFont typeface="Arial" pitchFamily="34" charset="0"/>
                <a:buChar char="•"/>
                <a:defRPr/>
              </a:pPr>
              <a:r>
                <a:rPr lang="th-TH" sz="1400" i="1" dirty="0">
                  <a:solidFill>
                    <a:srgbClr val="009900"/>
                  </a:solidFill>
                  <a:latin typeface="TH SarabunPSK" pitchFamily="34" charset="-34"/>
                  <a:cs typeface="TH SarabunPSK" pitchFamily="34" charset="-34"/>
                </a:rPr>
                <a:t>บริหารจัดการกระบวนการ</a:t>
              </a:r>
            </a:p>
            <a:p>
              <a:pPr marL="85725" indent="-85725">
                <a:lnSpc>
                  <a:spcPts val="900"/>
                </a:lnSpc>
                <a:spcBef>
                  <a:spcPts val="300"/>
                </a:spcBef>
                <a:buFont typeface="Arial" pitchFamily="34" charset="0"/>
                <a:buChar char="•"/>
                <a:defRPr/>
              </a:pPr>
              <a:r>
                <a:rPr lang="th-TH" sz="1400" i="1" dirty="0">
                  <a:solidFill>
                    <a:srgbClr val="009900"/>
                  </a:solidFill>
                  <a:latin typeface="TH SarabunPSK" pitchFamily="34" charset="-34"/>
                  <a:cs typeface="TH SarabunPSK" pitchFamily="34" charset="-34"/>
                </a:rPr>
                <a:t>ทำธุรกรรมกับ </a:t>
              </a:r>
              <a:r>
                <a:rPr lang="en-US" sz="1400" i="1" dirty="0">
                  <a:solidFill>
                    <a:srgbClr val="009900"/>
                  </a:solidFill>
                  <a:latin typeface="TH SarabunPSK" pitchFamily="34" charset="-34"/>
                  <a:cs typeface="TH SarabunPSK" pitchFamily="34" charset="-34"/>
                </a:rPr>
                <a:t>LSPs </a:t>
              </a:r>
              <a:r>
                <a:rPr lang="th-TH" sz="1400" i="1" dirty="0">
                  <a:solidFill>
                    <a:srgbClr val="009900"/>
                  </a:solidFill>
                  <a:latin typeface="TH SarabunPSK" pitchFamily="34" charset="-34"/>
                  <a:cs typeface="TH SarabunPSK" pitchFamily="34" charset="-34"/>
                </a:rPr>
                <a:t>ในกิจกรรมโลจิสติกส์</a:t>
              </a:r>
              <a:r>
                <a:rPr lang="en-US" sz="1400" i="1" dirty="0">
                  <a:solidFill>
                    <a:srgbClr val="009900"/>
                  </a:solidFill>
                  <a:latin typeface="TH SarabunPSK" pitchFamily="34" charset="-34"/>
                  <a:cs typeface="TH SarabunPSK" pitchFamily="34" charset="-34"/>
                </a:rPr>
                <a:t> </a:t>
              </a:r>
              <a:r>
                <a:rPr lang="th-TH" sz="1400" i="1" dirty="0">
                  <a:solidFill>
                    <a:srgbClr val="009900"/>
                  </a:solidFill>
                  <a:latin typeface="TH SarabunPSK" pitchFamily="34" charset="-34"/>
                  <a:cs typeface="TH SarabunPSK" pitchFamily="34" charset="-34"/>
                </a:rPr>
                <a:t>แทนเกษตรกร</a:t>
              </a:r>
            </a:p>
          </p:txBody>
        </p:sp>
        <p:sp>
          <p:nvSpPr>
            <p:cNvPr id="36" name="Rectangle 35"/>
            <p:cNvSpPr/>
            <p:nvPr/>
          </p:nvSpPr>
          <p:spPr>
            <a:xfrm>
              <a:off x="7772400" y="4156710"/>
              <a:ext cx="1295400" cy="914400"/>
            </a:xfrm>
            <a:prstGeom prst="rect">
              <a:avLst/>
            </a:prstGeom>
            <a:noFill/>
            <a:ln w="12700">
              <a:noFill/>
              <a:prstDash val="sysDot"/>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85725" indent="-85725">
                <a:lnSpc>
                  <a:spcPts val="900"/>
                </a:lnSpc>
                <a:spcBef>
                  <a:spcPts val="300"/>
                </a:spcBef>
                <a:buFont typeface="Arial" pitchFamily="34" charset="0"/>
                <a:buChar char="•"/>
                <a:defRPr/>
              </a:pPr>
              <a:r>
                <a:rPr lang="th-TH" sz="1400" i="1" dirty="0">
                  <a:solidFill>
                    <a:srgbClr val="009900"/>
                  </a:solidFill>
                  <a:latin typeface="TH SarabunPSK" pitchFamily="34" charset="-34"/>
                  <a:cs typeface="TH SarabunPSK" pitchFamily="34" charset="-34"/>
                </a:rPr>
                <a:t>ศึกษาลูกค้า เพื่อทำ </a:t>
              </a:r>
              <a:r>
                <a:rPr lang="en-US" sz="1400" i="1" dirty="0">
                  <a:solidFill>
                    <a:srgbClr val="009900"/>
                  </a:solidFill>
                  <a:latin typeface="TH SarabunPSK" pitchFamily="34" charset="-34"/>
                  <a:cs typeface="TH SarabunPSK" pitchFamily="34" charset="-34"/>
                </a:rPr>
                <a:t>Demand management</a:t>
              </a:r>
            </a:p>
            <a:p>
              <a:pPr marL="85725" indent="-85725">
                <a:lnSpc>
                  <a:spcPts val="900"/>
                </a:lnSpc>
                <a:spcBef>
                  <a:spcPts val="300"/>
                </a:spcBef>
                <a:buFont typeface="Arial" pitchFamily="34" charset="0"/>
                <a:buChar char="•"/>
                <a:defRPr/>
              </a:pPr>
              <a:r>
                <a:rPr lang="th-TH" sz="1400" i="1" dirty="0">
                  <a:solidFill>
                    <a:srgbClr val="009900"/>
                  </a:solidFill>
                  <a:latin typeface="TH SarabunPSK" pitchFamily="34" charset="-34"/>
                  <a:cs typeface="TH SarabunPSK" pitchFamily="34" charset="-34"/>
                </a:rPr>
                <a:t>อาจพัฒนาเป็นผู้ค้า หรือทำธุรกิจต่อเนื่องหรือส่งออกตรง</a:t>
              </a:r>
              <a:r>
                <a:rPr lang="en-US" sz="1400" i="1" dirty="0">
                  <a:solidFill>
                    <a:srgbClr val="009900"/>
                  </a:solidFill>
                  <a:latin typeface="TH SarabunPSK" pitchFamily="34" charset="-34"/>
                  <a:cs typeface="TH SarabunPSK" pitchFamily="34" charset="-34"/>
                </a:rPr>
                <a:t> </a:t>
              </a:r>
              <a:endParaRPr lang="th-TH" sz="1400" i="1" dirty="0">
                <a:solidFill>
                  <a:srgbClr val="009900"/>
                </a:solidFill>
                <a:latin typeface="TH SarabunPSK" pitchFamily="34" charset="-34"/>
                <a:cs typeface="TH SarabunPSK" pitchFamily="34" charset="-34"/>
              </a:endParaRPr>
            </a:p>
          </p:txBody>
        </p:sp>
        <p:grpSp>
          <p:nvGrpSpPr>
            <p:cNvPr id="8" name="Group 42"/>
            <p:cNvGrpSpPr>
              <a:grpSpLocks/>
            </p:cNvGrpSpPr>
            <p:nvPr/>
          </p:nvGrpSpPr>
          <p:grpSpPr bwMode="auto">
            <a:xfrm>
              <a:off x="2438400" y="3429000"/>
              <a:ext cx="685800" cy="564029"/>
              <a:chOff x="4419600" y="3581400"/>
              <a:chExt cx="685800" cy="564029"/>
            </a:xfrm>
          </p:grpSpPr>
          <p:sp>
            <p:nvSpPr>
              <p:cNvPr id="44" name="Down Arrow 43"/>
              <p:cNvSpPr/>
              <p:nvPr/>
            </p:nvSpPr>
            <p:spPr>
              <a:xfrm>
                <a:off x="4648200" y="3581400"/>
                <a:ext cx="228600" cy="304800"/>
              </a:xfrm>
              <a:prstGeom prst="downArrow">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th-TH" sz="1800"/>
              </a:p>
            </p:txBody>
          </p:sp>
          <p:sp>
            <p:nvSpPr>
              <p:cNvPr id="45" name="Rectangle 44"/>
              <p:cNvSpPr/>
              <p:nvPr/>
            </p:nvSpPr>
            <p:spPr>
              <a:xfrm>
                <a:off x="4419600" y="3840480"/>
                <a:ext cx="685800" cy="304800"/>
              </a:xfrm>
              <a:prstGeom prst="rect">
                <a:avLst/>
              </a:prstGeom>
              <a:noFill/>
              <a:ln w="12700">
                <a:noFill/>
                <a:prstDash val="sysDot"/>
              </a:ln>
            </p:spPr>
            <p:style>
              <a:lnRef idx="2">
                <a:schemeClr val="accent1">
                  <a:shade val="50000"/>
                </a:schemeClr>
              </a:lnRef>
              <a:fillRef idx="1">
                <a:schemeClr val="accent1"/>
              </a:fillRef>
              <a:effectRef idx="0">
                <a:schemeClr val="accent1"/>
              </a:effectRef>
              <a:fontRef idx="minor">
                <a:schemeClr val="lt1"/>
              </a:fontRef>
            </p:style>
            <p:txBody>
              <a:bodyPr anchor="ctr"/>
              <a:lstStyle/>
              <a:p>
                <a:pPr>
                  <a:lnSpc>
                    <a:spcPts val="1100"/>
                  </a:lnSpc>
                  <a:spcBef>
                    <a:spcPts val="600"/>
                  </a:spcBef>
                  <a:defRPr/>
                </a:pPr>
                <a:r>
                  <a:rPr lang="th-TH" sz="1300" b="1" i="1" dirty="0">
                    <a:solidFill>
                      <a:srgbClr val="C00000"/>
                    </a:solidFill>
                    <a:latin typeface="TH SarabunPSK" pitchFamily="34" charset="-34"/>
                    <a:cs typeface="TH SarabunPSK" pitchFamily="34" charset="-34"/>
                  </a:rPr>
                  <a:t>ลดต้นทุน</a:t>
                </a:r>
              </a:p>
            </p:txBody>
          </p:sp>
        </p:grpSp>
        <p:grpSp>
          <p:nvGrpSpPr>
            <p:cNvPr id="9" name="Group 45"/>
            <p:cNvGrpSpPr>
              <a:grpSpLocks/>
            </p:cNvGrpSpPr>
            <p:nvPr/>
          </p:nvGrpSpPr>
          <p:grpSpPr bwMode="auto">
            <a:xfrm>
              <a:off x="2819400" y="3352800"/>
              <a:ext cx="609600" cy="533400"/>
              <a:chOff x="5257800" y="3505200"/>
              <a:chExt cx="609600" cy="533400"/>
            </a:xfrm>
          </p:grpSpPr>
          <p:sp>
            <p:nvSpPr>
              <p:cNvPr id="47" name="Down Arrow 46"/>
              <p:cNvSpPr/>
              <p:nvPr/>
            </p:nvSpPr>
            <p:spPr>
              <a:xfrm flipV="1">
                <a:off x="5448300" y="3733800"/>
                <a:ext cx="228600" cy="304800"/>
              </a:xfrm>
              <a:prstGeom prst="downArrow">
                <a:avLst/>
              </a:prstGeom>
              <a:solidFill>
                <a:srgbClr val="0033CC"/>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th-TH" sz="1800"/>
              </a:p>
            </p:txBody>
          </p:sp>
          <p:sp>
            <p:nvSpPr>
              <p:cNvPr id="48" name="Rectangle 47"/>
              <p:cNvSpPr/>
              <p:nvPr/>
            </p:nvSpPr>
            <p:spPr>
              <a:xfrm>
                <a:off x="5257800" y="3505200"/>
                <a:ext cx="609600" cy="304800"/>
              </a:xfrm>
              <a:prstGeom prst="rect">
                <a:avLst/>
              </a:prstGeom>
              <a:noFill/>
              <a:ln w="12700">
                <a:noFill/>
                <a:prstDash val="sysDot"/>
              </a:ln>
            </p:spPr>
            <p:style>
              <a:lnRef idx="2">
                <a:schemeClr val="accent1">
                  <a:shade val="50000"/>
                </a:schemeClr>
              </a:lnRef>
              <a:fillRef idx="1">
                <a:schemeClr val="accent1"/>
              </a:fillRef>
              <a:effectRef idx="0">
                <a:schemeClr val="accent1"/>
              </a:effectRef>
              <a:fontRef idx="minor">
                <a:schemeClr val="lt1"/>
              </a:fontRef>
            </p:style>
            <p:txBody>
              <a:bodyPr anchor="ctr"/>
              <a:lstStyle/>
              <a:p>
                <a:pPr>
                  <a:lnSpc>
                    <a:spcPts val="1100"/>
                  </a:lnSpc>
                  <a:spcBef>
                    <a:spcPts val="600"/>
                  </a:spcBef>
                  <a:defRPr/>
                </a:pPr>
                <a:r>
                  <a:rPr lang="th-TH" sz="1300" b="1" i="1" dirty="0">
                    <a:solidFill>
                      <a:srgbClr val="0033CC"/>
                    </a:solidFill>
                    <a:latin typeface="TH SarabunPSK" pitchFamily="34" charset="-34"/>
                    <a:cs typeface="TH SarabunPSK" pitchFamily="34" charset="-34"/>
                  </a:rPr>
                  <a:t>เพิ่ม </a:t>
                </a:r>
                <a:r>
                  <a:rPr lang="en-US" sz="1300" b="1" i="1" dirty="0">
                    <a:solidFill>
                      <a:srgbClr val="0033CC"/>
                    </a:solidFill>
                    <a:latin typeface="TH SarabunPSK" pitchFamily="34" charset="-34"/>
                    <a:cs typeface="TH SarabunPSK" pitchFamily="34" charset="-34"/>
                  </a:rPr>
                  <a:t>VA</a:t>
                </a:r>
                <a:endParaRPr lang="th-TH" sz="1300" b="1" i="1" dirty="0">
                  <a:solidFill>
                    <a:srgbClr val="0033CC"/>
                  </a:solidFill>
                  <a:latin typeface="TH SarabunPSK" pitchFamily="34" charset="-34"/>
                  <a:cs typeface="TH SarabunPSK" pitchFamily="34" charset="-34"/>
                </a:endParaRPr>
              </a:p>
            </p:txBody>
          </p:sp>
        </p:grpSp>
        <p:grpSp>
          <p:nvGrpSpPr>
            <p:cNvPr id="10" name="Group 48"/>
            <p:cNvGrpSpPr>
              <a:grpSpLocks/>
            </p:cNvGrpSpPr>
            <p:nvPr/>
          </p:nvGrpSpPr>
          <p:grpSpPr bwMode="auto">
            <a:xfrm>
              <a:off x="4800600" y="3886200"/>
              <a:ext cx="685800" cy="533400"/>
              <a:chOff x="4419600" y="3657600"/>
              <a:chExt cx="685800" cy="533400"/>
            </a:xfrm>
          </p:grpSpPr>
          <p:sp>
            <p:nvSpPr>
              <p:cNvPr id="50" name="Down Arrow 49"/>
              <p:cNvSpPr/>
              <p:nvPr/>
            </p:nvSpPr>
            <p:spPr>
              <a:xfrm>
                <a:off x="4648200" y="3657600"/>
                <a:ext cx="228600" cy="304800"/>
              </a:xfrm>
              <a:prstGeom prst="downArrow">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th-TH" sz="1800"/>
              </a:p>
            </p:txBody>
          </p:sp>
          <p:sp>
            <p:nvSpPr>
              <p:cNvPr id="51" name="Rectangle 50"/>
              <p:cNvSpPr/>
              <p:nvPr/>
            </p:nvSpPr>
            <p:spPr>
              <a:xfrm>
                <a:off x="4419600" y="3886200"/>
                <a:ext cx="685800" cy="304800"/>
              </a:xfrm>
              <a:prstGeom prst="rect">
                <a:avLst/>
              </a:prstGeom>
              <a:noFill/>
              <a:ln w="12700">
                <a:noFill/>
                <a:prstDash val="sysDot"/>
              </a:ln>
            </p:spPr>
            <p:style>
              <a:lnRef idx="2">
                <a:schemeClr val="accent1">
                  <a:shade val="50000"/>
                </a:schemeClr>
              </a:lnRef>
              <a:fillRef idx="1">
                <a:schemeClr val="accent1"/>
              </a:fillRef>
              <a:effectRef idx="0">
                <a:schemeClr val="accent1"/>
              </a:effectRef>
              <a:fontRef idx="minor">
                <a:schemeClr val="lt1"/>
              </a:fontRef>
            </p:style>
            <p:txBody>
              <a:bodyPr anchor="ctr"/>
              <a:lstStyle/>
              <a:p>
                <a:pPr>
                  <a:lnSpc>
                    <a:spcPts val="1100"/>
                  </a:lnSpc>
                  <a:spcBef>
                    <a:spcPts val="600"/>
                  </a:spcBef>
                  <a:defRPr/>
                </a:pPr>
                <a:r>
                  <a:rPr lang="th-TH" sz="1300" b="1" i="1" dirty="0">
                    <a:solidFill>
                      <a:srgbClr val="C00000"/>
                    </a:solidFill>
                    <a:latin typeface="TH SarabunPSK" pitchFamily="34" charset="-34"/>
                    <a:cs typeface="TH SarabunPSK" pitchFamily="34" charset="-34"/>
                  </a:rPr>
                  <a:t>ลดต้นทุน</a:t>
                </a:r>
              </a:p>
            </p:txBody>
          </p:sp>
        </p:grpSp>
        <p:grpSp>
          <p:nvGrpSpPr>
            <p:cNvPr id="11" name="Group 51"/>
            <p:cNvGrpSpPr>
              <a:grpSpLocks/>
            </p:cNvGrpSpPr>
            <p:nvPr/>
          </p:nvGrpSpPr>
          <p:grpSpPr bwMode="auto">
            <a:xfrm>
              <a:off x="5181600" y="3733800"/>
              <a:ext cx="609600" cy="533400"/>
              <a:chOff x="5257800" y="3505200"/>
              <a:chExt cx="609600" cy="533400"/>
            </a:xfrm>
          </p:grpSpPr>
          <p:sp>
            <p:nvSpPr>
              <p:cNvPr id="53" name="Down Arrow 52"/>
              <p:cNvSpPr/>
              <p:nvPr/>
            </p:nvSpPr>
            <p:spPr>
              <a:xfrm flipV="1">
                <a:off x="5448300" y="3733800"/>
                <a:ext cx="228600" cy="304800"/>
              </a:xfrm>
              <a:prstGeom prst="downArrow">
                <a:avLst/>
              </a:prstGeom>
              <a:solidFill>
                <a:srgbClr val="0033CC"/>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th-TH" sz="1800"/>
              </a:p>
            </p:txBody>
          </p:sp>
          <p:sp>
            <p:nvSpPr>
              <p:cNvPr id="54" name="Rectangle 53"/>
              <p:cNvSpPr/>
              <p:nvPr/>
            </p:nvSpPr>
            <p:spPr>
              <a:xfrm>
                <a:off x="5257800" y="3505200"/>
                <a:ext cx="609600" cy="304800"/>
              </a:xfrm>
              <a:prstGeom prst="rect">
                <a:avLst/>
              </a:prstGeom>
              <a:noFill/>
              <a:ln w="12700">
                <a:noFill/>
                <a:prstDash val="sysDot"/>
              </a:ln>
            </p:spPr>
            <p:style>
              <a:lnRef idx="2">
                <a:schemeClr val="accent1">
                  <a:shade val="50000"/>
                </a:schemeClr>
              </a:lnRef>
              <a:fillRef idx="1">
                <a:schemeClr val="accent1"/>
              </a:fillRef>
              <a:effectRef idx="0">
                <a:schemeClr val="accent1"/>
              </a:effectRef>
              <a:fontRef idx="minor">
                <a:schemeClr val="lt1"/>
              </a:fontRef>
            </p:style>
            <p:txBody>
              <a:bodyPr anchor="ctr"/>
              <a:lstStyle/>
              <a:p>
                <a:pPr>
                  <a:lnSpc>
                    <a:spcPts val="1100"/>
                  </a:lnSpc>
                  <a:spcBef>
                    <a:spcPts val="600"/>
                  </a:spcBef>
                  <a:defRPr/>
                </a:pPr>
                <a:r>
                  <a:rPr lang="th-TH" sz="1300" b="1" i="1" dirty="0">
                    <a:solidFill>
                      <a:srgbClr val="0033CC"/>
                    </a:solidFill>
                    <a:latin typeface="TH SarabunPSK" pitchFamily="34" charset="-34"/>
                    <a:cs typeface="TH SarabunPSK" pitchFamily="34" charset="-34"/>
                  </a:rPr>
                  <a:t>เพิ่ม </a:t>
                </a:r>
                <a:r>
                  <a:rPr lang="en-US" sz="1300" b="1" i="1" dirty="0">
                    <a:solidFill>
                      <a:srgbClr val="0033CC"/>
                    </a:solidFill>
                    <a:latin typeface="TH SarabunPSK" pitchFamily="34" charset="-34"/>
                    <a:cs typeface="TH SarabunPSK" pitchFamily="34" charset="-34"/>
                  </a:rPr>
                  <a:t>VA</a:t>
                </a:r>
                <a:endParaRPr lang="th-TH" sz="1300" b="1" i="1" dirty="0">
                  <a:solidFill>
                    <a:srgbClr val="0033CC"/>
                  </a:solidFill>
                  <a:latin typeface="TH SarabunPSK" pitchFamily="34" charset="-34"/>
                  <a:cs typeface="TH SarabunPSK" pitchFamily="34" charset="-34"/>
                </a:endParaRPr>
              </a:p>
            </p:txBody>
          </p:sp>
        </p:grpSp>
        <p:grpSp>
          <p:nvGrpSpPr>
            <p:cNvPr id="12" name="Group 54"/>
            <p:cNvGrpSpPr>
              <a:grpSpLocks/>
            </p:cNvGrpSpPr>
            <p:nvPr/>
          </p:nvGrpSpPr>
          <p:grpSpPr bwMode="auto">
            <a:xfrm>
              <a:off x="457200" y="5638800"/>
              <a:ext cx="1066800" cy="609600"/>
              <a:chOff x="5257800" y="3429000"/>
              <a:chExt cx="1066800" cy="609600"/>
            </a:xfrm>
          </p:grpSpPr>
          <p:sp>
            <p:nvSpPr>
              <p:cNvPr id="56" name="Down Arrow 55"/>
              <p:cNvSpPr/>
              <p:nvPr/>
            </p:nvSpPr>
            <p:spPr>
              <a:xfrm flipV="1">
                <a:off x="5676900" y="3733800"/>
                <a:ext cx="228600" cy="304800"/>
              </a:xfrm>
              <a:prstGeom prst="downArrow">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th-TH" sz="1800"/>
              </a:p>
            </p:txBody>
          </p:sp>
          <p:sp>
            <p:nvSpPr>
              <p:cNvPr id="57" name="Rectangle 56"/>
              <p:cNvSpPr/>
              <p:nvPr/>
            </p:nvSpPr>
            <p:spPr>
              <a:xfrm>
                <a:off x="5257800" y="3429000"/>
                <a:ext cx="1066800" cy="304800"/>
              </a:xfrm>
              <a:prstGeom prst="rect">
                <a:avLst/>
              </a:prstGeom>
              <a:noFill/>
              <a:ln w="12700">
                <a:noFill/>
                <a:prstDash val="sysDot"/>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lnSpc>
                    <a:spcPts val="1100"/>
                  </a:lnSpc>
                  <a:spcBef>
                    <a:spcPts val="600"/>
                  </a:spcBef>
                  <a:defRPr/>
                </a:pPr>
                <a:r>
                  <a:rPr lang="th-TH" sz="1300" b="1" i="1" dirty="0">
                    <a:solidFill>
                      <a:srgbClr val="7030A0"/>
                    </a:solidFill>
                    <a:latin typeface="TH SarabunPSK" pitchFamily="34" charset="-34"/>
                    <a:cs typeface="TH SarabunPSK" pitchFamily="34" charset="-34"/>
                  </a:rPr>
                  <a:t>เพิ่มความสามารถในการพึ่งตนเอง </a:t>
                </a:r>
              </a:p>
            </p:txBody>
          </p:sp>
        </p:grpSp>
        <p:grpSp>
          <p:nvGrpSpPr>
            <p:cNvPr id="16" name="Group 57"/>
            <p:cNvGrpSpPr>
              <a:grpSpLocks/>
            </p:cNvGrpSpPr>
            <p:nvPr/>
          </p:nvGrpSpPr>
          <p:grpSpPr bwMode="auto">
            <a:xfrm>
              <a:off x="3810000" y="5638800"/>
              <a:ext cx="1066800" cy="609600"/>
              <a:chOff x="5257800" y="3429000"/>
              <a:chExt cx="1066800" cy="609600"/>
            </a:xfrm>
          </p:grpSpPr>
          <p:sp>
            <p:nvSpPr>
              <p:cNvPr id="59" name="Down Arrow 58"/>
              <p:cNvSpPr/>
              <p:nvPr/>
            </p:nvSpPr>
            <p:spPr>
              <a:xfrm flipV="1">
                <a:off x="5676900" y="3733800"/>
                <a:ext cx="228600" cy="304800"/>
              </a:xfrm>
              <a:prstGeom prst="downArrow">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th-TH" sz="1800"/>
              </a:p>
            </p:txBody>
          </p:sp>
          <p:sp>
            <p:nvSpPr>
              <p:cNvPr id="60" name="Rectangle 59"/>
              <p:cNvSpPr/>
              <p:nvPr/>
            </p:nvSpPr>
            <p:spPr>
              <a:xfrm>
                <a:off x="5257800" y="3429000"/>
                <a:ext cx="1066800" cy="304800"/>
              </a:xfrm>
              <a:prstGeom prst="rect">
                <a:avLst/>
              </a:prstGeom>
              <a:noFill/>
              <a:ln w="12700">
                <a:noFill/>
                <a:prstDash val="sysDot"/>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lnSpc>
                    <a:spcPts val="1100"/>
                  </a:lnSpc>
                  <a:spcBef>
                    <a:spcPts val="600"/>
                  </a:spcBef>
                  <a:defRPr/>
                </a:pPr>
                <a:r>
                  <a:rPr lang="th-TH" sz="1300" b="1" i="1" dirty="0">
                    <a:solidFill>
                      <a:srgbClr val="7030A0"/>
                    </a:solidFill>
                    <a:latin typeface="TH SarabunPSK" pitchFamily="34" charset="-34"/>
                    <a:cs typeface="TH SarabunPSK" pitchFamily="34" charset="-34"/>
                  </a:rPr>
                  <a:t>เพิ่มความสามารถในการพึ่งตนเอง </a:t>
                </a:r>
              </a:p>
            </p:txBody>
          </p:sp>
        </p:grpSp>
        <p:grpSp>
          <p:nvGrpSpPr>
            <p:cNvPr id="17" name="Group 60"/>
            <p:cNvGrpSpPr>
              <a:grpSpLocks/>
            </p:cNvGrpSpPr>
            <p:nvPr/>
          </p:nvGrpSpPr>
          <p:grpSpPr bwMode="auto">
            <a:xfrm>
              <a:off x="5943600" y="5638800"/>
              <a:ext cx="1066800" cy="609600"/>
              <a:chOff x="5257800" y="3429000"/>
              <a:chExt cx="1066800" cy="609600"/>
            </a:xfrm>
          </p:grpSpPr>
          <p:sp>
            <p:nvSpPr>
              <p:cNvPr id="62" name="Down Arrow 61"/>
              <p:cNvSpPr/>
              <p:nvPr/>
            </p:nvSpPr>
            <p:spPr>
              <a:xfrm flipV="1">
                <a:off x="5676900" y="3733800"/>
                <a:ext cx="228600" cy="304800"/>
              </a:xfrm>
              <a:prstGeom prst="downArrow">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th-TH" sz="1800"/>
              </a:p>
            </p:txBody>
          </p:sp>
          <p:sp>
            <p:nvSpPr>
              <p:cNvPr id="63" name="Rectangle 62"/>
              <p:cNvSpPr/>
              <p:nvPr/>
            </p:nvSpPr>
            <p:spPr>
              <a:xfrm>
                <a:off x="5257800" y="3429000"/>
                <a:ext cx="1066800" cy="304800"/>
              </a:xfrm>
              <a:prstGeom prst="rect">
                <a:avLst/>
              </a:prstGeom>
              <a:noFill/>
              <a:ln w="12700">
                <a:noFill/>
                <a:prstDash val="sysDot"/>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lnSpc>
                    <a:spcPts val="1100"/>
                  </a:lnSpc>
                  <a:spcBef>
                    <a:spcPts val="600"/>
                  </a:spcBef>
                  <a:defRPr/>
                </a:pPr>
                <a:r>
                  <a:rPr lang="th-TH" sz="1300" b="1" i="1" dirty="0">
                    <a:solidFill>
                      <a:srgbClr val="7030A0"/>
                    </a:solidFill>
                    <a:latin typeface="TH SarabunPSK" pitchFamily="34" charset="-34"/>
                    <a:cs typeface="TH SarabunPSK" pitchFamily="34" charset="-34"/>
                  </a:rPr>
                  <a:t>เพิ่มความสามารถในการพึ่งตนเอง </a:t>
                </a:r>
              </a:p>
            </p:txBody>
          </p:sp>
        </p:grpSp>
        <p:grpSp>
          <p:nvGrpSpPr>
            <p:cNvPr id="26" name="Group 63"/>
            <p:cNvGrpSpPr>
              <a:grpSpLocks/>
            </p:cNvGrpSpPr>
            <p:nvPr/>
          </p:nvGrpSpPr>
          <p:grpSpPr bwMode="auto">
            <a:xfrm>
              <a:off x="8077200" y="5638800"/>
              <a:ext cx="1066800" cy="609600"/>
              <a:chOff x="5257800" y="3429000"/>
              <a:chExt cx="1066800" cy="609600"/>
            </a:xfrm>
          </p:grpSpPr>
          <p:sp>
            <p:nvSpPr>
              <p:cNvPr id="65" name="Down Arrow 64"/>
              <p:cNvSpPr/>
              <p:nvPr/>
            </p:nvSpPr>
            <p:spPr>
              <a:xfrm flipV="1">
                <a:off x="5676900" y="3733800"/>
                <a:ext cx="228600" cy="304800"/>
              </a:xfrm>
              <a:prstGeom prst="downArrow">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th-TH" sz="1800"/>
              </a:p>
            </p:txBody>
          </p:sp>
          <p:sp>
            <p:nvSpPr>
              <p:cNvPr id="66" name="Rectangle 65"/>
              <p:cNvSpPr/>
              <p:nvPr/>
            </p:nvSpPr>
            <p:spPr>
              <a:xfrm>
                <a:off x="5257800" y="3429000"/>
                <a:ext cx="1066800" cy="304800"/>
              </a:xfrm>
              <a:prstGeom prst="rect">
                <a:avLst/>
              </a:prstGeom>
              <a:noFill/>
              <a:ln w="12700">
                <a:noFill/>
                <a:prstDash val="sysDot"/>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lnSpc>
                    <a:spcPts val="1100"/>
                  </a:lnSpc>
                  <a:spcBef>
                    <a:spcPts val="600"/>
                  </a:spcBef>
                  <a:defRPr/>
                </a:pPr>
                <a:r>
                  <a:rPr lang="th-TH" sz="1300" b="1" i="1" dirty="0">
                    <a:solidFill>
                      <a:srgbClr val="7030A0"/>
                    </a:solidFill>
                    <a:latin typeface="TH SarabunPSK" pitchFamily="34" charset="-34"/>
                    <a:cs typeface="TH SarabunPSK" pitchFamily="34" charset="-34"/>
                  </a:rPr>
                  <a:t>เพิ่มความสามารถในการพึ่งตนเอง </a:t>
                </a:r>
              </a:p>
            </p:txBody>
          </p:sp>
        </p:grpSp>
        <p:pic>
          <p:nvPicPr>
            <p:cNvPr id="68" name="Picture 8" descr="homthong.jpeg"/>
            <p:cNvPicPr>
              <a:picLocks noChangeAspect="1"/>
            </p:cNvPicPr>
            <p:nvPr/>
          </p:nvPicPr>
          <p:blipFill>
            <a:blip r:embed="rId3" cstate="print"/>
            <a:srcRect t="4590"/>
            <a:stretch>
              <a:fillRect/>
            </a:stretch>
          </p:blipFill>
          <p:spPr>
            <a:xfrm>
              <a:off x="3886200" y="4800600"/>
              <a:ext cx="1066252" cy="762000"/>
            </a:xfrm>
            <a:prstGeom prst="rect">
              <a:avLst/>
            </a:prstGeom>
            <a:ln>
              <a:noFill/>
            </a:ln>
            <a:effectLst>
              <a:softEdge rad="112500"/>
            </a:effectLst>
          </p:spPr>
        </p:pic>
        <p:pic>
          <p:nvPicPr>
            <p:cNvPr id="36889" name="Picture 4" descr="http://t2.gstatic.com/images?q=tbn:ANd9GcRQrNWWAlYn4sZoXX7dtkEECf2JiCSPiBL0AQG56rFS8xmIeyUFjA"/>
            <p:cNvPicPr>
              <a:picLocks noChangeAspect="1" noChangeArrowheads="1"/>
            </p:cNvPicPr>
            <p:nvPr/>
          </p:nvPicPr>
          <p:blipFill>
            <a:blip r:embed="rId4" cstate="print">
              <a:extLst>
                <a:ext uri="{28A0092B-C50C-407E-A947-70E740481C1C}">
                  <a14:useLocalDpi xmlns:a14="http://schemas.microsoft.com/office/drawing/2010/main" xmlns="" val="0"/>
                </a:ext>
              </a:extLst>
            </a:blip>
            <a:srcRect/>
            <a:stretch>
              <a:fillRect/>
            </a:stretch>
          </p:blipFill>
          <p:spPr bwMode="auto">
            <a:xfrm>
              <a:off x="5867400" y="3733800"/>
              <a:ext cx="990600" cy="55990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36890" name="Picture 9" descr="D:\1A-Logisics-2ndPlan\Container.bmp"/>
            <p:cNvPicPr>
              <a:picLocks noChangeAspect="1" noChangeArrowheads="1"/>
            </p:cNvPicPr>
            <p:nvPr/>
          </p:nvPicPr>
          <p:blipFill>
            <a:blip r:embed="rId5" cstate="print">
              <a:extLst>
                <a:ext uri="{28A0092B-C50C-407E-A947-70E740481C1C}">
                  <a14:useLocalDpi xmlns:a14="http://schemas.microsoft.com/office/drawing/2010/main" xmlns="" val="0"/>
                </a:ext>
              </a:extLst>
            </a:blip>
            <a:srcRect/>
            <a:stretch>
              <a:fillRect/>
            </a:stretch>
          </p:blipFill>
          <p:spPr bwMode="auto">
            <a:xfrm>
              <a:off x="5938887" y="4800600"/>
              <a:ext cx="919113" cy="6858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36891" name="Picture 10" descr="D:\1A-Logisics-2ndPlan\Standard1.jpg"/>
            <p:cNvPicPr>
              <a:picLocks noChangeAspect="1" noChangeArrowheads="1"/>
            </p:cNvPicPr>
            <p:nvPr/>
          </p:nvPicPr>
          <p:blipFill>
            <a:blip r:embed="rId6" cstate="print">
              <a:extLst>
                <a:ext uri="{28A0092B-C50C-407E-A947-70E740481C1C}">
                  <a14:useLocalDpi xmlns:a14="http://schemas.microsoft.com/office/drawing/2010/main" xmlns="" val="0"/>
                </a:ext>
              </a:extLst>
            </a:blip>
            <a:srcRect/>
            <a:stretch>
              <a:fillRect/>
            </a:stretch>
          </p:blipFill>
          <p:spPr bwMode="auto">
            <a:xfrm>
              <a:off x="1524000" y="5410200"/>
              <a:ext cx="762000" cy="53653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nvGrpSpPr>
            <p:cNvPr id="32" name="Group 73"/>
            <p:cNvGrpSpPr>
              <a:grpSpLocks/>
            </p:cNvGrpSpPr>
            <p:nvPr/>
          </p:nvGrpSpPr>
          <p:grpSpPr bwMode="auto">
            <a:xfrm>
              <a:off x="6858000" y="4267200"/>
              <a:ext cx="685800" cy="533400"/>
              <a:chOff x="4419600" y="3657600"/>
              <a:chExt cx="685800" cy="533400"/>
            </a:xfrm>
          </p:grpSpPr>
          <p:sp>
            <p:nvSpPr>
              <p:cNvPr id="75" name="Down Arrow 74"/>
              <p:cNvSpPr/>
              <p:nvPr/>
            </p:nvSpPr>
            <p:spPr>
              <a:xfrm>
                <a:off x="4648200" y="3657600"/>
                <a:ext cx="228600" cy="304800"/>
              </a:xfrm>
              <a:prstGeom prst="downArrow">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th-TH" sz="1800"/>
              </a:p>
            </p:txBody>
          </p:sp>
          <p:sp>
            <p:nvSpPr>
              <p:cNvPr id="76" name="Rectangle 75"/>
              <p:cNvSpPr/>
              <p:nvPr/>
            </p:nvSpPr>
            <p:spPr>
              <a:xfrm>
                <a:off x="4419600" y="3886200"/>
                <a:ext cx="685800" cy="304800"/>
              </a:xfrm>
              <a:prstGeom prst="rect">
                <a:avLst/>
              </a:prstGeom>
              <a:noFill/>
              <a:ln w="12700">
                <a:noFill/>
                <a:prstDash val="sysDot"/>
              </a:ln>
            </p:spPr>
            <p:style>
              <a:lnRef idx="2">
                <a:schemeClr val="accent1">
                  <a:shade val="50000"/>
                </a:schemeClr>
              </a:lnRef>
              <a:fillRef idx="1">
                <a:schemeClr val="accent1"/>
              </a:fillRef>
              <a:effectRef idx="0">
                <a:schemeClr val="accent1"/>
              </a:effectRef>
              <a:fontRef idx="minor">
                <a:schemeClr val="lt1"/>
              </a:fontRef>
            </p:style>
            <p:txBody>
              <a:bodyPr anchor="ctr"/>
              <a:lstStyle/>
              <a:p>
                <a:pPr>
                  <a:lnSpc>
                    <a:spcPts val="1100"/>
                  </a:lnSpc>
                  <a:spcBef>
                    <a:spcPts val="600"/>
                  </a:spcBef>
                  <a:defRPr/>
                </a:pPr>
                <a:r>
                  <a:rPr lang="th-TH" sz="1300" b="1" i="1" dirty="0">
                    <a:solidFill>
                      <a:srgbClr val="C00000"/>
                    </a:solidFill>
                    <a:latin typeface="TH SarabunPSK" pitchFamily="34" charset="-34"/>
                    <a:cs typeface="TH SarabunPSK" pitchFamily="34" charset="-34"/>
                  </a:rPr>
                  <a:t>ลดต้นทุน</a:t>
                </a:r>
              </a:p>
            </p:txBody>
          </p:sp>
        </p:grpSp>
        <p:grpSp>
          <p:nvGrpSpPr>
            <p:cNvPr id="37" name="Group 76"/>
            <p:cNvGrpSpPr>
              <a:grpSpLocks/>
            </p:cNvGrpSpPr>
            <p:nvPr/>
          </p:nvGrpSpPr>
          <p:grpSpPr bwMode="auto">
            <a:xfrm>
              <a:off x="7239000" y="4114800"/>
              <a:ext cx="609600" cy="533400"/>
              <a:chOff x="5257800" y="3505200"/>
              <a:chExt cx="609600" cy="533400"/>
            </a:xfrm>
          </p:grpSpPr>
          <p:sp>
            <p:nvSpPr>
              <p:cNvPr id="78" name="Down Arrow 77"/>
              <p:cNvSpPr/>
              <p:nvPr/>
            </p:nvSpPr>
            <p:spPr>
              <a:xfrm flipV="1">
                <a:off x="5448300" y="3733800"/>
                <a:ext cx="228600" cy="304800"/>
              </a:xfrm>
              <a:prstGeom prst="downArrow">
                <a:avLst/>
              </a:prstGeom>
              <a:solidFill>
                <a:srgbClr val="0033CC"/>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th-TH" sz="1800"/>
              </a:p>
            </p:txBody>
          </p:sp>
          <p:sp>
            <p:nvSpPr>
              <p:cNvPr id="79" name="Rectangle 78"/>
              <p:cNvSpPr/>
              <p:nvPr/>
            </p:nvSpPr>
            <p:spPr>
              <a:xfrm>
                <a:off x="5257800" y="3505200"/>
                <a:ext cx="609600" cy="304800"/>
              </a:xfrm>
              <a:prstGeom prst="rect">
                <a:avLst/>
              </a:prstGeom>
              <a:noFill/>
              <a:ln w="12700">
                <a:noFill/>
                <a:prstDash val="sysDot"/>
              </a:ln>
            </p:spPr>
            <p:style>
              <a:lnRef idx="2">
                <a:schemeClr val="accent1">
                  <a:shade val="50000"/>
                </a:schemeClr>
              </a:lnRef>
              <a:fillRef idx="1">
                <a:schemeClr val="accent1"/>
              </a:fillRef>
              <a:effectRef idx="0">
                <a:schemeClr val="accent1"/>
              </a:effectRef>
              <a:fontRef idx="minor">
                <a:schemeClr val="lt1"/>
              </a:fontRef>
            </p:style>
            <p:txBody>
              <a:bodyPr anchor="ctr"/>
              <a:lstStyle/>
              <a:p>
                <a:pPr>
                  <a:lnSpc>
                    <a:spcPts val="1100"/>
                  </a:lnSpc>
                  <a:spcBef>
                    <a:spcPts val="600"/>
                  </a:spcBef>
                  <a:defRPr/>
                </a:pPr>
                <a:r>
                  <a:rPr lang="th-TH" sz="1300" b="1" i="1" dirty="0">
                    <a:solidFill>
                      <a:srgbClr val="0033CC"/>
                    </a:solidFill>
                    <a:latin typeface="TH SarabunPSK" pitchFamily="34" charset="-34"/>
                    <a:cs typeface="TH SarabunPSK" pitchFamily="34" charset="-34"/>
                  </a:rPr>
                  <a:t>เพิ่ม </a:t>
                </a:r>
                <a:r>
                  <a:rPr lang="en-US" sz="1300" b="1" i="1" dirty="0">
                    <a:solidFill>
                      <a:srgbClr val="0033CC"/>
                    </a:solidFill>
                    <a:latin typeface="TH SarabunPSK" pitchFamily="34" charset="-34"/>
                    <a:cs typeface="TH SarabunPSK" pitchFamily="34" charset="-34"/>
                  </a:rPr>
                  <a:t>VA</a:t>
                </a:r>
                <a:endParaRPr lang="th-TH" sz="1300" b="1" i="1" dirty="0">
                  <a:solidFill>
                    <a:srgbClr val="0033CC"/>
                  </a:solidFill>
                  <a:latin typeface="TH SarabunPSK" pitchFamily="34" charset="-34"/>
                  <a:cs typeface="TH SarabunPSK" pitchFamily="34" charset="-34"/>
                </a:endParaRPr>
              </a:p>
            </p:txBody>
          </p:sp>
        </p:grpSp>
        <p:grpSp>
          <p:nvGrpSpPr>
            <p:cNvPr id="38" name="Group 79"/>
            <p:cNvGrpSpPr>
              <a:grpSpLocks/>
            </p:cNvGrpSpPr>
            <p:nvPr/>
          </p:nvGrpSpPr>
          <p:grpSpPr bwMode="auto">
            <a:xfrm>
              <a:off x="914400" y="3774638"/>
              <a:ext cx="685800" cy="564029"/>
              <a:chOff x="4419600" y="3546038"/>
              <a:chExt cx="685800" cy="564029"/>
            </a:xfrm>
          </p:grpSpPr>
          <p:sp>
            <p:nvSpPr>
              <p:cNvPr id="81" name="Down Arrow 80"/>
              <p:cNvSpPr/>
              <p:nvPr/>
            </p:nvSpPr>
            <p:spPr>
              <a:xfrm>
                <a:off x="4648200" y="3545205"/>
                <a:ext cx="228600" cy="304800"/>
              </a:xfrm>
              <a:prstGeom prst="downArrow">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th-TH" sz="1800"/>
              </a:p>
            </p:txBody>
          </p:sp>
          <p:sp>
            <p:nvSpPr>
              <p:cNvPr id="82" name="Rectangle 81"/>
              <p:cNvSpPr/>
              <p:nvPr/>
            </p:nvSpPr>
            <p:spPr>
              <a:xfrm>
                <a:off x="4419600" y="3806190"/>
                <a:ext cx="685800" cy="304800"/>
              </a:xfrm>
              <a:prstGeom prst="rect">
                <a:avLst/>
              </a:prstGeom>
              <a:noFill/>
              <a:ln w="12700">
                <a:noFill/>
                <a:prstDash val="sysDot"/>
              </a:ln>
            </p:spPr>
            <p:style>
              <a:lnRef idx="2">
                <a:schemeClr val="accent1">
                  <a:shade val="50000"/>
                </a:schemeClr>
              </a:lnRef>
              <a:fillRef idx="1">
                <a:schemeClr val="accent1"/>
              </a:fillRef>
              <a:effectRef idx="0">
                <a:schemeClr val="accent1"/>
              </a:effectRef>
              <a:fontRef idx="minor">
                <a:schemeClr val="lt1"/>
              </a:fontRef>
            </p:style>
            <p:txBody>
              <a:bodyPr anchor="ctr"/>
              <a:lstStyle/>
              <a:p>
                <a:pPr>
                  <a:lnSpc>
                    <a:spcPts val="1100"/>
                  </a:lnSpc>
                  <a:spcBef>
                    <a:spcPts val="600"/>
                  </a:spcBef>
                  <a:defRPr/>
                </a:pPr>
                <a:r>
                  <a:rPr lang="th-TH" sz="1300" b="1" i="1" dirty="0">
                    <a:solidFill>
                      <a:srgbClr val="C00000"/>
                    </a:solidFill>
                    <a:latin typeface="TH SarabunPSK" pitchFamily="34" charset="-34"/>
                    <a:cs typeface="TH SarabunPSK" pitchFamily="34" charset="-34"/>
                  </a:rPr>
                  <a:t>ลดต้นทุน</a:t>
                </a:r>
              </a:p>
            </p:txBody>
          </p:sp>
        </p:grpSp>
        <p:grpSp>
          <p:nvGrpSpPr>
            <p:cNvPr id="39" name="Group 82"/>
            <p:cNvGrpSpPr>
              <a:grpSpLocks/>
            </p:cNvGrpSpPr>
            <p:nvPr/>
          </p:nvGrpSpPr>
          <p:grpSpPr bwMode="auto">
            <a:xfrm>
              <a:off x="1295400" y="3733800"/>
              <a:ext cx="609600" cy="533400"/>
              <a:chOff x="5257800" y="3505200"/>
              <a:chExt cx="609600" cy="533400"/>
            </a:xfrm>
          </p:grpSpPr>
          <p:sp>
            <p:nvSpPr>
              <p:cNvPr id="84" name="Down Arrow 83"/>
              <p:cNvSpPr/>
              <p:nvPr/>
            </p:nvSpPr>
            <p:spPr>
              <a:xfrm flipV="1">
                <a:off x="5448300" y="3733800"/>
                <a:ext cx="228600" cy="304800"/>
              </a:xfrm>
              <a:prstGeom prst="downArrow">
                <a:avLst/>
              </a:prstGeom>
              <a:solidFill>
                <a:srgbClr val="0033CC"/>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th-TH" sz="1800"/>
              </a:p>
            </p:txBody>
          </p:sp>
          <p:sp>
            <p:nvSpPr>
              <p:cNvPr id="85" name="Rectangle 84"/>
              <p:cNvSpPr/>
              <p:nvPr/>
            </p:nvSpPr>
            <p:spPr>
              <a:xfrm>
                <a:off x="5257800" y="3505200"/>
                <a:ext cx="609600" cy="304800"/>
              </a:xfrm>
              <a:prstGeom prst="rect">
                <a:avLst/>
              </a:prstGeom>
              <a:noFill/>
              <a:ln w="12700">
                <a:noFill/>
                <a:prstDash val="sysDot"/>
              </a:ln>
            </p:spPr>
            <p:style>
              <a:lnRef idx="2">
                <a:schemeClr val="accent1">
                  <a:shade val="50000"/>
                </a:schemeClr>
              </a:lnRef>
              <a:fillRef idx="1">
                <a:schemeClr val="accent1"/>
              </a:fillRef>
              <a:effectRef idx="0">
                <a:schemeClr val="accent1"/>
              </a:effectRef>
              <a:fontRef idx="minor">
                <a:schemeClr val="lt1"/>
              </a:fontRef>
            </p:style>
            <p:txBody>
              <a:bodyPr anchor="ctr"/>
              <a:lstStyle/>
              <a:p>
                <a:pPr>
                  <a:lnSpc>
                    <a:spcPts val="1100"/>
                  </a:lnSpc>
                  <a:spcBef>
                    <a:spcPts val="600"/>
                  </a:spcBef>
                  <a:defRPr/>
                </a:pPr>
                <a:r>
                  <a:rPr lang="th-TH" sz="1300" b="1" i="1" dirty="0">
                    <a:solidFill>
                      <a:srgbClr val="0033CC"/>
                    </a:solidFill>
                    <a:latin typeface="TH SarabunPSK" pitchFamily="34" charset="-34"/>
                    <a:cs typeface="TH SarabunPSK" pitchFamily="34" charset="-34"/>
                  </a:rPr>
                  <a:t>เพิ่ม </a:t>
                </a:r>
                <a:r>
                  <a:rPr lang="en-US" sz="1300" b="1" i="1" dirty="0">
                    <a:solidFill>
                      <a:srgbClr val="0033CC"/>
                    </a:solidFill>
                    <a:latin typeface="TH SarabunPSK" pitchFamily="34" charset="-34"/>
                    <a:cs typeface="TH SarabunPSK" pitchFamily="34" charset="-34"/>
                  </a:rPr>
                  <a:t>VA</a:t>
                </a:r>
                <a:endParaRPr lang="th-TH" sz="1300" b="1" i="1" dirty="0">
                  <a:solidFill>
                    <a:srgbClr val="0033CC"/>
                  </a:solidFill>
                  <a:latin typeface="TH SarabunPSK" pitchFamily="34" charset="-34"/>
                  <a:cs typeface="TH SarabunPSK" pitchFamily="34" charset="-34"/>
                </a:endParaRPr>
              </a:p>
            </p:txBody>
          </p:sp>
        </p:grpSp>
      </p:grpSp>
    </p:spTree>
    <p:extLst>
      <p:ext uri="{BB962C8B-B14F-4D97-AF65-F5344CB8AC3E}">
        <p14:creationId xmlns:p14="http://schemas.microsoft.com/office/powerpoint/2010/main" xmlns="" val="4084839754"/>
      </p:ext>
    </p:extLst>
  </p:cSld>
  <p:clrMapOvr>
    <a:masterClrMapping/>
  </p:clrMapOvr>
  <p:transition spd="slow">
    <p:fade thruBlk="1"/>
  </p:transition>
  <p:timing>
    <p:tnLst>
      <p:par>
        <p:cTn id="1" dur="indefinite" restart="never" nodeType="tmRoot"/>
      </p:par>
    </p:tn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90" name="Rectangle 1"/>
          <p:cNvSpPr>
            <a:spLocks noChangeArrowheads="1"/>
          </p:cNvSpPr>
          <p:nvPr/>
        </p:nvSpPr>
        <p:spPr bwMode="auto">
          <a:xfrm>
            <a:off x="0" y="699192"/>
            <a:ext cx="9144000" cy="292644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anchor="ctr">
            <a:spAutoFit/>
          </a:bodyPr>
          <a:lstStyle/>
          <a:p>
            <a:pPr marL="531813" indent="-360363">
              <a:lnSpc>
                <a:spcPts val="2900"/>
              </a:lnSpc>
            </a:pPr>
            <a:r>
              <a:rPr lang="en-US" sz="2000" b="1" dirty="0" smtClean="0">
                <a:latin typeface="TH SarabunPSK" pitchFamily="34" charset="-34"/>
                <a:ea typeface="Calibri" pitchFamily="34" charset="0"/>
                <a:cs typeface="TH SarabunPSK" pitchFamily="34" charset="-34"/>
              </a:rPr>
              <a:t>1.2</a:t>
            </a:r>
            <a:r>
              <a:rPr lang="th-TH" sz="2000" b="1" dirty="0" smtClean="0">
                <a:latin typeface="TH SarabunPSK" pitchFamily="34" charset="-34"/>
                <a:ea typeface="Calibri" pitchFamily="34" charset="0"/>
                <a:cs typeface="TH SarabunPSK" pitchFamily="34" charset="-34"/>
              </a:rPr>
              <a:t>	เพิ่ม</a:t>
            </a:r>
            <a:r>
              <a:rPr lang="th-TH" sz="2000" b="1" dirty="0">
                <a:latin typeface="TH SarabunPSK" pitchFamily="34" charset="-34"/>
                <a:ea typeface="Calibri" pitchFamily="34" charset="0"/>
                <a:cs typeface="TH SarabunPSK" pitchFamily="34" charset="-34"/>
              </a:rPr>
              <a:t>ขีดความสามารถในการบริหารจัดการโซ่อุปทานให้กับผู้ประกอบการอุตสาหกรรมไทยและธุรกิจบริการที่มีศักยภาพสูง</a:t>
            </a:r>
          </a:p>
          <a:p>
            <a:pPr marL="982663" lvl="2" indent="-450850">
              <a:lnSpc>
                <a:spcPts val="2800"/>
              </a:lnSpc>
              <a:spcBef>
                <a:spcPts val="600"/>
              </a:spcBef>
            </a:pPr>
            <a:r>
              <a:rPr lang="en-US" sz="2000" b="1" dirty="0" smtClean="0">
                <a:solidFill>
                  <a:srgbClr val="000099"/>
                </a:solidFill>
                <a:latin typeface="TH SarabunPSK" pitchFamily="34" charset="-34"/>
                <a:ea typeface="Calibri" pitchFamily="34" charset="0"/>
                <a:cs typeface="TH SarabunPSK" pitchFamily="34" charset="-34"/>
              </a:rPr>
              <a:t>1.2.1</a:t>
            </a:r>
            <a:r>
              <a:rPr lang="en-US" sz="2000" b="1" dirty="0">
                <a:solidFill>
                  <a:srgbClr val="000099"/>
                </a:solidFill>
                <a:latin typeface="TH SarabunPSK" pitchFamily="34" charset="-34"/>
                <a:ea typeface="Calibri" pitchFamily="34" charset="0"/>
                <a:cs typeface="TH SarabunPSK" pitchFamily="34" charset="-34"/>
              </a:rPr>
              <a:t>	</a:t>
            </a:r>
            <a:r>
              <a:rPr lang="th-TH" sz="2000" b="1" dirty="0">
                <a:solidFill>
                  <a:srgbClr val="000099"/>
                </a:solidFill>
                <a:latin typeface="TH SarabunPSK" pitchFamily="34" charset="-34"/>
                <a:ea typeface="Calibri" pitchFamily="34" charset="0"/>
                <a:cs typeface="TH SarabunPSK" pitchFamily="34" charset="-34"/>
              </a:rPr>
              <a:t>สร้างความเป็นมืออาชีพด้านการจัดการโลจิสติกส์ให้กับภาคอุตสาหกรรม</a:t>
            </a:r>
            <a:endParaRPr lang="th-TH" sz="2000" dirty="0">
              <a:solidFill>
                <a:srgbClr val="000099"/>
              </a:solidFill>
              <a:latin typeface="TH SarabunPSK" pitchFamily="34" charset="-34"/>
              <a:ea typeface="Calibri" pitchFamily="34" charset="0"/>
              <a:cs typeface="TH SarabunPSK" pitchFamily="34" charset="-34"/>
            </a:endParaRPr>
          </a:p>
          <a:p>
            <a:pPr marL="982663" lvl="2" indent="-450850">
              <a:lnSpc>
                <a:spcPts val="2800"/>
              </a:lnSpc>
              <a:spcBef>
                <a:spcPts val="600"/>
              </a:spcBef>
            </a:pPr>
            <a:r>
              <a:rPr lang="en-US" sz="2000" b="1" dirty="0" smtClean="0">
                <a:solidFill>
                  <a:srgbClr val="000099"/>
                </a:solidFill>
                <a:latin typeface="TH SarabunPSK" pitchFamily="34" charset="-34"/>
                <a:ea typeface="Calibri" pitchFamily="34" charset="0"/>
                <a:cs typeface="TH SarabunPSK" pitchFamily="34" charset="-34"/>
              </a:rPr>
              <a:t>1.2.2</a:t>
            </a:r>
            <a:r>
              <a:rPr lang="en-US" sz="2000" b="1" dirty="0">
                <a:solidFill>
                  <a:srgbClr val="000099"/>
                </a:solidFill>
                <a:latin typeface="TH SarabunPSK" pitchFamily="34" charset="-34"/>
                <a:ea typeface="Calibri" pitchFamily="34" charset="0"/>
                <a:cs typeface="TH SarabunPSK" pitchFamily="34" charset="-34"/>
              </a:rPr>
              <a:t>	</a:t>
            </a:r>
            <a:r>
              <a:rPr lang="th-TH" sz="2000" b="1" dirty="0" smtClean="0">
                <a:solidFill>
                  <a:srgbClr val="000099"/>
                </a:solidFill>
                <a:latin typeface="TH SarabunPSK" pitchFamily="34" charset="-34"/>
                <a:ea typeface="Calibri" pitchFamily="34" charset="0"/>
                <a:cs typeface="TH SarabunPSK" pitchFamily="34" charset="-34"/>
              </a:rPr>
              <a:t>ส่งเสริม</a:t>
            </a:r>
            <a:r>
              <a:rPr lang="th-TH" sz="2000" b="1" dirty="0">
                <a:solidFill>
                  <a:srgbClr val="000099"/>
                </a:solidFill>
                <a:latin typeface="TH SarabunPSK" pitchFamily="34" charset="-34"/>
                <a:ea typeface="Calibri" pitchFamily="34" charset="0"/>
                <a:cs typeface="TH SarabunPSK" pitchFamily="34" charset="-34"/>
              </a:rPr>
              <a:t>ให้เกิดความร่วมมือระหว่างหน่วยธุรกิจในโซ่อุปทานของสินค้าอุตสาหกรรมตั้งแต่ต้นน้ำจนถึงผู้บริโภค</a:t>
            </a:r>
            <a:endParaRPr lang="th-TH" sz="2000" dirty="0">
              <a:solidFill>
                <a:srgbClr val="000099"/>
              </a:solidFill>
              <a:latin typeface="TH SarabunPSK" pitchFamily="34" charset="-34"/>
              <a:ea typeface="Calibri" pitchFamily="34" charset="0"/>
              <a:cs typeface="TH SarabunPSK" pitchFamily="34" charset="-34"/>
            </a:endParaRPr>
          </a:p>
          <a:p>
            <a:pPr marL="982663" lvl="2" indent="-450850">
              <a:lnSpc>
                <a:spcPts val="2800"/>
              </a:lnSpc>
              <a:spcBef>
                <a:spcPts val="600"/>
              </a:spcBef>
            </a:pPr>
            <a:r>
              <a:rPr lang="en-US" sz="2000" b="1" dirty="0" smtClean="0">
                <a:solidFill>
                  <a:srgbClr val="000099"/>
                </a:solidFill>
                <a:latin typeface="TH SarabunPSK" pitchFamily="34" charset="-34"/>
                <a:ea typeface="Calibri" pitchFamily="34" charset="0"/>
                <a:cs typeface="TH SarabunPSK" pitchFamily="34" charset="-34"/>
              </a:rPr>
              <a:t>1.2.3</a:t>
            </a:r>
            <a:r>
              <a:rPr lang="en-US" sz="2000" b="1" dirty="0">
                <a:solidFill>
                  <a:srgbClr val="000099"/>
                </a:solidFill>
                <a:latin typeface="TH SarabunPSK" pitchFamily="34" charset="-34"/>
                <a:ea typeface="Calibri" pitchFamily="34" charset="0"/>
                <a:cs typeface="TH SarabunPSK" pitchFamily="34" charset="-34"/>
              </a:rPr>
              <a:t>	</a:t>
            </a:r>
            <a:r>
              <a:rPr lang="th-TH" sz="2000" b="1" dirty="0">
                <a:solidFill>
                  <a:srgbClr val="000099"/>
                </a:solidFill>
                <a:latin typeface="TH SarabunPSK" pitchFamily="34" charset="-34"/>
                <a:ea typeface="Calibri" pitchFamily="34" charset="0"/>
                <a:cs typeface="TH SarabunPSK" pitchFamily="34" charset="-34"/>
              </a:rPr>
              <a:t>สนับสนุนการสร้างปัจจัยเอื้อเพื่อเพิ่มขีดความสามารถในการแข่งขันของโซ่อุปทาน</a:t>
            </a:r>
            <a:br>
              <a:rPr lang="th-TH" sz="2000" b="1" dirty="0">
                <a:solidFill>
                  <a:srgbClr val="000099"/>
                </a:solidFill>
                <a:latin typeface="TH SarabunPSK" pitchFamily="34" charset="-34"/>
                <a:ea typeface="Calibri" pitchFamily="34" charset="0"/>
                <a:cs typeface="TH SarabunPSK" pitchFamily="34" charset="-34"/>
              </a:rPr>
            </a:br>
            <a:r>
              <a:rPr lang="th-TH" sz="2000" b="1" dirty="0">
                <a:solidFill>
                  <a:srgbClr val="000099"/>
                </a:solidFill>
                <a:latin typeface="TH SarabunPSK" pitchFamily="34" charset="-34"/>
                <a:ea typeface="Calibri" pitchFamily="34" charset="0"/>
                <a:cs typeface="TH SarabunPSK" pitchFamily="34" charset="-34"/>
              </a:rPr>
              <a:t>ในอุตสาหกรรมเป้าหมาย</a:t>
            </a:r>
            <a:endParaRPr lang="th-TH" sz="2000" dirty="0">
              <a:solidFill>
                <a:srgbClr val="000099"/>
              </a:solidFill>
              <a:latin typeface="TH SarabunPSK" pitchFamily="34" charset="-34"/>
              <a:ea typeface="Calibri" pitchFamily="34" charset="0"/>
              <a:cs typeface="TH SarabunPSK" pitchFamily="34" charset="-34"/>
            </a:endParaRPr>
          </a:p>
          <a:p>
            <a:pPr marL="982663" lvl="2" indent="-450850">
              <a:lnSpc>
                <a:spcPts val="2800"/>
              </a:lnSpc>
              <a:spcBef>
                <a:spcPts val="600"/>
              </a:spcBef>
            </a:pPr>
            <a:r>
              <a:rPr lang="en-US" sz="2000" b="1" dirty="0" smtClean="0">
                <a:solidFill>
                  <a:srgbClr val="000099"/>
                </a:solidFill>
                <a:latin typeface="TH SarabunPSK" pitchFamily="34" charset="-34"/>
                <a:ea typeface="Calibri" pitchFamily="34" charset="0"/>
                <a:cs typeface="TH SarabunPSK" pitchFamily="34" charset="-34"/>
              </a:rPr>
              <a:t>1.2.4</a:t>
            </a:r>
            <a:r>
              <a:rPr lang="en-US" sz="2000" dirty="0">
                <a:solidFill>
                  <a:srgbClr val="000099"/>
                </a:solidFill>
                <a:latin typeface="TH SarabunPSK" pitchFamily="34" charset="-34"/>
                <a:ea typeface="Calibri" pitchFamily="34" charset="0"/>
                <a:cs typeface="TH SarabunPSK" pitchFamily="34" charset="-34"/>
              </a:rPr>
              <a:t>	</a:t>
            </a:r>
            <a:r>
              <a:rPr lang="th-TH" sz="2000" b="1" dirty="0">
                <a:solidFill>
                  <a:srgbClr val="000099"/>
                </a:solidFill>
                <a:latin typeface="TH SarabunPSK" pitchFamily="34" charset="-34"/>
                <a:cs typeface="TH SarabunPSK" pitchFamily="34" charset="-34"/>
              </a:rPr>
              <a:t>ส่งเสริมการประยุกต์ใช้วิธีการบริหารจัดการโลจิสติกส์และโซ่อุปทานที่มีประสิทธิภาพในสาขาบริการที่มีศักยภาพสูงโดยเฉพาะสาขาบริการท่องเที่ยว และบริการสุขภาพ</a:t>
            </a:r>
            <a:endParaRPr lang="th-TH" sz="2000" dirty="0">
              <a:solidFill>
                <a:srgbClr val="000099"/>
              </a:solidFill>
              <a:latin typeface="TH SarabunPSK" pitchFamily="34" charset="-34"/>
              <a:cs typeface="TH SarabunPSK" pitchFamily="34" charset="-34"/>
            </a:endParaRPr>
          </a:p>
        </p:txBody>
      </p:sp>
      <p:grpSp>
        <p:nvGrpSpPr>
          <p:cNvPr id="2" name="Group 19"/>
          <p:cNvGrpSpPr>
            <a:grpSpLocks/>
          </p:cNvGrpSpPr>
          <p:nvPr/>
        </p:nvGrpSpPr>
        <p:grpSpPr bwMode="auto">
          <a:xfrm>
            <a:off x="914400" y="3886200"/>
            <a:ext cx="7543800" cy="990124"/>
            <a:chOff x="0" y="4657341"/>
            <a:chExt cx="9220203" cy="2011472"/>
          </a:xfrm>
        </p:grpSpPr>
        <p:pic>
          <p:nvPicPr>
            <p:cNvPr id="10" name="Picture 24" descr="TGMA-SHIRT"/>
            <p:cNvPicPr>
              <a:picLocks noChangeAspect="1" noChangeArrowheads="1"/>
            </p:cNvPicPr>
            <p:nvPr/>
          </p:nvPicPr>
          <p:blipFill>
            <a:blip r:embed="rId2" cstate="print"/>
            <a:srcRect/>
            <a:stretch>
              <a:fillRect/>
            </a:stretch>
          </p:blipFill>
          <p:spPr bwMode="auto">
            <a:xfrm>
              <a:off x="7339587" y="5621626"/>
              <a:ext cx="1880616" cy="922221"/>
            </a:xfrm>
            <a:prstGeom prst="chevron">
              <a:avLst>
                <a:gd name="adj" fmla="val 30690"/>
              </a:avLst>
            </a:prstGeom>
            <a:ln>
              <a:noFill/>
            </a:ln>
            <a:effectLst>
              <a:softEdge rad="112500"/>
            </a:effectLst>
          </p:spPr>
        </p:pic>
        <p:pic>
          <p:nvPicPr>
            <p:cNvPr id="6" name="Picture 23" descr="news_img_40007_1"/>
            <p:cNvPicPr>
              <a:picLocks noChangeAspect="1" noChangeArrowheads="1"/>
            </p:cNvPicPr>
            <p:nvPr/>
          </p:nvPicPr>
          <p:blipFill>
            <a:blip r:embed="rId3" cstate="print"/>
            <a:srcRect/>
            <a:stretch>
              <a:fillRect/>
            </a:stretch>
          </p:blipFill>
          <p:spPr bwMode="auto">
            <a:xfrm>
              <a:off x="4800601" y="5580132"/>
              <a:ext cx="1773622" cy="1034009"/>
            </a:xfrm>
            <a:prstGeom prst="chevron">
              <a:avLst>
                <a:gd name="adj" fmla="val 46059"/>
              </a:avLst>
            </a:prstGeom>
            <a:ln>
              <a:noFill/>
            </a:ln>
            <a:effectLst>
              <a:softEdge rad="112500"/>
            </a:effectLst>
          </p:spPr>
        </p:pic>
        <p:pic>
          <p:nvPicPr>
            <p:cNvPr id="7" name="Picture 20" descr="13645-2"/>
            <p:cNvPicPr>
              <a:picLocks noChangeAspect="1" noChangeArrowheads="1"/>
            </p:cNvPicPr>
            <p:nvPr/>
          </p:nvPicPr>
          <p:blipFill>
            <a:blip r:embed="rId4" cstate="print"/>
            <a:srcRect/>
            <a:stretch>
              <a:fillRect/>
            </a:stretch>
          </p:blipFill>
          <p:spPr bwMode="auto">
            <a:xfrm>
              <a:off x="3581401" y="5620542"/>
              <a:ext cx="1818291" cy="965074"/>
            </a:xfrm>
            <a:prstGeom prst="chevron">
              <a:avLst>
                <a:gd name="adj" fmla="val 41724"/>
              </a:avLst>
            </a:prstGeom>
            <a:ln>
              <a:noFill/>
            </a:ln>
            <a:effectLst>
              <a:softEdge rad="112500"/>
            </a:effectLst>
          </p:spPr>
        </p:pic>
        <p:pic>
          <p:nvPicPr>
            <p:cNvPr id="8" name="Picture 21" descr="resize_of_assembly10"/>
            <p:cNvPicPr>
              <a:picLocks noChangeAspect="1" noChangeArrowheads="1"/>
            </p:cNvPicPr>
            <p:nvPr/>
          </p:nvPicPr>
          <p:blipFill>
            <a:blip r:embed="rId5" cstate="print"/>
            <a:srcRect/>
            <a:stretch>
              <a:fillRect/>
            </a:stretch>
          </p:blipFill>
          <p:spPr bwMode="auto">
            <a:xfrm>
              <a:off x="6019802" y="5604316"/>
              <a:ext cx="1792014" cy="995564"/>
            </a:xfrm>
            <a:prstGeom prst="chevron">
              <a:avLst>
                <a:gd name="adj" fmla="val 31191"/>
              </a:avLst>
            </a:prstGeom>
            <a:ln>
              <a:noFill/>
            </a:ln>
            <a:effectLst>
              <a:softEdge rad="112500"/>
            </a:effectLst>
          </p:spPr>
        </p:pic>
        <p:pic>
          <p:nvPicPr>
            <p:cNvPr id="182274" name="Picture 2" descr="http://images.voicecdn.net/contents/640/330/horizontal/3287.jpg"/>
            <p:cNvPicPr>
              <a:picLocks noChangeAspect="1" noChangeArrowheads="1"/>
            </p:cNvPicPr>
            <p:nvPr/>
          </p:nvPicPr>
          <p:blipFill>
            <a:blip r:embed="rId6" cstate="print"/>
            <a:srcRect/>
            <a:stretch>
              <a:fillRect/>
            </a:stretch>
          </p:blipFill>
          <p:spPr bwMode="auto">
            <a:xfrm>
              <a:off x="1219201" y="5634804"/>
              <a:ext cx="1828802" cy="1014993"/>
            </a:xfrm>
            <a:prstGeom prst="chevron">
              <a:avLst>
                <a:gd name="adj" fmla="val 39427"/>
              </a:avLst>
            </a:prstGeom>
            <a:ln>
              <a:noFill/>
            </a:ln>
            <a:effectLst>
              <a:softEdge rad="112500"/>
            </a:effectLst>
          </p:spPr>
        </p:pic>
        <p:pic>
          <p:nvPicPr>
            <p:cNvPr id="11" name="Picture 25" descr="a0010"/>
            <p:cNvPicPr>
              <a:picLocks noChangeAspect="1" noChangeArrowheads="1"/>
            </p:cNvPicPr>
            <p:nvPr/>
          </p:nvPicPr>
          <p:blipFill>
            <a:blip r:embed="rId7" cstate="print"/>
            <a:srcRect/>
            <a:stretch>
              <a:fillRect/>
            </a:stretch>
          </p:blipFill>
          <p:spPr bwMode="auto">
            <a:xfrm>
              <a:off x="2590801" y="5634804"/>
              <a:ext cx="1479331" cy="969416"/>
            </a:xfrm>
            <a:prstGeom prst="chevron">
              <a:avLst>
                <a:gd name="adj" fmla="val 28222"/>
              </a:avLst>
            </a:prstGeom>
            <a:ln>
              <a:noFill/>
            </a:ln>
            <a:effectLst>
              <a:softEdge rad="112500"/>
            </a:effectLst>
          </p:spPr>
        </p:pic>
        <p:pic>
          <p:nvPicPr>
            <p:cNvPr id="12" name="Picture 26" descr="thumb_1217482434"/>
            <p:cNvPicPr>
              <a:picLocks noChangeAspect="1" noChangeArrowheads="1"/>
            </p:cNvPicPr>
            <p:nvPr/>
          </p:nvPicPr>
          <p:blipFill>
            <a:blip r:embed="rId8" cstate="print"/>
            <a:srcRect/>
            <a:stretch>
              <a:fillRect/>
            </a:stretch>
          </p:blipFill>
          <p:spPr bwMode="auto">
            <a:xfrm>
              <a:off x="0" y="5565871"/>
              <a:ext cx="1765739" cy="1102942"/>
            </a:xfrm>
            <a:prstGeom prst="homePlate">
              <a:avLst>
                <a:gd name="adj" fmla="val 38022"/>
              </a:avLst>
            </a:prstGeom>
            <a:ln>
              <a:noFill/>
            </a:ln>
            <a:effectLst>
              <a:softEdge rad="112500"/>
            </a:effectLst>
          </p:spPr>
        </p:pic>
        <p:pic>
          <p:nvPicPr>
            <p:cNvPr id="182276" name="Picture 4" descr="http://www.bhumibolhospital.rtaf.mi.th/Sitedirectory/885/4274/2605_hos.jpg"/>
            <p:cNvPicPr>
              <a:picLocks noChangeAspect="1" noChangeArrowheads="1"/>
            </p:cNvPicPr>
            <p:nvPr/>
          </p:nvPicPr>
          <p:blipFill>
            <a:blip r:embed="rId9" cstate="print"/>
            <a:srcRect/>
            <a:stretch>
              <a:fillRect/>
            </a:stretch>
          </p:blipFill>
          <p:spPr bwMode="auto">
            <a:xfrm>
              <a:off x="990600" y="4686445"/>
              <a:ext cx="1943100" cy="860523"/>
            </a:xfrm>
            <a:prstGeom prst="homePlate">
              <a:avLst>
                <a:gd name="adj" fmla="val 37268"/>
              </a:avLst>
            </a:prstGeom>
            <a:noFill/>
            <a:ln>
              <a:solidFill>
                <a:schemeClr val="bg1">
                  <a:lumMod val="65000"/>
                </a:schemeClr>
              </a:solidFill>
            </a:ln>
          </p:spPr>
        </p:pic>
        <p:pic>
          <p:nvPicPr>
            <p:cNvPr id="182278" name="Picture 6" descr="http://news.nipa.co.th/image/manager/img500/15642_552000008164801.JPEG"/>
            <p:cNvPicPr>
              <a:picLocks noChangeAspect="1" noChangeArrowheads="1"/>
            </p:cNvPicPr>
            <p:nvPr/>
          </p:nvPicPr>
          <p:blipFill>
            <a:blip r:embed="rId10" cstate="print"/>
            <a:srcRect/>
            <a:stretch>
              <a:fillRect/>
            </a:stretch>
          </p:blipFill>
          <p:spPr bwMode="auto">
            <a:xfrm>
              <a:off x="2635468" y="4681727"/>
              <a:ext cx="2171700" cy="865240"/>
            </a:xfrm>
            <a:prstGeom prst="chevron">
              <a:avLst>
                <a:gd name="adj" fmla="val 36207"/>
              </a:avLst>
            </a:prstGeom>
            <a:noFill/>
            <a:ln>
              <a:solidFill>
                <a:schemeClr val="bg1">
                  <a:lumMod val="65000"/>
                </a:schemeClr>
              </a:solidFill>
            </a:ln>
          </p:spPr>
        </p:pic>
        <p:pic>
          <p:nvPicPr>
            <p:cNvPr id="182280" name="Picture 8" descr="http://www.thaifranchisecenter.com/document/sme/picture/Travel0-1.jpg"/>
            <p:cNvPicPr>
              <a:picLocks noChangeAspect="1" noChangeArrowheads="1"/>
            </p:cNvPicPr>
            <p:nvPr/>
          </p:nvPicPr>
          <p:blipFill>
            <a:blip r:embed="rId11" cstate="print"/>
            <a:srcRect/>
            <a:stretch>
              <a:fillRect/>
            </a:stretch>
          </p:blipFill>
          <p:spPr bwMode="auto">
            <a:xfrm>
              <a:off x="4495800" y="4657341"/>
              <a:ext cx="1832040" cy="907885"/>
            </a:xfrm>
            <a:prstGeom prst="chevron">
              <a:avLst>
                <a:gd name="adj" fmla="val 36812"/>
              </a:avLst>
            </a:prstGeom>
            <a:noFill/>
            <a:ln>
              <a:solidFill>
                <a:schemeClr val="bg1">
                  <a:lumMod val="65000"/>
                </a:schemeClr>
              </a:solidFill>
            </a:ln>
          </p:spPr>
        </p:pic>
        <p:pic>
          <p:nvPicPr>
            <p:cNvPr id="182282" name="Picture 10" descr="http://t1.gstatic.com/images?q=tbn:ANd9GcTnaVT5zoDP48FSYh_sXyxWq_4r_k8Hk9aVUB5YU8atVR6NyBUxXsrMmwmWCQ"/>
            <p:cNvPicPr>
              <a:picLocks noChangeAspect="1" noChangeArrowheads="1"/>
            </p:cNvPicPr>
            <p:nvPr/>
          </p:nvPicPr>
          <p:blipFill>
            <a:blip r:embed="rId12" cstate="print"/>
            <a:srcRect/>
            <a:stretch>
              <a:fillRect/>
            </a:stretch>
          </p:blipFill>
          <p:spPr bwMode="auto">
            <a:xfrm>
              <a:off x="6019801" y="4661337"/>
              <a:ext cx="2057400" cy="885630"/>
            </a:xfrm>
            <a:prstGeom prst="chevron">
              <a:avLst>
                <a:gd name="adj" fmla="val 37501"/>
              </a:avLst>
            </a:prstGeom>
            <a:noFill/>
            <a:ln>
              <a:solidFill>
                <a:schemeClr val="bg1">
                  <a:lumMod val="65000"/>
                </a:schemeClr>
              </a:solidFill>
            </a:ln>
          </p:spPr>
        </p:pic>
      </p:grpSp>
      <p:graphicFrame>
        <p:nvGraphicFramePr>
          <p:cNvPr id="17" name="Table 16"/>
          <p:cNvGraphicFramePr>
            <a:graphicFrameLocks noGrp="1"/>
          </p:cNvGraphicFramePr>
          <p:nvPr>
            <p:extLst>
              <p:ext uri="{D42A27DB-BD31-4B8C-83A1-F6EECF244321}">
                <p14:modId xmlns:p14="http://schemas.microsoft.com/office/powerpoint/2010/main" xmlns="" val="1326078604"/>
              </p:ext>
            </p:extLst>
          </p:nvPr>
        </p:nvGraphicFramePr>
        <p:xfrm>
          <a:off x="1588" y="-4286"/>
          <a:ext cx="9144000" cy="739070"/>
        </p:xfrm>
        <a:graphic>
          <a:graphicData uri="http://schemas.openxmlformats.org/drawingml/2006/table">
            <a:tbl>
              <a:tblPr firstRow="1" bandRow="1">
                <a:tableStyleId>{5C22544A-7EE6-4342-B048-85BDC9FD1C3A}</a:tableStyleId>
              </a:tblPr>
              <a:tblGrid>
                <a:gridCol w="1828800"/>
                <a:gridCol w="7315200"/>
              </a:tblGrid>
              <a:tr h="739070">
                <a:tc>
                  <a:txBody>
                    <a:bodyPr/>
                    <a:lstStyle/>
                    <a:p>
                      <a:pPr algn="r"/>
                      <a:r>
                        <a:rPr lang="th-TH" sz="2200" b="1" dirty="0" smtClean="0">
                          <a:solidFill>
                            <a:schemeClr val="bg1"/>
                          </a:solidFill>
                          <a:latin typeface="TH SarabunPSK" pitchFamily="34" charset="-34"/>
                          <a:cs typeface="TH SarabunPSK" pitchFamily="34" charset="-34"/>
                        </a:rPr>
                        <a:t>ประเด็น</a:t>
                      </a:r>
                      <a:br>
                        <a:rPr lang="th-TH" sz="2200" b="1" dirty="0" smtClean="0">
                          <a:solidFill>
                            <a:schemeClr val="bg1"/>
                          </a:solidFill>
                          <a:latin typeface="TH SarabunPSK" pitchFamily="34" charset="-34"/>
                          <a:cs typeface="TH SarabunPSK" pitchFamily="34" charset="-34"/>
                        </a:rPr>
                      </a:br>
                      <a:r>
                        <a:rPr lang="th-TH" sz="2200" b="1" dirty="0" smtClean="0">
                          <a:solidFill>
                            <a:schemeClr val="bg1"/>
                          </a:solidFill>
                          <a:latin typeface="TH SarabunPSK" pitchFamily="34" charset="-34"/>
                          <a:cs typeface="TH SarabunPSK" pitchFamily="34" charset="-34"/>
                        </a:rPr>
                        <a:t>ยุทธศาสตร์ที่ </a:t>
                      </a:r>
                      <a:r>
                        <a:rPr lang="en-US" sz="2200" b="1" dirty="0" smtClean="0">
                          <a:solidFill>
                            <a:schemeClr val="bg1"/>
                          </a:solidFill>
                          <a:latin typeface="TH SarabunPSK" pitchFamily="34" charset="-34"/>
                          <a:cs typeface="TH SarabunPSK" pitchFamily="34" charset="-34"/>
                        </a:rPr>
                        <a:t>1</a:t>
                      </a:r>
                      <a:endParaRPr lang="th-TH" sz="2200" dirty="0">
                        <a:solidFill>
                          <a:schemeClr val="bg1"/>
                        </a:solidFill>
                        <a:latin typeface="TH SarabunPSK" pitchFamily="34" charset="-34"/>
                        <a:cs typeface="TH SarabunPSK" pitchFamily="34" charset="-34"/>
                      </a:endParaRPr>
                    </a:p>
                  </a:txBody>
                  <a:tcPr marT="34255" marB="34255"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1">
                        <a:lumMod val="50000"/>
                      </a:schemeClr>
                    </a:solidFill>
                  </a:tcPr>
                </a:tc>
                <a:tc>
                  <a:txBody>
                    <a:bodyPr/>
                    <a:lstStyle/>
                    <a:p>
                      <a:pPr marL="171450" indent="0" algn="l"/>
                      <a:r>
                        <a:rPr lang="th-TH" sz="2200" b="1" dirty="0" smtClean="0">
                          <a:latin typeface="TH SarabunPSK" pitchFamily="34" charset="-34"/>
                          <a:ea typeface="Calibri" pitchFamily="34" charset="0"/>
                          <a:cs typeface="TH SarabunPSK" pitchFamily="34" charset="-34"/>
                        </a:rPr>
                        <a:t>เพิ่มขีดความสามารถในการบริหารจัดการโซ่อุปทาน</a:t>
                      </a:r>
                      <a:endParaRPr lang="th-TH" sz="2200" dirty="0">
                        <a:solidFill>
                          <a:schemeClr val="bg1"/>
                        </a:solidFill>
                        <a:latin typeface="TH SarabunPSK" pitchFamily="34" charset="-34"/>
                        <a:cs typeface="TH SarabunPSK" pitchFamily="34" charset="-34"/>
                      </a:endParaRPr>
                    </a:p>
                  </a:txBody>
                  <a:tcPr marT="34255" marB="34255"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0070C0"/>
                    </a:solidFill>
                  </a:tcPr>
                </a:tc>
              </a:tr>
            </a:tbl>
          </a:graphicData>
        </a:graphic>
      </p:graphicFrame>
    </p:spTree>
    <p:extLst>
      <p:ext uri="{BB962C8B-B14F-4D97-AF65-F5344CB8AC3E}">
        <p14:creationId xmlns:p14="http://schemas.microsoft.com/office/powerpoint/2010/main" xmlns="" val="1858237868"/>
      </p:ext>
    </p:extLst>
  </p:cSld>
  <p:clrMapOvr>
    <a:masterClrMapping/>
  </p:clrMapOvr>
  <p:transition spd="slow">
    <p:fade thruBlk="1"/>
  </p:transition>
  <p:timing>
    <p:tnLst>
      <p:par>
        <p:cTn id="1" dur="indefinite" restart="never" nodeType="tmRoot"/>
      </p:par>
    </p:tnLst>
  </p:timing>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2" descr="http://www.scbeic.com/stocks/extra/3631_20121016095226.jpg"/>
          <p:cNvPicPr>
            <a:picLocks noChangeAspect="1" noChangeArrowheads="1"/>
          </p:cNvPicPr>
          <p:nvPr/>
        </p:nvPicPr>
        <p:blipFill>
          <a:blip r:embed="rId2" cstate="print"/>
          <a:srcRect/>
          <a:stretch>
            <a:fillRect/>
          </a:stretch>
        </p:blipFill>
        <p:spPr bwMode="auto">
          <a:xfrm>
            <a:off x="6437280" y="821956"/>
            <a:ext cx="2563221" cy="2563222"/>
          </a:xfrm>
          <a:prstGeom prst="rect">
            <a:avLst/>
          </a:prstGeom>
          <a:ln>
            <a:noFill/>
          </a:ln>
          <a:effectLst>
            <a:softEdge rad="112500"/>
          </a:effectLst>
        </p:spPr>
      </p:pic>
      <p:sp>
        <p:nvSpPr>
          <p:cNvPr id="38923" name="Rectangle 1"/>
          <p:cNvSpPr>
            <a:spLocks noChangeArrowheads="1"/>
          </p:cNvSpPr>
          <p:nvPr/>
        </p:nvSpPr>
        <p:spPr bwMode="auto">
          <a:xfrm>
            <a:off x="172745" y="895791"/>
            <a:ext cx="6055439" cy="292387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108000" tIns="0" rIns="108000" bIns="0" anchor="ctr">
            <a:spAutoFit/>
          </a:bodyPr>
          <a:lstStyle/>
          <a:p>
            <a:pPr marL="723900" lvl="1" indent="-457200" eaLnBrk="0" hangingPunct="0">
              <a:spcBef>
                <a:spcPts val="1200"/>
              </a:spcBef>
            </a:pPr>
            <a:r>
              <a:rPr lang="en-US" sz="2000" b="1" dirty="0" smtClean="0">
                <a:latin typeface="TH SarabunPSK" pitchFamily="34" charset="-34"/>
                <a:ea typeface="Calibri" pitchFamily="34" charset="0"/>
                <a:cs typeface="TH SarabunPSK" pitchFamily="34" charset="-34"/>
              </a:rPr>
              <a:t>2.1</a:t>
            </a:r>
            <a:r>
              <a:rPr lang="en-US" sz="2000" b="1" dirty="0">
                <a:latin typeface="TH SarabunPSK" pitchFamily="34" charset="-34"/>
                <a:ea typeface="Calibri" pitchFamily="34" charset="0"/>
                <a:cs typeface="TH SarabunPSK" pitchFamily="34" charset="-34"/>
              </a:rPr>
              <a:t>	</a:t>
            </a:r>
            <a:r>
              <a:rPr lang="th-TH" sz="2000" b="1" dirty="0">
                <a:latin typeface="TH SarabunPSK" pitchFamily="34" charset="-34"/>
                <a:ea typeface="Calibri" pitchFamily="34" charset="0"/>
                <a:cs typeface="TH SarabunPSK" pitchFamily="34" charset="-34"/>
              </a:rPr>
              <a:t>ส่งเสริมการลงทุนพัฒนาพื้นที่การค้าและบริการในเขตเมืองที่ห่างจากพื้นที่ชายแดน </a:t>
            </a:r>
          </a:p>
          <a:p>
            <a:pPr marL="723900" lvl="1" indent="-457200" eaLnBrk="0" hangingPunct="0">
              <a:spcBef>
                <a:spcPts val="1200"/>
              </a:spcBef>
            </a:pPr>
            <a:r>
              <a:rPr lang="en-US" sz="2000" b="1" dirty="0" smtClean="0">
                <a:latin typeface="TH SarabunPSK" pitchFamily="34" charset="-34"/>
                <a:ea typeface="Calibri" pitchFamily="34" charset="0"/>
                <a:cs typeface="TH SarabunPSK" pitchFamily="34" charset="-34"/>
              </a:rPr>
              <a:t>2.2</a:t>
            </a:r>
            <a:r>
              <a:rPr lang="en-US" sz="2000" b="1" dirty="0">
                <a:latin typeface="TH SarabunPSK" pitchFamily="34" charset="-34"/>
                <a:ea typeface="Calibri" pitchFamily="34" charset="0"/>
                <a:cs typeface="TH SarabunPSK" pitchFamily="34" charset="-34"/>
              </a:rPr>
              <a:t>	</a:t>
            </a:r>
            <a:r>
              <a:rPr lang="th-TH" sz="2000" b="1" dirty="0">
                <a:latin typeface="TH SarabunPSK" pitchFamily="34" charset="-34"/>
                <a:ea typeface="Calibri" pitchFamily="34" charset="0"/>
                <a:cs typeface="TH SarabunPSK" pitchFamily="34" charset="-34"/>
              </a:rPr>
              <a:t>พัฒนาจุดผ่านแดนถาวร/ชั่วคราว/จุดผ่อนปรนที่มีศักยภาพทางการค้าให้เป็นด่านถาวรที่ได้มาตรฐานสากล (</a:t>
            </a:r>
            <a:r>
              <a:rPr lang="en-US" sz="2000" b="1" dirty="0">
                <a:latin typeface="TH SarabunPSK" pitchFamily="34" charset="-34"/>
                <a:ea typeface="Calibri" pitchFamily="34" charset="0"/>
                <a:cs typeface="TH SarabunPSK" pitchFamily="34" charset="-34"/>
              </a:rPr>
              <a:t>Standardize CIQ) </a:t>
            </a:r>
            <a:r>
              <a:rPr lang="th-TH" sz="2000" b="1" dirty="0">
                <a:latin typeface="TH SarabunPSK" pitchFamily="34" charset="-34"/>
                <a:ea typeface="Calibri" pitchFamily="34" charset="0"/>
                <a:cs typeface="TH SarabunPSK" pitchFamily="34" charset="-34"/>
              </a:rPr>
              <a:t>แยกจุด</a:t>
            </a:r>
            <a:r>
              <a:rPr lang="th-TH" sz="2000" b="1" dirty="0" smtClean="0">
                <a:latin typeface="TH SarabunPSK" pitchFamily="34" charset="-34"/>
                <a:ea typeface="Calibri" pitchFamily="34" charset="0"/>
                <a:cs typeface="TH SarabunPSK" pitchFamily="34" charset="-34"/>
              </a:rPr>
              <a:t>ตรวจการ</a:t>
            </a:r>
            <a:r>
              <a:rPr lang="th-TH" sz="2000" b="1" dirty="0">
                <a:latin typeface="TH SarabunPSK" pitchFamily="34" charset="-34"/>
                <a:ea typeface="Calibri" pitchFamily="34" charset="0"/>
                <a:cs typeface="TH SarabunPSK" pitchFamily="34" charset="-34"/>
              </a:rPr>
              <a:t>ผ่านแดนของคนและสินค้าออกจากกัน</a:t>
            </a:r>
          </a:p>
          <a:p>
            <a:pPr marL="723900" lvl="1" indent="-457200" eaLnBrk="0" hangingPunct="0">
              <a:spcBef>
                <a:spcPts val="1200"/>
              </a:spcBef>
            </a:pPr>
            <a:r>
              <a:rPr lang="en-US" sz="2000" b="1" dirty="0" smtClean="0">
                <a:latin typeface="TH SarabunPSK" pitchFamily="34" charset="-34"/>
                <a:ea typeface="Calibri" pitchFamily="34" charset="0"/>
                <a:cs typeface="TH SarabunPSK" pitchFamily="34" charset="-34"/>
              </a:rPr>
              <a:t>2.3</a:t>
            </a:r>
            <a:r>
              <a:rPr lang="en-US" sz="2000" b="1" dirty="0">
                <a:latin typeface="TH SarabunPSK" pitchFamily="34" charset="-34"/>
                <a:ea typeface="Calibri" pitchFamily="34" charset="0"/>
                <a:cs typeface="TH SarabunPSK" pitchFamily="34" charset="-34"/>
              </a:rPr>
              <a:t>	</a:t>
            </a:r>
            <a:r>
              <a:rPr lang="th-TH" sz="2000" b="1" dirty="0">
                <a:latin typeface="TH SarabunPSK" pitchFamily="34" charset="-34"/>
                <a:ea typeface="Calibri" pitchFamily="34" charset="0"/>
                <a:cs typeface="TH SarabunPSK" pitchFamily="34" charset="-34"/>
              </a:rPr>
              <a:t>สนับสนุนการขยายฐานการผลิตและโซ่อุปทานของธุรกิจไปยังเมืองชายแดนของประเทศเพื่อน</a:t>
            </a:r>
            <a:r>
              <a:rPr lang="th-TH" sz="2000" b="1" dirty="0" smtClean="0">
                <a:latin typeface="TH SarabunPSK" pitchFamily="34" charset="-34"/>
                <a:ea typeface="Calibri" pitchFamily="34" charset="0"/>
                <a:cs typeface="TH SarabunPSK" pitchFamily="34" charset="-34"/>
              </a:rPr>
              <a:t>บ้าน</a:t>
            </a:r>
            <a:endParaRPr lang="en-US" sz="2000" b="1" dirty="0" smtClean="0">
              <a:latin typeface="TH SarabunPSK" pitchFamily="34" charset="-34"/>
              <a:ea typeface="Calibri" pitchFamily="34" charset="0"/>
              <a:cs typeface="TH SarabunPSK" pitchFamily="34" charset="-34"/>
            </a:endParaRPr>
          </a:p>
          <a:p>
            <a:pPr marL="723900" lvl="1" indent="-457200" eaLnBrk="0" hangingPunct="0">
              <a:spcBef>
                <a:spcPts val="1200"/>
              </a:spcBef>
            </a:pPr>
            <a:r>
              <a:rPr lang="en-US" sz="2000" b="1" dirty="0" smtClean="0">
                <a:latin typeface="TH SarabunPSK" pitchFamily="34" charset="-34"/>
                <a:ea typeface="Calibri" pitchFamily="34" charset="0"/>
                <a:cs typeface="TH SarabunPSK" pitchFamily="34" charset="-34"/>
              </a:rPr>
              <a:t>2.4</a:t>
            </a:r>
            <a:r>
              <a:rPr lang="en-US" sz="2000" b="1" dirty="0">
                <a:latin typeface="TH SarabunPSK" pitchFamily="34" charset="-34"/>
                <a:ea typeface="Calibri" pitchFamily="34" charset="0"/>
                <a:cs typeface="TH SarabunPSK" pitchFamily="34" charset="-34"/>
              </a:rPr>
              <a:t>	</a:t>
            </a:r>
            <a:r>
              <a:rPr lang="th-TH" sz="2000" b="1" dirty="0">
                <a:latin typeface="TH SarabunPSK" pitchFamily="34" charset="-34"/>
                <a:ea typeface="Calibri" pitchFamily="34" charset="0"/>
                <a:cs typeface="TH SarabunPSK" pitchFamily="34" charset="-34"/>
              </a:rPr>
              <a:t>สนับสนุนการพัฒนาท่าเรือ และนิคมอุตสาหกรรมทวาย </a:t>
            </a:r>
            <a:endParaRPr lang="th-TH" sz="2000" dirty="0">
              <a:latin typeface="TH SarabunPSK" pitchFamily="34" charset="-34"/>
              <a:ea typeface="Calibri" pitchFamily="34" charset="0"/>
              <a:cs typeface="TH SarabunPSK" pitchFamily="34" charset="-34"/>
            </a:endParaRPr>
          </a:p>
        </p:txBody>
      </p:sp>
      <p:grpSp>
        <p:nvGrpSpPr>
          <p:cNvPr id="2" name="Group 6"/>
          <p:cNvGrpSpPr>
            <a:grpSpLocks/>
          </p:cNvGrpSpPr>
          <p:nvPr/>
        </p:nvGrpSpPr>
        <p:grpSpPr bwMode="auto">
          <a:xfrm>
            <a:off x="6516216" y="3441861"/>
            <a:ext cx="2388072" cy="1333023"/>
            <a:chOff x="-3003777" y="-1976679"/>
            <a:chExt cx="7913086" cy="8430015"/>
          </a:xfrm>
        </p:grpSpPr>
        <p:pic>
          <p:nvPicPr>
            <p:cNvPr id="6" name="Picture 3"/>
            <p:cNvPicPr>
              <a:picLocks noChangeAspect="1" noChangeArrowheads="1"/>
            </p:cNvPicPr>
            <p:nvPr/>
          </p:nvPicPr>
          <p:blipFill>
            <a:blip r:embed="rId3" cstate="print"/>
            <a:srcRect l="308" t="9476" r="29693" b="47698"/>
            <a:stretch>
              <a:fillRect/>
            </a:stretch>
          </p:blipFill>
          <p:spPr bwMode="auto">
            <a:xfrm>
              <a:off x="-3003777" y="-1976679"/>
              <a:ext cx="7913086" cy="5343043"/>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7" name="Picture 4"/>
            <p:cNvPicPr>
              <a:picLocks noChangeAspect="1" noChangeArrowheads="1"/>
            </p:cNvPicPr>
            <p:nvPr/>
          </p:nvPicPr>
          <p:blipFill>
            <a:blip r:embed="rId4" cstate="print"/>
            <a:srcRect b="21251"/>
            <a:stretch>
              <a:fillRect/>
            </a:stretch>
          </p:blipFill>
          <p:spPr bwMode="auto">
            <a:xfrm>
              <a:off x="539552" y="5767773"/>
              <a:ext cx="2793072" cy="685563"/>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grpSp>
      <p:graphicFrame>
        <p:nvGraphicFramePr>
          <p:cNvPr id="10" name="Table 9"/>
          <p:cNvGraphicFramePr>
            <a:graphicFrameLocks noGrp="1"/>
          </p:cNvGraphicFramePr>
          <p:nvPr>
            <p:extLst>
              <p:ext uri="{D42A27DB-BD31-4B8C-83A1-F6EECF244321}">
                <p14:modId xmlns:p14="http://schemas.microsoft.com/office/powerpoint/2010/main" xmlns="" val="1281071405"/>
              </p:ext>
            </p:extLst>
          </p:nvPr>
        </p:nvGraphicFramePr>
        <p:xfrm>
          <a:off x="1588" y="1"/>
          <a:ext cx="9144000" cy="739070"/>
        </p:xfrm>
        <a:graphic>
          <a:graphicData uri="http://schemas.openxmlformats.org/drawingml/2006/table">
            <a:tbl>
              <a:tblPr firstRow="1" bandRow="1">
                <a:tableStyleId>{5C22544A-7EE6-4342-B048-85BDC9FD1C3A}</a:tableStyleId>
              </a:tblPr>
              <a:tblGrid>
                <a:gridCol w="1828800"/>
                <a:gridCol w="7315200"/>
              </a:tblGrid>
              <a:tr h="739070">
                <a:tc>
                  <a:txBody>
                    <a:bodyPr/>
                    <a:lstStyle/>
                    <a:p>
                      <a:pPr algn="r"/>
                      <a:r>
                        <a:rPr lang="th-TH" sz="2200" b="1" dirty="0" smtClean="0">
                          <a:solidFill>
                            <a:schemeClr val="bg1"/>
                          </a:solidFill>
                          <a:latin typeface="TH SarabunPSK" pitchFamily="34" charset="-34"/>
                          <a:cs typeface="TH SarabunPSK" pitchFamily="34" charset="-34"/>
                        </a:rPr>
                        <a:t>ประเด็น</a:t>
                      </a:r>
                      <a:br>
                        <a:rPr lang="th-TH" sz="2200" b="1" dirty="0" smtClean="0">
                          <a:solidFill>
                            <a:schemeClr val="bg1"/>
                          </a:solidFill>
                          <a:latin typeface="TH SarabunPSK" pitchFamily="34" charset="-34"/>
                          <a:cs typeface="TH SarabunPSK" pitchFamily="34" charset="-34"/>
                        </a:rPr>
                      </a:br>
                      <a:r>
                        <a:rPr lang="th-TH" sz="2200" b="1" dirty="0" smtClean="0">
                          <a:solidFill>
                            <a:schemeClr val="bg1"/>
                          </a:solidFill>
                          <a:latin typeface="TH SarabunPSK" pitchFamily="34" charset="-34"/>
                          <a:cs typeface="TH SarabunPSK" pitchFamily="34" charset="-34"/>
                        </a:rPr>
                        <a:t>ยุทธศาสตร์ที่ 2</a:t>
                      </a:r>
                      <a:endParaRPr lang="th-TH" sz="2200" dirty="0">
                        <a:solidFill>
                          <a:schemeClr val="bg1"/>
                        </a:solidFill>
                        <a:latin typeface="TH SarabunPSK" pitchFamily="34" charset="-34"/>
                        <a:cs typeface="TH SarabunPSK" pitchFamily="34" charset="-34"/>
                      </a:endParaRPr>
                    </a:p>
                  </a:txBody>
                  <a:tcPr marT="34255" marB="34255"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1">
                        <a:lumMod val="50000"/>
                      </a:schemeClr>
                    </a:solidFill>
                  </a:tcPr>
                </a:tc>
                <a:tc>
                  <a:txBody>
                    <a:bodyPr/>
                    <a:lstStyle/>
                    <a:p>
                      <a:pPr marL="171450" indent="0" algn="l"/>
                      <a:r>
                        <a:rPr lang="th-TH" sz="2200" b="1" dirty="0" smtClean="0">
                          <a:latin typeface="TH SarabunPSK" pitchFamily="34" charset="-34"/>
                          <a:ea typeface="Calibri" pitchFamily="34" charset="0"/>
                          <a:cs typeface="TH SarabunPSK" pitchFamily="34" charset="-34"/>
                        </a:rPr>
                        <a:t>ส่งเสริมธุรกิจการค้าและบริการในพื้นที่เมืองชายแดน</a:t>
                      </a:r>
                    </a:p>
                  </a:txBody>
                  <a:tcPr marT="34255" marB="34255"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0070C0"/>
                    </a:solidFill>
                  </a:tcPr>
                </a:tc>
              </a:tr>
            </a:tbl>
          </a:graphicData>
        </a:graphic>
      </p:graphicFrame>
    </p:spTree>
    <p:extLst>
      <p:ext uri="{BB962C8B-B14F-4D97-AF65-F5344CB8AC3E}">
        <p14:creationId xmlns:p14="http://schemas.microsoft.com/office/powerpoint/2010/main" xmlns="" val="2193936981"/>
      </p:ext>
    </p:extLst>
  </p:cSld>
  <p:clrMapOvr>
    <a:masterClrMapping/>
  </p:clrMapOvr>
  <p:transition spd="slow">
    <p:fade thruBlk="1"/>
  </p:transition>
  <p:timing>
    <p:tnLst>
      <p:par>
        <p:cTn id="1" dur="indefinite" restart="never" nodeType="tmRoot"/>
      </p:par>
    </p:tnLst>
  </p:timing>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0" name="Title 1"/>
          <p:cNvSpPr>
            <a:spLocks noGrp="1"/>
          </p:cNvSpPr>
          <p:nvPr>
            <p:ph type="title"/>
          </p:nvPr>
        </p:nvSpPr>
        <p:spPr>
          <a:xfrm>
            <a:off x="0" y="545232"/>
            <a:ext cx="9144000" cy="370334"/>
          </a:xfrm>
          <a:solidFill>
            <a:schemeClr val="tx2">
              <a:lumMod val="40000"/>
              <a:lumOff val="60000"/>
            </a:schemeClr>
          </a:solidFill>
        </p:spPr>
        <p:txBody>
          <a:bodyPr>
            <a:noAutofit/>
          </a:bodyPr>
          <a:lstStyle/>
          <a:p>
            <a:pPr algn="ctr" eaLnBrk="1" hangingPunct="1"/>
            <a:r>
              <a:rPr lang="en-US" sz="2800" b="1" dirty="0" smtClean="0">
                <a:solidFill>
                  <a:srgbClr val="002060"/>
                </a:solidFill>
                <a:latin typeface="TH SarabunPSK" pitchFamily="34" charset="-34"/>
                <a:cs typeface="TH SarabunPSK" pitchFamily="34" charset="-34"/>
              </a:rPr>
              <a:t>3 </a:t>
            </a:r>
            <a:r>
              <a:rPr lang="th-TH" sz="2800" b="1" dirty="0" smtClean="0">
                <a:solidFill>
                  <a:srgbClr val="002060"/>
                </a:solidFill>
                <a:latin typeface="TH SarabunPSK" pitchFamily="34" charset="-34"/>
                <a:cs typeface="TH SarabunPSK" pitchFamily="34" charset="-34"/>
              </a:rPr>
              <a:t>ภารกิจ และ</a:t>
            </a:r>
            <a:r>
              <a:rPr lang="en-US" sz="2800" b="1" dirty="0" smtClean="0">
                <a:solidFill>
                  <a:srgbClr val="002060"/>
                </a:solidFill>
                <a:latin typeface="TH SarabunPSK" pitchFamily="34" charset="-34"/>
                <a:cs typeface="TH SarabunPSK" pitchFamily="34" charset="-34"/>
              </a:rPr>
              <a:t> 7 </a:t>
            </a:r>
            <a:r>
              <a:rPr lang="th-TH" sz="2800" b="1" dirty="0" smtClean="0">
                <a:solidFill>
                  <a:srgbClr val="002060"/>
                </a:solidFill>
                <a:latin typeface="TH SarabunPSK" pitchFamily="34" charset="-34"/>
                <a:cs typeface="TH SarabunPSK" pitchFamily="34" charset="-34"/>
              </a:rPr>
              <a:t>ประเด็นยุทธศาสตร์</a:t>
            </a:r>
          </a:p>
        </p:txBody>
      </p:sp>
      <p:sp>
        <p:nvSpPr>
          <p:cNvPr id="5" name="Right Arrow 4"/>
          <p:cNvSpPr/>
          <p:nvPr/>
        </p:nvSpPr>
        <p:spPr>
          <a:xfrm>
            <a:off x="395536" y="1081825"/>
            <a:ext cx="2119312" cy="898683"/>
          </a:xfrm>
          <a:prstGeom prst="rightArrow">
            <a:avLst>
              <a:gd name="adj1" fmla="val 71053"/>
              <a:gd name="adj2" fmla="val 50000"/>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a:lnSpc>
                <a:spcPts val="1900"/>
              </a:lnSpc>
              <a:defRPr/>
            </a:pPr>
            <a:r>
              <a:rPr lang="en-US" sz="2000" b="1" dirty="0">
                <a:latin typeface="TH SarabunPSK" pitchFamily="34" charset="-34"/>
                <a:cs typeface="TH SarabunPSK" pitchFamily="34" charset="-34"/>
              </a:rPr>
              <a:t>Supply chain enhancement</a:t>
            </a:r>
            <a:endParaRPr lang="th-TH" sz="2000" b="1" dirty="0">
              <a:latin typeface="TH SarabunPSK" pitchFamily="34" charset="-34"/>
              <a:cs typeface="TH SarabunPSK" pitchFamily="34" charset="-34"/>
            </a:endParaRPr>
          </a:p>
        </p:txBody>
      </p:sp>
      <p:sp>
        <p:nvSpPr>
          <p:cNvPr id="7" name="Right Arrow 6"/>
          <p:cNvSpPr/>
          <p:nvPr/>
        </p:nvSpPr>
        <p:spPr>
          <a:xfrm>
            <a:off x="395536" y="2453425"/>
            <a:ext cx="2119312" cy="898683"/>
          </a:xfrm>
          <a:prstGeom prst="rightArrow">
            <a:avLst>
              <a:gd name="adj1" fmla="val 71053"/>
              <a:gd name="adj2" fmla="val 50000"/>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a:defRPr/>
            </a:pPr>
            <a:r>
              <a:rPr lang="en-US" sz="2000" b="1" dirty="0">
                <a:latin typeface="TH SarabunPSK" pitchFamily="34" charset="-34"/>
                <a:cs typeface="TH SarabunPSK" pitchFamily="34" charset="-34"/>
              </a:rPr>
              <a:t>Trade facilitation enhancement</a:t>
            </a:r>
            <a:endParaRPr lang="th-TH" sz="2000" b="1" dirty="0">
              <a:latin typeface="TH SarabunPSK" pitchFamily="34" charset="-34"/>
              <a:cs typeface="TH SarabunPSK" pitchFamily="34" charset="-34"/>
            </a:endParaRPr>
          </a:p>
        </p:txBody>
      </p:sp>
      <p:sp>
        <p:nvSpPr>
          <p:cNvPr id="8" name="Right Arrow 7"/>
          <p:cNvSpPr/>
          <p:nvPr/>
        </p:nvSpPr>
        <p:spPr>
          <a:xfrm>
            <a:off x="395536" y="3825025"/>
            <a:ext cx="2119312" cy="898683"/>
          </a:xfrm>
          <a:prstGeom prst="rightArrow">
            <a:avLst>
              <a:gd name="adj1" fmla="val 71053"/>
              <a:gd name="adj2" fmla="val 50000"/>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a:lnSpc>
                <a:spcPts val="1900"/>
              </a:lnSpc>
              <a:defRPr/>
            </a:pPr>
            <a:r>
              <a:rPr lang="en-US" sz="2000" b="1" dirty="0">
                <a:latin typeface="TH SarabunPSK" pitchFamily="34" charset="-34"/>
                <a:cs typeface="TH SarabunPSK" pitchFamily="34" charset="-34"/>
              </a:rPr>
              <a:t>Capacity building and Policy driving factors</a:t>
            </a:r>
          </a:p>
        </p:txBody>
      </p:sp>
      <p:sp>
        <p:nvSpPr>
          <p:cNvPr id="9" name="Rectangle 8"/>
          <p:cNvSpPr/>
          <p:nvPr/>
        </p:nvSpPr>
        <p:spPr>
          <a:xfrm>
            <a:off x="2681559" y="1110324"/>
            <a:ext cx="6084001" cy="421200"/>
          </a:xfrm>
          <a:prstGeom prst="rect">
            <a:avLst/>
          </a:prstGeom>
          <a:solidFill>
            <a:srgbClr val="FFFF99"/>
          </a:solid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171450" indent="-171450">
              <a:lnSpc>
                <a:spcPts val="1800"/>
              </a:lnSpc>
              <a:defRPr/>
            </a:pPr>
            <a:r>
              <a:rPr lang="en-US" sz="2000" b="1" dirty="0">
                <a:solidFill>
                  <a:srgbClr val="0033CC"/>
                </a:solidFill>
                <a:latin typeface="TH SarabunPSK" pitchFamily="34" charset="-34"/>
                <a:cs typeface="TH SarabunPSK" pitchFamily="34" charset="-34"/>
              </a:rPr>
              <a:t>1</a:t>
            </a:r>
            <a:r>
              <a:rPr lang="en-US" sz="2000" b="1" dirty="0">
                <a:solidFill>
                  <a:schemeClr val="tx1"/>
                </a:solidFill>
                <a:latin typeface="TH SarabunPSK" pitchFamily="34" charset="-34"/>
                <a:cs typeface="TH SarabunPSK" pitchFamily="34" charset="-34"/>
              </a:rPr>
              <a:t>.</a:t>
            </a:r>
            <a:r>
              <a:rPr lang="th-TH" sz="2000" b="1" dirty="0">
                <a:solidFill>
                  <a:schemeClr val="tx1"/>
                </a:solidFill>
                <a:latin typeface="TH SarabunPSK" pitchFamily="34" charset="-34"/>
                <a:cs typeface="TH SarabunPSK" pitchFamily="34" charset="-34"/>
              </a:rPr>
              <a:t> เพิ่มขีดความสามารถในการบริหารจัดการโซ่อุปทาน</a:t>
            </a:r>
            <a:endParaRPr lang="th-TH" sz="2000" b="1" dirty="0">
              <a:solidFill>
                <a:srgbClr val="000066"/>
              </a:solidFill>
              <a:latin typeface="TH SarabunPSK" pitchFamily="34" charset="-34"/>
              <a:cs typeface="TH SarabunPSK" pitchFamily="34" charset="-34"/>
            </a:endParaRPr>
          </a:p>
        </p:txBody>
      </p:sp>
      <p:sp>
        <p:nvSpPr>
          <p:cNvPr id="10" name="Rectangle 9"/>
          <p:cNvSpPr/>
          <p:nvPr/>
        </p:nvSpPr>
        <p:spPr>
          <a:xfrm>
            <a:off x="2681559" y="1588173"/>
            <a:ext cx="6084001" cy="421200"/>
          </a:xfrm>
          <a:prstGeom prst="rect">
            <a:avLst/>
          </a:prstGeom>
          <a:solidFill>
            <a:srgbClr val="FFFF99"/>
          </a:solid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176213" indent="-176213">
              <a:lnSpc>
                <a:spcPts val="1800"/>
              </a:lnSpc>
              <a:defRPr/>
            </a:pPr>
            <a:r>
              <a:rPr lang="en-US" sz="2000" b="1" dirty="0">
                <a:solidFill>
                  <a:srgbClr val="0033CC"/>
                </a:solidFill>
                <a:latin typeface="TH SarabunPSK" pitchFamily="34" charset="-34"/>
                <a:cs typeface="TH SarabunPSK" pitchFamily="34" charset="-34"/>
              </a:rPr>
              <a:t>2.</a:t>
            </a:r>
            <a:r>
              <a:rPr lang="th-TH" sz="2000" b="1" dirty="0">
                <a:solidFill>
                  <a:srgbClr val="0033CC"/>
                </a:solidFill>
                <a:latin typeface="TH SarabunPSK" pitchFamily="34" charset="-34"/>
                <a:cs typeface="TH SarabunPSK" pitchFamily="34" charset="-34"/>
              </a:rPr>
              <a:t> </a:t>
            </a:r>
            <a:r>
              <a:rPr lang="th-TH" sz="2000" b="1" dirty="0">
                <a:solidFill>
                  <a:srgbClr val="002060"/>
                </a:solidFill>
                <a:latin typeface="TH SarabunPSK" pitchFamily="34" charset="-34"/>
                <a:cs typeface="TH SarabunPSK" pitchFamily="34" charset="-34"/>
              </a:rPr>
              <a:t>ส่งเสริมธุรกิจการค้าและบริการในพื้นที่เมืองชายแดน </a:t>
            </a:r>
            <a:endParaRPr lang="th-TH" sz="2000" b="1" dirty="0">
              <a:solidFill>
                <a:srgbClr val="000066"/>
              </a:solidFill>
              <a:latin typeface="TH SarabunPSK" pitchFamily="34" charset="-34"/>
              <a:cs typeface="TH SarabunPSK" pitchFamily="34" charset="-34"/>
            </a:endParaRPr>
          </a:p>
        </p:txBody>
      </p:sp>
      <p:sp>
        <p:nvSpPr>
          <p:cNvPr id="12" name="Rectangle 11"/>
          <p:cNvSpPr/>
          <p:nvPr/>
        </p:nvSpPr>
        <p:spPr>
          <a:xfrm>
            <a:off x="2681559" y="2179689"/>
            <a:ext cx="6084001" cy="421200"/>
          </a:xfrm>
          <a:prstGeom prst="rect">
            <a:avLst/>
          </a:prstGeom>
          <a:no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r>
              <a:rPr lang="en-US" sz="2000" b="1" dirty="0">
                <a:solidFill>
                  <a:srgbClr val="0033CC"/>
                </a:solidFill>
                <a:latin typeface="TH SarabunPSK" pitchFamily="34" charset="-34"/>
                <a:cs typeface="TH SarabunPSK" pitchFamily="34" charset="-34"/>
              </a:rPr>
              <a:t>3</a:t>
            </a:r>
            <a:r>
              <a:rPr lang="en-US" sz="2000" b="1" dirty="0" smtClean="0">
                <a:solidFill>
                  <a:srgbClr val="0033CC"/>
                </a:solidFill>
                <a:latin typeface="TH SarabunPSK" pitchFamily="34" charset="-34"/>
                <a:cs typeface="TH SarabunPSK" pitchFamily="34" charset="-34"/>
              </a:rPr>
              <a:t>.</a:t>
            </a:r>
            <a:r>
              <a:rPr lang="th-TH" sz="2000" b="1" dirty="0" smtClean="0">
                <a:solidFill>
                  <a:srgbClr val="0033CC"/>
                </a:solidFill>
                <a:latin typeface="TH SarabunPSK" pitchFamily="34" charset="-34"/>
                <a:cs typeface="TH SarabunPSK" pitchFamily="34" charset="-34"/>
              </a:rPr>
              <a:t> </a:t>
            </a:r>
            <a:r>
              <a:rPr lang="th-TH" sz="2000" b="1" dirty="0">
                <a:solidFill>
                  <a:srgbClr val="0033CC"/>
                </a:solidFill>
                <a:latin typeface="TH SarabunPSK" pitchFamily="34" charset="-34"/>
                <a:cs typeface="TH SarabunPSK" pitchFamily="34" charset="-34"/>
              </a:rPr>
              <a:t>พัฒนาบริการขนส่งและเครือข่ายโลจิสติกส์ตามเส้นทางยุทธศาสตร์ </a:t>
            </a:r>
          </a:p>
        </p:txBody>
      </p:sp>
      <p:sp>
        <p:nvSpPr>
          <p:cNvPr id="13" name="Rectangle 12"/>
          <p:cNvSpPr/>
          <p:nvPr/>
        </p:nvSpPr>
        <p:spPr>
          <a:xfrm>
            <a:off x="2681559" y="2660419"/>
            <a:ext cx="6084001" cy="421200"/>
          </a:xfrm>
          <a:prstGeom prst="rect">
            <a:avLst/>
          </a:prstGeom>
          <a:no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indent="-514350">
              <a:spcBef>
                <a:spcPct val="20000"/>
              </a:spcBef>
              <a:defRPr/>
            </a:pPr>
            <a:r>
              <a:rPr lang="en-US" sz="2000" b="1" dirty="0">
                <a:solidFill>
                  <a:srgbClr val="0033CC"/>
                </a:solidFill>
                <a:latin typeface="TH SarabunPSK" pitchFamily="34" charset="-34"/>
                <a:cs typeface="TH SarabunPSK" pitchFamily="34" charset="-34"/>
              </a:rPr>
              <a:t>4</a:t>
            </a:r>
            <a:r>
              <a:rPr lang="en-US" sz="2000" b="1" dirty="0" smtClean="0">
                <a:solidFill>
                  <a:srgbClr val="0033CC"/>
                </a:solidFill>
                <a:latin typeface="TH SarabunPSK" pitchFamily="34" charset="-34"/>
                <a:cs typeface="TH SarabunPSK" pitchFamily="34" charset="-34"/>
              </a:rPr>
              <a:t>.</a:t>
            </a:r>
            <a:r>
              <a:rPr lang="th-TH" sz="2000" b="1" dirty="0" smtClean="0">
                <a:solidFill>
                  <a:srgbClr val="0033CC"/>
                </a:solidFill>
                <a:latin typeface="TH SarabunPSK" pitchFamily="34" charset="-34"/>
                <a:cs typeface="TH SarabunPSK" pitchFamily="34" charset="-34"/>
              </a:rPr>
              <a:t> </a:t>
            </a:r>
            <a:r>
              <a:rPr lang="th-TH" sz="2000" b="1" dirty="0">
                <a:solidFill>
                  <a:srgbClr val="0033CC"/>
                </a:solidFill>
                <a:latin typeface="TH SarabunPSK" pitchFamily="34" charset="-34"/>
                <a:cs typeface="TH SarabunPSK" pitchFamily="34" charset="-34"/>
              </a:rPr>
              <a:t>พัฒนาระบบอำนวยความสะดวกทางการค้า </a:t>
            </a:r>
            <a:endParaRPr lang="en-US" sz="2000" b="1" dirty="0">
              <a:solidFill>
                <a:srgbClr val="0033CC"/>
              </a:solidFill>
              <a:latin typeface="TH SarabunPSK" pitchFamily="34" charset="-34"/>
              <a:cs typeface="TH SarabunPSK" pitchFamily="34" charset="-34"/>
            </a:endParaRPr>
          </a:p>
        </p:txBody>
      </p:sp>
      <p:sp>
        <p:nvSpPr>
          <p:cNvPr id="14" name="Rectangle 13"/>
          <p:cNvSpPr/>
          <p:nvPr/>
        </p:nvSpPr>
        <p:spPr>
          <a:xfrm>
            <a:off x="2681559" y="3153619"/>
            <a:ext cx="6084000" cy="421200"/>
          </a:xfrm>
          <a:prstGeom prst="rect">
            <a:avLst/>
          </a:prstGeom>
          <a:no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indent="-514350">
              <a:spcBef>
                <a:spcPct val="20000"/>
              </a:spcBef>
              <a:defRPr/>
            </a:pPr>
            <a:r>
              <a:rPr lang="en-US" sz="2000" b="1" dirty="0">
                <a:solidFill>
                  <a:srgbClr val="0033CC"/>
                </a:solidFill>
                <a:latin typeface="TH SarabunPSK" pitchFamily="34" charset="-34"/>
                <a:cs typeface="TH SarabunPSK" pitchFamily="34" charset="-34"/>
              </a:rPr>
              <a:t>5</a:t>
            </a:r>
            <a:r>
              <a:rPr lang="en-US" sz="2000" b="1" dirty="0" smtClean="0">
                <a:solidFill>
                  <a:srgbClr val="0033CC"/>
                </a:solidFill>
                <a:latin typeface="TH SarabunPSK" pitchFamily="34" charset="-34"/>
                <a:cs typeface="TH SarabunPSK" pitchFamily="34" charset="-34"/>
              </a:rPr>
              <a:t>.</a:t>
            </a:r>
            <a:r>
              <a:rPr lang="th-TH" sz="2000" b="1" dirty="0" smtClean="0">
                <a:solidFill>
                  <a:srgbClr val="0033CC"/>
                </a:solidFill>
                <a:latin typeface="TH SarabunPSK" pitchFamily="34" charset="-34"/>
                <a:cs typeface="TH SarabunPSK" pitchFamily="34" charset="-34"/>
              </a:rPr>
              <a:t> </a:t>
            </a:r>
            <a:r>
              <a:rPr lang="th-TH" sz="2000" b="1" dirty="0">
                <a:solidFill>
                  <a:srgbClr val="0033CC"/>
                </a:solidFill>
                <a:latin typeface="TH SarabunPSK" pitchFamily="34" charset="-34"/>
                <a:cs typeface="TH SarabunPSK" pitchFamily="34" charset="-34"/>
              </a:rPr>
              <a:t>ส่งเสริมการพัฒนาบริการและขยายเครือข่ายของผู้</a:t>
            </a:r>
            <a:r>
              <a:rPr lang="th-TH" sz="2000" b="1" dirty="0" smtClean="0">
                <a:solidFill>
                  <a:srgbClr val="0033CC"/>
                </a:solidFill>
                <a:latin typeface="TH SarabunPSK" pitchFamily="34" charset="-34"/>
                <a:cs typeface="TH SarabunPSK" pitchFamily="34" charset="-34"/>
              </a:rPr>
              <a:t>ให้บริการโล</a:t>
            </a:r>
            <a:r>
              <a:rPr lang="th-TH" sz="2000" b="1" dirty="0">
                <a:solidFill>
                  <a:srgbClr val="0033CC"/>
                </a:solidFill>
                <a:latin typeface="TH SarabunPSK" pitchFamily="34" charset="-34"/>
                <a:cs typeface="TH SarabunPSK" pitchFamily="34" charset="-34"/>
              </a:rPr>
              <a:t>จิสติกส์</a:t>
            </a:r>
          </a:p>
        </p:txBody>
      </p:sp>
      <p:sp>
        <p:nvSpPr>
          <p:cNvPr id="15" name="Rectangle 14"/>
          <p:cNvSpPr/>
          <p:nvPr/>
        </p:nvSpPr>
        <p:spPr>
          <a:xfrm>
            <a:off x="2681559" y="3767419"/>
            <a:ext cx="6084000" cy="518386"/>
          </a:xfrm>
          <a:prstGeom prst="rect">
            <a:avLst/>
          </a:prstGeom>
          <a:solidFill>
            <a:schemeClr val="accent5">
              <a:lumMod val="20000"/>
              <a:lumOff val="80000"/>
            </a:schemeClr>
          </a:solid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179388" indent="-179388">
              <a:lnSpc>
                <a:spcPts val="1800"/>
              </a:lnSpc>
              <a:defRPr/>
            </a:pPr>
            <a:r>
              <a:rPr lang="en-US" sz="2000" b="1" dirty="0">
                <a:solidFill>
                  <a:schemeClr val="tx1"/>
                </a:solidFill>
                <a:latin typeface="TH SarabunPSK" pitchFamily="34" charset="-34"/>
                <a:cs typeface="TH SarabunPSK" pitchFamily="34" charset="-34"/>
              </a:rPr>
              <a:t>6</a:t>
            </a:r>
            <a:r>
              <a:rPr lang="en-US" sz="2000" b="1" dirty="0" smtClean="0">
                <a:solidFill>
                  <a:schemeClr val="tx1"/>
                </a:solidFill>
                <a:latin typeface="TH SarabunPSK" pitchFamily="34" charset="-34"/>
                <a:cs typeface="TH SarabunPSK" pitchFamily="34" charset="-34"/>
              </a:rPr>
              <a:t>. </a:t>
            </a:r>
            <a:r>
              <a:rPr lang="th-TH" sz="2000" b="1" dirty="0">
                <a:solidFill>
                  <a:schemeClr val="tx1"/>
                </a:solidFill>
                <a:latin typeface="TH SarabunPSK" pitchFamily="34" charset="-34"/>
                <a:cs typeface="TH SarabunPSK" pitchFamily="34" charset="-34"/>
              </a:rPr>
              <a:t>ปรับปรุงระบบการพัฒนาและจัดการกำลังคน (</a:t>
            </a:r>
            <a:r>
              <a:rPr lang="en-US" sz="2000" b="1" dirty="0">
                <a:solidFill>
                  <a:schemeClr val="tx1"/>
                </a:solidFill>
                <a:latin typeface="TH SarabunPSK" pitchFamily="34" charset="-34"/>
                <a:cs typeface="TH SarabunPSK" pitchFamily="34" charset="-34"/>
              </a:rPr>
              <a:t>Human resource development system)</a:t>
            </a:r>
            <a:endParaRPr lang="th-TH" sz="2000" b="1" dirty="0">
              <a:solidFill>
                <a:schemeClr val="tx1"/>
              </a:solidFill>
              <a:latin typeface="TH SarabunPSK" pitchFamily="34" charset="-34"/>
              <a:cs typeface="TH SarabunPSK" pitchFamily="34" charset="-34"/>
            </a:endParaRPr>
          </a:p>
        </p:txBody>
      </p:sp>
      <p:sp>
        <p:nvSpPr>
          <p:cNvPr id="16" name="Rectangle 15"/>
          <p:cNvSpPr/>
          <p:nvPr/>
        </p:nvSpPr>
        <p:spPr>
          <a:xfrm>
            <a:off x="2681559" y="4350756"/>
            <a:ext cx="6084000" cy="648000"/>
          </a:xfrm>
          <a:prstGeom prst="rect">
            <a:avLst/>
          </a:prstGeom>
          <a:solidFill>
            <a:schemeClr val="accent5">
              <a:lumMod val="20000"/>
              <a:lumOff val="80000"/>
            </a:schemeClr>
          </a:solid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179388" indent="-179388">
              <a:lnSpc>
                <a:spcPts val="1800"/>
              </a:lnSpc>
              <a:defRPr/>
            </a:pPr>
            <a:r>
              <a:rPr lang="en-US" sz="2000" b="1" dirty="0">
                <a:solidFill>
                  <a:schemeClr val="tx1"/>
                </a:solidFill>
                <a:latin typeface="TH SarabunPSK" pitchFamily="34" charset="-34"/>
                <a:cs typeface="TH SarabunPSK" pitchFamily="34" charset="-34"/>
              </a:rPr>
              <a:t>7</a:t>
            </a:r>
            <a:r>
              <a:rPr lang="en-US" sz="2000" b="1" dirty="0" smtClean="0">
                <a:solidFill>
                  <a:schemeClr val="tx1"/>
                </a:solidFill>
                <a:latin typeface="TH SarabunPSK" pitchFamily="34" charset="-34"/>
                <a:cs typeface="TH SarabunPSK" pitchFamily="34" charset="-34"/>
              </a:rPr>
              <a:t>.</a:t>
            </a:r>
            <a:r>
              <a:rPr lang="th-TH" sz="2000" b="1" dirty="0" smtClean="0">
                <a:solidFill>
                  <a:schemeClr val="tx1"/>
                </a:solidFill>
                <a:latin typeface="TH SarabunPSK" pitchFamily="34" charset="-34"/>
                <a:cs typeface="TH SarabunPSK" pitchFamily="34" charset="-34"/>
              </a:rPr>
              <a:t> </a:t>
            </a:r>
            <a:r>
              <a:rPr lang="th-TH" sz="2000" b="1" dirty="0">
                <a:solidFill>
                  <a:schemeClr val="tx1"/>
                </a:solidFill>
                <a:latin typeface="TH SarabunPSK" pitchFamily="34" charset="-34"/>
                <a:cs typeface="TH SarabunPSK" pitchFamily="34" charset="-34"/>
              </a:rPr>
              <a:t>พัฒนาระบบติดตามและประเมินผลเพื่อการปรับปรุงตนเอง (</a:t>
            </a:r>
            <a:r>
              <a:rPr lang="en-US" sz="2000" b="1" dirty="0">
                <a:solidFill>
                  <a:schemeClr val="tx1"/>
                </a:solidFill>
                <a:latin typeface="TH SarabunPSK" pitchFamily="34" charset="-34"/>
                <a:cs typeface="TH SarabunPSK" pitchFamily="34" charset="-34"/>
              </a:rPr>
              <a:t>Monitoring system for self improvement) </a:t>
            </a:r>
            <a:r>
              <a:rPr lang="th-TH" sz="2000" b="1" dirty="0">
                <a:solidFill>
                  <a:schemeClr val="tx1"/>
                </a:solidFill>
                <a:latin typeface="TH SarabunPSK" pitchFamily="34" charset="-34"/>
                <a:cs typeface="TH SarabunPSK" pitchFamily="34" charset="-34"/>
              </a:rPr>
              <a:t>และสร้างความเข้มแข็งให้กับองค์กร/เครือข่ายขับเคลื่อนยุทธศาสตร์ </a:t>
            </a:r>
            <a:endParaRPr lang="en-US" sz="2000" b="1" dirty="0">
              <a:solidFill>
                <a:schemeClr val="tx1"/>
              </a:solidFill>
              <a:latin typeface="TH SarabunPSK" pitchFamily="34" charset="-34"/>
              <a:cs typeface="TH SarabunPSK" pitchFamily="34" charset="-34"/>
            </a:endParaRPr>
          </a:p>
        </p:txBody>
      </p:sp>
      <p:sp>
        <p:nvSpPr>
          <p:cNvPr id="19" name="RbNavigator"/>
          <p:cNvSpPr txBox="1"/>
          <p:nvPr/>
        </p:nvSpPr>
        <p:spPr>
          <a:xfrm>
            <a:off x="94808" y="92614"/>
            <a:ext cx="444744" cy="246888"/>
          </a:xfrm>
          <a:prstGeom prst="rect">
            <a:avLst/>
          </a:prstGeom>
          <a:solidFill>
            <a:srgbClr val="003F56"/>
          </a:solidFill>
          <a:ln w="9525">
            <a:noFill/>
          </a:ln>
        </p:spPr>
        <p:txBody>
          <a:bodyPr vert="horz" wrap="none" lIns="0" tIns="0" rIns="0" bIns="0" rtlCol="0" anchor="ctr">
            <a:noAutofit/>
          </a:bodyPr>
          <a:lstStyle/>
          <a:p>
            <a:pPr marL="0" marR="0" lvl="0" indent="0" algn="ctr" defTabSz="914400" eaLnBrk="1" fontAlgn="auto" latinLnBrk="0" hangingPunct="1">
              <a:lnSpc>
                <a:spcPct val="90000"/>
              </a:lnSpc>
              <a:spcBef>
                <a:spcPts val="400"/>
              </a:spcBef>
              <a:spcAft>
                <a:spcPts val="0"/>
              </a:spcAft>
              <a:buClr>
                <a:srgbClr val="000000"/>
              </a:buClr>
              <a:buSzPct val="100000"/>
              <a:buFontTx/>
              <a:buNone/>
              <a:tabLst/>
              <a:defRPr/>
            </a:pPr>
            <a:r>
              <a:rPr kumimoji="1" lang="en-US" b="1" kern="0" dirty="0" smtClean="0">
                <a:solidFill>
                  <a:srgbClr val="FFFFFF"/>
                </a:solidFill>
                <a:latin typeface="TH SarabunPSK" pitchFamily="34" charset="-34"/>
                <a:cs typeface="TH SarabunPSK" pitchFamily="34" charset="-34"/>
              </a:rPr>
              <a:t>2</a:t>
            </a:r>
            <a:endParaRPr kumimoji="1" lang="en-US" b="1" i="0" u="none" strike="noStrike" kern="0" cap="none" spc="0" normalizeH="0" baseline="0" noProof="0" dirty="0" smtClean="0">
              <a:ln>
                <a:noFill/>
              </a:ln>
              <a:solidFill>
                <a:srgbClr val="FFFFFF"/>
              </a:solidFill>
              <a:effectLst/>
              <a:uLnTx/>
              <a:uFillTx/>
              <a:latin typeface="TH SarabunPSK" pitchFamily="34" charset="-34"/>
              <a:cs typeface="TH SarabunPSK" pitchFamily="34" charset="-34"/>
            </a:endParaRPr>
          </a:p>
        </p:txBody>
      </p:sp>
      <p:sp>
        <p:nvSpPr>
          <p:cNvPr id="20" name="RbSticker"/>
          <p:cNvSpPr txBox="1"/>
          <p:nvPr/>
        </p:nvSpPr>
        <p:spPr>
          <a:xfrm>
            <a:off x="642127" y="123478"/>
            <a:ext cx="7971734" cy="256480"/>
          </a:xfrm>
          <a:prstGeom prst="rect">
            <a:avLst/>
          </a:prstGeom>
          <a:noFill/>
          <a:ln w="9525">
            <a:noFill/>
          </a:ln>
        </p:spPr>
        <p:txBody>
          <a:bodyPr vert="horz" wrap="none" lIns="0" tIns="0" rIns="0" bIns="0" rtlCol="0" anchor="ctr">
            <a:spAutoFit/>
          </a:bodyPr>
          <a:lstStyle/>
          <a:p>
            <a:pPr>
              <a:lnSpc>
                <a:spcPts val="2000"/>
              </a:lnSpc>
              <a:spcBef>
                <a:spcPts val="400"/>
              </a:spcBef>
              <a:buSzPct val="100000"/>
              <a:defRPr/>
            </a:pPr>
            <a:r>
              <a:rPr lang="th-TH" b="1" dirty="0" smtClean="0">
                <a:solidFill>
                  <a:srgbClr val="002060"/>
                </a:solidFill>
                <a:latin typeface="TH SarabunPSK" pitchFamily="34" charset="-34"/>
                <a:cs typeface="TH SarabunPSK" pitchFamily="34" charset="-34"/>
              </a:rPr>
              <a:t>แผนยุทธศาสตร์การพัฒนา</a:t>
            </a:r>
            <a:r>
              <a:rPr lang="th-TH" b="1" dirty="0" err="1" smtClean="0">
                <a:solidFill>
                  <a:srgbClr val="002060"/>
                </a:solidFill>
                <a:latin typeface="TH SarabunPSK" pitchFamily="34" charset="-34"/>
                <a:cs typeface="TH SarabunPSK" pitchFamily="34" charset="-34"/>
              </a:rPr>
              <a:t>ระบบโล</a:t>
            </a:r>
            <a:r>
              <a:rPr lang="th-TH" b="1" dirty="0" smtClean="0">
                <a:solidFill>
                  <a:srgbClr val="002060"/>
                </a:solidFill>
                <a:latin typeface="TH SarabunPSK" pitchFamily="34" charset="-34"/>
                <a:cs typeface="TH SarabunPSK" pitchFamily="34" charset="-34"/>
              </a:rPr>
              <a:t>จิ</a:t>
            </a:r>
            <a:r>
              <a:rPr lang="th-TH" b="1" dirty="0" err="1" smtClean="0">
                <a:solidFill>
                  <a:srgbClr val="002060"/>
                </a:solidFill>
                <a:latin typeface="TH SarabunPSK" pitchFamily="34" charset="-34"/>
                <a:cs typeface="TH SarabunPSK" pitchFamily="34" charset="-34"/>
              </a:rPr>
              <a:t>สติกส์</a:t>
            </a:r>
            <a:r>
              <a:rPr lang="th-TH" b="1" dirty="0" smtClean="0">
                <a:solidFill>
                  <a:srgbClr val="002060"/>
                </a:solidFill>
                <a:latin typeface="TH SarabunPSK" pitchFamily="34" charset="-34"/>
                <a:cs typeface="TH SarabunPSK" pitchFamily="34" charset="-34"/>
              </a:rPr>
              <a:t>ของประเทศไทย ฉบับที่ 2 </a:t>
            </a:r>
            <a:r>
              <a:rPr lang="th-TH" i="1" dirty="0" smtClean="0">
                <a:solidFill>
                  <a:srgbClr val="002060"/>
                </a:solidFill>
                <a:latin typeface="TH SarabunPSK" pitchFamily="34" charset="-34"/>
                <a:cs typeface="TH SarabunPSK" pitchFamily="34" charset="-34"/>
              </a:rPr>
              <a:t>(</a:t>
            </a:r>
            <a:r>
              <a:rPr lang="en-US" b="1" dirty="0" smtClean="0">
                <a:solidFill>
                  <a:srgbClr val="002060"/>
                </a:solidFill>
                <a:latin typeface="TH SarabunPSK" pitchFamily="34" charset="-34"/>
                <a:cs typeface="TH SarabunPSK" pitchFamily="34" charset="-34"/>
              </a:rPr>
              <a:t>2556-2560)</a:t>
            </a:r>
            <a:endParaRPr lang="th-TH" sz="2000" b="1" kern="0" dirty="0" smtClean="0">
              <a:solidFill>
                <a:srgbClr val="003F56"/>
              </a:solidFill>
              <a:latin typeface="TH SarabunPSK" pitchFamily="34" charset="-34"/>
              <a:cs typeface="TH SarabunPSK" pitchFamily="34" charset="-34"/>
            </a:endParaRPr>
          </a:p>
        </p:txBody>
      </p:sp>
    </p:spTree>
    <p:extLst>
      <p:ext uri="{BB962C8B-B14F-4D97-AF65-F5344CB8AC3E}">
        <p14:creationId xmlns:p14="http://schemas.microsoft.com/office/powerpoint/2010/main" xmlns="" val="1302759470"/>
      </p:ext>
    </p:extLst>
  </p:cSld>
  <p:clrMapOvr>
    <a:masterClrMapping/>
  </p:clrMapOvr>
  <p:transition spd="slow">
    <p:fade thruBlk="1"/>
  </p:transition>
  <p:timing>
    <p:tnLst>
      <p:par>
        <p:cTn id="1" dur="indefinite" restart="never" nodeType="tmRoot"/>
      </p:par>
    </p:tnLst>
  </p:timing>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71"/>
          <p:cNvGrpSpPr>
            <a:grpSpLocks/>
          </p:cNvGrpSpPr>
          <p:nvPr/>
        </p:nvGrpSpPr>
        <p:grpSpPr bwMode="auto">
          <a:xfrm>
            <a:off x="6227766" y="571500"/>
            <a:ext cx="2992437" cy="4400550"/>
            <a:chOff x="5286380" y="654791"/>
            <a:chExt cx="3571900" cy="5988919"/>
          </a:xfrm>
        </p:grpSpPr>
        <p:pic>
          <p:nvPicPr>
            <p:cNvPr id="7" name="Picture 28"/>
            <p:cNvPicPr>
              <a:picLocks noChangeAspect="1" noChangeArrowheads="1"/>
            </p:cNvPicPr>
            <p:nvPr/>
          </p:nvPicPr>
          <p:blipFill>
            <a:blip r:embed="rId2" cstate="print">
              <a:lum bright="20000"/>
            </a:blip>
            <a:srcRect/>
            <a:stretch>
              <a:fillRect/>
            </a:stretch>
          </p:blipFill>
          <p:spPr bwMode="auto">
            <a:xfrm>
              <a:off x="5286380" y="654791"/>
              <a:ext cx="3571900" cy="5988919"/>
            </a:xfrm>
            <a:prstGeom prst="rect">
              <a:avLst/>
            </a:prstGeom>
            <a:ln>
              <a:noFill/>
            </a:ln>
            <a:effectLst>
              <a:softEdge rad="112500"/>
            </a:effectLst>
          </p:spPr>
        </p:pic>
        <p:pic>
          <p:nvPicPr>
            <p:cNvPr id="9" name="Picture 60" descr="air1.png"/>
            <p:cNvPicPr>
              <a:picLocks noChangeAspect="1"/>
            </p:cNvPicPr>
            <p:nvPr/>
          </p:nvPicPr>
          <p:blipFill>
            <a:blip r:embed="rId3" cstate="print">
              <a:lum bright="20000"/>
            </a:blip>
            <a:srcRect/>
            <a:stretch>
              <a:fillRect/>
            </a:stretch>
          </p:blipFill>
          <p:spPr bwMode="auto">
            <a:xfrm>
              <a:off x="6357950" y="1285860"/>
              <a:ext cx="72881" cy="72152"/>
            </a:xfrm>
            <a:prstGeom prst="rect">
              <a:avLst/>
            </a:prstGeom>
            <a:ln>
              <a:noFill/>
            </a:ln>
            <a:effectLst>
              <a:softEdge rad="112500"/>
            </a:effectLst>
          </p:spPr>
        </p:pic>
        <p:pic>
          <p:nvPicPr>
            <p:cNvPr id="10" name="Picture 61" descr="air1.png"/>
            <p:cNvPicPr>
              <a:picLocks noChangeAspect="1"/>
            </p:cNvPicPr>
            <p:nvPr/>
          </p:nvPicPr>
          <p:blipFill>
            <a:blip r:embed="rId3" cstate="print">
              <a:lum bright="20000"/>
            </a:blip>
            <a:srcRect/>
            <a:stretch>
              <a:fillRect/>
            </a:stretch>
          </p:blipFill>
          <p:spPr bwMode="auto">
            <a:xfrm>
              <a:off x="6072198" y="1928802"/>
              <a:ext cx="72881" cy="72152"/>
            </a:xfrm>
            <a:prstGeom prst="rect">
              <a:avLst/>
            </a:prstGeom>
            <a:ln>
              <a:noFill/>
            </a:ln>
            <a:effectLst>
              <a:softEdge rad="112500"/>
            </a:effectLst>
          </p:spPr>
        </p:pic>
        <p:pic>
          <p:nvPicPr>
            <p:cNvPr id="11" name="Picture 62" descr="air1.png"/>
            <p:cNvPicPr>
              <a:picLocks noChangeAspect="1"/>
            </p:cNvPicPr>
            <p:nvPr/>
          </p:nvPicPr>
          <p:blipFill>
            <a:blip r:embed="rId3" cstate="print">
              <a:lum bright="20000"/>
            </a:blip>
            <a:srcRect/>
            <a:stretch>
              <a:fillRect/>
            </a:stretch>
          </p:blipFill>
          <p:spPr bwMode="auto">
            <a:xfrm>
              <a:off x="5786446" y="5625044"/>
              <a:ext cx="72881" cy="72152"/>
            </a:xfrm>
            <a:prstGeom prst="rect">
              <a:avLst/>
            </a:prstGeom>
            <a:ln>
              <a:noFill/>
            </a:ln>
            <a:effectLst>
              <a:softEdge rad="112500"/>
            </a:effectLst>
          </p:spPr>
        </p:pic>
        <p:pic>
          <p:nvPicPr>
            <p:cNvPr id="12" name="Picture 63" descr="air1.png"/>
            <p:cNvPicPr>
              <a:picLocks noChangeAspect="1"/>
            </p:cNvPicPr>
            <p:nvPr/>
          </p:nvPicPr>
          <p:blipFill>
            <a:blip r:embed="rId3" cstate="print">
              <a:lum bright="20000"/>
            </a:blip>
            <a:srcRect/>
            <a:stretch>
              <a:fillRect/>
            </a:stretch>
          </p:blipFill>
          <p:spPr bwMode="auto">
            <a:xfrm>
              <a:off x="6072198" y="5590674"/>
              <a:ext cx="72881" cy="72152"/>
            </a:xfrm>
            <a:prstGeom prst="rect">
              <a:avLst/>
            </a:prstGeom>
            <a:ln>
              <a:noFill/>
            </a:ln>
            <a:effectLst>
              <a:softEdge rad="112500"/>
            </a:effectLst>
          </p:spPr>
        </p:pic>
        <p:pic>
          <p:nvPicPr>
            <p:cNvPr id="13" name="Picture 64" descr="air1.png"/>
            <p:cNvPicPr>
              <a:picLocks noChangeAspect="1"/>
            </p:cNvPicPr>
            <p:nvPr/>
          </p:nvPicPr>
          <p:blipFill>
            <a:blip r:embed="rId3" cstate="print">
              <a:lum bright="20000"/>
            </a:blip>
            <a:srcRect/>
            <a:stretch>
              <a:fillRect/>
            </a:stretch>
          </p:blipFill>
          <p:spPr bwMode="auto">
            <a:xfrm>
              <a:off x="6673149" y="3583518"/>
              <a:ext cx="72881" cy="72152"/>
            </a:xfrm>
            <a:prstGeom prst="rect">
              <a:avLst/>
            </a:prstGeom>
            <a:ln>
              <a:noFill/>
            </a:ln>
            <a:effectLst>
              <a:softEdge rad="112500"/>
            </a:effectLst>
          </p:spPr>
        </p:pic>
        <p:pic>
          <p:nvPicPr>
            <p:cNvPr id="14" name="Picture 65" descr="air1.png"/>
            <p:cNvPicPr>
              <a:picLocks noChangeAspect="1"/>
            </p:cNvPicPr>
            <p:nvPr/>
          </p:nvPicPr>
          <p:blipFill>
            <a:blip r:embed="rId3" cstate="print">
              <a:lum bright="20000"/>
            </a:blip>
            <a:srcRect/>
            <a:stretch>
              <a:fillRect/>
            </a:stretch>
          </p:blipFill>
          <p:spPr bwMode="auto">
            <a:xfrm>
              <a:off x="6643702" y="5929330"/>
              <a:ext cx="72881" cy="72152"/>
            </a:xfrm>
            <a:prstGeom prst="rect">
              <a:avLst/>
            </a:prstGeom>
            <a:ln>
              <a:noFill/>
            </a:ln>
            <a:effectLst>
              <a:softEdge rad="112500"/>
            </a:effectLst>
          </p:spPr>
        </p:pic>
        <p:pic>
          <p:nvPicPr>
            <p:cNvPr id="15" name="Picture 2" descr="C:\Users\viboon.r\Desktop\picture pwt\water.png"/>
            <p:cNvPicPr>
              <a:picLocks noChangeAspect="1" noChangeArrowheads="1"/>
            </p:cNvPicPr>
            <p:nvPr/>
          </p:nvPicPr>
          <p:blipFill>
            <a:blip r:embed="rId4" cstate="print">
              <a:lum bright="20000"/>
            </a:blip>
            <a:srcRect/>
            <a:stretch>
              <a:fillRect/>
            </a:stretch>
          </p:blipFill>
          <p:spPr bwMode="auto">
            <a:xfrm>
              <a:off x="6357950" y="1202066"/>
              <a:ext cx="93261" cy="71438"/>
            </a:xfrm>
            <a:prstGeom prst="rect">
              <a:avLst/>
            </a:prstGeom>
            <a:ln>
              <a:noFill/>
            </a:ln>
            <a:effectLst>
              <a:softEdge rad="112500"/>
            </a:effectLst>
          </p:spPr>
        </p:pic>
        <p:pic>
          <p:nvPicPr>
            <p:cNvPr id="16" name="Picture 2" descr="C:\Users\viboon.r\Desktop\picture pwt\water.png"/>
            <p:cNvPicPr>
              <a:picLocks noChangeAspect="1" noChangeArrowheads="1"/>
            </p:cNvPicPr>
            <p:nvPr/>
          </p:nvPicPr>
          <p:blipFill>
            <a:blip r:embed="rId4" cstate="print">
              <a:lum bright="20000"/>
            </a:blip>
            <a:srcRect/>
            <a:stretch>
              <a:fillRect/>
            </a:stretch>
          </p:blipFill>
          <p:spPr bwMode="auto">
            <a:xfrm>
              <a:off x="6572264" y="3429000"/>
              <a:ext cx="93261" cy="71438"/>
            </a:xfrm>
            <a:prstGeom prst="rect">
              <a:avLst/>
            </a:prstGeom>
            <a:ln>
              <a:noFill/>
            </a:ln>
            <a:effectLst>
              <a:softEdge rad="112500"/>
            </a:effectLst>
          </p:spPr>
        </p:pic>
        <p:pic>
          <p:nvPicPr>
            <p:cNvPr id="17" name="Picture 2" descr="C:\Users\viboon.r\Desktop\picture pwt\water.png"/>
            <p:cNvPicPr>
              <a:picLocks noChangeAspect="1" noChangeArrowheads="1"/>
            </p:cNvPicPr>
            <p:nvPr/>
          </p:nvPicPr>
          <p:blipFill>
            <a:blip r:embed="rId4" cstate="print">
              <a:lum bright="20000"/>
            </a:blip>
            <a:srcRect/>
            <a:stretch>
              <a:fillRect/>
            </a:stretch>
          </p:blipFill>
          <p:spPr bwMode="auto">
            <a:xfrm>
              <a:off x="6668605" y="3820560"/>
              <a:ext cx="93261" cy="71438"/>
            </a:xfrm>
            <a:prstGeom prst="rect">
              <a:avLst/>
            </a:prstGeom>
            <a:ln>
              <a:noFill/>
            </a:ln>
            <a:effectLst>
              <a:softEdge rad="112500"/>
            </a:effectLst>
          </p:spPr>
        </p:pic>
      </p:grpSp>
      <p:sp>
        <p:nvSpPr>
          <p:cNvPr id="40963" name="Rectangle 1"/>
          <p:cNvSpPr>
            <a:spLocks noChangeArrowheads="1"/>
          </p:cNvSpPr>
          <p:nvPr/>
        </p:nvSpPr>
        <p:spPr bwMode="auto">
          <a:xfrm>
            <a:off x="251520" y="834790"/>
            <a:ext cx="6137275" cy="36317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nchor="ctr">
            <a:spAutoFit/>
          </a:bodyPr>
          <a:lstStyle/>
          <a:p>
            <a:pPr marL="723900" indent="-457200" eaLnBrk="0" hangingPunct="0">
              <a:spcBef>
                <a:spcPts val="1200"/>
              </a:spcBef>
            </a:pPr>
            <a:r>
              <a:rPr lang="en-US" sz="2000" b="1" dirty="0" smtClean="0">
                <a:latin typeface="TH SarabunPSK" pitchFamily="34" charset="-34"/>
                <a:ea typeface="Calibri" pitchFamily="34" charset="0"/>
                <a:cs typeface="TH SarabunPSK" pitchFamily="34" charset="-34"/>
              </a:rPr>
              <a:t>3.1</a:t>
            </a:r>
            <a:r>
              <a:rPr lang="th-TH" sz="2000" b="1" dirty="0">
                <a:latin typeface="TH SarabunPSK" pitchFamily="34" charset="-34"/>
                <a:ea typeface="Calibri" pitchFamily="34" charset="0"/>
                <a:cs typeface="TH SarabunPSK" pitchFamily="34" charset="-34"/>
              </a:rPr>
              <a:t>	</a:t>
            </a:r>
            <a:r>
              <a:rPr lang="th-TH" sz="2000" b="1" dirty="0">
                <a:latin typeface="TH SarabunPSK" pitchFamily="34" charset="-34"/>
                <a:cs typeface="TH SarabunPSK" pitchFamily="34" charset="-34"/>
              </a:rPr>
              <a:t>เพิ่มขีดความสามารถและความปลอดภัยของการขนส่งสินค้าทางบกสู่ประตูการค้าหลัก </a:t>
            </a:r>
          </a:p>
          <a:p>
            <a:pPr marL="723900" lvl="1" indent="-457200" eaLnBrk="0" hangingPunct="0">
              <a:spcBef>
                <a:spcPts val="1200"/>
              </a:spcBef>
            </a:pPr>
            <a:r>
              <a:rPr lang="en-US" sz="2000" b="1" dirty="0" smtClean="0">
                <a:latin typeface="TH SarabunPSK" pitchFamily="34" charset="-34"/>
                <a:cs typeface="TH SarabunPSK" pitchFamily="34" charset="-34"/>
              </a:rPr>
              <a:t>3.2</a:t>
            </a:r>
            <a:r>
              <a:rPr lang="en-US" sz="2000" b="1" dirty="0">
                <a:latin typeface="TH SarabunPSK" pitchFamily="34" charset="-34"/>
                <a:cs typeface="TH SarabunPSK" pitchFamily="34" charset="-34"/>
              </a:rPr>
              <a:t>	</a:t>
            </a:r>
            <a:r>
              <a:rPr lang="th-TH" sz="2000" b="1" dirty="0">
                <a:latin typeface="TH SarabunPSK" pitchFamily="34" charset="-34"/>
                <a:cs typeface="TH SarabunPSK" pitchFamily="34" charset="-34"/>
              </a:rPr>
              <a:t>ส่งเสริมการเปลี่ยนรูปแบบการขนส่งไปสู่ทางลำ</a:t>
            </a:r>
            <a:r>
              <a:rPr lang="th-TH" sz="2000" b="1" dirty="0" smtClean="0">
                <a:latin typeface="TH SarabunPSK" pitchFamily="34" charset="-34"/>
                <a:cs typeface="TH SarabunPSK" pitchFamily="34" charset="-34"/>
              </a:rPr>
              <a:t>น้ำ (</a:t>
            </a:r>
            <a:r>
              <a:rPr lang="en-US" sz="2000" b="1" dirty="0">
                <a:latin typeface="TH SarabunPSK" pitchFamily="34" charset="-34"/>
                <a:cs typeface="TH SarabunPSK" pitchFamily="34" charset="-34"/>
              </a:rPr>
              <a:t>Inland waterway) </a:t>
            </a:r>
            <a:r>
              <a:rPr lang="th-TH" sz="2000" b="1" dirty="0">
                <a:latin typeface="TH SarabunPSK" pitchFamily="34" charset="-34"/>
                <a:cs typeface="TH SarabunPSK" pitchFamily="34" charset="-34"/>
              </a:rPr>
              <a:t>และบริการเรือชายฝั่งเพื่อการประหยัดพลังงาน </a:t>
            </a:r>
            <a:r>
              <a:rPr lang="en-US" sz="2000" b="1" dirty="0">
                <a:latin typeface="TH SarabunPSK" pitchFamily="34" charset="-34"/>
                <a:cs typeface="TH SarabunPSK" pitchFamily="34" charset="-34"/>
              </a:rPr>
              <a:t> </a:t>
            </a:r>
          </a:p>
          <a:p>
            <a:pPr marL="723900" lvl="1" indent="-457200" eaLnBrk="0" hangingPunct="0">
              <a:spcBef>
                <a:spcPts val="1200"/>
              </a:spcBef>
            </a:pPr>
            <a:r>
              <a:rPr lang="en-US" sz="2000" b="1" dirty="0" smtClean="0">
                <a:latin typeface="TH SarabunPSK" pitchFamily="34" charset="-34"/>
                <a:cs typeface="TH SarabunPSK" pitchFamily="34" charset="-34"/>
              </a:rPr>
              <a:t>3.3</a:t>
            </a:r>
            <a:r>
              <a:rPr lang="en-US" sz="2000" b="1" dirty="0">
                <a:latin typeface="TH SarabunPSK" pitchFamily="34" charset="-34"/>
                <a:cs typeface="TH SarabunPSK" pitchFamily="34" charset="-34"/>
              </a:rPr>
              <a:t>	</a:t>
            </a:r>
            <a:r>
              <a:rPr lang="th-TH" sz="2000" b="1" dirty="0">
                <a:latin typeface="TH SarabunPSK" pitchFamily="34" charset="-34"/>
                <a:cs typeface="TH SarabunPSK" pitchFamily="34" charset="-34"/>
              </a:rPr>
              <a:t>ขยายความสามารถและพัฒนาบทบาทของสนามบินสุวรรณ</a:t>
            </a:r>
            <a:r>
              <a:rPr lang="th-TH" sz="2000" b="1" dirty="0" smtClean="0">
                <a:latin typeface="TH SarabunPSK" pitchFamily="34" charset="-34"/>
                <a:cs typeface="TH SarabunPSK" pitchFamily="34" charset="-34"/>
              </a:rPr>
              <a:t>ภูมิให้</a:t>
            </a:r>
            <a:r>
              <a:rPr lang="th-TH" sz="2000" b="1" dirty="0">
                <a:latin typeface="TH SarabunPSK" pitchFamily="34" charset="-34"/>
                <a:cs typeface="TH SarabunPSK" pitchFamily="34" charset="-34"/>
              </a:rPr>
              <a:t>เป็นประตูการค้าที่สามารถสร้างมูลค่าเพิ่ม (</a:t>
            </a:r>
            <a:r>
              <a:rPr lang="en-US" sz="2000" b="1" dirty="0">
                <a:latin typeface="TH SarabunPSK" pitchFamily="34" charset="-34"/>
                <a:cs typeface="TH SarabunPSK" pitchFamily="34" charset="-34"/>
              </a:rPr>
              <a:t>Value creation facility) </a:t>
            </a:r>
            <a:r>
              <a:rPr lang="th-TH" sz="2000" b="1" dirty="0">
                <a:latin typeface="TH SarabunPSK" pitchFamily="34" charset="-34"/>
                <a:cs typeface="TH SarabunPSK" pitchFamily="34" charset="-34"/>
              </a:rPr>
              <a:t>ให้กับธุรกิจการค้าระหว่าง</a:t>
            </a:r>
            <a:r>
              <a:rPr lang="th-TH" sz="2000" b="1" dirty="0" smtClean="0">
                <a:latin typeface="TH SarabunPSK" pitchFamily="34" charset="-34"/>
                <a:cs typeface="TH SarabunPSK" pitchFamily="34" charset="-34"/>
              </a:rPr>
              <a:t>ประเทศ</a:t>
            </a:r>
            <a:endParaRPr lang="en-US" sz="2000" b="1" dirty="0" smtClean="0">
              <a:latin typeface="TH SarabunPSK" pitchFamily="34" charset="-34"/>
              <a:cs typeface="TH SarabunPSK" pitchFamily="34" charset="-34"/>
            </a:endParaRPr>
          </a:p>
          <a:p>
            <a:pPr marL="723900" lvl="1" indent="-457200" eaLnBrk="0" hangingPunct="0">
              <a:spcBef>
                <a:spcPts val="1200"/>
              </a:spcBef>
            </a:pPr>
            <a:r>
              <a:rPr lang="en-US" sz="2000" b="1" dirty="0" smtClean="0">
                <a:latin typeface="TH SarabunPSK" pitchFamily="34" charset="-34"/>
                <a:cs typeface="TH SarabunPSK" pitchFamily="34" charset="-34"/>
              </a:rPr>
              <a:t>3.4</a:t>
            </a:r>
            <a:r>
              <a:rPr lang="en-US" sz="2000" b="1" dirty="0">
                <a:latin typeface="TH SarabunPSK" pitchFamily="34" charset="-34"/>
                <a:cs typeface="TH SarabunPSK" pitchFamily="34" charset="-34"/>
              </a:rPr>
              <a:t>	</a:t>
            </a:r>
            <a:r>
              <a:rPr lang="th-TH" sz="2000" b="1" dirty="0">
                <a:latin typeface="TH SarabunPSK" pitchFamily="34" charset="-34"/>
                <a:cs typeface="TH SarabunPSK" pitchFamily="34" charset="-34"/>
              </a:rPr>
              <a:t>ส่งเสริมให้ภาคเอกชนเข้ามามีส่วนร่วมในการพัฒนาเครือข่ายและเขตอุตสาหกรรมบริการเชื่อมโยงการขนส่งสินค้าหลายรูปแบบและอุตสาหกรรมให้บริการโลจิสติกส์ (</a:t>
            </a:r>
            <a:r>
              <a:rPr lang="en-US" sz="2000" b="1" dirty="0">
                <a:latin typeface="TH SarabunPSK" pitchFamily="34" charset="-34"/>
                <a:cs typeface="TH SarabunPSK" pitchFamily="34" charset="-34"/>
              </a:rPr>
              <a:t>Freight Village and Logistics Park) </a:t>
            </a:r>
            <a:endParaRPr lang="th-TH" sz="2000" b="1" dirty="0">
              <a:latin typeface="TH SarabunPSK" pitchFamily="34" charset="-34"/>
              <a:cs typeface="TH SarabunPSK" pitchFamily="34" charset="-34"/>
            </a:endParaRPr>
          </a:p>
        </p:txBody>
      </p:sp>
      <p:graphicFrame>
        <p:nvGraphicFramePr>
          <p:cNvPr id="18" name="Table 17"/>
          <p:cNvGraphicFramePr>
            <a:graphicFrameLocks noGrp="1"/>
          </p:cNvGraphicFramePr>
          <p:nvPr>
            <p:extLst>
              <p:ext uri="{D42A27DB-BD31-4B8C-83A1-F6EECF244321}">
                <p14:modId xmlns:p14="http://schemas.microsoft.com/office/powerpoint/2010/main" xmlns="" val="2864216610"/>
              </p:ext>
            </p:extLst>
          </p:nvPr>
        </p:nvGraphicFramePr>
        <p:xfrm>
          <a:off x="1588" y="1"/>
          <a:ext cx="9144000" cy="739070"/>
        </p:xfrm>
        <a:graphic>
          <a:graphicData uri="http://schemas.openxmlformats.org/drawingml/2006/table">
            <a:tbl>
              <a:tblPr firstRow="1" bandRow="1">
                <a:tableStyleId>{5C22544A-7EE6-4342-B048-85BDC9FD1C3A}</a:tableStyleId>
              </a:tblPr>
              <a:tblGrid>
                <a:gridCol w="1828800"/>
                <a:gridCol w="7315200"/>
              </a:tblGrid>
              <a:tr h="739070">
                <a:tc>
                  <a:txBody>
                    <a:bodyPr/>
                    <a:lstStyle/>
                    <a:p>
                      <a:pPr algn="r"/>
                      <a:r>
                        <a:rPr lang="th-TH" sz="2200" b="1" dirty="0" smtClean="0">
                          <a:solidFill>
                            <a:schemeClr val="bg1"/>
                          </a:solidFill>
                          <a:latin typeface="TH SarabunPSK" pitchFamily="34" charset="-34"/>
                          <a:cs typeface="TH SarabunPSK" pitchFamily="34" charset="-34"/>
                        </a:rPr>
                        <a:t>ประเด็น</a:t>
                      </a:r>
                      <a:br>
                        <a:rPr lang="th-TH" sz="2200" b="1" dirty="0" smtClean="0">
                          <a:solidFill>
                            <a:schemeClr val="bg1"/>
                          </a:solidFill>
                          <a:latin typeface="TH SarabunPSK" pitchFamily="34" charset="-34"/>
                          <a:cs typeface="TH SarabunPSK" pitchFamily="34" charset="-34"/>
                        </a:rPr>
                      </a:br>
                      <a:r>
                        <a:rPr lang="th-TH" sz="2200" b="1" dirty="0" smtClean="0">
                          <a:solidFill>
                            <a:schemeClr val="bg1"/>
                          </a:solidFill>
                          <a:latin typeface="TH SarabunPSK" pitchFamily="34" charset="-34"/>
                          <a:cs typeface="TH SarabunPSK" pitchFamily="34" charset="-34"/>
                        </a:rPr>
                        <a:t>ยุทธศาสตร์ที่ 3</a:t>
                      </a:r>
                      <a:endParaRPr lang="th-TH" sz="2200" dirty="0">
                        <a:solidFill>
                          <a:schemeClr val="bg1"/>
                        </a:solidFill>
                        <a:latin typeface="TH SarabunPSK" pitchFamily="34" charset="-34"/>
                        <a:cs typeface="TH SarabunPSK" pitchFamily="34" charset="-34"/>
                      </a:endParaRPr>
                    </a:p>
                  </a:txBody>
                  <a:tcPr marT="34255" marB="34255"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1">
                        <a:lumMod val="50000"/>
                      </a:schemeClr>
                    </a:solidFill>
                  </a:tcPr>
                </a:tc>
                <a:tc>
                  <a:txBody>
                    <a:bodyPr/>
                    <a:lstStyle/>
                    <a:p>
                      <a:pPr marL="171450" indent="0" algn="l"/>
                      <a:r>
                        <a:rPr lang="th-TH" sz="2200" b="1" dirty="0" smtClean="0">
                          <a:latin typeface="TH SarabunPSK" pitchFamily="34" charset="-34"/>
                          <a:ea typeface="Calibri" pitchFamily="34" charset="0"/>
                          <a:cs typeface="TH SarabunPSK" pitchFamily="34" charset="-34"/>
                        </a:rPr>
                        <a:t>พัฒนาบริการขนส่งและเครือข่ายโลจิสติกส์ตามเส้นทางยุทธศาสตร์ </a:t>
                      </a:r>
                    </a:p>
                  </a:txBody>
                  <a:tcPr marT="34255" marB="34255"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0070C0"/>
                    </a:solidFill>
                  </a:tcPr>
                </a:tc>
              </a:tr>
            </a:tbl>
          </a:graphicData>
        </a:graphic>
      </p:graphicFrame>
    </p:spTree>
    <p:extLst>
      <p:ext uri="{BB962C8B-B14F-4D97-AF65-F5344CB8AC3E}">
        <p14:creationId xmlns:p14="http://schemas.microsoft.com/office/powerpoint/2010/main" xmlns="" val="1491959507"/>
      </p:ext>
    </p:extLst>
  </p:cSld>
  <p:clrMapOvr>
    <a:masterClrMapping/>
  </p:clrMapOvr>
  <p:transition spd="slow">
    <p:fade thruBlk="1"/>
  </p:transition>
  <p:timing>
    <p:tnLst>
      <p:par>
        <p:cTn id="1" dur="indefinite" restart="never" nodeType="tmRoot"/>
      </p:par>
    </p:tnLst>
  </p:timing>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6" name="Rectangle 1"/>
          <p:cNvSpPr>
            <a:spLocks noChangeArrowheads="1"/>
          </p:cNvSpPr>
          <p:nvPr/>
        </p:nvSpPr>
        <p:spPr bwMode="auto">
          <a:xfrm>
            <a:off x="251520" y="904041"/>
            <a:ext cx="8702675" cy="224676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nchor="ctr">
            <a:spAutoFit/>
          </a:bodyPr>
          <a:lstStyle/>
          <a:p>
            <a:pPr marL="719138" indent="-452438" eaLnBrk="0" hangingPunct="0">
              <a:spcBef>
                <a:spcPts val="1200"/>
              </a:spcBef>
            </a:pPr>
            <a:r>
              <a:rPr lang="en-US" sz="2000" b="1" dirty="0" smtClean="0">
                <a:latin typeface="TH SarabunPSK" pitchFamily="34" charset="-34"/>
                <a:ea typeface="Calibri" pitchFamily="34" charset="0"/>
                <a:cs typeface="TH SarabunPSK" pitchFamily="34" charset="-34"/>
              </a:rPr>
              <a:t>4.1</a:t>
            </a:r>
            <a:r>
              <a:rPr lang="th-TH" sz="2000" b="1" dirty="0">
                <a:latin typeface="TH SarabunPSK" pitchFamily="34" charset="-34"/>
                <a:ea typeface="Calibri" pitchFamily="34" charset="0"/>
                <a:cs typeface="TH SarabunPSK" pitchFamily="34" charset="-34"/>
              </a:rPr>
              <a:t>	</a:t>
            </a:r>
            <a:r>
              <a:rPr lang="th-TH" sz="2000" b="1" dirty="0">
                <a:latin typeface="TH SarabunPSK" pitchFamily="34" charset="-34"/>
                <a:cs typeface="TH SarabunPSK" pitchFamily="34" charset="-34"/>
              </a:rPr>
              <a:t>เร่งรัดการพัฒนาและขยายการเชื่อมโยง </a:t>
            </a:r>
            <a:r>
              <a:rPr lang="en-US" sz="2000" b="1" dirty="0">
                <a:latin typeface="TH SarabunPSK" pitchFamily="34" charset="-34"/>
                <a:cs typeface="TH SarabunPSK" pitchFamily="34" charset="-34"/>
              </a:rPr>
              <a:t>NSW </a:t>
            </a:r>
            <a:r>
              <a:rPr lang="th-TH" sz="2000" b="1" dirty="0">
                <a:latin typeface="TH SarabunPSK" pitchFamily="34" charset="-34"/>
                <a:cs typeface="TH SarabunPSK" pitchFamily="34" charset="-34"/>
              </a:rPr>
              <a:t>ที่เกี่ยวกับธุรกรรมเอกสารอิเล็กทรอนิกส์ของภาครัฐ (</a:t>
            </a:r>
            <a:r>
              <a:rPr lang="en-US" sz="2000" b="1" dirty="0">
                <a:latin typeface="TH SarabunPSK" pitchFamily="34" charset="-34"/>
                <a:cs typeface="TH SarabunPSK" pitchFamily="34" charset="-34"/>
              </a:rPr>
              <a:t>Regulatory NSW) </a:t>
            </a:r>
            <a:r>
              <a:rPr lang="th-TH" sz="2000" b="1" dirty="0">
                <a:latin typeface="TH SarabunPSK" pitchFamily="34" charset="-34"/>
                <a:cs typeface="TH SarabunPSK" pitchFamily="34" charset="-34"/>
              </a:rPr>
              <a:t>ไปสู่กลุ่มผู้ประกอบการขนส่งผ่านท่า (</a:t>
            </a:r>
            <a:r>
              <a:rPr lang="en-US" sz="2000" b="1" dirty="0">
                <a:latin typeface="TH SarabunPSK" pitchFamily="34" charset="-34"/>
                <a:cs typeface="TH SarabunPSK" pitchFamily="34" charset="-34"/>
              </a:rPr>
              <a:t>Port Community System) </a:t>
            </a:r>
            <a:r>
              <a:rPr lang="th-TH" sz="2000" b="1" dirty="0">
                <a:latin typeface="TH SarabunPSK" pitchFamily="34" charset="-34"/>
                <a:cs typeface="TH SarabunPSK" pitchFamily="34" charset="-34"/>
              </a:rPr>
              <a:t>และส่งเสริมการพัฒนาระบบ </a:t>
            </a:r>
            <a:r>
              <a:rPr lang="en-US" sz="2000" b="1" dirty="0">
                <a:latin typeface="TH SarabunPSK" pitchFamily="34" charset="-34"/>
                <a:cs typeface="TH SarabunPSK" pitchFamily="34" charset="-34"/>
              </a:rPr>
              <a:t>NSW </a:t>
            </a:r>
            <a:r>
              <a:rPr lang="th-TH" sz="2000" b="1" dirty="0">
                <a:latin typeface="TH SarabunPSK" pitchFamily="34" charset="-34"/>
                <a:cs typeface="TH SarabunPSK" pitchFamily="34" charset="-34"/>
              </a:rPr>
              <a:t>และ </a:t>
            </a:r>
            <a:r>
              <a:rPr lang="en-US" sz="2000" b="1" dirty="0">
                <a:latin typeface="TH SarabunPSK" pitchFamily="34" charset="-34"/>
                <a:cs typeface="TH SarabunPSK" pitchFamily="34" charset="-34"/>
              </a:rPr>
              <a:t>e-Logistics </a:t>
            </a:r>
            <a:r>
              <a:rPr lang="th-TH" sz="2000" b="1" dirty="0">
                <a:latin typeface="TH SarabunPSK" pitchFamily="34" charset="-34"/>
                <a:cs typeface="TH SarabunPSK" pitchFamily="34" charset="-34"/>
              </a:rPr>
              <a:t>ในประเทศเพื่อนบ้าน </a:t>
            </a:r>
            <a:endParaRPr lang="en-US" sz="2000" b="1" dirty="0" smtClean="0">
              <a:latin typeface="TH SarabunPSK" pitchFamily="34" charset="-34"/>
              <a:cs typeface="TH SarabunPSK" pitchFamily="34" charset="-34"/>
            </a:endParaRPr>
          </a:p>
          <a:p>
            <a:pPr marL="719138" indent="-452438" eaLnBrk="0" hangingPunct="0">
              <a:spcBef>
                <a:spcPts val="1200"/>
              </a:spcBef>
            </a:pPr>
            <a:r>
              <a:rPr lang="en-US" sz="2000" b="1" dirty="0" smtClean="0">
                <a:latin typeface="TH SarabunPSK" pitchFamily="34" charset="-34"/>
                <a:cs typeface="TH SarabunPSK" pitchFamily="34" charset="-34"/>
              </a:rPr>
              <a:t>4.2</a:t>
            </a:r>
            <a:r>
              <a:rPr lang="en-US" sz="2000" b="1" dirty="0">
                <a:latin typeface="TH SarabunPSK" pitchFamily="34" charset="-34"/>
                <a:cs typeface="TH SarabunPSK" pitchFamily="34" charset="-34"/>
              </a:rPr>
              <a:t>	</a:t>
            </a:r>
            <a:r>
              <a:rPr lang="th-TH" sz="2000" b="1" dirty="0">
                <a:latin typeface="TH SarabunPSK" pitchFamily="34" charset="-34"/>
                <a:cs typeface="TH SarabunPSK" pitchFamily="34" charset="-34"/>
              </a:rPr>
              <a:t>ดำเนินการจัดตั้งองค์กรกำกับบริหารการจัดการระบบ </a:t>
            </a:r>
            <a:r>
              <a:rPr lang="en-US" sz="2000" b="1" dirty="0">
                <a:latin typeface="TH SarabunPSK" pitchFamily="34" charset="-34"/>
                <a:cs typeface="TH SarabunPSK" pitchFamily="34" charset="-34"/>
              </a:rPr>
              <a:t>NSW (Business model) </a:t>
            </a:r>
            <a:r>
              <a:rPr lang="th-TH" sz="2000" b="1" dirty="0">
                <a:latin typeface="TH SarabunPSK" pitchFamily="34" charset="-34"/>
                <a:cs typeface="TH SarabunPSK" pitchFamily="34" charset="-34"/>
              </a:rPr>
              <a:t>ที่มี</a:t>
            </a:r>
            <a:r>
              <a:rPr lang="th-TH" sz="2000" b="1" dirty="0" smtClean="0">
                <a:latin typeface="TH SarabunPSK" pitchFamily="34" charset="-34"/>
                <a:cs typeface="TH SarabunPSK" pitchFamily="34" charset="-34"/>
              </a:rPr>
              <a:t>ประสิทธิภาพ</a:t>
            </a:r>
            <a:endParaRPr lang="en-US" sz="2000" b="1" dirty="0" smtClean="0">
              <a:latin typeface="TH SarabunPSK" pitchFamily="34" charset="-34"/>
              <a:cs typeface="TH SarabunPSK" pitchFamily="34" charset="-34"/>
            </a:endParaRPr>
          </a:p>
          <a:p>
            <a:pPr marL="719138" indent="-452438" eaLnBrk="0" hangingPunct="0">
              <a:spcBef>
                <a:spcPts val="1200"/>
              </a:spcBef>
            </a:pPr>
            <a:r>
              <a:rPr lang="en-US" sz="2000" b="1" dirty="0" smtClean="0">
                <a:latin typeface="TH SarabunPSK" pitchFamily="34" charset="-34"/>
                <a:cs typeface="TH SarabunPSK" pitchFamily="34" charset="-34"/>
              </a:rPr>
              <a:t>4.3</a:t>
            </a:r>
            <a:r>
              <a:rPr lang="en-US" sz="2000" b="1" dirty="0">
                <a:latin typeface="TH SarabunPSK" pitchFamily="34" charset="-34"/>
                <a:cs typeface="TH SarabunPSK" pitchFamily="34" charset="-34"/>
              </a:rPr>
              <a:t>	</a:t>
            </a:r>
            <a:r>
              <a:rPr lang="th-TH" sz="2000" b="1" dirty="0">
                <a:latin typeface="TH SarabunPSK" pitchFamily="34" charset="-34"/>
                <a:cs typeface="TH SarabunPSK" pitchFamily="34" charset="-34"/>
              </a:rPr>
              <a:t>ผลักดันการออก</a:t>
            </a:r>
            <a:r>
              <a:rPr lang="th-TH" sz="2000" b="1" dirty="0" smtClean="0">
                <a:latin typeface="TH SarabunPSK" pitchFamily="34" charset="-34"/>
                <a:cs typeface="TH SarabunPSK" pitchFamily="34" charset="-34"/>
              </a:rPr>
              <a:t>กฎหมาย อาทิ </a:t>
            </a:r>
            <a:r>
              <a:rPr lang="th-TH" sz="2000" b="1" dirty="0">
                <a:latin typeface="TH SarabunPSK" pitchFamily="34" charset="-34"/>
                <a:cs typeface="TH SarabunPSK" pitchFamily="34" charset="-34"/>
              </a:rPr>
              <a:t>พระราชกฤษฎีกาการทำธุรกรรมทางอิเล็กทรอนิกส์ผ่านระบบ </a:t>
            </a:r>
            <a:r>
              <a:rPr lang="en-US" sz="2000" b="1" dirty="0">
                <a:latin typeface="TH SarabunPSK" pitchFamily="34" charset="-34"/>
                <a:cs typeface="TH SarabunPSK" pitchFamily="34" charset="-34"/>
              </a:rPr>
              <a:t>NSW </a:t>
            </a:r>
            <a:r>
              <a:rPr lang="th-TH" sz="2000" b="1" dirty="0">
                <a:latin typeface="TH SarabunPSK" pitchFamily="34" charset="-34"/>
                <a:cs typeface="TH SarabunPSK" pitchFamily="34" charset="-34"/>
              </a:rPr>
              <a:t>และพระราชบัญญัติสิ่งอำนวยความ</a:t>
            </a:r>
            <a:r>
              <a:rPr lang="th-TH" sz="2000" b="1" dirty="0" smtClean="0">
                <a:latin typeface="TH SarabunPSK" pitchFamily="34" charset="-34"/>
                <a:cs typeface="TH SarabunPSK" pitchFamily="34" charset="-34"/>
              </a:rPr>
              <a:t>สะดวกข้ามแดน</a:t>
            </a:r>
            <a:endParaRPr lang="en-US" sz="2000" b="1" dirty="0" smtClean="0">
              <a:latin typeface="TH SarabunPSK" pitchFamily="34" charset="-34"/>
              <a:cs typeface="TH SarabunPSK" pitchFamily="34" charset="-34"/>
            </a:endParaRPr>
          </a:p>
        </p:txBody>
      </p:sp>
      <p:pic>
        <p:nvPicPr>
          <p:cNvPr id="41987" name="Picture 1"/>
          <p:cNvPicPr>
            <a:picLocks noChangeAspect="1" noChangeArrowheads="1"/>
          </p:cNvPicPr>
          <p:nvPr/>
        </p:nvPicPr>
        <p:blipFill>
          <a:blip r:embed="rId3" cstate="print">
            <a:extLst>
              <a:ext uri="{28A0092B-C50C-407E-A947-70E740481C1C}">
                <a14:useLocalDpi xmlns:a14="http://schemas.microsoft.com/office/drawing/2010/main" xmlns="" val="0"/>
              </a:ext>
            </a:extLst>
          </a:blip>
          <a:srcRect/>
          <a:stretch>
            <a:fillRect/>
          </a:stretch>
        </p:blipFill>
        <p:spPr bwMode="auto">
          <a:xfrm>
            <a:off x="979488" y="3090207"/>
            <a:ext cx="3306762" cy="1814602"/>
          </a:xfrm>
          <a:prstGeom prst="rect">
            <a:avLst/>
          </a:prstGeom>
          <a:noFill/>
          <a:ln w="12700">
            <a:solidFill>
              <a:srgbClr val="000099"/>
            </a:solidFill>
            <a:miter lim="800000"/>
            <a:headEnd/>
            <a:tailEnd/>
          </a:ln>
          <a:extLst>
            <a:ext uri="{909E8E84-426E-40DD-AFC4-6F175D3DCCD1}">
              <a14:hiddenFill xmlns:a14="http://schemas.microsoft.com/office/drawing/2010/main" xmlns="">
                <a:solidFill>
                  <a:srgbClr val="FFFFFF"/>
                </a:solidFill>
              </a14:hiddenFill>
            </a:ext>
          </a:extLst>
        </p:spPr>
      </p:pic>
      <p:pic>
        <p:nvPicPr>
          <p:cNvPr id="41988" name="Picture 2"/>
          <p:cNvPicPr>
            <a:picLocks noChangeAspect="1" noChangeArrowheads="1"/>
          </p:cNvPicPr>
          <p:nvPr/>
        </p:nvPicPr>
        <p:blipFill>
          <a:blip r:embed="rId4" cstate="print">
            <a:extLst>
              <a:ext uri="{28A0092B-C50C-407E-A947-70E740481C1C}">
                <a14:useLocalDpi xmlns:a14="http://schemas.microsoft.com/office/drawing/2010/main" xmlns="" val="0"/>
              </a:ext>
            </a:extLst>
          </a:blip>
          <a:srcRect/>
          <a:stretch>
            <a:fillRect/>
          </a:stretch>
        </p:blipFill>
        <p:spPr bwMode="auto">
          <a:xfrm>
            <a:off x="4865691" y="3090207"/>
            <a:ext cx="3292475" cy="1813028"/>
          </a:xfrm>
          <a:prstGeom prst="rect">
            <a:avLst/>
          </a:prstGeom>
          <a:noFill/>
          <a:ln w="12700">
            <a:solidFill>
              <a:srgbClr val="000099"/>
            </a:solidFill>
            <a:miter lim="800000"/>
            <a:headEnd/>
            <a:tailEnd/>
          </a:ln>
          <a:extLst>
            <a:ext uri="{909E8E84-426E-40DD-AFC4-6F175D3DCCD1}">
              <a14:hiddenFill xmlns:a14="http://schemas.microsoft.com/office/drawing/2010/main" xmlns="">
                <a:solidFill>
                  <a:srgbClr val="FFFFFF"/>
                </a:solidFill>
              </a14:hiddenFill>
            </a:ext>
          </a:extLst>
        </p:spPr>
      </p:pic>
      <p:sp>
        <p:nvSpPr>
          <p:cNvPr id="7" name="ลูกศรซ้าย-ขวา 6"/>
          <p:cNvSpPr/>
          <p:nvPr/>
        </p:nvSpPr>
        <p:spPr>
          <a:xfrm>
            <a:off x="4310066" y="3730287"/>
            <a:ext cx="549275" cy="377714"/>
          </a:xfrm>
          <a:prstGeom prst="leftRightArrow">
            <a:avLst/>
          </a:prstGeom>
          <a:solidFill>
            <a:schemeClr val="bg1">
              <a:lumMod val="75000"/>
            </a:schemeClr>
          </a:solidFill>
          <a:ln w="1270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th-TH" sz="1800"/>
          </a:p>
        </p:txBody>
      </p:sp>
      <p:graphicFrame>
        <p:nvGraphicFramePr>
          <p:cNvPr id="8" name="Table 7"/>
          <p:cNvGraphicFramePr>
            <a:graphicFrameLocks noGrp="1"/>
          </p:cNvGraphicFramePr>
          <p:nvPr>
            <p:extLst>
              <p:ext uri="{D42A27DB-BD31-4B8C-83A1-F6EECF244321}">
                <p14:modId xmlns:p14="http://schemas.microsoft.com/office/powerpoint/2010/main" xmlns="" val="323771673"/>
              </p:ext>
            </p:extLst>
          </p:nvPr>
        </p:nvGraphicFramePr>
        <p:xfrm>
          <a:off x="1588" y="1"/>
          <a:ext cx="9144000" cy="739070"/>
        </p:xfrm>
        <a:graphic>
          <a:graphicData uri="http://schemas.openxmlformats.org/drawingml/2006/table">
            <a:tbl>
              <a:tblPr firstRow="1" bandRow="1">
                <a:tableStyleId>{5C22544A-7EE6-4342-B048-85BDC9FD1C3A}</a:tableStyleId>
              </a:tblPr>
              <a:tblGrid>
                <a:gridCol w="1828800"/>
                <a:gridCol w="7315200"/>
              </a:tblGrid>
              <a:tr h="739070">
                <a:tc>
                  <a:txBody>
                    <a:bodyPr/>
                    <a:lstStyle/>
                    <a:p>
                      <a:pPr algn="r"/>
                      <a:r>
                        <a:rPr lang="th-TH" sz="2200" b="1" dirty="0" smtClean="0">
                          <a:solidFill>
                            <a:schemeClr val="bg1"/>
                          </a:solidFill>
                          <a:latin typeface="TH SarabunPSK" pitchFamily="34" charset="-34"/>
                          <a:cs typeface="TH SarabunPSK" pitchFamily="34" charset="-34"/>
                        </a:rPr>
                        <a:t>ประเด็น</a:t>
                      </a:r>
                      <a:br>
                        <a:rPr lang="th-TH" sz="2200" b="1" dirty="0" smtClean="0">
                          <a:solidFill>
                            <a:schemeClr val="bg1"/>
                          </a:solidFill>
                          <a:latin typeface="TH SarabunPSK" pitchFamily="34" charset="-34"/>
                          <a:cs typeface="TH SarabunPSK" pitchFamily="34" charset="-34"/>
                        </a:rPr>
                      </a:br>
                      <a:r>
                        <a:rPr lang="th-TH" sz="2200" b="1" dirty="0" smtClean="0">
                          <a:solidFill>
                            <a:schemeClr val="bg1"/>
                          </a:solidFill>
                          <a:latin typeface="TH SarabunPSK" pitchFamily="34" charset="-34"/>
                          <a:cs typeface="TH SarabunPSK" pitchFamily="34" charset="-34"/>
                        </a:rPr>
                        <a:t>ยุทธศาสตร์ที่ </a:t>
                      </a:r>
                      <a:r>
                        <a:rPr lang="en-US" sz="2200" b="1" dirty="0" smtClean="0">
                          <a:solidFill>
                            <a:schemeClr val="bg1"/>
                          </a:solidFill>
                          <a:latin typeface="TH SarabunPSK" pitchFamily="34" charset="-34"/>
                          <a:cs typeface="TH SarabunPSK" pitchFamily="34" charset="-34"/>
                        </a:rPr>
                        <a:t>4</a:t>
                      </a:r>
                      <a:endParaRPr lang="th-TH" sz="2200" dirty="0">
                        <a:solidFill>
                          <a:schemeClr val="bg1"/>
                        </a:solidFill>
                        <a:latin typeface="TH SarabunPSK" pitchFamily="34" charset="-34"/>
                        <a:cs typeface="TH SarabunPSK" pitchFamily="34" charset="-34"/>
                      </a:endParaRPr>
                    </a:p>
                  </a:txBody>
                  <a:tcPr marT="34255" marB="34255"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1">
                        <a:lumMod val="50000"/>
                      </a:schemeClr>
                    </a:solidFill>
                  </a:tcPr>
                </a:tc>
                <a:tc>
                  <a:txBody>
                    <a:bodyPr/>
                    <a:lstStyle/>
                    <a:p>
                      <a:pPr marL="171450" indent="0" algn="l"/>
                      <a:r>
                        <a:rPr lang="th-TH" sz="2200" b="1" dirty="0" smtClean="0">
                          <a:latin typeface="TH SarabunPSK" pitchFamily="34" charset="-34"/>
                          <a:ea typeface="Calibri" pitchFamily="34" charset="0"/>
                          <a:cs typeface="TH SarabunPSK" pitchFamily="34" charset="-34"/>
                        </a:rPr>
                        <a:t>พัฒนาระบบอำนวยความสะดวกทางการค้า</a:t>
                      </a:r>
                      <a:endParaRPr lang="en-US" sz="2200" b="1" dirty="0" smtClean="0">
                        <a:latin typeface="TH SarabunPSK" pitchFamily="34" charset="-34"/>
                        <a:ea typeface="Calibri" pitchFamily="34" charset="0"/>
                        <a:cs typeface="TH SarabunPSK" pitchFamily="34" charset="-34"/>
                      </a:endParaRPr>
                    </a:p>
                  </a:txBody>
                  <a:tcPr marT="34255" marB="34255"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0070C0"/>
                    </a:solidFill>
                  </a:tcPr>
                </a:tc>
              </a:tr>
            </a:tbl>
          </a:graphicData>
        </a:graphic>
      </p:graphicFrame>
    </p:spTree>
    <p:extLst>
      <p:ext uri="{BB962C8B-B14F-4D97-AF65-F5344CB8AC3E}">
        <p14:creationId xmlns:p14="http://schemas.microsoft.com/office/powerpoint/2010/main" xmlns="" val="3348574869"/>
      </p:ext>
    </p:extLst>
  </p:cSld>
  <p:clrMapOvr>
    <a:masterClrMapping/>
  </p:clrMapOvr>
  <p:transition spd="slow">
    <p:fade thruBlk="1"/>
  </p:transition>
  <p:timing>
    <p:tnLst>
      <p:par>
        <p:cTn id="1" dur="indefinite" restart="never" nodeType="tmRoot"/>
      </p:par>
    </p:tnLst>
  </p:timing>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034" name="Rectangle 1"/>
          <p:cNvSpPr>
            <a:spLocks noChangeArrowheads="1"/>
          </p:cNvSpPr>
          <p:nvPr/>
        </p:nvSpPr>
        <p:spPr bwMode="auto">
          <a:xfrm>
            <a:off x="251520" y="889459"/>
            <a:ext cx="4572000" cy="286232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nchor="ctr">
            <a:spAutoFit/>
          </a:bodyPr>
          <a:lstStyle/>
          <a:p>
            <a:pPr marL="682625" indent="-415925" eaLnBrk="0" hangingPunct="0">
              <a:spcBef>
                <a:spcPts val="1200"/>
              </a:spcBef>
            </a:pPr>
            <a:r>
              <a:rPr lang="en-US" sz="2000" b="1" dirty="0" smtClean="0">
                <a:latin typeface="TH SarabunPSK" pitchFamily="34" charset="-34"/>
                <a:ea typeface="Calibri" pitchFamily="34" charset="0"/>
                <a:cs typeface="TH SarabunPSK" pitchFamily="34" charset="-34"/>
              </a:rPr>
              <a:t>5.1</a:t>
            </a:r>
            <a:r>
              <a:rPr lang="th-TH" sz="2000" b="1" dirty="0">
                <a:latin typeface="TH SarabunPSK" pitchFamily="34" charset="-34"/>
                <a:ea typeface="Calibri" pitchFamily="34" charset="0"/>
                <a:cs typeface="TH SarabunPSK" pitchFamily="34" charset="-34"/>
              </a:rPr>
              <a:t>	ส่งเสริม </a:t>
            </a:r>
            <a:r>
              <a:rPr lang="en-US" sz="2000" b="1" dirty="0">
                <a:latin typeface="TH SarabunPSK" pitchFamily="34" charset="-34"/>
                <a:ea typeface="Calibri" pitchFamily="34" charset="0"/>
                <a:cs typeface="TH SarabunPSK" pitchFamily="34" charset="-34"/>
              </a:rPr>
              <a:t>Best practice </a:t>
            </a:r>
            <a:r>
              <a:rPr lang="th-TH" sz="2000" b="1" dirty="0">
                <a:latin typeface="TH SarabunPSK" pitchFamily="34" charset="-34"/>
                <a:ea typeface="Calibri" pitchFamily="34" charset="0"/>
                <a:cs typeface="TH SarabunPSK" pitchFamily="34" charset="-34"/>
              </a:rPr>
              <a:t>และการยกระดับผู้ให้บริการโลจิสติกส์แบบต่างๆ ให้ได้การรับรองคุณภาพระดับมาตรฐานสากล </a:t>
            </a:r>
            <a:endParaRPr lang="en-US" sz="2000" b="1" dirty="0" smtClean="0">
              <a:latin typeface="TH SarabunPSK" pitchFamily="34" charset="-34"/>
              <a:ea typeface="Calibri" pitchFamily="34" charset="0"/>
              <a:cs typeface="TH SarabunPSK" pitchFamily="34" charset="-34"/>
            </a:endParaRPr>
          </a:p>
          <a:p>
            <a:pPr marL="682625" indent="-415925" eaLnBrk="0" hangingPunct="0">
              <a:spcBef>
                <a:spcPts val="1200"/>
              </a:spcBef>
            </a:pPr>
            <a:r>
              <a:rPr lang="en-US" sz="2000" b="1" dirty="0" smtClean="0">
                <a:latin typeface="TH SarabunPSK" pitchFamily="34" charset="-34"/>
                <a:cs typeface="TH SarabunPSK" pitchFamily="34" charset="-34"/>
              </a:rPr>
              <a:t>5.2</a:t>
            </a:r>
            <a:r>
              <a:rPr lang="en-US" sz="2000" b="1" dirty="0">
                <a:latin typeface="TH SarabunPSK" pitchFamily="34" charset="-34"/>
                <a:cs typeface="TH SarabunPSK" pitchFamily="34" charset="-34"/>
              </a:rPr>
              <a:t>	</a:t>
            </a:r>
            <a:r>
              <a:rPr lang="th-TH" sz="2000" b="1" dirty="0">
                <a:latin typeface="TH SarabunPSK" pitchFamily="34" charset="-34"/>
                <a:cs typeface="TH SarabunPSK" pitchFamily="34" charset="-34"/>
              </a:rPr>
              <a:t>สนับสนุนให้มีการจัดตั้งศูนย์ให้คำปรึกษานักลงทุนไทย (</a:t>
            </a:r>
            <a:r>
              <a:rPr lang="en-US" sz="2000" b="1" dirty="0">
                <a:latin typeface="TH SarabunPSK" pitchFamily="34" charset="-34"/>
                <a:cs typeface="TH SarabunPSK" pitchFamily="34" charset="-34"/>
              </a:rPr>
              <a:t>Business Consulting Unit) </a:t>
            </a:r>
            <a:r>
              <a:rPr lang="th-TH" sz="2000" b="1" dirty="0">
                <a:latin typeface="TH SarabunPSK" pitchFamily="34" charset="-34"/>
                <a:cs typeface="TH SarabunPSK" pitchFamily="34" charset="-34"/>
              </a:rPr>
              <a:t>ในประเทศภูมิภาคอาเซียน </a:t>
            </a:r>
            <a:endParaRPr lang="en-US" sz="2000" b="1" dirty="0" smtClean="0">
              <a:latin typeface="TH SarabunPSK" pitchFamily="34" charset="-34"/>
              <a:cs typeface="TH SarabunPSK" pitchFamily="34" charset="-34"/>
            </a:endParaRPr>
          </a:p>
          <a:p>
            <a:pPr marL="682625" indent="-415925" eaLnBrk="0" hangingPunct="0">
              <a:spcBef>
                <a:spcPts val="1200"/>
              </a:spcBef>
            </a:pPr>
            <a:r>
              <a:rPr lang="en-US" sz="2000" b="1" dirty="0" smtClean="0">
                <a:latin typeface="TH SarabunPSK" pitchFamily="34" charset="-34"/>
                <a:cs typeface="TH SarabunPSK" pitchFamily="34" charset="-34"/>
              </a:rPr>
              <a:t>5.3</a:t>
            </a:r>
            <a:r>
              <a:rPr lang="en-US" sz="2000" b="1" dirty="0">
                <a:latin typeface="TH SarabunPSK" pitchFamily="34" charset="-34"/>
                <a:cs typeface="TH SarabunPSK" pitchFamily="34" charset="-34"/>
              </a:rPr>
              <a:t>	</a:t>
            </a:r>
            <a:r>
              <a:rPr lang="th-TH" sz="2000" b="1" dirty="0">
                <a:latin typeface="TH SarabunPSK" pitchFamily="34" charset="-34"/>
                <a:cs typeface="TH SarabunPSK" pitchFamily="34" charset="-34"/>
              </a:rPr>
              <a:t>ส่งเสริมกิจกรรมสนับสนุนการขยายเครือข่ายของผู้</a:t>
            </a:r>
            <a:r>
              <a:rPr lang="th-TH" sz="2000" b="1" dirty="0" smtClean="0">
                <a:latin typeface="TH SarabunPSK" pitchFamily="34" charset="-34"/>
                <a:cs typeface="TH SarabunPSK" pitchFamily="34" charset="-34"/>
              </a:rPr>
              <a:t>ให้บริการโล</a:t>
            </a:r>
            <a:r>
              <a:rPr lang="th-TH" sz="2000" b="1" dirty="0">
                <a:latin typeface="TH SarabunPSK" pitchFamily="34" charset="-34"/>
                <a:cs typeface="TH SarabunPSK" pitchFamily="34" charset="-34"/>
              </a:rPr>
              <a:t>จิสติกส์ไทย (</a:t>
            </a:r>
            <a:r>
              <a:rPr lang="en-US" sz="2000" b="1" dirty="0">
                <a:latin typeface="TH SarabunPSK" pitchFamily="34" charset="-34"/>
                <a:cs typeface="TH SarabunPSK" pitchFamily="34" charset="-34"/>
              </a:rPr>
              <a:t>LSPs) </a:t>
            </a:r>
            <a:endParaRPr lang="th-TH" sz="2000" dirty="0">
              <a:latin typeface="TH SarabunPSK" pitchFamily="34" charset="-34"/>
              <a:cs typeface="TH SarabunPSK" pitchFamily="34" charset="-34"/>
            </a:endParaRPr>
          </a:p>
        </p:txBody>
      </p:sp>
      <p:pic>
        <p:nvPicPr>
          <p:cNvPr id="175105" name="Picture 1"/>
          <p:cNvPicPr>
            <a:picLocks noChangeAspect="1" noChangeArrowheads="1"/>
          </p:cNvPicPr>
          <p:nvPr/>
        </p:nvPicPr>
        <p:blipFill>
          <a:blip r:embed="rId2" cstate="print"/>
          <a:srcRect l="7792" r="12987"/>
          <a:stretch>
            <a:fillRect/>
          </a:stretch>
        </p:blipFill>
        <p:spPr bwMode="auto">
          <a:xfrm>
            <a:off x="4925892" y="862473"/>
            <a:ext cx="4038599" cy="4042336"/>
          </a:xfrm>
          <a:prstGeom prst="roundRect">
            <a:avLst>
              <a:gd name="adj" fmla="val 8594"/>
            </a:avLst>
          </a:prstGeom>
          <a:solidFill>
            <a:srgbClr val="FFFFFF">
              <a:shade val="85000"/>
            </a:srgbClr>
          </a:solidFill>
          <a:ln>
            <a:noFill/>
          </a:ln>
          <a:effectLst/>
        </p:spPr>
      </p:pic>
      <p:graphicFrame>
        <p:nvGraphicFramePr>
          <p:cNvPr id="5" name="Table 4"/>
          <p:cNvGraphicFramePr>
            <a:graphicFrameLocks noGrp="1"/>
          </p:cNvGraphicFramePr>
          <p:nvPr>
            <p:extLst>
              <p:ext uri="{D42A27DB-BD31-4B8C-83A1-F6EECF244321}">
                <p14:modId xmlns:p14="http://schemas.microsoft.com/office/powerpoint/2010/main" xmlns="" val="2801842831"/>
              </p:ext>
            </p:extLst>
          </p:nvPr>
        </p:nvGraphicFramePr>
        <p:xfrm>
          <a:off x="1588" y="1"/>
          <a:ext cx="9144000" cy="739070"/>
        </p:xfrm>
        <a:graphic>
          <a:graphicData uri="http://schemas.openxmlformats.org/drawingml/2006/table">
            <a:tbl>
              <a:tblPr firstRow="1" bandRow="1">
                <a:tableStyleId>{5C22544A-7EE6-4342-B048-85BDC9FD1C3A}</a:tableStyleId>
              </a:tblPr>
              <a:tblGrid>
                <a:gridCol w="1828800"/>
                <a:gridCol w="7315200"/>
              </a:tblGrid>
              <a:tr h="739070">
                <a:tc>
                  <a:txBody>
                    <a:bodyPr/>
                    <a:lstStyle/>
                    <a:p>
                      <a:pPr algn="r"/>
                      <a:r>
                        <a:rPr lang="th-TH" sz="2200" b="1" dirty="0" smtClean="0">
                          <a:solidFill>
                            <a:schemeClr val="bg1"/>
                          </a:solidFill>
                          <a:latin typeface="TH SarabunPSK" pitchFamily="34" charset="-34"/>
                          <a:cs typeface="TH SarabunPSK" pitchFamily="34" charset="-34"/>
                        </a:rPr>
                        <a:t>ประเด็น</a:t>
                      </a:r>
                      <a:br>
                        <a:rPr lang="th-TH" sz="2200" b="1" dirty="0" smtClean="0">
                          <a:solidFill>
                            <a:schemeClr val="bg1"/>
                          </a:solidFill>
                          <a:latin typeface="TH SarabunPSK" pitchFamily="34" charset="-34"/>
                          <a:cs typeface="TH SarabunPSK" pitchFamily="34" charset="-34"/>
                        </a:rPr>
                      </a:br>
                      <a:r>
                        <a:rPr lang="th-TH" sz="2200" b="1" dirty="0" smtClean="0">
                          <a:solidFill>
                            <a:schemeClr val="bg1"/>
                          </a:solidFill>
                          <a:latin typeface="TH SarabunPSK" pitchFamily="34" charset="-34"/>
                          <a:cs typeface="TH SarabunPSK" pitchFamily="34" charset="-34"/>
                        </a:rPr>
                        <a:t>ยุทธศาสตร์ที่ </a:t>
                      </a:r>
                      <a:r>
                        <a:rPr lang="en-US" sz="2200" b="1" dirty="0" smtClean="0">
                          <a:solidFill>
                            <a:schemeClr val="bg1"/>
                          </a:solidFill>
                          <a:latin typeface="TH SarabunPSK" pitchFamily="34" charset="-34"/>
                          <a:cs typeface="TH SarabunPSK" pitchFamily="34" charset="-34"/>
                        </a:rPr>
                        <a:t>5</a:t>
                      </a:r>
                      <a:endParaRPr lang="th-TH" sz="2200" dirty="0">
                        <a:solidFill>
                          <a:schemeClr val="bg1"/>
                        </a:solidFill>
                        <a:latin typeface="TH SarabunPSK" pitchFamily="34" charset="-34"/>
                        <a:cs typeface="TH SarabunPSK" pitchFamily="34" charset="-34"/>
                      </a:endParaRPr>
                    </a:p>
                  </a:txBody>
                  <a:tcPr marT="34255" marB="34255"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1">
                        <a:lumMod val="50000"/>
                      </a:schemeClr>
                    </a:solidFill>
                  </a:tcPr>
                </a:tc>
                <a:tc>
                  <a:txBody>
                    <a:bodyPr/>
                    <a:lstStyle/>
                    <a:p>
                      <a:pPr marL="171450" marR="0" indent="0" algn="l" defTabSz="914400" rtl="0" eaLnBrk="1" fontAlgn="auto" latinLnBrk="0" hangingPunct="1">
                        <a:lnSpc>
                          <a:spcPct val="100000"/>
                        </a:lnSpc>
                        <a:spcBef>
                          <a:spcPts val="0"/>
                        </a:spcBef>
                        <a:spcAft>
                          <a:spcPts val="0"/>
                        </a:spcAft>
                        <a:buClrTx/>
                        <a:buSzTx/>
                        <a:buFont typeface="+mj-lt"/>
                        <a:buNone/>
                        <a:tabLst/>
                        <a:defRPr/>
                      </a:pPr>
                      <a:r>
                        <a:rPr lang="th-TH" sz="2200" b="1" dirty="0" smtClean="0">
                          <a:latin typeface="TH SarabunPSK" pitchFamily="34" charset="-34"/>
                          <a:cs typeface="TH SarabunPSK" pitchFamily="34" charset="-34"/>
                        </a:rPr>
                        <a:t>ส่งเสริมการพัฒนาบริการและขยายเครือข่ายของผู้ให้บริการโลจิสติกส์</a:t>
                      </a:r>
                    </a:p>
                  </a:txBody>
                  <a:tcPr marT="34255" marB="34255"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0070C0"/>
                    </a:solidFill>
                  </a:tcPr>
                </a:tc>
              </a:tr>
            </a:tbl>
          </a:graphicData>
        </a:graphic>
      </p:graphicFrame>
    </p:spTree>
    <p:extLst>
      <p:ext uri="{BB962C8B-B14F-4D97-AF65-F5344CB8AC3E}">
        <p14:creationId xmlns:p14="http://schemas.microsoft.com/office/powerpoint/2010/main" xmlns="" val="1962470632"/>
      </p:ext>
    </p:extLst>
  </p:cSld>
  <p:clrMapOvr>
    <a:masterClrMapping/>
  </p:clrMapOvr>
  <p:transition spd="slow">
    <p:fade thruBlk="1"/>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AutoShape 8" descr="http://www.iconarchive.com/download/i2174/aha-soft/agriculture/Feeding-cattle.ico"/>
          <p:cNvSpPr>
            <a:spLocks noChangeAspect="1" noChangeArrowheads="1"/>
          </p:cNvSpPr>
          <p:nvPr/>
        </p:nvSpPr>
        <p:spPr bwMode="auto">
          <a:xfrm>
            <a:off x="190500" y="-212725"/>
            <a:ext cx="304800" cy="304800"/>
          </a:xfrm>
          <a:prstGeom prst="rect">
            <a:avLst/>
          </a:prstGeom>
          <a:noFill/>
          <a:extLst>
            <a:ext uri="{909E8E84-426E-40DD-AFC4-6F175D3DCCD1}">
              <a14:hiddenFill xmlns:a14="http://schemas.microsoft.com/office/drawing/2010/main" xmlns="">
                <a:solidFill>
                  <a:srgbClr val="FFFFFF"/>
                </a:solidFill>
              </a14:hiddenFill>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th-TH">
              <a:solidFill>
                <a:prstClr val="black"/>
              </a:solidFill>
              <a:latin typeface="Arial" charset="0"/>
            </a:endParaRPr>
          </a:p>
        </p:txBody>
      </p:sp>
      <p:sp>
        <p:nvSpPr>
          <p:cNvPr id="55" name="Rectangle 54"/>
          <p:cNvSpPr/>
          <p:nvPr/>
        </p:nvSpPr>
        <p:spPr>
          <a:xfrm>
            <a:off x="1403648" y="-60325"/>
            <a:ext cx="2304256" cy="523220"/>
          </a:xfrm>
          <a:prstGeom prst="rect">
            <a:avLst/>
          </a:prstGeom>
        </p:spPr>
        <p:txBody>
          <a:bodyPr wrap="square">
            <a:spAutoFit/>
          </a:bodyPr>
          <a:lstStyle/>
          <a:p>
            <a:r>
              <a:rPr lang="th-TH" sz="2800" b="1" dirty="0" smtClean="0">
                <a:latin typeface="TH SarabunPSK" pitchFamily="34" charset="-34"/>
                <a:ea typeface="Tahoma" pitchFamily="34" charset="0"/>
                <a:cs typeface="TH SarabunPSK" pitchFamily="34" charset="-34"/>
              </a:rPr>
              <a:t>แนว</a:t>
            </a:r>
            <a:r>
              <a:rPr lang="th-TH" sz="2800" b="1" dirty="0">
                <a:latin typeface="TH SarabunPSK" pitchFamily="34" charset="-34"/>
                <a:ea typeface="Tahoma" pitchFamily="34" charset="0"/>
                <a:cs typeface="TH SarabunPSK" pitchFamily="34" charset="-34"/>
              </a:rPr>
              <a:t>ทางการ</a:t>
            </a:r>
            <a:r>
              <a:rPr lang="th-TH" sz="2800" b="1" dirty="0" smtClean="0">
                <a:latin typeface="TH SarabunPSK" pitchFamily="34" charset="-34"/>
                <a:ea typeface="Tahoma" pitchFamily="34" charset="0"/>
                <a:cs typeface="TH SarabunPSK" pitchFamily="34" charset="-34"/>
              </a:rPr>
              <a:t>พัฒนา</a:t>
            </a:r>
            <a:endParaRPr lang="th-TH" sz="2800" b="1" dirty="0">
              <a:latin typeface="TH SarabunPSK" pitchFamily="34" charset="-34"/>
              <a:ea typeface="Tahoma" pitchFamily="34" charset="0"/>
              <a:cs typeface="TH SarabunPSK" pitchFamily="34" charset="-34"/>
            </a:endParaRPr>
          </a:p>
        </p:txBody>
      </p:sp>
      <p:sp>
        <p:nvSpPr>
          <p:cNvPr id="56" name="Rectangle 55"/>
          <p:cNvSpPr/>
          <p:nvPr/>
        </p:nvSpPr>
        <p:spPr>
          <a:xfrm>
            <a:off x="872867" y="423724"/>
            <a:ext cx="3267087" cy="133430"/>
          </a:xfrm>
          <a:prstGeom prst="rect">
            <a:avLst/>
          </a:prstGeom>
          <a:solidFill>
            <a:srgbClr val="F79646">
              <a:lumMod val="75000"/>
            </a:srgbClr>
          </a:solidFill>
          <a:ln w="25400" cap="flat" cmpd="sng" algn="ctr">
            <a:noFill/>
            <a:prstDash val="solid"/>
          </a:ln>
          <a:effectLst/>
        </p:spPr>
        <p:txBody>
          <a:bodyPr rtlCol="0" anchor="ctr"/>
          <a:lstStyle/>
          <a:p>
            <a:pPr algn="ctr"/>
            <a:endParaRPr lang="th-TH" sz="1800" kern="0">
              <a:solidFill>
                <a:prstClr val="white"/>
              </a:solidFill>
              <a:latin typeface="Calibri"/>
              <a:cs typeface="Cordia New"/>
            </a:endParaRPr>
          </a:p>
        </p:txBody>
      </p:sp>
      <p:sp>
        <p:nvSpPr>
          <p:cNvPr id="57" name="Rectangle 56"/>
          <p:cNvSpPr/>
          <p:nvPr/>
        </p:nvSpPr>
        <p:spPr>
          <a:xfrm>
            <a:off x="5214738" y="2643761"/>
            <a:ext cx="3173686" cy="2169825"/>
          </a:xfrm>
          <a:prstGeom prst="rect">
            <a:avLst/>
          </a:prstGeom>
        </p:spPr>
        <p:txBody>
          <a:bodyPr wrap="square">
            <a:spAutoFit/>
          </a:bodyPr>
          <a:lstStyle/>
          <a:p>
            <a:pPr marL="342900" indent="-342900" defTabSz="180975" fontAlgn="base">
              <a:spcBef>
                <a:spcPts val="600"/>
              </a:spcBef>
              <a:buFontTx/>
              <a:buAutoNum type="arabicPeriod"/>
            </a:pPr>
            <a:r>
              <a:rPr lang="th-TH" sz="2000" b="1" dirty="0" smtClean="0">
                <a:solidFill>
                  <a:schemeClr val="tx1">
                    <a:lumMod val="85000"/>
                    <a:lumOff val="15000"/>
                  </a:schemeClr>
                </a:solidFill>
                <a:latin typeface="TH SarabunPSK" pitchFamily="34" charset="-34"/>
                <a:cs typeface="TH SarabunPSK" pitchFamily="34" charset="-34"/>
              </a:rPr>
              <a:t>การพัฒนาโลจิสติสก์และโครงสร้างพื้นฐาน</a:t>
            </a:r>
            <a:endParaRPr lang="th-TH" sz="2000" b="1" dirty="0">
              <a:solidFill>
                <a:schemeClr val="tx1">
                  <a:lumMod val="85000"/>
                  <a:lumOff val="15000"/>
                </a:schemeClr>
              </a:solidFill>
              <a:latin typeface="TH SarabunPSK" pitchFamily="34" charset="-34"/>
              <a:cs typeface="TH SarabunPSK" pitchFamily="34" charset="-34"/>
            </a:endParaRPr>
          </a:p>
          <a:p>
            <a:pPr marL="342900" indent="-342900" defTabSz="180975" fontAlgn="base">
              <a:spcBef>
                <a:spcPts val="600"/>
              </a:spcBef>
              <a:buFontTx/>
              <a:buAutoNum type="arabicPeriod"/>
            </a:pPr>
            <a:r>
              <a:rPr lang="th-TH" sz="2000" b="1" dirty="0" smtClean="0">
                <a:solidFill>
                  <a:schemeClr val="tx1">
                    <a:lumMod val="85000"/>
                    <a:lumOff val="15000"/>
                  </a:schemeClr>
                </a:solidFill>
                <a:latin typeface="TH SarabunPSK" pitchFamily="34" charset="-34"/>
                <a:cs typeface="TH SarabunPSK" pitchFamily="34" charset="-34"/>
              </a:rPr>
              <a:t>เขตพัฒนาเศรษฐกิจพิเศษ</a:t>
            </a:r>
            <a:endParaRPr lang="th-TH" sz="2000" b="1" dirty="0">
              <a:solidFill>
                <a:schemeClr val="tx1">
                  <a:lumMod val="85000"/>
                  <a:lumOff val="15000"/>
                </a:schemeClr>
              </a:solidFill>
              <a:latin typeface="TH SarabunPSK" pitchFamily="34" charset="-34"/>
              <a:cs typeface="TH SarabunPSK" pitchFamily="34" charset="-34"/>
            </a:endParaRPr>
          </a:p>
          <a:p>
            <a:pPr marL="342900" indent="-342900" defTabSz="180975" fontAlgn="base">
              <a:spcBef>
                <a:spcPts val="600"/>
              </a:spcBef>
              <a:buFontTx/>
              <a:buAutoNum type="arabicPeriod"/>
            </a:pPr>
            <a:r>
              <a:rPr lang="th-TH" sz="2000" b="1" dirty="0" smtClean="0">
                <a:solidFill>
                  <a:schemeClr val="tx1">
                    <a:lumMod val="85000"/>
                    <a:lumOff val="15000"/>
                  </a:schemeClr>
                </a:solidFill>
                <a:latin typeface="TH SarabunPSK" pitchFamily="34" charset="-34"/>
                <a:cs typeface="TH SarabunPSK" pitchFamily="34" charset="-34"/>
              </a:rPr>
              <a:t>การเชื่อมโยงประเทศในภูมิภาค</a:t>
            </a:r>
          </a:p>
          <a:p>
            <a:pPr marL="342900" indent="-342900" defTabSz="180975" fontAlgn="base">
              <a:spcBef>
                <a:spcPts val="600"/>
              </a:spcBef>
              <a:buFontTx/>
              <a:buAutoNum type="arabicPeriod"/>
            </a:pPr>
            <a:r>
              <a:rPr lang="th-TH" sz="2000" b="1" dirty="0" smtClean="0">
                <a:solidFill>
                  <a:schemeClr val="tx1">
                    <a:lumMod val="85000"/>
                    <a:lumOff val="15000"/>
                  </a:schemeClr>
                </a:solidFill>
                <a:latin typeface="TH SarabunPSK" pitchFamily="34" charset="-34"/>
                <a:cs typeface="TH SarabunPSK" pitchFamily="34" charset="-34"/>
              </a:rPr>
              <a:t>การสนับสนุนการพัฒนาเขตเศรษฐกิจพิเศษทวาย</a:t>
            </a:r>
            <a:endParaRPr lang="th-TH" sz="2000" b="1" dirty="0">
              <a:solidFill>
                <a:schemeClr val="tx1">
                  <a:lumMod val="85000"/>
                  <a:lumOff val="15000"/>
                </a:schemeClr>
              </a:solidFill>
              <a:latin typeface="TH SarabunPSK" pitchFamily="34" charset="-34"/>
              <a:cs typeface="TH SarabunPSK" pitchFamily="34" charset="-34"/>
            </a:endParaRPr>
          </a:p>
        </p:txBody>
      </p:sp>
      <p:sp>
        <p:nvSpPr>
          <p:cNvPr id="81" name="Rectangle 80"/>
          <p:cNvSpPr/>
          <p:nvPr/>
        </p:nvSpPr>
        <p:spPr>
          <a:xfrm>
            <a:off x="5012946" y="443316"/>
            <a:ext cx="3375481" cy="112210"/>
          </a:xfrm>
          <a:prstGeom prst="rect">
            <a:avLst/>
          </a:prstGeom>
          <a:solidFill>
            <a:srgbClr val="92D050"/>
          </a:solidFill>
          <a:ln w="25400" cap="flat" cmpd="sng" algn="ctr">
            <a:noFill/>
            <a:prstDash val="solid"/>
          </a:ln>
          <a:effectLst/>
        </p:spPr>
        <p:txBody>
          <a:bodyPr rtlCol="0" anchor="ctr"/>
          <a:lstStyle/>
          <a:p>
            <a:pPr algn="ctr"/>
            <a:endParaRPr lang="th-TH" sz="1800" kern="0">
              <a:solidFill>
                <a:prstClr val="white"/>
              </a:solidFill>
              <a:latin typeface="Calibri"/>
              <a:cs typeface="Cordia New"/>
            </a:endParaRPr>
          </a:p>
        </p:txBody>
      </p:sp>
      <p:sp>
        <p:nvSpPr>
          <p:cNvPr id="83" name="Rectangle 82"/>
          <p:cNvSpPr/>
          <p:nvPr/>
        </p:nvSpPr>
        <p:spPr>
          <a:xfrm>
            <a:off x="5227431" y="-39702"/>
            <a:ext cx="3160997" cy="523220"/>
          </a:xfrm>
          <a:prstGeom prst="rect">
            <a:avLst/>
          </a:prstGeom>
        </p:spPr>
        <p:txBody>
          <a:bodyPr wrap="square">
            <a:spAutoFit/>
          </a:bodyPr>
          <a:lstStyle/>
          <a:p>
            <a:r>
              <a:rPr lang="th-TH" sz="2800" b="1" dirty="0" smtClean="0">
                <a:latin typeface="TH SarabunPSK" pitchFamily="34" charset="-34"/>
                <a:ea typeface="Tahoma" pitchFamily="34" charset="0"/>
                <a:cs typeface="TH SarabunPSK" pitchFamily="34" charset="-34"/>
              </a:rPr>
              <a:t>โครงการลงทุน/พัฒนา</a:t>
            </a:r>
            <a:r>
              <a:rPr lang="th-TH" sz="2800" b="1" dirty="0">
                <a:latin typeface="TH SarabunPSK" pitchFamily="34" charset="-34"/>
                <a:ea typeface="Tahoma" pitchFamily="34" charset="0"/>
                <a:cs typeface="TH SarabunPSK" pitchFamily="34" charset="-34"/>
              </a:rPr>
              <a:t>ที่สำคัญ</a:t>
            </a:r>
          </a:p>
        </p:txBody>
      </p:sp>
      <p:pic>
        <p:nvPicPr>
          <p:cNvPr id="9219" name="Picture 3"/>
          <p:cNvPicPr>
            <a:picLocks noChangeAspect="1" noChangeArrowheads="1"/>
          </p:cNvPicPr>
          <p:nvPr/>
        </p:nvPicPr>
        <p:blipFill>
          <a:blip r:embed="rId2">
            <a:extLst>
              <a:ext uri="{28A0092B-C50C-407E-A947-70E740481C1C}">
                <a14:useLocalDpi xmlns:a14="http://schemas.microsoft.com/office/drawing/2010/main" xmlns="" val="0"/>
              </a:ext>
            </a:extLst>
          </a:blip>
          <a:srcRect/>
          <a:stretch>
            <a:fillRect/>
          </a:stretch>
        </p:blipFill>
        <p:spPr bwMode="auto">
          <a:xfrm>
            <a:off x="107504" y="778279"/>
            <a:ext cx="4916392" cy="4362972"/>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pic>
        <p:nvPicPr>
          <p:cNvPr id="240" name="Picture 2"/>
          <p:cNvPicPr preferRelativeResize="0">
            <a:picLocks noChangeArrowheads="1"/>
          </p:cNvPicPr>
          <p:nvPr/>
        </p:nvPicPr>
        <p:blipFill>
          <a:blip r:embed="rId3" cstate="print">
            <a:extLst>
              <a:ext uri="{28A0092B-C50C-407E-A947-70E740481C1C}">
                <a14:useLocalDpi xmlns:a14="http://schemas.microsoft.com/office/drawing/2010/main" xmlns=""/>
              </a:ext>
            </a:extLst>
          </a:blip>
          <a:srcRect/>
          <a:stretch>
            <a:fillRect/>
          </a:stretch>
        </p:blipFill>
        <p:spPr bwMode="auto">
          <a:xfrm>
            <a:off x="6708013" y="1585059"/>
            <a:ext cx="1548000" cy="900000"/>
          </a:xfrm>
          <a:prstGeom prst="rect">
            <a:avLst/>
          </a:prstGeom>
          <a:noFill/>
          <a:effectLst>
            <a:softEdge rad="63500"/>
          </a:effectLst>
          <a:extLst>
            <a:ext uri="{91240B29-F687-4F45-9708-019B960494DF}">
              <a14:hiddenLine xmlns:a14="http://schemas.microsoft.com/office/drawing/2010/main" xmlns="" w="9525">
                <a:solidFill>
                  <a:srgbClr val="000000"/>
                </a:solidFill>
                <a:miter lim="800000"/>
                <a:headEnd/>
                <a:tailEnd/>
              </a14:hiddenLine>
            </a:ext>
          </a:extLst>
        </p:spPr>
      </p:pic>
      <p:pic>
        <p:nvPicPr>
          <p:cNvPr id="241" name="Picture 6" descr="C:\Users\Toshiba\Documents\งาน สศม\งานเตรียม Powerpoint\รูปสำหรับ Powerpoint\download (20).jpg"/>
          <p:cNvPicPr preferRelativeResize="0">
            <a:picLocks noChangeArrowheads="1"/>
          </p:cNvPicPr>
          <p:nvPr/>
        </p:nvPicPr>
        <p:blipFill>
          <a:blip r:embed="rId4" cstate="print">
            <a:extLst>
              <a:ext uri="{28A0092B-C50C-407E-A947-70E740481C1C}">
                <a14:useLocalDpi xmlns:a14="http://schemas.microsoft.com/office/drawing/2010/main" xmlns="" val="0"/>
              </a:ext>
            </a:extLst>
          </a:blip>
          <a:srcRect/>
          <a:stretch>
            <a:fillRect/>
          </a:stretch>
        </p:blipFill>
        <p:spPr bwMode="auto">
          <a:xfrm>
            <a:off x="5150045" y="1599742"/>
            <a:ext cx="1548000" cy="900000"/>
          </a:xfrm>
          <a:prstGeom prst="rect">
            <a:avLst/>
          </a:prstGeom>
          <a:noFill/>
          <a:effectLst>
            <a:softEdge rad="63500"/>
          </a:effectLst>
          <a:extLst>
            <a:ext uri="{909E8E84-426E-40DD-AFC4-6F175D3DCCD1}">
              <a14:hiddenFill xmlns:a14="http://schemas.microsoft.com/office/drawing/2010/main" xmlns="">
                <a:solidFill>
                  <a:srgbClr val="FFFFFF"/>
                </a:solidFill>
              </a14:hiddenFill>
            </a:ext>
          </a:extLst>
        </p:spPr>
      </p:pic>
      <p:pic>
        <p:nvPicPr>
          <p:cNvPr id="242" name="Picture 3"/>
          <p:cNvPicPr preferRelativeResize="0">
            <a:picLocks noChangeArrowheads="1"/>
          </p:cNvPicPr>
          <p:nvPr/>
        </p:nvPicPr>
        <p:blipFill rotWithShape="1">
          <a:blip r:embed="rId5" cstate="print"/>
          <a:srcRect l="43635" t="31811" r="2499" b="43137"/>
          <a:stretch/>
        </p:blipFill>
        <p:spPr bwMode="auto">
          <a:xfrm>
            <a:off x="6708013" y="677147"/>
            <a:ext cx="1548000" cy="900000"/>
          </a:xfrm>
          <a:prstGeom prst="rect">
            <a:avLst/>
          </a:prstGeom>
          <a:noFill/>
          <a:effectLst>
            <a:softEdge rad="63500"/>
          </a:effectLst>
        </p:spPr>
      </p:pic>
      <p:pic>
        <p:nvPicPr>
          <p:cNvPr id="243" name="Picture 5"/>
          <p:cNvPicPr preferRelativeResize="0">
            <a:picLocks noChangeArrowheads="1"/>
          </p:cNvPicPr>
          <p:nvPr/>
        </p:nvPicPr>
        <p:blipFill>
          <a:blip r:embed="rId6" cstate="print">
            <a:extLst>
              <a:ext uri="{28A0092B-C50C-407E-A947-70E740481C1C}">
                <a14:useLocalDpi xmlns:a14="http://schemas.microsoft.com/office/drawing/2010/main" xmlns="" val="0"/>
              </a:ext>
            </a:extLst>
          </a:blip>
          <a:srcRect/>
          <a:stretch>
            <a:fillRect/>
          </a:stretch>
        </p:blipFill>
        <p:spPr bwMode="auto">
          <a:xfrm>
            <a:off x="5148064" y="677147"/>
            <a:ext cx="1548000" cy="900000"/>
          </a:xfrm>
          <a:prstGeom prst="rect">
            <a:avLst/>
          </a:prstGeom>
          <a:noFill/>
          <a:effectLst>
            <a:softEdge rad="63500"/>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Tree>
    <p:extLst>
      <p:ext uri="{BB962C8B-B14F-4D97-AF65-F5344CB8AC3E}">
        <p14:creationId xmlns:p14="http://schemas.microsoft.com/office/powerpoint/2010/main" xmlns="" val="3104712687"/>
      </p:ext>
    </p:extLst>
  </p:cSld>
  <p:clrMapOvr>
    <a:masterClrMapping/>
  </p:clrMapOvr>
  <p:transition>
    <p:fade thruBlk="1"/>
  </p:transition>
  <p:timing>
    <p:tnLst>
      <p:par>
        <p:cTn id="1" dur="indefinite" restart="never" nodeType="tmRoot"/>
      </p:par>
    </p:tnLst>
  </p:timing>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0" name="Title 1"/>
          <p:cNvSpPr>
            <a:spLocks noGrp="1"/>
          </p:cNvSpPr>
          <p:nvPr>
            <p:ph type="title"/>
          </p:nvPr>
        </p:nvSpPr>
        <p:spPr>
          <a:xfrm>
            <a:off x="0" y="545232"/>
            <a:ext cx="9144000" cy="370334"/>
          </a:xfrm>
          <a:solidFill>
            <a:schemeClr val="tx2">
              <a:lumMod val="40000"/>
              <a:lumOff val="60000"/>
            </a:schemeClr>
          </a:solidFill>
        </p:spPr>
        <p:txBody>
          <a:bodyPr>
            <a:noAutofit/>
          </a:bodyPr>
          <a:lstStyle/>
          <a:p>
            <a:pPr algn="ctr" eaLnBrk="1" hangingPunct="1"/>
            <a:r>
              <a:rPr lang="en-US" sz="2800" b="1" dirty="0" smtClean="0">
                <a:solidFill>
                  <a:srgbClr val="002060"/>
                </a:solidFill>
                <a:latin typeface="TH SarabunPSK" pitchFamily="34" charset="-34"/>
                <a:cs typeface="TH SarabunPSK" pitchFamily="34" charset="-34"/>
              </a:rPr>
              <a:t>3 </a:t>
            </a:r>
            <a:r>
              <a:rPr lang="th-TH" sz="2800" b="1" dirty="0" smtClean="0">
                <a:solidFill>
                  <a:srgbClr val="002060"/>
                </a:solidFill>
                <a:latin typeface="TH SarabunPSK" pitchFamily="34" charset="-34"/>
                <a:cs typeface="TH SarabunPSK" pitchFamily="34" charset="-34"/>
              </a:rPr>
              <a:t>ภารกิจ และ</a:t>
            </a:r>
            <a:r>
              <a:rPr lang="en-US" sz="2800" b="1" dirty="0" smtClean="0">
                <a:solidFill>
                  <a:srgbClr val="002060"/>
                </a:solidFill>
                <a:latin typeface="TH SarabunPSK" pitchFamily="34" charset="-34"/>
                <a:cs typeface="TH SarabunPSK" pitchFamily="34" charset="-34"/>
              </a:rPr>
              <a:t> 7 </a:t>
            </a:r>
            <a:r>
              <a:rPr lang="th-TH" sz="2800" b="1" dirty="0" smtClean="0">
                <a:solidFill>
                  <a:srgbClr val="002060"/>
                </a:solidFill>
                <a:latin typeface="TH SarabunPSK" pitchFamily="34" charset="-34"/>
                <a:cs typeface="TH SarabunPSK" pitchFamily="34" charset="-34"/>
              </a:rPr>
              <a:t>ประเด็นยุทธศาสตร์</a:t>
            </a:r>
          </a:p>
        </p:txBody>
      </p:sp>
      <p:sp>
        <p:nvSpPr>
          <p:cNvPr id="5" name="Right Arrow 4"/>
          <p:cNvSpPr/>
          <p:nvPr/>
        </p:nvSpPr>
        <p:spPr>
          <a:xfrm>
            <a:off x="395536" y="1081825"/>
            <a:ext cx="2119312" cy="898683"/>
          </a:xfrm>
          <a:prstGeom prst="rightArrow">
            <a:avLst>
              <a:gd name="adj1" fmla="val 71053"/>
              <a:gd name="adj2" fmla="val 50000"/>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a:lnSpc>
                <a:spcPts val="1900"/>
              </a:lnSpc>
              <a:defRPr/>
            </a:pPr>
            <a:r>
              <a:rPr lang="en-US" sz="2000" b="1" dirty="0">
                <a:latin typeface="TH SarabunPSK" pitchFamily="34" charset="-34"/>
                <a:cs typeface="TH SarabunPSK" pitchFamily="34" charset="-34"/>
              </a:rPr>
              <a:t>Supply chain enhancement</a:t>
            </a:r>
            <a:endParaRPr lang="th-TH" sz="2000" b="1" dirty="0">
              <a:latin typeface="TH SarabunPSK" pitchFamily="34" charset="-34"/>
              <a:cs typeface="TH SarabunPSK" pitchFamily="34" charset="-34"/>
            </a:endParaRPr>
          </a:p>
        </p:txBody>
      </p:sp>
      <p:sp>
        <p:nvSpPr>
          <p:cNvPr id="7" name="Right Arrow 6"/>
          <p:cNvSpPr/>
          <p:nvPr/>
        </p:nvSpPr>
        <p:spPr>
          <a:xfrm>
            <a:off x="395536" y="2453425"/>
            <a:ext cx="2119312" cy="898683"/>
          </a:xfrm>
          <a:prstGeom prst="rightArrow">
            <a:avLst>
              <a:gd name="adj1" fmla="val 71053"/>
              <a:gd name="adj2" fmla="val 50000"/>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a:lnSpc>
                <a:spcPts val="1900"/>
              </a:lnSpc>
              <a:defRPr/>
            </a:pPr>
            <a:r>
              <a:rPr lang="en-US" sz="2000" b="1" dirty="0">
                <a:latin typeface="TH SarabunPSK" pitchFamily="34" charset="-34"/>
                <a:cs typeface="TH SarabunPSK" pitchFamily="34" charset="-34"/>
              </a:rPr>
              <a:t>Trade facilitation enhancement</a:t>
            </a:r>
            <a:endParaRPr lang="th-TH" sz="2000" b="1" dirty="0">
              <a:latin typeface="TH SarabunPSK" pitchFamily="34" charset="-34"/>
              <a:cs typeface="TH SarabunPSK" pitchFamily="34" charset="-34"/>
            </a:endParaRPr>
          </a:p>
        </p:txBody>
      </p:sp>
      <p:sp>
        <p:nvSpPr>
          <p:cNvPr id="8" name="Right Arrow 7"/>
          <p:cNvSpPr/>
          <p:nvPr/>
        </p:nvSpPr>
        <p:spPr>
          <a:xfrm>
            <a:off x="395536" y="3825025"/>
            <a:ext cx="2119312" cy="898683"/>
          </a:xfrm>
          <a:prstGeom prst="rightArrow">
            <a:avLst>
              <a:gd name="adj1" fmla="val 71053"/>
              <a:gd name="adj2" fmla="val 50000"/>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nchor="ctr"/>
          <a:lstStyle/>
          <a:p>
            <a:pPr algn="ctr">
              <a:lnSpc>
                <a:spcPts val="1900"/>
              </a:lnSpc>
              <a:defRPr/>
            </a:pPr>
            <a:r>
              <a:rPr lang="en-US" sz="2000" b="1" dirty="0">
                <a:latin typeface="TH SarabunPSK" pitchFamily="34" charset="-34"/>
                <a:cs typeface="TH SarabunPSK" pitchFamily="34" charset="-34"/>
              </a:rPr>
              <a:t>Capacity building and Policy driving factors</a:t>
            </a:r>
          </a:p>
        </p:txBody>
      </p:sp>
      <p:sp>
        <p:nvSpPr>
          <p:cNvPr id="9" name="Rectangle 8"/>
          <p:cNvSpPr/>
          <p:nvPr/>
        </p:nvSpPr>
        <p:spPr>
          <a:xfrm>
            <a:off x="2681559" y="1110324"/>
            <a:ext cx="6084001" cy="421200"/>
          </a:xfrm>
          <a:prstGeom prst="rect">
            <a:avLst/>
          </a:prstGeom>
          <a:solidFill>
            <a:srgbClr val="FFFF99"/>
          </a:solid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171450" indent="-171450">
              <a:lnSpc>
                <a:spcPts val="1800"/>
              </a:lnSpc>
              <a:defRPr/>
            </a:pPr>
            <a:r>
              <a:rPr lang="en-US" sz="2000" b="1" dirty="0">
                <a:solidFill>
                  <a:srgbClr val="0033CC"/>
                </a:solidFill>
                <a:latin typeface="TH SarabunPSK" pitchFamily="34" charset="-34"/>
                <a:cs typeface="TH SarabunPSK" pitchFamily="34" charset="-34"/>
              </a:rPr>
              <a:t>1</a:t>
            </a:r>
            <a:r>
              <a:rPr lang="en-US" sz="2000" b="1" dirty="0">
                <a:solidFill>
                  <a:schemeClr val="tx1"/>
                </a:solidFill>
                <a:latin typeface="TH SarabunPSK" pitchFamily="34" charset="-34"/>
                <a:cs typeface="TH SarabunPSK" pitchFamily="34" charset="-34"/>
              </a:rPr>
              <a:t>.</a:t>
            </a:r>
            <a:r>
              <a:rPr lang="th-TH" sz="2000" b="1" dirty="0">
                <a:solidFill>
                  <a:schemeClr val="tx1"/>
                </a:solidFill>
                <a:latin typeface="TH SarabunPSK" pitchFamily="34" charset="-34"/>
                <a:cs typeface="TH SarabunPSK" pitchFamily="34" charset="-34"/>
              </a:rPr>
              <a:t> เพิ่มขีดความสามารถในการบริหารจัดการโซ่อุปทาน</a:t>
            </a:r>
            <a:endParaRPr lang="th-TH" sz="2000" b="1" dirty="0">
              <a:solidFill>
                <a:srgbClr val="000066"/>
              </a:solidFill>
              <a:latin typeface="TH SarabunPSK" pitchFamily="34" charset="-34"/>
              <a:cs typeface="TH SarabunPSK" pitchFamily="34" charset="-34"/>
            </a:endParaRPr>
          </a:p>
        </p:txBody>
      </p:sp>
      <p:sp>
        <p:nvSpPr>
          <p:cNvPr id="10" name="Rectangle 9"/>
          <p:cNvSpPr/>
          <p:nvPr/>
        </p:nvSpPr>
        <p:spPr>
          <a:xfrm>
            <a:off x="2681559" y="1588173"/>
            <a:ext cx="6084001" cy="421200"/>
          </a:xfrm>
          <a:prstGeom prst="rect">
            <a:avLst/>
          </a:prstGeom>
          <a:solidFill>
            <a:srgbClr val="FFFF99"/>
          </a:solid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176213" indent="-176213">
              <a:lnSpc>
                <a:spcPts val="1800"/>
              </a:lnSpc>
              <a:defRPr/>
            </a:pPr>
            <a:r>
              <a:rPr lang="en-US" sz="2000" b="1" dirty="0">
                <a:solidFill>
                  <a:srgbClr val="0033CC"/>
                </a:solidFill>
                <a:latin typeface="TH SarabunPSK" pitchFamily="34" charset="-34"/>
                <a:cs typeface="TH SarabunPSK" pitchFamily="34" charset="-34"/>
              </a:rPr>
              <a:t>2.</a:t>
            </a:r>
            <a:r>
              <a:rPr lang="th-TH" sz="2000" b="1" dirty="0">
                <a:solidFill>
                  <a:srgbClr val="0033CC"/>
                </a:solidFill>
                <a:latin typeface="TH SarabunPSK" pitchFamily="34" charset="-34"/>
                <a:cs typeface="TH SarabunPSK" pitchFamily="34" charset="-34"/>
              </a:rPr>
              <a:t> </a:t>
            </a:r>
            <a:r>
              <a:rPr lang="th-TH" sz="2000" b="1" dirty="0">
                <a:solidFill>
                  <a:srgbClr val="002060"/>
                </a:solidFill>
                <a:latin typeface="TH SarabunPSK" pitchFamily="34" charset="-34"/>
                <a:cs typeface="TH SarabunPSK" pitchFamily="34" charset="-34"/>
              </a:rPr>
              <a:t>ส่งเสริมธุรกิจการค้าและบริการในพื้นที่เมืองชายแดน </a:t>
            </a:r>
            <a:endParaRPr lang="th-TH" sz="2000" b="1" dirty="0">
              <a:solidFill>
                <a:srgbClr val="000066"/>
              </a:solidFill>
              <a:latin typeface="TH SarabunPSK" pitchFamily="34" charset="-34"/>
              <a:cs typeface="TH SarabunPSK" pitchFamily="34" charset="-34"/>
            </a:endParaRPr>
          </a:p>
        </p:txBody>
      </p:sp>
      <p:sp>
        <p:nvSpPr>
          <p:cNvPr id="12" name="Rectangle 11"/>
          <p:cNvSpPr/>
          <p:nvPr/>
        </p:nvSpPr>
        <p:spPr>
          <a:xfrm>
            <a:off x="2681559" y="2179689"/>
            <a:ext cx="6084001" cy="421200"/>
          </a:xfrm>
          <a:prstGeom prst="rect">
            <a:avLst/>
          </a:prstGeom>
          <a:no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r>
              <a:rPr lang="en-US" sz="2000" b="1" dirty="0">
                <a:solidFill>
                  <a:srgbClr val="0033CC"/>
                </a:solidFill>
                <a:latin typeface="TH SarabunPSK" pitchFamily="34" charset="-34"/>
                <a:cs typeface="TH SarabunPSK" pitchFamily="34" charset="-34"/>
              </a:rPr>
              <a:t>3</a:t>
            </a:r>
            <a:r>
              <a:rPr lang="en-US" sz="2000" b="1" dirty="0" smtClean="0">
                <a:solidFill>
                  <a:srgbClr val="0033CC"/>
                </a:solidFill>
                <a:latin typeface="TH SarabunPSK" pitchFamily="34" charset="-34"/>
                <a:cs typeface="TH SarabunPSK" pitchFamily="34" charset="-34"/>
              </a:rPr>
              <a:t>.</a:t>
            </a:r>
            <a:r>
              <a:rPr lang="th-TH" sz="2000" b="1" dirty="0" smtClean="0">
                <a:solidFill>
                  <a:srgbClr val="0033CC"/>
                </a:solidFill>
                <a:latin typeface="TH SarabunPSK" pitchFamily="34" charset="-34"/>
                <a:cs typeface="TH SarabunPSK" pitchFamily="34" charset="-34"/>
              </a:rPr>
              <a:t> </a:t>
            </a:r>
            <a:r>
              <a:rPr lang="th-TH" sz="2000" b="1" dirty="0">
                <a:solidFill>
                  <a:srgbClr val="0033CC"/>
                </a:solidFill>
                <a:latin typeface="TH SarabunPSK" pitchFamily="34" charset="-34"/>
                <a:cs typeface="TH SarabunPSK" pitchFamily="34" charset="-34"/>
              </a:rPr>
              <a:t>พัฒนาบริการขนส่งและเครือข่ายโลจิสติกส์ตามเส้นทางยุทธศาสตร์ </a:t>
            </a:r>
          </a:p>
        </p:txBody>
      </p:sp>
      <p:sp>
        <p:nvSpPr>
          <p:cNvPr id="13" name="Rectangle 12"/>
          <p:cNvSpPr/>
          <p:nvPr/>
        </p:nvSpPr>
        <p:spPr>
          <a:xfrm>
            <a:off x="2681559" y="2660419"/>
            <a:ext cx="6084001" cy="421200"/>
          </a:xfrm>
          <a:prstGeom prst="rect">
            <a:avLst/>
          </a:prstGeom>
          <a:no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indent="-514350">
              <a:spcBef>
                <a:spcPct val="20000"/>
              </a:spcBef>
              <a:defRPr/>
            </a:pPr>
            <a:r>
              <a:rPr lang="en-US" sz="2000" b="1" dirty="0">
                <a:solidFill>
                  <a:srgbClr val="0033CC"/>
                </a:solidFill>
                <a:latin typeface="TH SarabunPSK" pitchFamily="34" charset="-34"/>
                <a:cs typeface="TH SarabunPSK" pitchFamily="34" charset="-34"/>
              </a:rPr>
              <a:t>4</a:t>
            </a:r>
            <a:r>
              <a:rPr lang="en-US" sz="2000" b="1" dirty="0" smtClean="0">
                <a:solidFill>
                  <a:srgbClr val="0033CC"/>
                </a:solidFill>
                <a:latin typeface="TH SarabunPSK" pitchFamily="34" charset="-34"/>
                <a:cs typeface="TH SarabunPSK" pitchFamily="34" charset="-34"/>
              </a:rPr>
              <a:t>.</a:t>
            </a:r>
            <a:r>
              <a:rPr lang="th-TH" sz="2000" b="1" dirty="0" smtClean="0">
                <a:solidFill>
                  <a:srgbClr val="0033CC"/>
                </a:solidFill>
                <a:latin typeface="TH SarabunPSK" pitchFamily="34" charset="-34"/>
                <a:cs typeface="TH SarabunPSK" pitchFamily="34" charset="-34"/>
              </a:rPr>
              <a:t> </a:t>
            </a:r>
            <a:r>
              <a:rPr lang="th-TH" sz="2000" b="1" dirty="0">
                <a:solidFill>
                  <a:srgbClr val="0033CC"/>
                </a:solidFill>
                <a:latin typeface="TH SarabunPSK" pitchFamily="34" charset="-34"/>
                <a:cs typeface="TH SarabunPSK" pitchFamily="34" charset="-34"/>
              </a:rPr>
              <a:t>พัฒนาระบบอำนวยความสะดวกทางการค้า </a:t>
            </a:r>
            <a:endParaRPr lang="en-US" sz="2000" b="1" dirty="0">
              <a:solidFill>
                <a:srgbClr val="0033CC"/>
              </a:solidFill>
              <a:latin typeface="TH SarabunPSK" pitchFamily="34" charset="-34"/>
              <a:cs typeface="TH SarabunPSK" pitchFamily="34" charset="-34"/>
            </a:endParaRPr>
          </a:p>
        </p:txBody>
      </p:sp>
      <p:sp>
        <p:nvSpPr>
          <p:cNvPr id="14" name="Rectangle 13"/>
          <p:cNvSpPr/>
          <p:nvPr/>
        </p:nvSpPr>
        <p:spPr>
          <a:xfrm>
            <a:off x="2681559" y="3153619"/>
            <a:ext cx="6084000" cy="421200"/>
          </a:xfrm>
          <a:prstGeom prst="rect">
            <a:avLst/>
          </a:prstGeom>
          <a:no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indent="-514350">
              <a:spcBef>
                <a:spcPct val="20000"/>
              </a:spcBef>
              <a:defRPr/>
            </a:pPr>
            <a:r>
              <a:rPr lang="en-US" sz="2000" b="1" dirty="0">
                <a:solidFill>
                  <a:srgbClr val="0033CC"/>
                </a:solidFill>
                <a:latin typeface="TH SarabunPSK" pitchFamily="34" charset="-34"/>
                <a:cs typeface="TH SarabunPSK" pitchFamily="34" charset="-34"/>
              </a:rPr>
              <a:t>5</a:t>
            </a:r>
            <a:r>
              <a:rPr lang="en-US" sz="2000" b="1" dirty="0" smtClean="0">
                <a:solidFill>
                  <a:srgbClr val="0033CC"/>
                </a:solidFill>
                <a:latin typeface="TH SarabunPSK" pitchFamily="34" charset="-34"/>
                <a:cs typeface="TH SarabunPSK" pitchFamily="34" charset="-34"/>
              </a:rPr>
              <a:t>.</a:t>
            </a:r>
            <a:r>
              <a:rPr lang="th-TH" sz="2000" b="1" dirty="0" smtClean="0">
                <a:solidFill>
                  <a:srgbClr val="0033CC"/>
                </a:solidFill>
                <a:latin typeface="TH SarabunPSK" pitchFamily="34" charset="-34"/>
                <a:cs typeface="TH SarabunPSK" pitchFamily="34" charset="-34"/>
              </a:rPr>
              <a:t> </a:t>
            </a:r>
            <a:r>
              <a:rPr lang="th-TH" sz="2000" b="1" dirty="0">
                <a:solidFill>
                  <a:srgbClr val="0033CC"/>
                </a:solidFill>
                <a:latin typeface="TH SarabunPSK" pitchFamily="34" charset="-34"/>
                <a:cs typeface="TH SarabunPSK" pitchFamily="34" charset="-34"/>
              </a:rPr>
              <a:t>ส่งเสริมการพัฒนาบริการและขยายเครือข่ายของผู้</a:t>
            </a:r>
            <a:r>
              <a:rPr lang="th-TH" sz="2000" b="1" dirty="0" smtClean="0">
                <a:solidFill>
                  <a:srgbClr val="0033CC"/>
                </a:solidFill>
                <a:latin typeface="TH SarabunPSK" pitchFamily="34" charset="-34"/>
                <a:cs typeface="TH SarabunPSK" pitchFamily="34" charset="-34"/>
              </a:rPr>
              <a:t>ให้บริการโล</a:t>
            </a:r>
            <a:r>
              <a:rPr lang="th-TH" sz="2000" b="1" dirty="0">
                <a:solidFill>
                  <a:srgbClr val="0033CC"/>
                </a:solidFill>
                <a:latin typeface="TH SarabunPSK" pitchFamily="34" charset="-34"/>
                <a:cs typeface="TH SarabunPSK" pitchFamily="34" charset="-34"/>
              </a:rPr>
              <a:t>จิสติกส์</a:t>
            </a:r>
          </a:p>
        </p:txBody>
      </p:sp>
      <p:sp>
        <p:nvSpPr>
          <p:cNvPr id="15" name="Rectangle 14"/>
          <p:cNvSpPr/>
          <p:nvPr/>
        </p:nvSpPr>
        <p:spPr>
          <a:xfrm>
            <a:off x="2681559" y="3767419"/>
            <a:ext cx="6084000" cy="518386"/>
          </a:xfrm>
          <a:prstGeom prst="rect">
            <a:avLst/>
          </a:prstGeom>
          <a:solidFill>
            <a:schemeClr val="accent5">
              <a:lumMod val="20000"/>
              <a:lumOff val="80000"/>
            </a:schemeClr>
          </a:solid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179388" indent="-179388">
              <a:lnSpc>
                <a:spcPts val="1800"/>
              </a:lnSpc>
              <a:defRPr/>
            </a:pPr>
            <a:r>
              <a:rPr lang="en-US" sz="2000" b="1" dirty="0">
                <a:solidFill>
                  <a:schemeClr val="tx1"/>
                </a:solidFill>
                <a:latin typeface="TH SarabunPSK" pitchFamily="34" charset="-34"/>
                <a:cs typeface="TH SarabunPSK" pitchFamily="34" charset="-34"/>
              </a:rPr>
              <a:t>6</a:t>
            </a:r>
            <a:r>
              <a:rPr lang="en-US" sz="2000" b="1" dirty="0" smtClean="0">
                <a:solidFill>
                  <a:schemeClr val="tx1"/>
                </a:solidFill>
                <a:latin typeface="TH SarabunPSK" pitchFamily="34" charset="-34"/>
                <a:cs typeface="TH SarabunPSK" pitchFamily="34" charset="-34"/>
              </a:rPr>
              <a:t>. </a:t>
            </a:r>
            <a:r>
              <a:rPr lang="th-TH" sz="2000" b="1" dirty="0">
                <a:solidFill>
                  <a:schemeClr val="tx1"/>
                </a:solidFill>
                <a:latin typeface="TH SarabunPSK" pitchFamily="34" charset="-34"/>
                <a:cs typeface="TH SarabunPSK" pitchFamily="34" charset="-34"/>
              </a:rPr>
              <a:t>ปรับปรุงระบบการพัฒนาและจัดการกำลังคน (</a:t>
            </a:r>
            <a:r>
              <a:rPr lang="en-US" sz="2000" b="1" dirty="0">
                <a:solidFill>
                  <a:schemeClr val="tx1"/>
                </a:solidFill>
                <a:latin typeface="TH SarabunPSK" pitchFamily="34" charset="-34"/>
                <a:cs typeface="TH SarabunPSK" pitchFamily="34" charset="-34"/>
              </a:rPr>
              <a:t>Human resource development system)</a:t>
            </a:r>
            <a:endParaRPr lang="th-TH" sz="2000" b="1" dirty="0">
              <a:solidFill>
                <a:schemeClr val="tx1"/>
              </a:solidFill>
              <a:latin typeface="TH SarabunPSK" pitchFamily="34" charset="-34"/>
              <a:cs typeface="TH SarabunPSK" pitchFamily="34" charset="-34"/>
            </a:endParaRPr>
          </a:p>
        </p:txBody>
      </p:sp>
      <p:sp>
        <p:nvSpPr>
          <p:cNvPr id="16" name="Rectangle 15"/>
          <p:cNvSpPr/>
          <p:nvPr/>
        </p:nvSpPr>
        <p:spPr>
          <a:xfrm>
            <a:off x="2681559" y="4350756"/>
            <a:ext cx="6084000" cy="648000"/>
          </a:xfrm>
          <a:prstGeom prst="rect">
            <a:avLst/>
          </a:prstGeom>
          <a:solidFill>
            <a:schemeClr val="accent5">
              <a:lumMod val="20000"/>
              <a:lumOff val="80000"/>
            </a:schemeClr>
          </a:solidFill>
          <a:ln w="952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179388" indent="-179388">
              <a:lnSpc>
                <a:spcPts val="1800"/>
              </a:lnSpc>
              <a:defRPr/>
            </a:pPr>
            <a:r>
              <a:rPr lang="en-US" sz="2000" b="1" dirty="0">
                <a:solidFill>
                  <a:schemeClr val="tx1"/>
                </a:solidFill>
                <a:latin typeface="TH SarabunPSK" pitchFamily="34" charset="-34"/>
                <a:cs typeface="TH SarabunPSK" pitchFamily="34" charset="-34"/>
              </a:rPr>
              <a:t>7</a:t>
            </a:r>
            <a:r>
              <a:rPr lang="en-US" sz="2000" b="1" dirty="0" smtClean="0">
                <a:solidFill>
                  <a:schemeClr val="tx1"/>
                </a:solidFill>
                <a:latin typeface="TH SarabunPSK" pitchFamily="34" charset="-34"/>
                <a:cs typeface="TH SarabunPSK" pitchFamily="34" charset="-34"/>
              </a:rPr>
              <a:t>.</a:t>
            </a:r>
            <a:r>
              <a:rPr lang="th-TH" sz="2000" b="1" dirty="0" smtClean="0">
                <a:solidFill>
                  <a:schemeClr val="tx1"/>
                </a:solidFill>
                <a:latin typeface="TH SarabunPSK" pitchFamily="34" charset="-34"/>
                <a:cs typeface="TH SarabunPSK" pitchFamily="34" charset="-34"/>
              </a:rPr>
              <a:t> </a:t>
            </a:r>
            <a:r>
              <a:rPr lang="th-TH" sz="2000" b="1" dirty="0">
                <a:solidFill>
                  <a:schemeClr val="tx1"/>
                </a:solidFill>
                <a:latin typeface="TH SarabunPSK" pitchFamily="34" charset="-34"/>
                <a:cs typeface="TH SarabunPSK" pitchFamily="34" charset="-34"/>
              </a:rPr>
              <a:t>พัฒนาระบบติดตามและประเมินผลเพื่อการปรับปรุงตนเอง (</a:t>
            </a:r>
            <a:r>
              <a:rPr lang="en-US" sz="2000" b="1" dirty="0">
                <a:solidFill>
                  <a:schemeClr val="tx1"/>
                </a:solidFill>
                <a:latin typeface="TH SarabunPSK" pitchFamily="34" charset="-34"/>
                <a:cs typeface="TH SarabunPSK" pitchFamily="34" charset="-34"/>
              </a:rPr>
              <a:t>Monitoring system for self improvement) </a:t>
            </a:r>
            <a:r>
              <a:rPr lang="th-TH" sz="2000" b="1" dirty="0">
                <a:solidFill>
                  <a:schemeClr val="tx1"/>
                </a:solidFill>
                <a:latin typeface="TH SarabunPSK" pitchFamily="34" charset="-34"/>
                <a:cs typeface="TH SarabunPSK" pitchFamily="34" charset="-34"/>
              </a:rPr>
              <a:t>และสร้างความเข้มแข็งให้กับองค์กร/เครือข่ายขับเคลื่อนยุทธศาสตร์ </a:t>
            </a:r>
            <a:endParaRPr lang="en-US" sz="2000" b="1" dirty="0">
              <a:solidFill>
                <a:schemeClr val="tx1"/>
              </a:solidFill>
              <a:latin typeface="TH SarabunPSK" pitchFamily="34" charset="-34"/>
              <a:cs typeface="TH SarabunPSK" pitchFamily="34" charset="-34"/>
            </a:endParaRPr>
          </a:p>
        </p:txBody>
      </p:sp>
      <p:sp>
        <p:nvSpPr>
          <p:cNvPr id="19" name="RbNavigator"/>
          <p:cNvSpPr txBox="1"/>
          <p:nvPr/>
        </p:nvSpPr>
        <p:spPr>
          <a:xfrm>
            <a:off x="94808" y="92614"/>
            <a:ext cx="444744" cy="246888"/>
          </a:xfrm>
          <a:prstGeom prst="rect">
            <a:avLst/>
          </a:prstGeom>
          <a:solidFill>
            <a:srgbClr val="003F56"/>
          </a:solidFill>
          <a:ln w="9525">
            <a:noFill/>
          </a:ln>
        </p:spPr>
        <p:txBody>
          <a:bodyPr vert="horz" wrap="none" lIns="0" tIns="0" rIns="0" bIns="0" rtlCol="0" anchor="ctr">
            <a:noAutofit/>
          </a:bodyPr>
          <a:lstStyle/>
          <a:p>
            <a:pPr marL="0" marR="0" lvl="0" indent="0" algn="ctr" defTabSz="914400" eaLnBrk="1" fontAlgn="auto" latinLnBrk="0" hangingPunct="1">
              <a:lnSpc>
                <a:spcPct val="90000"/>
              </a:lnSpc>
              <a:spcBef>
                <a:spcPts val="400"/>
              </a:spcBef>
              <a:spcAft>
                <a:spcPts val="0"/>
              </a:spcAft>
              <a:buClr>
                <a:srgbClr val="000000"/>
              </a:buClr>
              <a:buSzPct val="100000"/>
              <a:buFontTx/>
              <a:buNone/>
              <a:tabLst/>
              <a:defRPr/>
            </a:pPr>
            <a:r>
              <a:rPr kumimoji="1" lang="en-US" b="1" kern="0" dirty="0" smtClean="0">
                <a:solidFill>
                  <a:srgbClr val="FFFFFF"/>
                </a:solidFill>
                <a:latin typeface="TH SarabunPSK" pitchFamily="34" charset="-34"/>
                <a:cs typeface="TH SarabunPSK" pitchFamily="34" charset="-34"/>
              </a:rPr>
              <a:t>2</a:t>
            </a:r>
            <a:endParaRPr kumimoji="1" lang="en-US" b="1" i="0" u="none" strike="noStrike" kern="0" cap="none" spc="0" normalizeH="0" baseline="0" noProof="0" dirty="0" smtClean="0">
              <a:ln>
                <a:noFill/>
              </a:ln>
              <a:solidFill>
                <a:srgbClr val="FFFFFF"/>
              </a:solidFill>
              <a:effectLst/>
              <a:uLnTx/>
              <a:uFillTx/>
              <a:latin typeface="TH SarabunPSK" pitchFamily="34" charset="-34"/>
              <a:cs typeface="TH SarabunPSK" pitchFamily="34" charset="-34"/>
            </a:endParaRPr>
          </a:p>
        </p:txBody>
      </p:sp>
      <p:sp>
        <p:nvSpPr>
          <p:cNvPr id="20" name="RbSticker"/>
          <p:cNvSpPr txBox="1"/>
          <p:nvPr/>
        </p:nvSpPr>
        <p:spPr>
          <a:xfrm>
            <a:off x="642127" y="123478"/>
            <a:ext cx="7971734" cy="256480"/>
          </a:xfrm>
          <a:prstGeom prst="rect">
            <a:avLst/>
          </a:prstGeom>
          <a:noFill/>
          <a:ln w="9525">
            <a:noFill/>
          </a:ln>
        </p:spPr>
        <p:txBody>
          <a:bodyPr vert="horz" wrap="none" lIns="0" tIns="0" rIns="0" bIns="0" rtlCol="0" anchor="ctr">
            <a:spAutoFit/>
          </a:bodyPr>
          <a:lstStyle/>
          <a:p>
            <a:pPr>
              <a:lnSpc>
                <a:spcPts val="2000"/>
              </a:lnSpc>
              <a:spcBef>
                <a:spcPts val="400"/>
              </a:spcBef>
              <a:buSzPct val="100000"/>
              <a:defRPr/>
            </a:pPr>
            <a:r>
              <a:rPr lang="th-TH" b="1" dirty="0" smtClean="0">
                <a:solidFill>
                  <a:srgbClr val="002060"/>
                </a:solidFill>
                <a:latin typeface="TH SarabunPSK" pitchFamily="34" charset="-34"/>
                <a:cs typeface="TH SarabunPSK" pitchFamily="34" charset="-34"/>
              </a:rPr>
              <a:t>แผนยุทธศาสตร์การพัฒนา</a:t>
            </a:r>
            <a:r>
              <a:rPr lang="th-TH" b="1" dirty="0" err="1" smtClean="0">
                <a:solidFill>
                  <a:srgbClr val="002060"/>
                </a:solidFill>
                <a:latin typeface="TH SarabunPSK" pitchFamily="34" charset="-34"/>
                <a:cs typeface="TH SarabunPSK" pitchFamily="34" charset="-34"/>
              </a:rPr>
              <a:t>ระบบโล</a:t>
            </a:r>
            <a:r>
              <a:rPr lang="th-TH" b="1" dirty="0" smtClean="0">
                <a:solidFill>
                  <a:srgbClr val="002060"/>
                </a:solidFill>
                <a:latin typeface="TH SarabunPSK" pitchFamily="34" charset="-34"/>
                <a:cs typeface="TH SarabunPSK" pitchFamily="34" charset="-34"/>
              </a:rPr>
              <a:t>จิ</a:t>
            </a:r>
            <a:r>
              <a:rPr lang="th-TH" b="1" dirty="0" err="1" smtClean="0">
                <a:solidFill>
                  <a:srgbClr val="002060"/>
                </a:solidFill>
                <a:latin typeface="TH SarabunPSK" pitchFamily="34" charset="-34"/>
                <a:cs typeface="TH SarabunPSK" pitchFamily="34" charset="-34"/>
              </a:rPr>
              <a:t>สติกส์</a:t>
            </a:r>
            <a:r>
              <a:rPr lang="th-TH" b="1" dirty="0" smtClean="0">
                <a:solidFill>
                  <a:srgbClr val="002060"/>
                </a:solidFill>
                <a:latin typeface="TH SarabunPSK" pitchFamily="34" charset="-34"/>
                <a:cs typeface="TH SarabunPSK" pitchFamily="34" charset="-34"/>
              </a:rPr>
              <a:t>ของประเทศไทย ฉบับที่ 2 </a:t>
            </a:r>
            <a:r>
              <a:rPr lang="th-TH" i="1" dirty="0" smtClean="0">
                <a:solidFill>
                  <a:srgbClr val="002060"/>
                </a:solidFill>
                <a:latin typeface="TH SarabunPSK" pitchFamily="34" charset="-34"/>
                <a:cs typeface="TH SarabunPSK" pitchFamily="34" charset="-34"/>
              </a:rPr>
              <a:t>(</a:t>
            </a:r>
            <a:r>
              <a:rPr lang="en-US" b="1" dirty="0" smtClean="0">
                <a:solidFill>
                  <a:srgbClr val="002060"/>
                </a:solidFill>
                <a:latin typeface="TH SarabunPSK" pitchFamily="34" charset="-34"/>
                <a:cs typeface="TH SarabunPSK" pitchFamily="34" charset="-34"/>
              </a:rPr>
              <a:t>2556-2560)</a:t>
            </a:r>
            <a:endParaRPr lang="th-TH" sz="2000" b="1" kern="0" dirty="0" smtClean="0">
              <a:solidFill>
                <a:srgbClr val="003F56"/>
              </a:solidFill>
              <a:latin typeface="TH SarabunPSK" pitchFamily="34" charset="-34"/>
              <a:cs typeface="TH SarabunPSK" pitchFamily="34" charset="-34"/>
            </a:endParaRPr>
          </a:p>
        </p:txBody>
      </p:sp>
    </p:spTree>
    <p:extLst>
      <p:ext uri="{BB962C8B-B14F-4D97-AF65-F5344CB8AC3E}">
        <p14:creationId xmlns:p14="http://schemas.microsoft.com/office/powerpoint/2010/main" xmlns="" val="1302759470"/>
      </p:ext>
    </p:extLst>
  </p:cSld>
  <p:clrMapOvr>
    <a:masterClrMapping/>
  </p:clrMapOvr>
  <p:transition spd="slow">
    <p:fade thruBlk="1"/>
  </p:transition>
  <p:timing>
    <p:tnLst>
      <p:par>
        <p:cTn id="1" dur="indefinite" restart="never" nodeType="tmRoot"/>
      </p:par>
    </p:tnLst>
  </p:timing>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82" name="Rectangle 1"/>
          <p:cNvSpPr>
            <a:spLocks noChangeArrowheads="1"/>
          </p:cNvSpPr>
          <p:nvPr/>
        </p:nvSpPr>
        <p:spPr bwMode="auto">
          <a:xfrm>
            <a:off x="251520" y="782120"/>
            <a:ext cx="8001000" cy="209288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nchor="ctr">
            <a:spAutoFit/>
          </a:bodyPr>
          <a:lstStyle/>
          <a:p>
            <a:pPr marL="723900" indent="-457200" algn="thaiDist" eaLnBrk="0" hangingPunct="0">
              <a:spcBef>
                <a:spcPts val="1200"/>
              </a:spcBef>
            </a:pPr>
            <a:r>
              <a:rPr lang="th-TH" sz="2000" b="1" dirty="0">
                <a:latin typeface="TH SarabunPSK" pitchFamily="34" charset="-34"/>
                <a:ea typeface="Calibri" pitchFamily="34" charset="0"/>
                <a:cs typeface="TH SarabunPSK" pitchFamily="34" charset="-34"/>
              </a:rPr>
              <a:t>เพื่อสนับสนุนการสร้างความเป็นมืออาชีพ โดยมีกลยุทธ์หลัก 3 ประการคือ</a:t>
            </a:r>
            <a:endParaRPr lang="en-US" sz="2000" b="1" dirty="0" smtClean="0">
              <a:latin typeface="TH SarabunPSK" pitchFamily="34" charset="-34"/>
              <a:ea typeface="Calibri" pitchFamily="34" charset="0"/>
              <a:cs typeface="TH SarabunPSK" pitchFamily="34" charset="-34"/>
            </a:endParaRPr>
          </a:p>
          <a:p>
            <a:pPr marL="723900" indent="-457200" algn="thaiDist" eaLnBrk="0" hangingPunct="0">
              <a:spcBef>
                <a:spcPts val="1200"/>
              </a:spcBef>
            </a:pPr>
            <a:r>
              <a:rPr lang="en-US" sz="2000" b="1" dirty="0" smtClean="0">
                <a:latin typeface="TH SarabunPSK" pitchFamily="34" charset="-34"/>
                <a:ea typeface="Calibri" pitchFamily="34" charset="0"/>
                <a:cs typeface="TH SarabunPSK" pitchFamily="34" charset="-34"/>
              </a:rPr>
              <a:t>6.1</a:t>
            </a:r>
            <a:r>
              <a:rPr lang="th-TH" sz="2000" b="1" dirty="0">
                <a:latin typeface="TH SarabunPSK" pitchFamily="34" charset="-34"/>
                <a:ea typeface="Calibri" pitchFamily="34" charset="0"/>
                <a:cs typeface="TH SarabunPSK" pitchFamily="34" charset="-34"/>
              </a:rPr>
              <a:t>	</a:t>
            </a:r>
            <a:r>
              <a:rPr lang="th-TH" sz="2000" b="1" dirty="0">
                <a:latin typeface="TH SarabunPSK" pitchFamily="34" charset="-34"/>
                <a:cs typeface="TH SarabunPSK" pitchFamily="34" charset="-34"/>
              </a:rPr>
              <a:t>สนับสนุนการปรับปรุงการเรียนการสอนให้สอดคล้องกับความต้องการของภาคธุรกิจและแนวโน้มการบริหารจัดการที่เป็นมิตรกับสิ่งแวดล้อม </a:t>
            </a:r>
            <a:endParaRPr lang="en-US" sz="2000" b="1" dirty="0" smtClean="0">
              <a:latin typeface="TH SarabunPSK" pitchFamily="34" charset="-34"/>
              <a:cs typeface="TH SarabunPSK" pitchFamily="34" charset="-34"/>
            </a:endParaRPr>
          </a:p>
          <a:p>
            <a:pPr marL="723900" indent="-457200" algn="thaiDist" eaLnBrk="0" hangingPunct="0">
              <a:spcBef>
                <a:spcPts val="1200"/>
              </a:spcBef>
            </a:pPr>
            <a:r>
              <a:rPr lang="en-US" sz="2000" b="1" dirty="0" smtClean="0">
                <a:latin typeface="TH SarabunPSK" pitchFamily="34" charset="-34"/>
                <a:cs typeface="TH SarabunPSK" pitchFamily="34" charset="-34"/>
              </a:rPr>
              <a:t>6.2</a:t>
            </a:r>
            <a:r>
              <a:rPr lang="en-US" sz="2000" b="1" dirty="0">
                <a:latin typeface="TH SarabunPSK" pitchFamily="34" charset="-34"/>
                <a:cs typeface="TH SarabunPSK" pitchFamily="34" charset="-34"/>
              </a:rPr>
              <a:t>	</a:t>
            </a:r>
            <a:r>
              <a:rPr lang="th-TH" sz="2000" b="1" dirty="0">
                <a:latin typeface="TH SarabunPSK" pitchFamily="34" charset="-34"/>
                <a:cs typeface="TH SarabunPSK" pitchFamily="34" charset="-34"/>
              </a:rPr>
              <a:t>การพัฒนาบุคลากรทางธุรกิจสำหรับการค้าชายแดน </a:t>
            </a:r>
            <a:endParaRPr lang="th-TH" sz="2000" b="1" dirty="0" smtClean="0">
              <a:latin typeface="TH SarabunPSK" pitchFamily="34" charset="-34"/>
              <a:cs typeface="TH SarabunPSK" pitchFamily="34" charset="-34"/>
            </a:endParaRPr>
          </a:p>
          <a:p>
            <a:pPr marL="723900" indent="-457200" algn="thaiDist" eaLnBrk="0" hangingPunct="0">
              <a:spcBef>
                <a:spcPts val="1200"/>
              </a:spcBef>
            </a:pPr>
            <a:r>
              <a:rPr lang="th-TH" sz="2000" b="1" dirty="0">
                <a:latin typeface="TH SarabunPSK" pitchFamily="34" charset="-34"/>
                <a:cs typeface="TH SarabunPSK" pitchFamily="34" charset="-34"/>
              </a:rPr>
              <a:t>6.3	ผลักดันให้มีการพัฒนาและยกระดับมาตรฐานวิชาชีพให้กับบุคลากรในสาขาโลจิสติกส์ </a:t>
            </a:r>
            <a:endParaRPr lang="th-TH" sz="2000" dirty="0">
              <a:latin typeface="TH SarabunPSK" pitchFamily="34" charset="-34"/>
              <a:cs typeface="TH SarabunPSK" pitchFamily="34" charset="-34"/>
            </a:endParaRPr>
          </a:p>
        </p:txBody>
      </p:sp>
      <p:pic>
        <p:nvPicPr>
          <p:cNvPr id="5" name="Picture 1"/>
          <p:cNvPicPr>
            <a:picLocks noChangeAspect="1" noChangeArrowheads="1"/>
          </p:cNvPicPr>
          <p:nvPr/>
        </p:nvPicPr>
        <p:blipFill>
          <a:blip r:embed="rId3" cstate="print"/>
          <a:srcRect/>
          <a:stretch>
            <a:fillRect/>
          </a:stretch>
        </p:blipFill>
        <p:spPr bwMode="auto">
          <a:xfrm>
            <a:off x="6416069" y="3673472"/>
            <a:ext cx="1737334" cy="879464"/>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6" name="Picture 2"/>
          <p:cNvPicPr>
            <a:picLocks noChangeAspect="1" noChangeArrowheads="1"/>
          </p:cNvPicPr>
          <p:nvPr/>
        </p:nvPicPr>
        <p:blipFill>
          <a:blip r:embed="rId4" cstate="print"/>
          <a:srcRect/>
          <a:stretch>
            <a:fillRect/>
          </a:stretch>
        </p:blipFill>
        <p:spPr bwMode="auto">
          <a:xfrm>
            <a:off x="1241280" y="3676707"/>
            <a:ext cx="1794691" cy="902624"/>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7" name="Picture 6" descr="http://www.matichon.co.th/news-photo/matichon/2013/01/eco01020156p1.jpg"/>
          <p:cNvPicPr>
            <a:picLocks noChangeAspect="1" noChangeArrowheads="1"/>
          </p:cNvPicPr>
          <p:nvPr/>
        </p:nvPicPr>
        <p:blipFill>
          <a:blip r:embed="rId5" cstate="print"/>
          <a:srcRect/>
          <a:stretch>
            <a:fillRect/>
          </a:stretch>
        </p:blipFill>
        <p:spPr bwMode="auto">
          <a:xfrm>
            <a:off x="3769927" y="3676707"/>
            <a:ext cx="1895274" cy="902624"/>
          </a:xfrm>
          <a:prstGeom prst="roundRect">
            <a:avLst/>
          </a:prstGeom>
          <a:solidFill>
            <a:srgbClr val="FFFFFF">
              <a:shade val="85000"/>
            </a:srgbClr>
          </a:solidFill>
          <a:ln>
            <a:solidFill>
              <a:schemeClr val="bg1">
                <a:lumMod val="75000"/>
              </a:schemeClr>
            </a:solidFill>
          </a:ln>
          <a:effectLst>
            <a:reflection blurRad="12700" stA="38000" endPos="28000" dist="5000" dir="5400000" sy="-100000" algn="bl" rotWithShape="0"/>
          </a:effectLst>
        </p:spPr>
      </p:pic>
      <p:graphicFrame>
        <p:nvGraphicFramePr>
          <p:cNvPr id="8" name="Table 7"/>
          <p:cNvGraphicFramePr>
            <a:graphicFrameLocks noGrp="1"/>
          </p:cNvGraphicFramePr>
          <p:nvPr>
            <p:extLst>
              <p:ext uri="{D42A27DB-BD31-4B8C-83A1-F6EECF244321}">
                <p14:modId xmlns:p14="http://schemas.microsoft.com/office/powerpoint/2010/main" xmlns="" val="4195099948"/>
              </p:ext>
            </p:extLst>
          </p:nvPr>
        </p:nvGraphicFramePr>
        <p:xfrm>
          <a:off x="1588" y="0"/>
          <a:ext cx="9144000" cy="739070"/>
        </p:xfrm>
        <a:graphic>
          <a:graphicData uri="http://schemas.openxmlformats.org/drawingml/2006/table">
            <a:tbl>
              <a:tblPr firstRow="1" bandRow="1">
                <a:tableStyleId>{5C22544A-7EE6-4342-B048-85BDC9FD1C3A}</a:tableStyleId>
              </a:tblPr>
              <a:tblGrid>
                <a:gridCol w="1828800"/>
                <a:gridCol w="7315200"/>
              </a:tblGrid>
              <a:tr h="739070">
                <a:tc>
                  <a:txBody>
                    <a:bodyPr/>
                    <a:lstStyle/>
                    <a:p>
                      <a:pPr algn="r"/>
                      <a:r>
                        <a:rPr lang="th-TH" sz="2200" b="1" dirty="0" smtClean="0">
                          <a:solidFill>
                            <a:schemeClr val="bg1"/>
                          </a:solidFill>
                          <a:latin typeface="TH SarabunPSK" pitchFamily="34" charset="-34"/>
                          <a:cs typeface="TH SarabunPSK" pitchFamily="34" charset="-34"/>
                        </a:rPr>
                        <a:t>ประเด็น</a:t>
                      </a:r>
                      <a:br>
                        <a:rPr lang="th-TH" sz="2200" b="1" dirty="0" smtClean="0">
                          <a:solidFill>
                            <a:schemeClr val="bg1"/>
                          </a:solidFill>
                          <a:latin typeface="TH SarabunPSK" pitchFamily="34" charset="-34"/>
                          <a:cs typeface="TH SarabunPSK" pitchFamily="34" charset="-34"/>
                        </a:rPr>
                      </a:br>
                      <a:r>
                        <a:rPr lang="th-TH" sz="2200" b="1" dirty="0" smtClean="0">
                          <a:solidFill>
                            <a:schemeClr val="bg1"/>
                          </a:solidFill>
                          <a:latin typeface="TH SarabunPSK" pitchFamily="34" charset="-34"/>
                          <a:cs typeface="TH SarabunPSK" pitchFamily="34" charset="-34"/>
                        </a:rPr>
                        <a:t>ยุทธศาสตร์ที่ 6</a:t>
                      </a:r>
                      <a:endParaRPr lang="th-TH" sz="2200" dirty="0">
                        <a:solidFill>
                          <a:schemeClr val="bg1"/>
                        </a:solidFill>
                        <a:latin typeface="TH SarabunPSK" pitchFamily="34" charset="-34"/>
                        <a:cs typeface="TH SarabunPSK" pitchFamily="34" charset="-34"/>
                      </a:endParaRPr>
                    </a:p>
                  </a:txBody>
                  <a:tcPr marT="34255" marB="34255"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1">
                        <a:lumMod val="50000"/>
                      </a:schemeClr>
                    </a:solidFill>
                  </a:tcPr>
                </a:tc>
                <a:tc>
                  <a:txBody>
                    <a:bodyPr/>
                    <a:lstStyle/>
                    <a:p>
                      <a:pPr marL="171450" marR="0" indent="0" algn="l" defTabSz="914400" rtl="0" eaLnBrk="1" fontAlgn="auto" latinLnBrk="0" hangingPunct="1">
                        <a:lnSpc>
                          <a:spcPct val="100000"/>
                        </a:lnSpc>
                        <a:spcBef>
                          <a:spcPts val="0"/>
                        </a:spcBef>
                        <a:spcAft>
                          <a:spcPts val="0"/>
                        </a:spcAft>
                        <a:buClrTx/>
                        <a:buSzTx/>
                        <a:buFont typeface="+mj-lt"/>
                        <a:buNone/>
                        <a:tabLst/>
                        <a:defRPr/>
                      </a:pPr>
                      <a:r>
                        <a:rPr lang="th-TH" sz="2200" b="1" dirty="0" smtClean="0">
                          <a:latin typeface="TH SarabunPSK" pitchFamily="34" charset="-34"/>
                          <a:cs typeface="TH SarabunPSK" pitchFamily="34" charset="-34"/>
                        </a:rPr>
                        <a:t>ปรับปรุงระบบการพัฒนาและจัดการกำลังคน </a:t>
                      </a:r>
                      <a:br>
                        <a:rPr lang="th-TH" sz="2200" b="1" dirty="0" smtClean="0">
                          <a:latin typeface="TH SarabunPSK" pitchFamily="34" charset="-34"/>
                          <a:cs typeface="TH SarabunPSK" pitchFamily="34" charset="-34"/>
                        </a:rPr>
                      </a:br>
                      <a:r>
                        <a:rPr lang="th-TH" sz="2200" b="1" dirty="0" smtClean="0">
                          <a:latin typeface="TH SarabunPSK" pitchFamily="34" charset="-34"/>
                          <a:cs typeface="TH SarabunPSK" pitchFamily="34" charset="-34"/>
                        </a:rPr>
                        <a:t>(</a:t>
                      </a:r>
                      <a:r>
                        <a:rPr lang="en-US" sz="2200" b="1" dirty="0" smtClean="0">
                          <a:latin typeface="TH SarabunPSK" pitchFamily="34" charset="-34"/>
                          <a:cs typeface="TH SarabunPSK" pitchFamily="34" charset="-34"/>
                        </a:rPr>
                        <a:t>Human resource development system) </a:t>
                      </a:r>
                    </a:p>
                  </a:txBody>
                  <a:tcPr marT="34255" marB="34255"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0070C0"/>
                    </a:solidFill>
                  </a:tcPr>
                </a:tc>
              </a:tr>
            </a:tbl>
          </a:graphicData>
        </a:graphic>
      </p:graphicFrame>
    </p:spTree>
    <p:extLst>
      <p:ext uri="{BB962C8B-B14F-4D97-AF65-F5344CB8AC3E}">
        <p14:creationId xmlns:p14="http://schemas.microsoft.com/office/powerpoint/2010/main" xmlns="" val="787096608"/>
      </p:ext>
    </p:extLst>
  </p:cSld>
  <p:clrMapOvr>
    <a:masterClrMapping/>
  </p:clrMapOvr>
  <p:transition spd="slow">
    <p:fade thruBlk="1"/>
  </p:transition>
  <p:timing>
    <p:tnLst>
      <p:par>
        <p:cTn id="1" dur="indefinite" restart="never" nodeType="tmRoot"/>
      </p:par>
    </p:tnLst>
  </p:timing>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107" name="Rectangle 1"/>
          <p:cNvSpPr>
            <a:spLocks noChangeArrowheads="1"/>
          </p:cNvSpPr>
          <p:nvPr/>
        </p:nvSpPr>
        <p:spPr bwMode="auto">
          <a:xfrm>
            <a:off x="179512" y="913961"/>
            <a:ext cx="8153400" cy="113107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nchor="ctr">
            <a:spAutoFit/>
          </a:bodyPr>
          <a:lstStyle/>
          <a:p>
            <a:pPr marL="723900" indent="-457200" algn="thaiDist" eaLnBrk="0" hangingPunct="0">
              <a:spcBef>
                <a:spcPts val="900"/>
              </a:spcBef>
            </a:pPr>
            <a:r>
              <a:rPr lang="en-US" sz="2000" b="1" dirty="0" smtClean="0">
                <a:latin typeface="TH SarabunPSK" pitchFamily="34" charset="-34"/>
                <a:ea typeface="Calibri" pitchFamily="34" charset="0"/>
                <a:cs typeface="TH SarabunPSK" pitchFamily="34" charset="-34"/>
              </a:rPr>
              <a:t>7.1</a:t>
            </a:r>
            <a:r>
              <a:rPr lang="th-TH" sz="2000" b="1" dirty="0">
                <a:latin typeface="TH SarabunPSK" pitchFamily="34" charset="-34"/>
                <a:ea typeface="Calibri" pitchFamily="34" charset="0"/>
                <a:cs typeface="TH SarabunPSK" pitchFamily="34" charset="-34"/>
              </a:rPr>
              <a:t>	</a:t>
            </a:r>
            <a:r>
              <a:rPr lang="th-TH" sz="2000" b="1" dirty="0">
                <a:latin typeface="TH SarabunPSK" pitchFamily="34" charset="-34"/>
                <a:cs typeface="TH SarabunPSK" pitchFamily="34" charset="-34"/>
              </a:rPr>
              <a:t>พัฒนาระบบตัวชี้วัดประสิทธิภาพและประสิทธิผล (</a:t>
            </a:r>
            <a:r>
              <a:rPr lang="en-US" sz="2000" b="1" dirty="0">
                <a:latin typeface="TH SarabunPSK" pitchFamily="34" charset="-34"/>
                <a:cs typeface="TH SarabunPSK" pitchFamily="34" charset="-34"/>
              </a:rPr>
              <a:t>Strategic KPI) </a:t>
            </a:r>
            <a:r>
              <a:rPr lang="th-TH" sz="2000" b="1" dirty="0">
                <a:latin typeface="TH SarabunPSK" pitchFamily="34" charset="-34"/>
                <a:cs typeface="TH SarabunPSK" pitchFamily="34" charset="-34"/>
              </a:rPr>
              <a:t>การให้บริการของหน่วยงานภาครัฐและระบบการติดตามและรายงานผลการดำเนินงานตามแผนอย่างสม่ำเสมอและต่อเนื่อง </a:t>
            </a:r>
            <a:endParaRPr lang="en-US" sz="2000" b="1" dirty="0" smtClean="0">
              <a:latin typeface="TH SarabunPSK" pitchFamily="34" charset="-34"/>
              <a:cs typeface="TH SarabunPSK" pitchFamily="34" charset="-34"/>
            </a:endParaRPr>
          </a:p>
          <a:p>
            <a:pPr marL="723900" indent="-457200" algn="thaiDist" eaLnBrk="0" hangingPunct="0">
              <a:spcBef>
                <a:spcPts val="900"/>
              </a:spcBef>
            </a:pPr>
            <a:r>
              <a:rPr lang="en-US" sz="2000" b="1" dirty="0" smtClean="0">
                <a:latin typeface="TH SarabunPSK" pitchFamily="34" charset="-34"/>
                <a:cs typeface="TH SarabunPSK" pitchFamily="34" charset="-34"/>
              </a:rPr>
              <a:t>7.2</a:t>
            </a:r>
            <a:r>
              <a:rPr lang="en-US" sz="2000" b="1" dirty="0">
                <a:latin typeface="TH SarabunPSK" pitchFamily="34" charset="-34"/>
                <a:cs typeface="TH SarabunPSK" pitchFamily="34" charset="-34"/>
              </a:rPr>
              <a:t>	</a:t>
            </a:r>
            <a:r>
              <a:rPr lang="th-TH" sz="2000" b="1" dirty="0">
                <a:latin typeface="TH SarabunPSK" pitchFamily="34" charset="-34"/>
                <a:cs typeface="TH SarabunPSK" pitchFamily="34" charset="-34"/>
              </a:rPr>
              <a:t>สร้างความเข้มแข็งให้กับองค์กร/เครือข่ายขับเคลื่อนยุทธศาสตร์ (</a:t>
            </a:r>
            <a:r>
              <a:rPr lang="en-US" sz="2000" b="1" dirty="0">
                <a:latin typeface="TH SarabunPSK" pitchFamily="34" charset="-34"/>
                <a:cs typeface="TH SarabunPSK" pitchFamily="34" charset="-34"/>
              </a:rPr>
              <a:t>Center for </a:t>
            </a:r>
            <a:r>
              <a:rPr lang="en-US" sz="2000" b="1" dirty="0" smtClean="0">
                <a:latin typeface="TH SarabunPSK" pitchFamily="34" charset="-34"/>
                <a:cs typeface="TH SarabunPSK" pitchFamily="34" charset="-34"/>
              </a:rPr>
              <a:t>continuity)</a:t>
            </a:r>
            <a:endParaRPr lang="en-US" sz="2000" dirty="0" smtClean="0">
              <a:latin typeface="TH SarabunPSK" pitchFamily="34" charset="-34"/>
              <a:cs typeface="TH SarabunPSK" pitchFamily="34" charset="-34"/>
            </a:endParaRPr>
          </a:p>
        </p:txBody>
      </p:sp>
      <p:grpSp>
        <p:nvGrpSpPr>
          <p:cNvPr id="2" name="Group 17"/>
          <p:cNvGrpSpPr/>
          <p:nvPr/>
        </p:nvGrpSpPr>
        <p:grpSpPr>
          <a:xfrm>
            <a:off x="0" y="2714626"/>
            <a:ext cx="9144000" cy="2183130"/>
            <a:chOff x="0" y="2714626"/>
            <a:chExt cx="9144000" cy="2183130"/>
          </a:xfrm>
        </p:grpSpPr>
        <p:sp>
          <p:nvSpPr>
            <p:cNvPr id="17" name="Rectangle 16"/>
            <p:cNvSpPr/>
            <p:nvPr/>
          </p:nvSpPr>
          <p:spPr>
            <a:xfrm>
              <a:off x="0" y="2714626"/>
              <a:ext cx="9144000" cy="2183130"/>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th-TH" sz="1800"/>
            </a:p>
          </p:txBody>
        </p:sp>
        <p:pic>
          <p:nvPicPr>
            <p:cNvPr id="5" name="Picture 2"/>
            <p:cNvPicPr>
              <a:picLocks noChangeAspect="1" noChangeArrowheads="1"/>
            </p:cNvPicPr>
            <p:nvPr/>
          </p:nvPicPr>
          <p:blipFill>
            <a:blip r:embed="rId3" cstate="print"/>
            <a:srcRect/>
            <a:stretch>
              <a:fillRect/>
            </a:stretch>
          </p:blipFill>
          <p:spPr bwMode="auto">
            <a:xfrm>
              <a:off x="4656141" y="2971801"/>
              <a:ext cx="4092575" cy="1687354"/>
            </a:xfrm>
            <a:prstGeom prst="rect">
              <a:avLst/>
            </a:prstGeom>
            <a:noFill/>
            <a:ln w="9525">
              <a:solidFill>
                <a:schemeClr val="bg1">
                  <a:lumMod val="75000"/>
                </a:schemeClr>
              </a:solidFill>
              <a:miter lim="800000"/>
              <a:headEnd/>
              <a:tailEnd/>
            </a:ln>
          </p:spPr>
        </p:pic>
        <p:pic>
          <p:nvPicPr>
            <p:cNvPr id="157698" name="Picture 2" descr="http://2.bp.blogspot.com/-l5xVTCVokx8/T1wUhsXkPoI/AAAAAAAAAHA/iGfGvMkVTNk/s1600/large_PDCA.jpg"/>
            <p:cNvPicPr>
              <a:picLocks noChangeAspect="1" noChangeArrowheads="1"/>
            </p:cNvPicPr>
            <p:nvPr/>
          </p:nvPicPr>
          <p:blipFill>
            <a:blip r:embed="rId4" cstate="print"/>
            <a:srcRect/>
            <a:stretch>
              <a:fillRect/>
            </a:stretch>
          </p:blipFill>
          <p:spPr bwMode="auto">
            <a:xfrm>
              <a:off x="468315" y="2971801"/>
              <a:ext cx="2828925" cy="1687354"/>
            </a:xfrm>
            <a:prstGeom prst="rect">
              <a:avLst/>
            </a:prstGeom>
            <a:noFill/>
            <a:ln>
              <a:solidFill>
                <a:schemeClr val="bg1">
                  <a:lumMod val="65000"/>
                </a:schemeClr>
              </a:solidFill>
            </a:ln>
          </p:spPr>
        </p:pic>
        <p:grpSp>
          <p:nvGrpSpPr>
            <p:cNvPr id="3" name="Group 7"/>
            <p:cNvGrpSpPr>
              <a:grpSpLocks/>
            </p:cNvGrpSpPr>
            <p:nvPr/>
          </p:nvGrpSpPr>
          <p:grpSpPr bwMode="auto">
            <a:xfrm>
              <a:off x="3505200" y="2971801"/>
              <a:ext cx="990600" cy="514350"/>
              <a:chOff x="2819400" y="4724397"/>
              <a:chExt cx="1066800" cy="761999"/>
            </a:xfrm>
          </p:grpSpPr>
          <p:sp>
            <p:nvSpPr>
              <p:cNvPr id="6" name="Right Arrow 5"/>
              <p:cNvSpPr/>
              <p:nvPr/>
            </p:nvSpPr>
            <p:spPr>
              <a:xfrm>
                <a:off x="2819400" y="4724397"/>
                <a:ext cx="1066800" cy="761999"/>
              </a:xfrm>
              <a:prstGeom prst="rightArrow">
                <a:avLst>
                  <a:gd name="adj1" fmla="val 63793"/>
                  <a:gd name="adj2" fmla="val 46552"/>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th-TH" sz="1600"/>
              </a:p>
            </p:txBody>
          </p:sp>
          <p:sp>
            <p:nvSpPr>
              <p:cNvPr id="47122" name="TextBox 6"/>
              <p:cNvSpPr txBox="1">
                <a:spLocks noChangeArrowheads="1"/>
              </p:cNvSpPr>
              <p:nvPr/>
            </p:nvSpPr>
            <p:spPr bwMode="auto">
              <a:xfrm>
                <a:off x="2966578" y="4838658"/>
                <a:ext cx="644540" cy="59275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eaLnBrk="0" hangingPunct="0">
                  <a:defRPr sz="2800">
                    <a:solidFill>
                      <a:schemeClr val="tx1"/>
                    </a:solidFill>
                    <a:latin typeface="Calibri" pitchFamily="34" charset="0"/>
                    <a:cs typeface="Angsana New" pitchFamily="18" charset="-34"/>
                  </a:defRPr>
                </a:lvl1pPr>
                <a:lvl2pPr marL="742950" indent="-285750" eaLnBrk="0" hangingPunct="0">
                  <a:defRPr sz="2800">
                    <a:solidFill>
                      <a:schemeClr val="tx1"/>
                    </a:solidFill>
                    <a:latin typeface="Calibri" pitchFamily="34" charset="0"/>
                    <a:cs typeface="Angsana New" pitchFamily="18" charset="-34"/>
                  </a:defRPr>
                </a:lvl2pPr>
                <a:lvl3pPr marL="1143000" indent="-228600" eaLnBrk="0" hangingPunct="0">
                  <a:defRPr sz="2800">
                    <a:solidFill>
                      <a:schemeClr val="tx1"/>
                    </a:solidFill>
                    <a:latin typeface="Calibri" pitchFamily="34" charset="0"/>
                    <a:cs typeface="Angsana New" pitchFamily="18" charset="-34"/>
                  </a:defRPr>
                </a:lvl3pPr>
                <a:lvl4pPr marL="1600200" indent="-228600" eaLnBrk="0" hangingPunct="0">
                  <a:defRPr sz="2800">
                    <a:solidFill>
                      <a:schemeClr val="tx1"/>
                    </a:solidFill>
                    <a:latin typeface="Calibri" pitchFamily="34" charset="0"/>
                    <a:cs typeface="Angsana New" pitchFamily="18" charset="-34"/>
                  </a:defRPr>
                </a:lvl4pPr>
                <a:lvl5pPr marL="2057400" indent="-228600" eaLnBrk="0" hangingPunct="0">
                  <a:defRPr sz="2800">
                    <a:solidFill>
                      <a:schemeClr val="tx1"/>
                    </a:solidFill>
                    <a:latin typeface="Calibri" pitchFamily="34" charset="0"/>
                    <a:cs typeface="Angsana New" pitchFamily="18" charset="-34"/>
                  </a:defRPr>
                </a:lvl5pPr>
                <a:lvl6pPr marL="2514600" indent="-228600" eaLnBrk="0" fontAlgn="base" hangingPunct="0">
                  <a:spcBef>
                    <a:spcPct val="0"/>
                  </a:spcBef>
                  <a:spcAft>
                    <a:spcPct val="0"/>
                  </a:spcAft>
                  <a:defRPr sz="2800">
                    <a:solidFill>
                      <a:schemeClr val="tx1"/>
                    </a:solidFill>
                    <a:latin typeface="Calibri" pitchFamily="34" charset="0"/>
                    <a:cs typeface="Angsana New" pitchFamily="18" charset="-34"/>
                  </a:defRPr>
                </a:lvl6pPr>
                <a:lvl7pPr marL="2971800" indent="-228600" eaLnBrk="0" fontAlgn="base" hangingPunct="0">
                  <a:spcBef>
                    <a:spcPct val="0"/>
                  </a:spcBef>
                  <a:spcAft>
                    <a:spcPct val="0"/>
                  </a:spcAft>
                  <a:defRPr sz="2800">
                    <a:solidFill>
                      <a:schemeClr val="tx1"/>
                    </a:solidFill>
                    <a:latin typeface="Calibri" pitchFamily="34" charset="0"/>
                    <a:cs typeface="Angsana New" pitchFamily="18" charset="-34"/>
                  </a:defRPr>
                </a:lvl7pPr>
                <a:lvl8pPr marL="3429000" indent="-228600" eaLnBrk="0" fontAlgn="base" hangingPunct="0">
                  <a:spcBef>
                    <a:spcPct val="0"/>
                  </a:spcBef>
                  <a:spcAft>
                    <a:spcPct val="0"/>
                  </a:spcAft>
                  <a:defRPr sz="2800">
                    <a:solidFill>
                      <a:schemeClr val="tx1"/>
                    </a:solidFill>
                    <a:latin typeface="Calibri" pitchFamily="34" charset="0"/>
                    <a:cs typeface="Angsana New" pitchFamily="18" charset="-34"/>
                  </a:defRPr>
                </a:lvl8pPr>
                <a:lvl9pPr marL="3886200" indent="-228600" eaLnBrk="0" fontAlgn="base" hangingPunct="0">
                  <a:spcBef>
                    <a:spcPct val="0"/>
                  </a:spcBef>
                  <a:spcAft>
                    <a:spcPct val="0"/>
                  </a:spcAft>
                  <a:defRPr sz="2800">
                    <a:solidFill>
                      <a:schemeClr val="tx1"/>
                    </a:solidFill>
                    <a:latin typeface="Calibri" pitchFamily="34" charset="0"/>
                    <a:cs typeface="Angsana New" pitchFamily="18" charset="-34"/>
                  </a:defRPr>
                </a:lvl9pPr>
              </a:lstStyle>
              <a:p>
                <a:pPr eaLnBrk="1" hangingPunct="1"/>
                <a:r>
                  <a:rPr lang="th-TH" sz="2000" b="1">
                    <a:solidFill>
                      <a:schemeClr val="bg1"/>
                    </a:solidFill>
                    <a:latin typeface="TH SarabunPSK" pitchFamily="34" charset="-34"/>
                    <a:cs typeface="TH SarabunPSK" pitchFamily="34" charset="-34"/>
                  </a:rPr>
                  <a:t>กำกับ</a:t>
                </a:r>
              </a:p>
            </p:txBody>
          </p:sp>
        </p:grpSp>
        <p:grpSp>
          <p:nvGrpSpPr>
            <p:cNvPr id="4" name="Group 8"/>
            <p:cNvGrpSpPr>
              <a:grpSpLocks/>
            </p:cNvGrpSpPr>
            <p:nvPr/>
          </p:nvGrpSpPr>
          <p:grpSpPr bwMode="auto">
            <a:xfrm>
              <a:off x="3505200" y="3519013"/>
              <a:ext cx="1017588" cy="481488"/>
              <a:chOff x="2819400" y="4724400"/>
              <a:chExt cx="1095628" cy="762000"/>
            </a:xfrm>
          </p:grpSpPr>
          <p:sp>
            <p:nvSpPr>
              <p:cNvPr id="10" name="Right Arrow 9"/>
              <p:cNvSpPr/>
              <p:nvPr/>
            </p:nvSpPr>
            <p:spPr>
              <a:xfrm>
                <a:off x="2819400" y="4724400"/>
                <a:ext cx="1066570" cy="762000"/>
              </a:xfrm>
              <a:prstGeom prst="rightArrow">
                <a:avLst>
                  <a:gd name="adj1" fmla="val 63793"/>
                  <a:gd name="adj2" fmla="val 46552"/>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th-TH" sz="1600"/>
              </a:p>
            </p:txBody>
          </p:sp>
          <p:sp>
            <p:nvSpPr>
              <p:cNvPr id="47120" name="TextBox 10"/>
              <p:cNvSpPr txBox="1">
                <a:spLocks noChangeArrowheads="1"/>
              </p:cNvSpPr>
              <p:nvPr/>
            </p:nvSpPr>
            <p:spPr bwMode="auto">
              <a:xfrm>
                <a:off x="2891941" y="4820172"/>
                <a:ext cx="1023087" cy="63321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eaLnBrk="0" hangingPunct="0">
                  <a:defRPr sz="2800">
                    <a:solidFill>
                      <a:schemeClr val="tx1"/>
                    </a:solidFill>
                    <a:latin typeface="Calibri" pitchFamily="34" charset="0"/>
                    <a:cs typeface="Angsana New" pitchFamily="18" charset="-34"/>
                  </a:defRPr>
                </a:lvl1pPr>
                <a:lvl2pPr marL="742950" indent="-285750" eaLnBrk="0" hangingPunct="0">
                  <a:defRPr sz="2800">
                    <a:solidFill>
                      <a:schemeClr val="tx1"/>
                    </a:solidFill>
                    <a:latin typeface="Calibri" pitchFamily="34" charset="0"/>
                    <a:cs typeface="Angsana New" pitchFamily="18" charset="-34"/>
                  </a:defRPr>
                </a:lvl2pPr>
                <a:lvl3pPr marL="1143000" indent="-228600" eaLnBrk="0" hangingPunct="0">
                  <a:defRPr sz="2800">
                    <a:solidFill>
                      <a:schemeClr val="tx1"/>
                    </a:solidFill>
                    <a:latin typeface="Calibri" pitchFamily="34" charset="0"/>
                    <a:cs typeface="Angsana New" pitchFamily="18" charset="-34"/>
                  </a:defRPr>
                </a:lvl3pPr>
                <a:lvl4pPr marL="1600200" indent="-228600" eaLnBrk="0" hangingPunct="0">
                  <a:defRPr sz="2800">
                    <a:solidFill>
                      <a:schemeClr val="tx1"/>
                    </a:solidFill>
                    <a:latin typeface="Calibri" pitchFamily="34" charset="0"/>
                    <a:cs typeface="Angsana New" pitchFamily="18" charset="-34"/>
                  </a:defRPr>
                </a:lvl4pPr>
                <a:lvl5pPr marL="2057400" indent="-228600" eaLnBrk="0" hangingPunct="0">
                  <a:defRPr sz="2800">
                    <a:solidFill>
                      <a:schemeClr val="tx1"/>
                    </a:solidFill>
                    <a:latin typeface="Calibri" pitchFamily="34" charset="0"/>
                    <a:cs typeface="Angsana New" pitchFamily="18" charset="-34"/>
                  </a:defRPr>
                </a:lvl5pPr>
                <a:lvl6pPr marL="2514600" indent="-228600" eaLnBrk="0" fontAlgn="base" hangingPunct="0">
                  <a:spcBef>
                    <a:spcPct val="0"/>
                  </a:spcBef>
                  <a:spcAft>
                    <a:spcPct val="0"/>
                  </a:spcAft>
                  <a:defRPr sz="2800">
                    <a:solidFill>
                      <a:schemeClr val="tx1"/>
                    </a:solidFill>
                    <a:latin typeface="Calibri" pitchFamily="34" charset="0"/>
                    <a:cs typeface="Angsana New" pitchFamily="18" charset="-34"/>
                  </a:defRPr>
                </a:lvl6pPr>
                <a:lvl7pPr marL="2971800" indent="-228600" eaLnBrk="0" fontAlgn="base" hangingPunct="0">
                  <a:spcBef>
                    <a:spcPct val="0"/>
                  </a:spcBef>
                  <a:spcAft>
                    <a:spcPct val="0"/>
                  </a:spcAft>
                  <a:defRPr sz="2800">
                    <a:solidFill>
                      <a:schemeClr val="tx1"/>
                    </a:solidFill>
                    <a:latin typeface="Calibri" pitchFamily="34" charset="0"/>
                    <a:cs typeface="Angsana New" pitchFamily="18" charset="-34"/>
                  </a:defRPr>
                </a:lvl7pPr>
                <a:lvl8pPr marL="3429000" indent="-228600" eaLnBrk="0" fontAlgn="base" hangingPunct="0">
                  <a:spcBef>
                    <a:spcPct val="0"/>
                  </a:spcBef>
                  <a:spcAft>
                    <a:spcPct val="0"/>
                  </a:spcAft>
                  <a:defRPr sz="2800">
                    <a:solidFill>
                      <a:schemeClr val="tx1"/>
                    </a:solidFill>
                    <a:latin typeface="Calibri" pitchFamily="34" charset="0"/>
                    <a:cs typeface="Angsana New" pitchFamily="18" charset="-34"/>
                  </a:defRPr>
                </a:lvl8pPr>
                <a:lvl9pPr marL="3886200" indent="-228600" eaLnBrk="0" fontAlgn="base" hangingPunct="0">
                  <a:spcBef>
                    <a:spcPct val="0"/>
                  </a:spcBef>
                  <a:spcAft>
                    <a:spcPct val="0"/>
                  </a:spcAft>
                  <a:defRPr sz="2800">
                    <a:solidFill>
                      <a:schemeClr val="tx1"/>
                    </a:solidFill>
                    <a:latin typeface="Calibri" pitchFamily="34" charset="0"/>
                    <a:cs typeface="Angsana New" pitchFamily="18" charset="-34"/>
                  </a:defRPr>
                </a:lvl9pPr>
              </a:lstStyle>
              <a:p>
                <a:pPr eaLnBrk="1" hangingPunct="1"/>
                <a:r>
                  <a:rPr lang="th-TH" sz="2000" b="1">
                    <a:solidFill>
                      <a:schemeClr val="bg1"/>
                    </a:solidFill>
                    <a:latin typeface="TH SarabunPSK" pitchFamily="34" charset="-34"/>
                    <a:cs typeface="TH SarabunPSK" pitchFamily="34" charset="-34"/>
                  </a:rPr>
                  <a:t>ติดตาม</a:t>
                </a:r>
              </a:p>
            </p:txBody>
          </p:sp>
        </p:grpSp>
        <p:grpSp>
          <p:nvGrpSpPr>
            <p:cNvPr id="7" name="Group 11"/>
            <p:cNvGrpSpPr>
              <a:grpSpLocks/>
            </p:cNvGrpSpPr>
            <p:nvPr/>
          </p:nvGrpSpPr>
          <p:grpSpPr bwMode="auto">
            <a:xfrm>
              <a:off x="3457575" y="4057651"/>
              <a:ext cx="1138238" cy="514350"/>
              <a:chOff x="2770249" y="4724400"/>
              <a:chExt cx="1180336" cy="705815"/>
            </a:xfrm>
          </p:grpSpPr>
          <p:sp>
            <p:nvSpPr>
              <p:cNvPr id="13" name="Right Arrow 12"/>
              <p:cNvSpPr/>
              <p:nvPr/>
            </p:nvSpPr>
            <p:spPr>
              <a:xfrm>
                <a:off x="2819635" y="4724400"/>
                <a:ext cx="1027238" cy="705815"/>
              </a:xfrm>
              <a:prstGeom prst="rightArrow">
                <a:avLst>
                  <a:gd name="adj1" fmla="val 63793"/>
                  <a:gd name="adj2" fmla="val 44709"/>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th-TH" sz="1600"/>
              </a:p>
            </p:txBody>
          </p:sp>
          <p:sp>
            <p:nvSpPr>
              <p:cNvPr id="47118" name="TextBox 13"/>
              <p:cNvSpPr txBox="1">
                <a:spLocks noChangeArrowheads="1"/>
              </p:cNvSpPr>
              <p:nvPr/>
            </p:nvSpPr>
            <p:spPr bwMode="auto">
              <a:xfrm>
                <a:off x="2770249" y="4792225"/>
                <a:ext cx="1180336" cy="5490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eaLnBrk="0" hangingPunct="0">
                  <a:defRPr sz="2800">
                    <a:solidFill>
                      <a:schemeClr val="tx1"/>
                    </a:solidFill>
                    <a:latin typeface="Calibri" pitchFamily="34" charset="0"/>
                    <a:cs typeface="Angsana New" pitchFamily="18" charset="-34"/>
                  </a:defRPr>
                </a:lvl1pPr>
                <a:lvl2pPr marL="742950" indent="-285750" eaLnBrk="0" hangingPunct="0">
                  <a:defRPr sz="2800">
                    <a:solidFill>
                      <a:schemeClr val="tx1"/>
                    </a:solidFill>
                    <a:latin typeface="Calibri" pitchFamily="34" charset="0"/>
                    <a:cs typeface="Angsana New" pitchFamily="18" charset="-34"/>
                  </a:defRPr>
                </a:lvl2pPr>
                <a:lvl3pPr marL="1143000" indent="-228600" eaLnBrk="0" hangingPunct="0">
                  <a:defRPr sz="2800">
                    <a:solidFill>
                      <a:schemeClr val="tx1"/>
                    </a:solidFill>
                    <a:latin typeface="Calibri" pitchFamily="34" charset="0"/>
                    <a:cs typeface="Angsana New" pitchFamily="18" charset="-34"/>
                  </a:defRPr>
                </a:lvl3pPr>
                <a:lvl4pPr marL="1600200" indent="-228600" eaLnBrk="0" hangingPunct="0">
                  <a:defRPr sz="2800">
                    <a:solidFill>
                      <a:schemeClr val="tx1"/>
                    </a:solidFill>
                    <a:latin typeface="Calibri" pitchFamily="34" charset="0"/>
                    <a:cs typeface="Angsana New" pitchFamily="18" charset="-34"/>
                  </a:defRPr>
                </a:lvl4pPr>
                <a:lvl5pPr marL="2057400" indent="-228600" eaLnBrk="0" hangingPunct="0">
                  <a:defRPr sz="2800">
                    <a:solidFill>
                      <a:schemeClr val="tx1"/>
                    </a:solidFill>
                    <a:latin typeface="Calibri" pitchFamily="34" charset="0"/>
                    <a:cs typeface="Angsana New" pitchFamily="18" charset="-34"/>
                  </a:defRPr>
                </a:lvl5pPr>
                <a:lvl6pPr marL="2514600" indent="-228600" eaLnBrk="0" fontAlgn="base" hangingPunct="0">
                  <a:spcBef>
                    <a:spcPct val="0"/>
                  </a:spcBef>
                  <a:spcAft>
                    <a:spcPct val="0"/>
                  </a:spcAft>
                  <a:defRPr sz="2800">
                    <a:solidFill>
                      <a:schemeClr val="tx1"/>
                    </a:solidFill>
                    <a:latin typeface="Calibri" pitchFamily="34" charset="0"/>
                    <a:cs typeface="Angsana New" pitchFamily="18" charset="-34"/>
                  </a:defRPr>
                </a:lvl6pPr>
                <a:lvl7pPr marL="2971800" indent="-228600" eaLnBrk="0" fontAlgn="base" hangingPunct="0">
                  <a:spcBef>
                    <a:spcPct val="0"/>
                  </a:spcBef>
                  <a:spcAft>
                    <a:spcPct val="0"/>
                  </a:spcAft>
                  <a:defRPr sz="2800">
                    <a:solidFill>
                      <a:schemeClr val="tx1"/>
                    </a:solidFill>
                    <a:latin typeface="Calibri" pitchFamily="34" charset="0"/>
                    <a:cs typeface="Angsana New" pitchFamily="18" charset="-34"/>
                  </a:defRPr>
                </a:lvl7pPr>
                <a:lvl8pPr marL="3429000" indent="-228600" eaLnBrk="0" fontAlgn="base" hangingPunct="0">
                  <a:spcBef>
                    <a:spcPct val="0"/>
                  </a:spcBef>
                  <a:spcAft>
                    <a:spcPct val="0"/>
                  </a:spcAft>
                  <a:defRPr sz="2800">
                    <a:solidFill>
                      <a:schemeClr val="tx1"/>
                    </a:solidFill>
                    <a:latin typeface="Calibri" pitchFamily="34" charset="0"/>
                    <a:cs typeface="Angsana New" pitchFamily="18" charset="-34"/>
                  </a:defRPr>
                </a:lvl8pPr>
                <a:lvl9pPr marL="3886200" indent="-228600" eaLnBrk="0" fontAlgn="base" hangingPunct="0">
                  <a:spcBef>
                    <a:spcPct val="0"/>
                  </a:spcBef>
                  <a:spcAft>
                    <a:spcPct val="0"/>
                  </a:spcAft>
                  <a:defRPr sz="2800">
                    <a:solidFill>
                      <a:schemeClr val="tx1"/>
                    </a:solidFill>
                    <a:latin typeface="Calibri" pitchFamily="34" charset="0"/>
                    <a:cs typeface="Angsana New" pitchFamily="18" charset="-34"/>
                  </a:defRPr>
                </a:lvl9pPr>
              </a:lstStyle>
              <a:p>
                <a:pPr eaLnBrk="1" hangingPunct="1"/>
                <a:r>
                  <a:rPr lang="th-TH" sz="2000" b="1">
                    <a:solidFill>
                      <a:schemeClr val="bg1"/>
                    </a:solidFill>
                    <a:latin typeface="TH SarabunPSK" pitchFamily="34" charset="-34"/>
                    <a:cs typeface="TH SarabunPSK" pitchFamily="34" charset="-34"/>
                  </a:rPr>
                  <a:t>ประเมินผล</a:t>
                </a:r>
              </a:p>
            </p:txBody>
          </p:sp>
        </p:grpSp>
      </p:grpSp>
      <p:graphicFrame>
        <p:nvGraphicFramePr>
          <p:cNvPr id="16" name="Table 15"/>
          <p:cNvGraphicFramePr>
            <a:graphicFrameLocks noGrp="1"/>
          </p:cNvGraphicFramePr>
          <p:nvPr>
            <p:extLst>
              <p:ext uri="{D42A27DB-BD31-4B8C-83A1-F6EECF244321}">
                <p14:modId xmlns:p14="http://schemas.microsoft.com/office/powerpoint/2010/main" xmlns="" val="69038031"/>
              </p:ext>
            </p:extLst>
          </p:nvPr>
        </p:nvGraphicFramePr>
        <p:xfrm>
          <a:off x="1588" y="0"/>
          <a:ext cx="9144000" cy="739070"/>
        </p:xfrm>
        <a:graphic>
          <a:graphicData uri="http://schemas.openxmlformats.org/drawingml/2006/table">
            <a:tbl>
              <a:tblPr firstRow="1" bandRow="1">
                <a:tableStyleId>{5C22544A-7EE6-4342-B048-85BDC9FD1C3A}</a:tableStyleId>
              </a:tblPr>
              <a:tblGrid>
                <a:gridCol w="1828800"/>
                <a:gridCol w="7315200"/>
              </a:tblGrid>
              <a:tr h="739070">
                <a:tc>
                  <a:txBody>
                    <a:bodyPr/>
                    <a:lstStyle/>
                    <a:p>
                      <a:pPr algn="r"/>
                      <a:r>
                        <a:rPr lang="th-TH" sz="2200" b="1" dirty="0" smtClean="0">
                          <a:solidFill>
                            <a:schemeClr val="bg1"/>
                          </a:solidFill>
                          <a:latin typeface="TH SarabunPSK" pitchFamily="34" charset="-34"/>
                          <a:cs typeface="TH SarabunPSK" pitchFamily="34" charset="-34"/>
                        </a:rPr>
                        <a:t>ประเด็น</a:t>
                      </a:r>
                      <a:br>
                        <a:rPr lang="th-TH" sz="2200" b="1" dirty="0" smtClean="0">
                          <a:solidFill>
                            <a:schemeClr val="bg1"/>
                          </a:solidFill>
                          <a:latin typeface="TH SarabunPSK" pitchFamily="34" charset="-34"/>
                          <a:cs typeface="TH SarabunPSK" pitchFamily="34" charset="-34"/>
                        </a:rPr>
                      </a:br>
                      <a:r>
                        <a:rPr lang="th-TH" sz="2200" b="1" dirty="0" smtClean="0">
                          <a:solidFill>
                            <a:schemeClr val="bg1"/>
                          </a:solidFill>
                          <a:latin typeface="TH SarabunPSK" pitchFamily="34" charset="-34"/>
                          <a:cs typeface="TH SarabunPSK" pitchFamily="34" charset="-34"/>
                        </a:rPr>
                        <a:t>ยุทธศาสตร์ที่ </a:t>
                      </a:r>
                      <a:r>
                        <a:rPr lang="en-US" sz="2200" b="1" dirty="0" smtClean="0">
                          <a:solidFill>
                            <a:schemeClr val="bg1"/>
                          </a:solidFill>
                          <a:latin typeface="TH SarabunPSK" pitchFamily="34" charset="-34"/>
                          <a:cs typeface="TH SarabunPSK" pitchFamily="34" charset="-34"/>
                        </a:rPr>
                        <a:t>7</a:t>
                      </a:r>
                      <a:endParaRPr lang="th-TH" sz="2200" dirty="0">
                        <a:solidFill>
                          <a:schemeClr val="bg1"/>
                        </a:solidFill>
                        <a:latin typeface="TH SarabunPSK" pitchFamily="34" charset="-34"/>
                        <a:cs typeface="TH SarabunPSK" pitchFamily="34" charset="-34"/>
                      </a:endParaRPr>
                    </a:p>
                  </a:txBody>
                  <a:tcPr marT="34255" marB="34255"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1">
                        <a:lumMod val="50000"/>
                      </a:schemeClr>
                    </a:solidFill>
                  </a:tcPr>
                </a:tc>
                <a:tc>
                  <a:txBody>
                    <a:bodyPr/>
                    <a:lstStyle/>
                    <a:p>
                      <a:pPr marL="171450" marR="0" indent="0" algn="l" defTabSz="914400" rtl="0" eaLnBrk="1" fontAlgn="auto" latinLnBrk="0" hangingPunct="1">
                        <a:lnSpc>
                          <a:spcPct val="100000"/>
                        </a:lnSpc>
                        <a:spcBef>
                          <a:spcPts val="0"/>
                        </a:spcBef>
                        <a:spcAft>
                          <a:spcPts val="0"/>
                        </a:spcAft>
                        <a:buClrTx/>
                        <a:buSzTx/>
                        <a:buFont typeface="+mj-lt"/>
                        <a:buNone/>
                        <a:tabLst/>
                        <a:defRPr/>
                      </a:pPr>
                      <a:r>
                        <a:rPr lang="th-TH" sz="2200" b="1" dirty="0" smtClean="0">
                          <a:latin typeface="TH SarabunPSK" pitchFamily="34" charset="-34"/>
                          <a:cs typeface="TH SarabunPSK" pitchFamily="34" charset="-34"/>
                        </a:rPr>
                        <a:t>พัฒนาระบบติดตามและประเมินผลเพื่อการปรับปรุงตนเอง และสร้างความเข้มแข็งให้กับองค์กร/เครือข่ายขับเคลื่อนยุทธศาสตร์</a:t>
                      </a:r>
                      <a:endParaRPr lang="en-US" sz="2200" b="1" dirty="0" smtClean="0">
                        <a:latin typeface="TH SarabunPSK" pitchFamily="34" charset="-34"/>
                        <a:cs typeface="TH SarabunPSK" pitchFamily="34" charset="-34"/>
                      </a:endParaRPr>
                    </a:p>
                  </a:txBody>
                  <a:tcPr marT="34255" marB="34255"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0070C0"/>
                    </a:solidFill>
                  </a:tcPr>
                </a:tc>
              </a:tr>
            </a:tbl>
          </a:graphicData>
        </a:graphic>
      </p:graphicFrame>
    </p:spTree>
    <p:extLst>
      <p:ext uri="{BB962C8B-B14F-4D97-AF65-F5344CB8AC3E}">
        <p14:creationId xmlns:p14="http://schemas.microsoft.com/office/powerpoint/2010/main" xmlns="" val="3701360271"/>
      </p:ext>
    </p:extLst>
  </p:cSld>
  <p:clrMapOvr>
    <a:masterClrMapping/>
  </p:clrMapOvr>
  <p:transition spd="slow">
    <p:fade thruBlk="1"/>
  </p:transition>
  <p:timing>
    <p:tnLst>
      <p:par>
        <p:cTn id="1" dur="indefinite" restart="never" nodeType="tmRoot"/>
      </p:par>
    </p:tnLst>
  </p:timing>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590872" y="1786508"/>
            <a:ext cx="8229600" cy="857250"/>
          </a:xfrm>
          <a:solidFill>
            <a:schemeClr val="accent1">
              <a:lumMod val="20000"/>
              <a:lumOff val="80000"/>
            </a:schemeClr>
          </a:solidFill>
          <a:ln w="19050">
            <a:solidFill>
              <a:schemeClr val="accent1"/>
            </a:solidFill>
          </a:ln>
        </p:spPr>
        <p:txBody>
          <a:bodyPr>
            <a:normAutofit/>
          </a:bodyPr>
          <a:lstStyle/>
          <a:p>
            <a:r>
              <a:rPr lang="th-TH" sz="3600" b="1" dirty="0" smtClean="0">
                <a:solidFill>
                  <a:schemeClr val="accent1"/>
                </a:solidFill>
                <a:latin typeface="TH SarabunPSK" pitchFamily="34" charset="-34"/>
                <a:cs typeface="TH SarabunPSK" pitchFamily="34" charset="-34"/>
              </a:rPr>
              <a:t>ข้อมูล </a:t>
            </a:r>
            <a:r>
              <a:rPr lang="en-US" sz="3600" b="1" dirty="0" smtClean="0">
                <a:solidFill>
                  <a:schemeClr val="accent1"/>
                </a:solidFill>
                <a:latin typeface="TH SarabunPSK" pitchFamily="34" charset="-34"/>
                <a:cs typeface="TH SarabunPSK" pitchFamily="34" charset="-34"/>
              </a:rPr>
              <a:t>Back-Up </a:t>
            </a:r>
            <a:r>
              <a:rPr lang="th-TH" sz="3600" b="1" dirty="0" smtClean="0">
                <a:solidFill>
                  <a:schemeClr val="accent1"/>
                </a:solidFill>
                <a:latin typeface="TH SarabunPSK" pitchFamily="34" charset="-34"/>
                <a:cs typeface="TH SarabunPSK" pitchFamily="34" charset="-34"/>
              </a:rPr>
              <a:t>เขตเศรษฐกิจพิเศษ</a:t>
            </a:r>
            <a:endParaRPr lang="th-TH" sz="3600" b="1" dirty="0">
              <a:solidFill>
                <a:schemeClr val="accent1"/>
              </a:solidFill>
              <a:latin typeface="TH SarabunPSK" pitchFamily="34" charset="-34"/>
              <a:cs typeface="TH SarabunPSK" pitchFamily="34" charset="-34"/>
            </a:endParaRPr>
          </a:p>
        </p:txBody>
      </p:sp>
    </p:spTree>
    <p:extLst>
      <p:ext uri="{BB962C8B-B14F-4D97-AF65-F5344CB8AC3E}">
        <p14:creationId xmlns:p14="http://schemas.microsoft.com/office/powerpoint/2010/main" xmlns="" val="2836949363"/>
      </p:ext>
    </p:extLst>
  </p:cSld>
  <p:clrMapOvr>
    <a:masterClrMapping/>
  </p:clrMapOvr>
  <p:transition spd="slow">
    <p:fade thruBlk="1"/>
  </p:transition>
  <p:timing>
    <p:tnLst>
      <p:par>
        <p:cTn id="1" dur="indefinite" restart="never" nodeType="tmRoot"/>
      </p:par>
    </p:tnLst>
  </p:timing>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1"/>
          <p:cNvGraphicFramePr>
            <a:graphicFrameLocks noGrp="1"/>
          </p:cNvGraphicFramePr>
          <p:nvPr>
            <p:extLst>
              <p:ext uri="{D42A27DB-BD31-4B8C-83A1-F6EECF244321}">
                <p14:modId xmlns:p14="http://schemas.microsoft.com/office/powerpoint/2010/main" xmlns="" val="2471726508"/>
              </p:ext>
            </p:extLst>
          </p:nvPr>
        </p:nvGraphicFramePr>
        <p:xfrm>
          <a:off x="812014" y="1095020"/>
          <a:ext cx="7488832" cy="3547425"/>
        </p:xfrm>
        <a:graphic>
          <a:graphicData uri="http://schemas.openxmlformats.org/drawingml/2006/table">
            <a:tbl>
              <a:tblPr/>
              <a:tblGrid>
                <a:gridCol w="504056"/>
                <a:gridCol w="2304256"/>
                <a:gridCol w="1368152"/>
                <a:gridCol w="1224136"/>
                <a:gridCol w="2088232"/>
              </a:tblGrid>
              <a:tr h="279167">
                <a:tc gridSpan="5">
                  <a:txBody>
                    <a:bodyPr/>
                    <a:lstStyle/>
                    <a:p>
                      <a:pPr algn="ctr" rtl="0" fontAlgn="b"/>
                      <a:r>
                        <a:rPr lang="th-TH" sz="1800" b="1" i="0" u="none" strike="noStrike" dirty="0">
                          <a:solidFill>
                            <a:srgbClr val="17375E"/>
                          </a:solidFill>
                          <a:effectLst/>
                          <a:latin typeface="TH SarabunPSK" pitchFamily="34" charset="-34"/>
                          <a:cs typeface="TH SarabunPSK" pitchFamily="34" charset="-34"/>
                        </a:rPr>
                        <a:t>มูลค่าการค้าจังหวัดในพื้นที่เขตพัฒนาเศรษฐกิจพิเศษของประเทศ 10 จังหวัด</a:t>
                      </a:r>
                    </a:p>
                  </a:txBody>
                  <a:tcPr marL="6462" marR="6462" marT="4847" marB="0">
                    <a:lnL>
                      <a:noFill/>
                    </a:lnL>
                    <a:lnR>
                      <a:noFill/>
                    </a:lnR>
                    <a:lnT>
                      <a:noFill/>
                    </a:lnT>
                    <a:lnB w="6350" cap="flat" cmpd="sng" algn="ctr">
                      <a:solidFill>
                        <a:srgbClr val="000000"/>
                      </a:solidFill>
                      <a:prstDash val="solid"/>
                      <a:round/>
                      <a:headEnd type="none" w="med" len="med"/>
                      <a:tailEnd type="none" w="med" len="med"/>
                    </a:lnB>
                  </a:tcPr>
                </a:tc>
                <a:tc hMerge="1">
                  <a:txBody>
                    <a:bodyPr/>
                    <a:lstStyle/>
                    <a:p>
                      <a:endParaRPr lang="th-TH"/>
                    </a:p>
                  </a:txBody>
                  <a:tcPr/>
                </a:tc>
                <a:tc hMerge="1">
                  <a:txBody>
                    <a:bodyPr/>
                    <a:lstStyle/>
                    <a:p>
                      <a:endParaRPr lang="th-TH"/>
                    </a:p>
                  </a:txBody>
                  <a:tcPr/>
                </a:tc>
                <a:tc hMerge="1">
                  <a:txBody>
                    <a:bodyPr/>
                    <a:lstStyle/>
                    <a:p>
                      <a:endParaRPr lang="th-TH"/>
                    </a:p>
                  </a:txBody>
                  <a:tcPr/>
                </a:tc>
                <a:tc hMerge="1">
                  <a:txBody>
                    <a:bodyPr/>
                    <a:lstStyle/>
                    <a:p>
                      <a:endParaRPr lang="th-TH"/>
                    </a:p>
                  </a:txBody>
                  <a:tcPr/>
                </a:tc>
              </a:tr>
              <a:tr h="233447">
                <a:tc rowSpan="2">
                  <a:txBody>
                    <a:bodyPr/>
                    <a:lstStyle/>
                    <a:p>
                      <a:pPr algn="ctr" rtl="0" fontAlgn="ctr"/>
                      <a:r>
                        <a:rPr lang="th-TH" sz="1500" b="1" i="0" u="none" strike="noStrike" dirty="0">
                          <a:solidFill>
                            <a:srgbClr val="002060"/>
                          </a:solidFill>
                          <a:effectLst/>
                          <a:latin typeface="TH SarabunPSK" pitchFamily="34" charset="-34"/>
                          <a:cs typeface="TH SarabunPSK" pitchFamily="34" charset="-34"/>
                        </a:rPr>
                        <a:t>ลำดับ</a:t>
                      </a:r>
                    </a:p>
                  </a:txBody>
                  <a:tcPr marL="6462" marR="6462" marT="48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8CCE4"/>
                    </a:solidFill>
                  </a:tcPr>
                </a:tc>
                <a:tc rowSpan="2">
                  <a:txBody>
                    <a:bodyPr/>
                    <a:lstStyle/>
                    <a:p>
                      <a:pPr algn="ctr" rtl="0" fontAlgn="ctr"/>
                      <a:r>
                        <a:rPr lang="th-TH" sz="1500" b="1" i="0" u="none" strike="noStrike" dirty="0">
                          <a:solidFill>
                            <a:srgbClr val="002060"/>
                          </a:solidFill>
                          <a:effectLst/>
                          <a:latin typeface="TH SarabunPSK" pitchFamily="34" charset="-34"/>
                          <a:cs typeface="TH SarabunPSK" pitchFamily="34" charset="-34"/>
                        </a:rPr>
                        <a:t>จังหวัด</a:t>
                      </a:r>
                    </a:p>
                  </a:txBody>
                  <a:tcPr marL="6462" marR="6462" marT="48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8CCE4"/>
                    </a:solidFill>
                  </a:tcPr>
                </a:tc>
                <a:tc gridSpan="2">
                  <a:txBody>
                    <a:bodyPr/>
                    <a:lstStyle/>
                    <a:p>
                      <a:pPr algn="ctr" fontAlgn="ctr"/>
                      <a:r>
                        <a:rPr lang="th-TH" sz="1500" b="1" i="0" u="none" strike="noStrike" dirty="0">
                          <a:solidFill>
                            <a:srgbClr val="000000"/>
                          </a:solidFill>
                          <a:effectLst/>
                          <a:latin typeface="TH SarabunPSK" pitchFamily="34" charset="-34"/>
                          <a:cs typeface="TH SarabunPSK" pitchFamily="34" charset="-34"/>
                        </a:rPr>
                        <a:t>มูลค่าการค้า(ล้านบาท</a:t>
                      </a:r>
                      <a:r>
                        <a:rPr lang="th-TH" sz="1500" b="1" i="0" u="none" strike="noStrike" dirty="0" smtClean="0">
                          <a:solidFill>
                            <a:srgbClr val="000000"/>
                          </a:solidFill>
                          <a:effectLst/>
                          <a:latin typeface="TH SarabunPSK" pitchFamily="34" charset="-34"/>
                          <a:cs typeface="TH SarabunPSK" pitchFamily="34" charset="-34"/>
                        </a:rPr>
                        <a:t>)</a:t>
                      </a:r>
                      <a:endParaRPr lang="th-TH" sz="1500" b="0" i="0" u="none" strike="noStrike" dirty="0">
                        <a:solidFill>
                          <a:srgbClr val="000000"/>
                        </a:solidFill>
                        <a:effectLst/>
                        <a:latin typeface="TH SarabunPSK" pitchFamily="34" charset="-34"/>
                        <a:cs typeface="TH SarabunPSK" pitchFamily="34" charset="-34"/>
                      </a:endParaRPr>
                    </a:p>
                  </a:txBody>
                  <a:tcPr marL="6462" marR="6462" marT="48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8DB4E2"/>
                    </a:solidFill>
                  </a:tcPr>
                </a:tc>
                <a:tc hMerge="1">
                  <a:txBody>
                    <a:bodyPr/>
                    <a:lstStyle/>
                    <a:p>
                      <a:endParaRPr lang="th-TH"/>
                    </a:p>
                  </a:txBody>
                  <a:tcPr/>
                </a:tc>
                <a:tc rowSpan="2">
                  <a:txBody>
                    <a:bodyPr/>
                    <a:lstStyle/>
                    <a:p>
                      <a:pPr algn="ctr" rtl="0" fontAlgn="ctr"/>
                      <a:r>
                        <a:rPr lang="th-TH" sz="1500" b="1" i="0" u="none" strike="noStrike" dirty="0">
                          <a:solidFill>
                            <a:srgbClr val="002060"/>
                          </a:solidFill>
                          <a:effectLst/>
                          <a:latin typeface="TH SarabunPSK" pitchFamily="34" charset="-34"/>
                          <a:cs typeface="TH SarabunPSK" pitchFamily="34" charset="-34"/>
                        </a:rPr>
                        <a:t>อัตราการขยายตัวปี </a:t>
                      </a:r>
                      <a:r>
                        <a:rPr lang="th-TH" sz="1500" b="1" i="0" u="none" strike="noStrike" dirty="0" smtClean="0">
                          <a:solidFill>
                            <a:srgbClr val="002060"/>
                          </a:solidFill>
                          <a:effectLst/>
                          <a:latin typeface="TH SarabunPSK" pitchFamily="34" charset="-34"/>
                          <a:cs typeface="TH SarabunPSK" pitchFamily="34" charset="-34"/>
                        </a:rPr>
                        <a:t/>
                      </a:r>
                      <a:br>
                        <a:rPr lang="th-TH" sz="1500" b="1" i="0" u="none" strike="noStrike" dirty="0" smtClean="0">
                          <a:solidFill>
                            <a:srgbClr val="002060"/>
                          </a:solidFill>
                          <a:effectLst/>
                          <a:latin typeface="TH SarabunPSK" pitchFamily="34" charset="-34"/>
                          <a:cs typeface="TH SarabunPSK" pitchFamily="34" charset="-34"/>
                        </a:rPr>
                      </a:br>
                      <a:r>
                        <a:rPr lang="th-TH" sz="1500" b="1" i="0" u="none" strike="noStrike" dirty="0" smtClean="0">
                          <a:solidFill>
                            <a:srgbClr val="002060"/>
                          </a:solidFill>
                          <a:effectLst/>
                          <a:latin typeface="TH SarabunPSK" pitchFamily="34" charset="-34"/>
                          <a:cs typeface="TH SarabunPSK" pitchFamily="34" charset="-34"/>
                        </a:rPr>
                        <a:t>2556 </a:t>
                      </a:r>
                      <a:r>
                        <a:rPr lang="th-TH" sz="1500" b="1" i="0" u="none" strike="noStrike" dirty="0">
                          <a:solidFill>
                            <a:srgbClr val="002060"/>
                          </a:solidFill>
                          <a:effectLst/>
                          <a:latin typeface="TH SarabunPSK" pitchFamily="34" charset="-34"/>
                          <a:cs typeface="TH SarabunPSK" pitchFamily="34" charset="-34"/>
                        </a:rPr>
                        <a:t>- 2557 (ร้อยละ)</a:t>
                      </a:r>
                    </a:p>
                  </a:txBody>
                  <a:tcPr marL="6462" marR="6462" marT="48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8CCE4"/>
                    </a:solidFill>
                  </a:tcPr>
                </a:tc>
              </a:tr>
              <a:tr h="233447">
                <a:tc vMerge="1">
                  <a:txBody>
                    <a:bodyPr/>
                    <a:lstStyle/>
                    <a:p>
                      <a:endParaRPr lang="th-TH"/>
                    </a:p>
                  </a:txBody>
                  <a:tcPr/>
                </a:tc>
                <a:tc vMerge="1">
                  <a:txBody>
                    <a:bodyPr/>
                    <a:lstStyle/>
                    <a:p>
                      <a:endParaRPr lang="th-TH"/>
                    </a:p>
                  </a:txBody>
                  <a:tcPr/>
                </a:tc>
                <a:tc>
                  <a:txBody>
                    <a:bodyPr/>
                    <a:lstStyle/>
                    <a:p>
                      <a:pPr algn="ctr" rtl="0" fontAlgn="ctr"/>
                      <a:r>
                        <a:rPr lang="th-TH" sz="1500" b="1" i="0" u="none" strike="noStrike" dirty="0">
                          <a:solidFill>
                            <a:srgbClr val="002060"/>
                          </a:solidFill>
                          <a:effectLst/>
                          <a:latin typeface="TH SarabunPSK" pitchFamily="34" charset="-34"/>
                          <a:cs typeface="TH SarabunPSK" pitchFamily="34" charset="-34"/>
                        </a:rPr>
                        <a:t>2556</a:t>
                      </a:r>
                    </a:p>
                  </a:txBody>
                  <a:tcPr marL="6462" marR="6462" marT="48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8CCE4"/>
                    </a:solidFill>
                  </a:tcPr>
                </a:tc>
                <a:tc>
                  <a:txBody>
                    <a:bodyPr/>
                    <a:lstStyle/>
                    <a:p>
                      <a:pPr algn="ctr" rtl="0" fontAlgn="ctr"/>
                      <a:r>
                        <a:rPr lang="th-TH" sz="1500" b="1" i="0" u="none" strike="noStrike" dirty="0">
                          <a:solidFill>
                            <a:srgbClr val="002060"/>
                          </a:solidFill>
                          <a:effectLst/>
                          <a:latin typeface="TH SarabunPSK" pitchFamily="34" charset="-34"/>
                          <a:cs typeface="TH SarabunPSK" pitchFamily="34" charset="-34"/>
                        </a:rPr>
                        <a:t>2557</a:t>
                      </a:r>
                    </a:p>
                  </a:txBody>
                  <a:tcPr marL="6462" marR="6462" marT="48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8CCE4"/>
                    </a:solidFill>
                  </a:tcPr>
                </a:tc>
                <a:tc vMerge="1">
                  <a:txBody>
                    <a:bodyPr/>
                    <a:lstStyle/>
                    <a:p>
                      <a:endParaRPr lang="th-TH"/>
                    </a:p>
                  </a:txBody>
                  <a:tcPr/>
                </a:tc>
              </a:tr>
              <a:tr h="233447">
                <a:tc>
                  <a:txBody>
                    <a:bodyPr/>
                    <a:lstStyle/>
                    <a:p>
                      <a:pPr algn="ctr" fontAlgn="t"/>
                      <a:r>
                        <a:rPr lang="th-TH" sz="1500" b="1" i="0" u="none" strike="noStrike" dirty="0">
                          <a:solidFill>
                            <a:srgbClr val="000000"/>
                          </a:solidFill>
                          <a:effectLst/>
                          <a:latin typeface="TH SarabunPSK" pitchFamily="34" charset="-34"/>
                          <a:cs typeface="TH SarabunPSK" pitchFamily="34" charset="-34"/>
                        </a:rPr>
                        <a:t>1</a:t>
                      </a:r>
                    </a:p>
                  </a:txBody>
                  <a:tcPr marL="6462" marR="6462" marT="48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th-TH" sz="1500" b="1" i="0" u="none" strike="noStrike" dirty="0">
                          <a:solidFill>
                            <a:srgbClr val="000000"/>
                          </a:solidFill>
                          <a:effectLst/>
                          <a:latin typeface="TH SarabunPSK" pitchFamily="34" charset="-34"/>
                          <a:cs typeface="TH SarabunPSK" pitchFamily="34" charset="-34"/>
                        </a:rPr>
                        <a:t>สงขลา</a:t>
                      </a:r>
                    </a:p>
                  </a:txBody>
                  <a:tcPr marL="6462" marR="6462" marT="48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th-TH" sz="1500" b="0" i="0" u="none" strike="noStrike" dirty="0">
                          <a:solidFill>
                            <a:srgbClr val="000000"/>
                          </a:solidFill>
                          <a:effectLst/>
                          <a:latin typeface="TH SarabunPSK" pitchFamily="34" charset="-34"/>
                          <a:cs typeface="TH SarabunPSK" pitchFamily="34" charset="-34"/>
                        </a:rPr>
                        <a:t>       493,331 </a:t>
                      </a:r>
                    </a:p>
                  </a:txBody>
                  <a:tcPr marL="6462" marR="6462" marT="48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th-TH" sz="1500" b="1" i="0" u="none" strike="noStrike" dirty="0">
                          <a:solidFill>
                            <a:srgbClr val="000000"/>
                          </a:solidFill>
                          <a:effectLst/>
                          <a:latin typeface="TH SarabunPSK" pitchFamily="34" charset="-34"/>
                          <a:cs typeface="TH SarabunPSK" pitchFamily="34" charset="-34"/>
                        </a:rPr>
                        <a:t>         550,710 </a:t>
                      </a:r>
                    </a:p>
                  </a:txBody>
                  <a:tcPr marL="6462" marR="6462" marT="48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th-TH" sz="1500" b="1" i="0" u="none" strike="noStrike" dirty="0">
                          <a:solidFill>
                            <a:srgbClr val="000000"/>
                          </a:solidFill>
                          <a:effectLst/>
                          <a:latin typeface="TH SarabunPSK" pitchFamily="34" charset="-34"/>
                          <a:cs typeface="TH SarabunPSK" pitchFamily="34" charset="-34"/>
                        </a:rPr>
                        <a:t>11.6</a:t>
                      </a:r>
                    </a:p>
                  </a:txBody>
                  <a:tcPr marL="6462" marR="6462" marT="48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33447">
                <a:tc>
                  <a:txBody>
                    <a:bodyPr/>
                    <a:lstStyle/>
                    <a:p>
                      <a:pPr algn="ctr" fontAlgn="t"/>
                      <a:r>
                        <a:rPr lang="th-TH" sz="1500" b="1" i="0" u="none" strike="noStrike" dirty="0">
                          <a:solidFill>
                            <a:srgbClr val="000000"/>
                          </a:solidFill>
                          <a:effectLst/>
                          <a:latin typeface="TH SarabunPSK" pitchFamily="34" charset="-34"/>
                          <a:cs typeface="TH SarabunPSK" pitchFamily="34" charset="-34"/>
                        </a:rPr>
                        <a:t>2</a:t>
                      </a:r>
                    </a:p>
                  </a:txBody>
                  <a:tcPr marL="6462" marR="6462" marT="48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th-TH" sz="1500" b="1" i="0" u="none" strike="noStrike" dirty="0">
                          <a:solidFill>
                            <a:srgbClr val="000000"/>
                          </a:solidFill>
                          <a:effectLst/>
                          <a:latin typeface="TH SarabunPSK" pitchFamily="34" charset="-34"/>
                          <a:cs typeface="TH SarabunPSK" pitchFamily="34" charset="-34"/>
                        </a:rPr>
                        <a:t>กาญจนบุรี</a:t>
                      </a:r>
                    </a:p>
                  </a:txBody>
                  <a:tcPr marL="6462" marR="6462" marT="48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th-TH" sz="1500" b="0" i="0" u="none" strike="noStrike" dirty="0">
                          <a:solidFill>
                            <a:srgbClr val="000000"/>
                          </a:solidFill>
                          <a:effectLst/>
                          <a:latin typeface="TH SarabunPSK" pitchFamily="34" charset="-34"/>
                          <a:cs typeface="TH SarabunPSK" pitchFamily="34" charset="-34"/>
                        </a:rPr>
                        <a:t>       114,647 </a:t>
                      </a:r>
                    </a:p>
                  </a:txBody>
                  <a:tcPr marL="6462" marR="6462" marT="48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th-TH" sz="1500" b="1" i="0" u="none" strike="noStrike" dirty="0">
                          <a:solidFill>
                            <a:srgbClr val="000000"/>
                          </a:solidFill>
                          <a:effectLst/>
                          <a:latin typeface="TH SarabunPSK" pitchFamily="34" charset="-34"/>
                          <a:cs typeface="TH SarabunPSK" pitchFamily="34" charset="-34"/>
                        </a:rPr>
                        <a:t>         116,554 </a:t>
                      </a:r>
                    </a:p>
                  </a:txBody>
                  <a:tcPr marL="6462" marR="6462" marT="48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th-TH" sz="1500" b="1" i="0" u="none" strike="noStrike" dirty="0">
                          <a:solidFill>
                            <a:srgbClr val="000000"/>
                          </a:solidFill>
                          <a:effectLst/>
                          <a:latin typeface="TH SarabunPSK" pitchFamily="34" charset="-34"/>
                          <a:cs typeface="TH SarabunPSK" pitchFamily="34" charset="-34"/>
                        </a:rPr>
                        <a:t>1.7</a:t>
                      </a:r>
                    </a:p>
                  </a:txBody>
                  <a:tcPr marL="6462" marR="6462" marT="48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33447">
                <a:tc>
                  <a:txBody>
                    <a:bodyPr/>
                    <a:lstStyle/>
                    <a:p>
                      <a:pPr algn="ctr" fontAlgn="t"/>
                      <a:r>
                        <a:rPr lang="th-TH" sz="1500" b="1" i="0" u="none" strike="noStrike" dirty="0">
                          <a:solidFill>
                            <a:srgbClr val="000000"/>
                          </a:solidFill>
                          <a:effectLst/>
                          <a:latin typeface="TH SarabunPSK" pitchFamily="34" charset="-34"/>
                          <a:cs typeface="TH SarabunPSK" pitchFamily="34" charset="-34"/>
                        </a:rPr>
                        <a:t>3</a:t>
                      </a:r>
                    </a:p>
                  </a:txBody>
                  <a:tcPr marL="6462" marR="6462" marT="48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th-TH" sz="1500" b="1" i="0" u="none" strike="noStrike" dirty="0">
                          <a:solidFill>
                            <a:srgbClr val="000000"/>
                          </a:solidFill>
                          <a:effectLst/>
                          <a:latin typeface="TH SarabunPSK" pitchFamily="34" charset="-34"/>
                          <a:cs typeface="TH SarabunPSK" pitchFamily="34" charset="-34"/>
                        </a:rPr>
                        <a:t>สระแก้ว</a:t>
                      </a:r>
                    </a:p>
                  </a:txBody>
                  <a:tcPr marL="6462" marR="6462" marT="48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th-TH" sz="1500" b="0" i="0" u="none" strike="noStrike" dirty="0">
                          <a:solidFill>
                            <a:srgbClr val="000000"/>
                          </a:solidFill>
                          <a:effectLst/>
                          <a:latin typeface="TH SarabunPSK" pitchFamily="34" charset="-34"/>
                          <a:cs typeface="TH SarabunPSK" pitchFamily="34" charset="-34"/>
                        </a:rPr>
                        <a:t>         59,652 </a:t>
                      </a:r>
                    </a:p>
                  </a:txBody>
                  <a:tcPr marL="6462" marR="6462" marT="48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th-TH" sz="1500" b="1" i="0" u="none" strike="noStrike" dirty="0">
                          <a:solidFill>
                            <a:srgbClr val="000000"/>
                          </a:solidFill>
                          <a:effectLst/>
                          <a:latin typeface="TH SarabunPSK" pitchFamily="34" charset="-34"/>
                          <a:cs typeface="TH SarabunPSK" pitchFamily="34" charset="-34"/>
                        </a:rPr>
                        <a:t>           74,772 </a:t>
                      </a:r>
                    </a:p>
                  </a:txBody>
                  <a:tcPr marL="6462" marR="6462" marT="48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th-TH" sz="1500" b="1" i="0" u="none" strike="noStrike" dirty="0">
                          <a:solidFill>
                            <a:srgbClr val="000000"/>
                          </a:solidFill>
                          <a:effectLst/>
                          <a:latin typeface="TH SarabunPSK" pitchFamily="34" charset="-34"/>
                          <a:cs typeface="TH SarabunPSK" pitchFamily="34" charset="-34"/>
                        </a:rPr>
                        <a:t>25.3</a:t>
                      </a:r>
                    </a:p>
                  </a:txBody>
                  <a:tcPr marL="6462" marR="6462" marT="48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33447">
                <a:tc>
                  <a:txBody>
                    <a:bodyPr/>
                    <a:lstStyle/>
                    <a:p>
                      <a:pPr algn="ctr" fontAlgn="t"/>
                      <a:r>
                        <a:rPr lang="th-TH" sz="1500" b="1" i="0" u="none" strike="noStrike" dirty="0">
                          <a:solidFill>
                            <a:srgbClr val="000000"/>
                          </a:solidFill>
                          <a:effectLst/>
                          <a:latin typeface="TH SarabunPSK" pitchFamily="34" charset="-34"/>
                          <a:cs typeface="TH SarabunPSK" pitchFamily="34" charset="-34"/>
                        </a:rPr>
                        <a:t>4</a:t>
                      </a:r>
                    </a:p>
                  </a:txBody>
                  <a:tcPr marL="6462" marR="6462" marT="48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th-TH" sz="1500" b="1" i="0" u="none" strike="noStrike" dirty="0">
                          <a:solidFill>
                            <a:srgbClr val="000000"/>
                          </a:solidFill>
                          <a:effectLst/>
                          <a:latin typeface="TH SarabunPSK" pitchFamily="34" charset="-34"/>
                          <a:cs typeface="TH SarabunPSK" pitchFamily="34" charset="-34"/>
                        </a:rPr>
                        <a:t>ตาก</a:t>
                      </a:r>
                    </a:p>
                  </a:txBody>
                  <a:tcPr marL="6462" marR="6462" marT="48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th-TH" sz="1500" b="0" i="0" u="none" strike="noStrike" dirty="0">
                          <a:solidFill>
                            <a:srgbClr val="000000"/>
                          </a:solidFill>
                          <a:effectLst/>
                          <a:latin typeface="TH SarabunPSK" pitchFamily="34" charset="-34"/>
                          <a:cs typeface="TH SarabunPSK" pitchFamily="34" charset="-34"/>
                        </a:rPr>
                        <a:t>         46,309 </a:t>
                      </a:r>
                    </a:p>
                  </a:txBody>
                  <a:tcPr marL="6462" marR="6462" marT="48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th-TH" sz="1500" b="1" i="0" u="none" strike="noStrike" dirty="0">
                          <a:solidFill>
                            <a:srgbClr val="000000"/>
                          </a:solidFill>
                          <a:effectLst/>
                          <a:latin typeface="TH SarabunPSK" pitchFamily="34" charset="-34"/>
                          <a:cs typeface="TH SarabunPSK" pitchFamily="34" charset="-34"/>
                        </a:rPr>
                        <a:t>           62,552 </a:t>
                      </a:r>
                    </a:p>
                  </a:txBody>
                  <a:tcPr marL="6462" marR="6462" marT="48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th-TH" sz="1500" b="1" i="0" u="none" strike="noStrike" dirty="0">
                          <a:solidFill>
                            <a:srgbClr val="000000"/>
                          </a:solidFill>
                          <a:effectLst/>
                          <a:latin typeface="TH SarabunPSK" pitchFamily="34" charset="-34"/>
                          <a:cs typeface="TH SarabunPSK" pitchFamily="34" charset="-34"/>
                        </a:rPr>
                        <a:t>35.1</a:t>
                      </a:r>
                    </a:p>
                  </a:txBody>
                  <a:tcPr marL="6462" marR="6462" marT="48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33447">
                <a:tc>
                  <a:txBody>
                    <a:bodyPr/>
                    <a:lstStyle/>
                    <a:p>
                      <a:pPr algn="ctr" fontAlgn="t"/>
                      <a:r>
                        <a:rPr lang="th-TH" sz="1500" b="1" i="0" u="none" strike="noStrike" dirty="0">
                          <a:solidFill>
                            <a:srgbClr val="000000"/>
                          </a:solidFill>
                          <a:effectLst/>
                          <a:latin typeface="TH SarabunPSK" pitchFamily="34" charset="-34"/>
                          <a:cs typeface="TH SarabunPSK" pitchFamily="34" charset="-34"/>
                        </a:rPr>
                        <a:t>5</a:t>
                      </a:r>
                    </a:p>
                  </a:txBody>
                  <a:tcPr marL="6462" marR="6462" marT="48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th-TH" sz="1500" b="1" i="0" u="none" strike="noStrike" dirty="0">
                          <a:solidFill>
                            <a:srgbClr val="000000"/>
                          </a:solidFill>
                          <a:effectLst/>
                          <a:latin typeface="TH SarabunPSK" pitchFamily="34" charset="-34"/>
                          <a:cs typeface="TH SarabunPSK" pitchFamily="34" charset="-34"/>
                        </a:rPr>
                        <a:t>หนองคาย</a:t>
                      </a:r>
                    </a:p>
                  </a:txBody>
                  <a:tcPr marL="6462" marR="6462" marT="48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th-TH" sz="1500" b="0" i="0" u="none" strike="noStrike" dirty="0">
                          <a:solidFill>
                            <a:srgbClr val="000000"/>
                          </a:solidFill>
                          <a:effectLst/>
                          <a:latin typeface="TH SarabunPSK" pitchFamily="34" charset="-34"/>
                          <a:cs typeface="TH SarabunPSK" pitchFamily="34" charset="-34"/>
                        </a:rPr>
                        <a:t>         57,243 </a:t>
                      </a:r>
                    </a:p>
                  </a:txBody>
                  <a:tcPr marL="6462" marR="6462" marT="48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th-TH" sz="1500" b="1" i="0" u="none" strike="noStrike" dirty="0">
                          <a:solidFill>
                            <a:srgbClr val="000000"/>
                          </a:solidFill>
                          <a:effectLst/>
                          <a:latin typeface="TH SarabunPSK" pitchFamily="34" charset="-34"/>
                          <a:cs typeface="TH SarabunPSK" pitchFamily="34" charset="-34"/>
                        </a:rPr>
                        <a:t>          60,128 </a:t>
                      </a:r>
                    </a:p>
                  </a:txBody>
                  <a:tcPr marL="6462" marR="6462" marT="48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th-TH" sz="1500" b="1" i="0" u="none" strike="noStrike" dirty="0">
                          <a:solidFill>
                            <a:srgbClr val="000000"/>
                          </a:solidFill>
                          <a:effectLst/>
                          <a:latin typeface="TH SarabunPSK" pitchFamily="34" charset="-34"/>
                          <a:cs typeface="TH SarabunPSK" pitchFamily="34" charset="-34"/>
                        </a:rPr>
                        <a:t>5.0</a:t>
                      </a:r>
                    </a:p>
                  </a:txBody>
                  <a:tcPr marL="6462" marR="6462" marT="48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33447">
                <a:tc>
                  <a:txBody>
                    <a:bodyPr/>
                    <a:lstStyle/>
                    <a:p>
                      <a:pPr algn="ctr" fontAlgn="t"/>
                      <a:r>
                        <a:rPr lang="th-TH" sz="1500" b="1" i="0" u="none" strike="noStrike" dirty="0">
                          <a:solidFill>
                            <a:srgbClr val="000000"/>
                          </a:solidFill>
                          <a:effectLst/>
                          <a:latin typeface="TH SarabunPSK" pitchFamily="34" charset="-34"/>
                          <a:cs typeface="TH SarabunPSK" pitchFamily="34" charset="-34"/>
                        </a:rPr>
                        <a:t>6</a:t>
                      </a:r>
                    </a:p>
                  </a:txBody>
                  <a:tcPr marL="6462" marR="6462" marT="48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th-TH" sz="1500" b="1" i="0" u="none" strike="noStrike" dirty="0">
                          <a:solidFill>
                            <a:srgbClr val="000000"/>
                          </a:solidFill>
                          <a:effectLst/>
                          <a:latin typeface="TH SarabunPSK" pitchFamily="34" charset="-34"/>
                          <a:cs typeface="TH SarabunPSK" pitchFamily="34" charset="-34"/>
                        </a:rPr>
                        <a:t>มุกดาหาร</a:t>
                      </a:r>
                    </a:p>
                  </a:txBody>
                  <a:tcPr marL="6462" marR="6462" marT="48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th-TH" sz="1500" b="0" i="0" u="none" strike="noStrike">
                          <a:solidFill>
                            <a:srgbClr val="000000"/>
                          </a:solidFill>
                          <a:effectLst/>
                          <a:latin typeface="TH SarabunPSK" pitchFamily="34" charset="-34"/>
                          <a:cs typeface="TH SarabunPSK" pitchFamily="34" charset="-34"/>
                        </a:rPr>
                        <a:t>         30,442 </a:t>
                      </a:r>
                    </a:p>
                  </a:txBody>
                  <a:tcPr marL="6462" marR="6462" marT="48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th-TH" sz="1500" b="1" i="0" u="none" strike="noStrike" dirty="0">
                          <a:solidFill>
                            <a:srgbClr val="000000"/>
                          </a:solidFill>
                          <a:effectLst/>
                          <a:latin typeface="TH SarabunPSK" pitchFamily="34" charset="-34"/>
                          <a:cs typeface="TH SarabunPSK" pitchFamily="34" charset="-34"/>
                        </a:rPr>
                        <a:t>           39,325 </a:t>
                      </a:r>
                    </a:p>
                  </a:txBody>
                  <a:tcPr marL="6462" marR="6462" marT="48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th-TH" sz="1500" b="1" i="0" u="none" strike="noStrike" dirty="0">
                          <a:solidFill>
                            <a:srgbClr val="000000"/>
                          </a:solidFill>
                          <a:effectLst/>
                          <a:latin typeface="TH SarabunPSK" pitchFamily="34" charset="-34"/>
                          <a:cs typeface="TH SarabunPSK" pitchFamily="34" charset="-34"/>
                        </a:rPr>
                        <a:t>29.2</a:t>
                      </a:r>
                    </a:p>
                  </a:txBody>
                  <a:tcPr marL="6462" marR="6462" marT="48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33447">
                <a:tc>
                  <a:txBody>
                    <a:bodyPr/>
                    <a:lstStyle/>
                    <a:p>
                      <a:pPr algn="ctr" fontAlgn="t"/>
                      <a:r>
                        <a:rPr lang="th-TH" sz="1500" b="1" i="0" u="none" strike="noStrike" dirty="0">
                          <a:solidFill>
                            <a:srgbClr val="000000"/>
                          </a:solidFill>
                          <a:effectLst/>
                          <a:latin typeface="TH SarabunPSK" pitchFamily="34" charset="-34"/>
                          <a:cs typeface="TH SarabunPSK" pitchFamily="34" charset="-34"/>
                        </a:rPr>
                        <a:t>7</a:t>
                      </a:r>
                    </a:p>
                  </a:txBody>
                  <a:tcPr marL="6462" marR="6462" marT="48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th-TH" sz="1500" b="1" i="0" u="none" strike="noStrike" dirty="0">
                          <a:solidFill>
                            <a:srgbClr val="000000"/>
                          </a:solidFill>
                          <a:effectLst/>
                          <a:latin typeface="TH SarabunPSK" pitchFamily="34" charset="-34"/>
                          <a:cs typeface="TH SarabunPSK" pitchFamily="34" charset="-34"/>
                        </a:rPr>
                        <a:t>ตราด</a:t>
                      </a:r>
                    </a:p>
                  </a:txBody>
                  <a:tcPr marL="6462" marR="6462" marT="48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th-TH" sz="1500" b="0" i="0" u="none" strike="noStrike">
                          <a:solidFill>
                            <a:srgbClr val="000000"/>
                          </a:solidFill>
                          <a:effectLst/>
                          <a:latin typeface="TH SarabunPSK" pitchFamily="34" charset="-34"/>
                          <a:cs typeface="TH SarabunPSK" pitchFamily="34" charset="-34"/>
                        </a:rPr>
                        <a:t>         26,826 </a:t>
                      </a:r>
                    </a:p>
                  </a:txBody>
                  <a:tcPr marL="6462" marR="6462" marT="48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th-TH" sz="1500" b="1" i="0" u="none" strike="noStrike" dirty="0">
                          <a:solidFill>
                            <a:srgbClr val="000000"/>
                          </a:solidFill>
                          <a:effectLst/>
                          <a:latin typeface="TH SarabunPSK" pitchFamily="34" charset="-34"/>
                          <a:cs typeface="TH SarabunPSK" pitchFamily="34" charset="-34"/>
                        </a:rPr>
                        <a:t>           29,636 </a:t>
                      </a:r>
                    </a:p>
                  </a:txBody>
                  <a:tcPr marL="6462" marR="6462" marT="48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th-TH" sz="1500" b="1" i="0" u="none" strike="noStrike" dirty="0">
                          <a:solidFill>
                            <a:srgbClr val="000000"/>
                          </a:solidFill>
                          <a:effectLst/>
                          <a:latin typeface="TH SarabunPSK" pitchFamily="34" charset="-34"/>
                          <a:cs typeface="TH SarabunPSK" pitchFamily="34" charset="-34"/>
                        </a:rPr>
                        <a:t>10.5</a:t>
                      </a:r>
                    </a:p>
                  </a:txBody>
                  <a:tcPr marL="6462" marR="6462" marT="48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33447">
                <a:tc>
                  <a:txBody>
                    <a:bodyPr/>
                    <a:lstStyle/>
                    <a:p>
                      <a:pPr algn="ctr" fontAlgn="t"/>
                      <a:r>
                        <a:rPr lang="th-TH" sz="1500" b="1" i="0" u="none" strike="noStrike" dirty="0">
                          <a:solidFill>
                            <a:srgbClr val="000000"/>
                          </a:solidFill>
                          <a:effectLst/>
                          <a:latin typeface="TH SarabunPSK" pitchFamily="34" charset="-34"/>
                          <a:cs typeface="TH SarabunPSK" pitchFamily="34" charset="-34"/>
                        </a:rPr>
                        <a:t>8</a:t>
                      </a:r>
                    </a:p>
                  </a:txBody>
                  <a:tcPr marL="6462" marR="6462" marT="48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th-TH" sz="1500" b="1" i="0" u="none" strike="noStrike" dirty="0">
                          <a:solidFill>
                            <a:srgbClr val="000000"/>
                          </a:solidFill>
                          <a:effectLst/>
                          <a:latin typeface="TH SarabunPSK" pitchFamily="34" charset="-34"/>
                          <a:cs typeface="TH SarabunPSK" pitchFamily="34" charset="-34"/>
                        </a:rPr>
                        <a:t>เชียงราย</a:t>
                      </a:r>
                    </a:p>
                  </a:txBody>
                  <a:tcPr marL="6462" marR="6462" marT="48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th-TH" sz="1500" b="0" i="0" u="none" strike="noStrike">
                          <a:solidFill>
                            <a:srgbClr val="000000"/>
                          </a:solidFill>
                          <a:effectLst/>
                          <a:latin typeface="TH SarabunPSK" pitchFamily="34" charset="-34"/>
                          <a:cs typeface="TH SarabunPSK" pitchFamily="34" charset="-34"/>
                        </a:rPr>
                        <a:t>         24,742 </a:t>
                      </a:r>
                    </a:p>
                  </a:txBody>
                  <a:tcPr marL="6462" marR="6462" marT="48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th-TH" sz="1500" b="1" i="0" u="none" strike="noStrike">
                          <a:solidFill>
                            <a:srgbClr val="000000"/>
                          </a:solidFill>
                          <a:effectLst/>
                          <a:latin typeface="TH SarabunPSK" pitchFamily="34" charset="-34"/>
                          <a:cs typeface="TH SarabunPSK" pitchFamily="34" charset="-34"/>
                        </a:rPr>
                        <a:t>           27,306 </a:t>
                      </a:r>
                    </a:p>
                  </a:txBody>
                  <a:tcPr marL="6462" marR="6462" marT="48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th-TH" sz="1500" b="1" i="0" u="none" strike="noStrike" dirty="0">
                          <a:solidFill>
                            <a:srgbClr val="000000"/>
                          </a:solidFill>
                          <a:effectLst/>
                          <a:latin typeface="TH SarabunPSK" pitchFamily="34" charset="-34"/>
                          <a:cs typeface="TH SarabunPSK" pitchFamily="34" charset="-34"/>
                        </a:rPr>
                        <a:t>10.4</a:t>
                      </a:r>
                    </a:p>
                  </a:txBody>
                  <a:tcPr marL="6462" marR="6462" marT="48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33447">
                <a:tc>
                  <a:txBody>
                    <a:bodyPr/>
                    <a:lstStyle/>
                    <a:p>
                      <a:pPr algn="ctr" fontAlgn="t"/>
                      <a:r>
                        <a:rPr lang="th-TH" sz="1500" b="1" i="0" u="none" strike="noStrike" dirty="0">
                          <a:solidFill>
                            <a:srgbClr val="000000"/>
                          </a:solidFill>
                          <a:effectLst/>
                          <a:latin typeface="TH SarabunPSK" pitchFamily="34" charset="-34"/>
                          <a:cs typeface="TH SarabunPSK" pitchFamily="34" charset="-34"/>
                        </a:rPr>
                        <a:t>9</a:t>
                      </a:r>
                    </a:p>
                  </a:txBody>
                  <a:tcPr marL="6462" marR="6462" marT="48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th-TH" sz="1500" b="1" i="0" u="none" strike="noStrike" dirty="0">
                          <a:solidFill>
                            <a:srgbClr val="000000"/>
                          </a:solidFill>
                          <a:effectLst/>
                          <a:latin typeface="TH SarabunPSK" pitchFamily="34" charset="-34"/>
                          <a:cs typeface="TH SarabunPSK" pitchFamily="34" charset="-34"/>
                        </a:rPr>
                        <a:t>นครพนม</a:t>
                      </a:r>
                    </a:p>
                  </a:txBody>
                  <a:tcPr marL="6462" marR="6462" marT="48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th-TH" sz="1500" b="0" i="0" u="none" strike="noStrike">
                          <a:solidFill>
                            <a:srgbClr val="000000"/>
                          </a:solidFill>
                          <a:effectLst/>
                          <a:latin typeface="TH SarabunPSK" pitchFamily="34" charset="-34"/>
                          <a:cs typeface="TH SarabunPSK" pitchFamily="34" charset="-34"/>
                        </a:rPr>
                        <a:t>          2,901 </a:t>
                      </a:r>
                    </a:p>
                  </a:txBody>
                  <a:tcPr marL="6462" marR="6462" marT="48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th-TH" sz="1500" b="1" i="0" u="none" strike="noStrike">
                          <a:solidFill>
                            <a:srgbClr val="000000"/>
                          </a:solidFill>
                          <a:effectLst/>
                          <a:latin typeface="TH SarabunPSK" pitchFamily="34" charset="-34"/>
                          <a:cs typeface="TH SarabunPSK" pitchFamily="34" charset="-34"/>
                        </a:rPr>
                        <a:t>            4,426 </a:t>
                      </a:r>
                    </a:p>
                  </a:txBody>
                  <a:tcPr marL="6462" marR="6462" marT="48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th-TH" sz="1500" b="1" i="0" u="none" strike="noStrike" dirty="0">
                          <a:solidFill>
                            <a:srgbClr val="000000"/>
                          </a:solidFill>
                          <a:effectLst/>
                          <a:latin typeface="TH SarabunPSK" pitchFamily="34" charset="-34"/>
                          <a:cs typeface="TH SarabunPSK" pitchFamily="34" charset="-34"/>
                        </a:rPr>
                        <a:t>52.6</a:t>
                      </a:r>
                    </a:p>
                  </a:txBody>
                  <a:tcPr marL="6462" marR="6462" marT="48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33447">
                <a:tc>
                  <a:txBody>
                    <a:bodyPr/>
                    <a:lstStyle/>
                    <a:p>
                      <a:pPr algn="ctr" fontAlgn="t"/>
                      <a:r>
                        <a:rPr lang="th-TH" sz="1500" b="1" i="0" u="none" strike="noStrike" dirty="0">
                          <a:solidFill>
                            <a:srgbClr val="000000"/>
                          </a:solidFill>
                          <a:effectLst/>
                          <a:latin typeface="TH SarabunPSK" pitchFamily="34" charset="-34"/>
                          <a:cs typeface="TH SarabunPSK" pitchFamily="34" charset="-34"/>
                        </a:rPr>
                        <a:t>10</a:t>
                      </a:r>
                    </a:p>
                  </a:txBody>
                  <a:tcPr marL="6462" marR="6462" marT="48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th-TH" sz="1500" b="1" i="0" u="none" strike="noStrike" dirty="0">
                          <a:solidFill>
                            <a:srgbClr val="000000"/>
                          </a:solidFill>
                          <a:effectLst/>
                          <a:latin typeface="TH SarabunPSK" pitchFamily="34" charset="-34"/>
                          <a:cs typeface="TH SarabunPSK" pitchFamily="34" charset="-34"/>
                        </a:rPr>
                        <a:t>นราธิวาส</a:t>
                      </a:r>
                    </a:p>
                  </a:txBody>
                  <a:tcPr marL="6462" marR="6462" marT="48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th-TH" sz="1500" b="0" i="0" u="none" strike="noStrike">
                          <a:solidFill>
                            <a:srgbClr val="000000"/>
                          </a:solidFill>
                          <a:effectLst/>
                          <a:latin typeface="TH SarabunPSK" pitchFamily="34" charset="-34"/>
                          <a:cs typeface="TH SarabunPSK" pitchFamily="34" charset="-34"/>
                        </a:rPr>
                        <a:t>          3,139 </a:t>
                      </a:r>
                    </a:p>
                  </a:txBody>
                  <a:tcPr marL="6462" marR="6462" marT="48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th-TH" sz="1500" b="1" i="0" u="none" strike="noStrike">
                          <a:solidFill>
                            <a:srgbClr val="000000"/>
                          </a:solidFill>
                          <a:effectLst/>
                          <a:latin typeface="TH SarabunPSK" pitchFamily="34" charset="-34"/>
                          <a:cs typeface="TH SarabunPSK" pitchFamily="34" charset="-34"/>
                        </a:rPr>
                        <a:t>            3,106 </a:t>
                      </a:r>
                    </a:p>
                  </a:txBody>
                  <a:tcPr marL="6462" marR="6462" marT="48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b"/>
                      <a:r>
                        <a:rPr lang="th-TH" sz="1500" b="1" i="0" u="none" strike="noStrike" dirty="0">
                          <a:solidFill>
                            <a:srgbClr val="000000"/>
                          </a:solidFill>
                          <a:effectLst/>
                          <a:latin typeface="TH SarabunPSK" pitchFamily="34" charset="-34"/>
                          <a:cs typeface="TH SarabunPSK" pitchFamily="34" charset="-34"/>
                        </a:rPr>
                        <a:t>-1.1</a:t>
                      </a:r>
                    </a:p>
                  </a:txBody>
                  <a:tcPr marL="6462" marR="6462" marT="48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33447">
                <a:tc>
                  <a:txBody>
                    <a:bodyPr/>
                    <a:lstStyle/>
                    <a:p>
                      <a:pPr algn="l" fontAlgn="b"/>
                      <a:r>
                        <a:rPr lang="th-TH" sz="1500" b="0" i="0" u="none" strike="noStrike" dirty="0">
                          <a:solidFill>
                            <a:srgbClr val="000000"/>
                          </a:solidFill>
                          <a:effectLst/>
                          <a:latin typeface="TH SarabunPSK" pitchFamily="34" charset="-34"/>
                          <a:cs typeface="TH SarabunPSK" pitchFamily="34" charset="-34"/>
                        </a:rPr>
                        <a:t> </a:t>
                      </a:r>
                    </a:p>
                  </a:txBody>
                  <a:tcPr marL="6462" marR="6462" marT="48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5D9F1"/>
                    </a:solidFill>
                  </a:tcPr>
                </a:tc>
                <a:tc>
                  <a:txBody>
                    <a:bodyPr/>
                    <a:lstStyle/>
                    <a:p>
                      <a:pPr algn="ctr" fontAlgn="b"/>
                      <a:r>
                        <a:rPr lang="th-TH" sz="1500" b="1" i="0" u="none" strike="noStrike" dirty="0">
                          <a:solidFill>
                            <a:srgbClr val="000000"/>
                          </a:solidFill>
                          <a:effectLst/>
                          <a:latin typeface="TH SarabunPSK" pitchFamily="34" charset="-34"/>
                          <a:cs typeface="TH SarabunPSK" pitchFamily="34" charset="-34"/>
                        </a:rPr>
                        <a:t>รวม 10 จังหวัด</a:t>
                      </a:r>
                    </a:p>
                  </a:txBody>
                  <a:tcPr marL="6462" marR="6462" marT="484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5D9F1"/>
                    </a:solidFill>
                  </a:tcPr>
                </a:tc>
                <a:tc>
                  <a:txBody>
                    <a:bodyPr/>
                    <a:lstStyle/>
                    <a:p>
                      <a:pPr algn="l" fontAlgn="b"/>
                      <a:r>
                        <a:rPr lang="th-TH" sz="1500" b="0" i="0" u="none" strike="noStrike" dirty="0">
                          <a:solidFill>
                            <a:srgbClr val="000000"/>
                          </a:solidFill>
                          <a:effectLst/>
                          <a:latin typeface="TH SarabunPSK" pitchFamily="34" charset="-34"/>
                          <a:cs typeface="TH SarabunPSK" pitchFamily="34" charset="-34"/>
                        </a:rPr>
                        <a:t>       859,232 </a:t>
                      </a:r>
                    </a:p>
                  </a:txBody>
                  <a:tcPr marL="6462" marR="6462" marT="484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5D9F1"/>
                    </a:solidFill>
                  </a:tcPr>
                </a:tc>
                <a:tc>
                  <a:txBody>
                    <a:bodyPr/>
                    <a:lstStyle/>
                    <a:p>
                      <a:pPr algn="l" fontAlgn="b"/>
                      <a:r>
                        <a:rPr lang="th-TH" sz="1500" b="1" i="0" u="none" strike="noStrike" dirty="0">
                          <a:solidFill>
                            <a:srgbClr val="000000"/>
                          </a:solidFill>
                          <a:effectLst/>
                          <a:latin typeface="TH SarabunPSK" pitchFamily="34" charset="-34"/>
                          <a:cs typeface="TH SarabunPSK" pitchFamily="34" charset="-34"/>
                        </a:rPr>
                        <a:t>         968,515 </a:t>
                      </a:r>
                    </a:p>
                  </a:txBody>
                  <a:tcPr marL="6462" marR="6462" marT="484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5D9F1"/>
                    </a:solidFill>
                  </a:tcPr>
                </a:tc>
                <a:tc>
                  <a:txBody>
                    <a:bodyPr/>
                    <a:lstStyle/>
                    <a:p>
                      <a:pPr algn="ctr" fontAlgn="b"/>
                      <a:r>
                        <a:rPr lang="th-TH" sz="1500" b="1" i="0" u="none" strike="noStrike" dirty="0">
                          <a:solidFill>
                            <a:srgbClr val="000000"/>
                          </a:solidFill>
                          <a:effectLst/>
                          <a:latin typeface="TH SarabunPSK" pitchFamily="34" charset="-34"/>
                          <a:cs typeface="TH SarabunPSK" pitchFamily="34" charset="-34"/>
                        </a:rPr>
                        <a:t>12.7</a:t>
                      </a:r>
                    </a:p>
                  </a:txBody>
                  <a:tcPr marL="6462" marR="6462" marT="4847"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5D9F1"/>
                    </a:solidFill>
                  </a:tcPr>
                </a:tc>
              </a:tr>
              <a:tr h="233447">
                <a:tc>
                  <a:txBody>
                    <a:bodyPr/>
                    <a:lstStyle/>
                    <a:p>
                      <a:pPr algn="l" fontAlgn="b"/>
                      <a:r>
                        <a:rPr lang="th-TH" sz="1500" b="0" i="0" u="none" strike="noStrike" dirty="0">
                          <a:solidFill>
                            <a:srgbClr val="000000"/>
                          </a:solidFill>
                          <a:effectLst/>
                          <a:latin typeface="TH SarabunPSK" pitchFamily="34" charset="-34"/>
                          <a:cs typeface="TH SarabunPSK" pitchFamily="34" charset="-34"/>
                        </a:rPr>
                        <a:t> </a:t>
                      </a:r>
                    </a:p>
                  </a:txBody>
                  <a:tcPr marL="6462" marR="6462" marT="48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5D9F1"/>
                    </a:solidFill>
                  </a:tcPr>
                </a:tc>
                <a:tc>
                  <a:txBody>
                    <a:bodyPr/>
                    <a:lstStyle/>
                    <a:p>
                      <a:pPr algn="l" fontAlgn="t"/>
                      <a:r>
                        <a:rPr lang="th-TH" sz="1500" b="1" i="0" u="none" strike="noStrike" dirty="0">
                          <a:solidFill>
                            <a:srgbClr val="000000"/>
                          </a:solidFill>
                          <a:effectLst/>
                          <a:latin typeface="TH SarabunPSK" pitchFamily="34" charset="-34"/>
                          <a:cs typeface="TH SarabunPSK" pitchFamily="34" charset="-34"/>
                        </a:rPr>
                        <a:t>การค้าชายแดนรวมทั้ง</a:t>
                      </a:r>
                      <a:r>
                        <a:rPr lang="th-TH" sz="1500" b="1" i="0" u="none" strike="noStrike" dirty="0" smtClean="0">
                          <a:solidFill>
                            <a:srgbClr val="000000"/>
                          </a:solidFill>
                          <a:effectLst/>
                          <a:latin typeface="TH SarabunPSK" pitchFamily="34" charset="-34"/>
                          <a:cs typeface="TH SarabunPSK" pitchFamily="34" charset="-34"/>
                        </a:rPr>
                        <a:t>ประเทศ</a:t>
                      </a:r>
                      <a:endParaRPr lang="th-TH" sz="1500" b="1" i="0" u="none" strike="noStrike" dirty="0">
                        <a:solidFill>
                          <a:srgbClr val="000000"/>
                        </a:solidFill>
                        <a:effectLst/>
                        <a:latin typeface="TH SarabunPSK" pitchFamily="34" charset="-34"/>
                        <a:cs typeface="TH SarabunPSK" pitchFamily="34" charset="-34"/>
                      </a:endParaRPr>
                    </a:p>
                  </a:txBody>
                  <a:tcPr marL="6462" marR="6462" marT="48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5D9F1"/>
                    </a:solidFill>
                  </a:tcPr>
                </a:tc>
                <a:tc>
                  <a:txBody>
                    <a:bodyPr/>
                    <a:lstStyle/>
                    <a:p>
                      <a:pPr algn="l" fontAlgn="t"/>
                      <a:r>
                        <a:rPr lang="th-TH" sz="1500" b="0" i="0" u="none" strike="noStrike" dirty="0">
                          <a:solidFill>
                            <a:srgbClr val="000000"/>
                          </a:solidFill>
                          <a:effectLst/>
                          <a:latin typeface="TH SarabunPSK" pitchFamily="34" charset="-34"/>
                          <a:cs typeface="TH SarabunPSK" pitchFamily="34" charset="-34"/>
                        </a:rPr>
                        <a:t>       </a:t>
                      </a:r>
                      <a:r>
                        <a:rPr lang="th-TH" sz="1500" b="0" i="0" u="none" strike="noStrike" dirty="0" smtClean="0">
                          <a:solidFill>
                            <a:srgbClr val="000000"/>
                          </a:solidFill>
                          <a:effectLst/>
                          <a:latin typeface="TH SarabunPSK" pitchFamily="34" charset="-34"/>
                          <a:cs typeface="TH SarabunPSK" pitchFamily="34" charset="-34"/>
                        </a:rPr>
                        <a:t>924,237</a:t>
                      </a:r>
                      <a:endParaRPr lang="th-TH" sz="1500" b="0" i="0" u="none" strike="noStrike" dirty="0">
                        <a:solidFill>
                          <a:srgbClr val="000000"/>
                        </a:solidFill>
                        <a:effectLst/>
                        <a:latin typeface="TH SarabunPSK" pitchFamily="34" charset="-34"/>
                        <a:cs typeface="TH SarabunPSK" pitchFamily="34" charset="-34"/>
                      </a:endParaRPr>
                    </a:p>
                  </a:txBody>
                  <a:tcPr marL="6462" marR="6462" marT="48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5D9F1"/>
                    </a:solidFill>
                  </a:tcPr>
                </a:tc>
                <a:tc>
                  <a:txBody>
                    <a:bodyPr/>
                    <a:lstStyle/>
                    <a:p>
                      <a:pPr algn="l" fontAlgn="t"/>
                      <a:r>
                        <a:rPr lang="th-TH" sz="1500" b="1" i="0" u="none" strike="noStrike" dirty="0">
                          <a:solidFill>
                            <a:srgbClr val="000000"/>
                          </a:solidFill>
                          <a:effectLst/>
                          <a:latin typeface="TH SarabunPSK" pitchFamily="34" charset="-34"/>
                          <a:cs typeface="TH SarabunPSK" pitchFamily="34" charset="-34"/>
                        </a:rPr>
                        <a:t>         987,572 </a:t>
                      </a:r>
                    </a:p>
                  </a:txBody>
                  <a:tcPr marL="6462" marR="6462" marT="48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5D9F1"/>
                    </a:solidFill>
                  </a:tcPr>
                </a:tc>
                <a:tc>
                  <a:txBody>
                    <a:bodyPr/>
                    <a:lstStyle/>
                    <a:p>
                      <a:pPr algn="ctr" fontAlgn="b"/>
                      <a:r>
                        <a:rPr lang="th-TH" sz="1500" b="1" i="0" u="none" strike="noStrike" dirty="0">
                          <a:solidFill>
                            <a:srgbClr val="000000"/>
                          </a:solidFill>
                          <a:effectLst/>
                          <a:latin typeface="TH SarabunPSK" pitchFamily="34" charset="-34"/>
                          <a:cs typeface="TH SarabunPSK" pitchFamily="34" charset="-34"/>
                        </a:rPr>
                        <a:t>6.9</a:t>
                      </a:r>
                    </a:p>
                  </a:txBody>
                  <a:tcPr marL="6462" marR="6462" marT="484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5D9F1"/>
                    </a:solidFill>
                  </a:tcPr>
                </a:tc>
              </a:tr>
            </a:tbl>
          </a:graphicData>
        </a:graphic>
      </p:graphicFrame>
      <p:sp>
        <p:nvSpPr>
          <p:cNvPr id="3" name="Rectangle 2"/>
          <p:cNvSpPr/>
          <p:nvPr/>
        </p:nvSpPr>
        <p:spPr>
          <a:xfrm>
            <a:off x="812018" y="4691051"/>
            <a:ext cx="8064896" cy="263353"/>
          </a:xfrm>
          <a:prstGeom prst="rect">
            <a:avLst/>
          </a:prstGeom>
        </p:spPr>
        <p:txBody>
          <a:bodyPr wrap="square" lIns="77925" tIns="38963" rIns="77925" bIns="38963">
            <a:spAutoFit/>
          </a:bodyPr>
          <a:lstStyle/>
          <a:p>
            <a:r>
              <a:rPr lang="th-TH" sz="1200" dirty="0">
                <a:latin typeface="TH SarabunPSK" pitchFamily="34" charset="-34"/>
                <a:cs typeface="TH SarabunPSK" pitchFamily="34" charset="-34"/>
              </a:rPr>
              <a:t>ที่มา : ประมวลจากข้อมูลของกรมการค้าต่างประเทศ กระทรวงพาณิชย์ โดยสำนักยุทธศาสตร์และการวางแผนพัฒนาพื้นที่ สศช.</a:t>
            </a:r>
          </a:p>
        </p:txBody>
      </p:sp>
      <p:sp>
        <p:nvSpPr>
          <p:cNvPr id="4" name="Title 2"/>
          <p:cNvSpPr>
            <a:spLocks noGrp="1"/>
          </p:cNvSpPr>
          <p:nvPr>
            <p:ph type="title"/>
          </p:nvPr>
        </p:nvSpPr>
        <p:spPr>
          <a:xfrm>
            <a:off x="777937" y="292331"/>
            <a:ext cx="8098972" cy="560923"/>
          </a:xfrm>
        </p:spPr>
        <p:txBody>
          <a:bodyPr/>
          <a:lstStyle/>
          <a:p>
            <a:r>
              <a:rPr lang="th-TH" sz="2700" b="1" dirty="0">
                <a:latin typeface="TH SarabunPSK" pitchFamily="34" charset="-34"/>
                <a:cs typeface="TH SarabunPSK" pitchFamily="34" charset="-34"/>
              </a:rPr>
              <a:t>มูลค่าการค้าชายแดนของพื้นที่เขตเศรษฐกิจพิเศษ </a:t>
            </a:r>
            <a:r>
              <a:rPr lang="en-US" sz="2700" b="1" dirty="0">
                <a:latin typeface="TH SarabunPSK" pitchFamily="34" charset="-34"/>
                <a:cs typeface="TH SarabunPSK" pitchFamily="34" charset="-34"/>
              </a:rPr>
              <a:t>10 </a:t>
            </a:r>
            <a:r>
              <a:rPr lang="th-TH" sz="2700" b="1" dirty="0">
                <a:latin typeface="TH SarabunPSK" pitchFamily="34" charset="-34"/>
                <a:cs typeface="TH SarabunPSK" pitchFamily="34" charset="-34"/>
              </a:rPr>
              <a:t>จังหวัด มีมูลค่าสูงถึง 968,515 ล้านบาท หรือร้อยละ 98 ของการค้าชายแดนรวมทั้งประเทศ  </a:t>
            </a:r>
            <a:endParaRPr lang="en-US" sz="2700" b="1" dirty="0">
              <a:latin typeface="TH SarabunPSK" pitchFamily="34" charset="-34"/>
              <a:cs typeface="TH SarabunPSK" pitchFamily="34" charset="-34"/>
            </a:endParaRPr>
          </a:p>
        </p:txBody>
      </p:sp>
    </p:spTree>
    <p:extLst>
      <p:ext uri="{BB962C8B-B14F-4D97-AF65-F5344CB8AC3E}">
        <p14:creationId xmlns:p14="http://schemas.microsoft.com/office/powerpoint/2010/main" xmlns="" val="1001597690"/>
      </p:ext>
    </p:extLst>
  </p:cSld>
  <p:clrMapOvr>
    <a:masterClrMapping/>
  </p:clrMapOvr>
  <p:transition spd="med">
    <p:fade thruBlk="1"/>
  </p:transition>
  <p:timing>
    <p:tnLst>
      <p:par>
        <p:cTn id="1" dur="indefinite" restart="never" nodeType="tmRoot"/>
      </p:par>
    </p:tnLst>
  </p:timing>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2"/>
          <p:cNvSpPr txBox="1">
            <a:spLocks/>
          </p:cNvSpPr>
          <p:nvPr/>
        </p:nvSpPr>
        <p:spPr>
          <a:xfrm>
            <a:off x="0" y="85727"/>
            <a:ext cx="9144000" cy="219345"/>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defRPr lang="en-US" sz="2700" b="0" kern="1200" baseline="0">
                <a:solidFill>
                  <a:schemeClr val="tx1"/>
                </a:solidFill>
                <a:latin typeface="+mj-lt"/>
                <a:ea typeface="+mj-ea"/>
                <a:cs typeface="+mj-cs"/>
                <a:sym typeface="+mn-lt"/>
              </a:defRPr>
            </a:lvl1pPr>
          </a:lstStyle>
          <a:p>
            <a:pPr algn="ctr"/>
            <a:r>
              <a:rPr lang="th-TH" sz="2400" b="1" dirty="0">
                <a:latin typeface="TH SarabunPSK" pitchFamily="34" charset="-34"/>
                <a:cs typeface="TH SarabunPSK" pitchFamily="34" charset="-34"/>
              </a:rPr>
              <a:t>โอกาสการลงทุน </a:t>
            </a:r>
            <a:r>
              <a:rPr lang="en-US" sz="2400" b="1" dirty="0">
                <a:latin typeface="TH SarabunPSK" pitchFamily="34" charset="-34"/>
                <a:cs typeface="TH SarabunPSK" pitchFamily="34" charset="-34"/>
              </a:rPr>
              <a:t>: </a:t>
            </a:r>
            <a:r>
              <a:rPr lang="th-TH" sz="2400" b="1" dirty="0">
                <a:latin typeface="TH SarabunPSK" pitchFamily="34" charset="-34"/>
                <a:cs typeface="TH SarabunPSK" pitchFamily="34" charset="-34"/>
              </a:rPr>
              <a:t>การเปรียบเทียบสิทธิประโยชน์การลงทุนนอกเขตและในเขตเศรษฐกิจพิเศษ </a:t>
            </a:r>
          </a:p>
        </p:txBody>
      </p:sp>
      <p:graphicFrame>
        <p:nvGraphicFramePr>
          <p:cNvPr id="6" name="Table 5"/>
          <p:cNvGraphicFramePr>
            <a:graphicFrameLocks noGrp="1"/>
          </p:cNvGraphicFramePr>
          <p:nvPr>
            <p:extLst>
              <p:ext uri="{D42A27DB-BD31-4B8C-83A1-F6EECF244321}">
                <p14:modId xmlns:p14="http://schemas.microsoft.com/office/powerpoint/2010/main" xmlns="" val="3203310634"/>
              </p:ext>
            </p:extLst>
          </p:nvPr>
        </p:nvGraphicFramePr>
        <p:xfrm>
          <a:off x="21" y="465026"/>
          <a:ext cx="9143998" cy="4379133"/>
        </p:xfrm>
        <a:graphic>
          <a:graphicData uri="http://schemas.openxmlformats.org/drawingml/2006/table">
            <a:tbl>
              <a:tblPr firstRow="1" bandRow="1">
                <a:tableStyleId>{00A15C55-8517-42AA-B614-E9B94910E393}</a:tableStyleId>
              </a:tblPr>
              <a:tblGrid>
                <a:gridCol w="1368728"/>
                <a:gridCol w="2030310"/>
                <a:gridCol w="3501514"/>
                <a:gridCol w="2243446"/>
              </a:tblGrid>
              <a:tr h="857250">
                <a:tc>
                  <a:txBody>
                    <a:bodyPr/>
                    <a:lstStyle/>
                    <a:p>
                      <a:pPr algn="ctr"/>
                      <a:r>
                        <a:rPr lang="th-TH" sz="1700" dirty="0" smtClean="0">
                          <a:solidFill>
                            <a:schemeClr val="accent4">
                              <a:lumMod val="25000"/>
                            </a:schemeClr>
                          </a:solidFill>
                          <a:latin typeface="TH SarabunPSK" pitchFamily="34" charset="-34"/>
                          <a:cs typeface="TH SarabunPSK" pitchFamily="34" charset="-34"/>
                        </a:rPr>
                        <a:t>สิทธิประโยชน์</a:t>
                      </a:r>
                      <a:endParaRPr lang="th-TH" sz="1700" dirty="0">
                        <a:solidFill>
                          <a:schemeClr val="accent4">
                            <a:lumMod val="25000"/>
                          </a:schemeClr>
                        </a:solidFill>
                        <a:latin typeface="TH SarabunPSK" pitchFamily="34" charset="-34"/>
                        <a:cs typeface="TH SarabunPSK" pitchFamily="34" charset="-34"/>
                      </a:endParaRPr>
                    </a:p>
                  </a:txBody>
                  <a:tcPr marL="84406" marR="84406" marT="34290" marB="34290"/>
                </a:tc>
                <a:tc>
                  <a:txBody>
                    <a:bodyPr/>
                    <a:lstStyle/>
                    <a:p>
                      <a:pPr algn="ctr"/>
                      <a:r>
                        <a:rPr lang="th-TH" sz="1700" dirty="0" smtClean="0">
                          <a:solidFill>
                            <a:schemeClr val="accent4">
                              <a:lumMod val="25000"/>
                            </a:schemeClr>
                          </a:solidFill>
                          <a:latin typeface="TH SarabunPSK" pitchFamily="34" charset="-34"/>
                          <a:cs typeface="TH SarabunPSK" pitchFamily="34" charset="-34"/>
                        </a:rPr>
                        <a:t>นอกเขตเศรษฐกิจพิเศษ</a:t>
                      </a:r>
                      <a:endParaRPr lang="th-TH" sz="1700" dirty="0">
                        <a:solidFill>
                          <a:schemeClr val="accent4">
                            <a:lumMod val="25000"/>
                          </a:schemeClr>
                        </a:solidFill>
                        <a:latin typeface="TH SarabunPSK" pitchFamily="34" charset="-34"/>
                        <a:cs typeface="TH SarabunPSK" pitchFamily="34" charset="-34"/>
                      </a:endParaRPr>
                    </a:p>
                  </a:txBody>
                  <a:tcPr marL="84406" marR="84406" marT="34290" marB="34290"/>
                </a:tc>
                <a:tc>
                  <a:txBody>
                    <a:bodyPr/>
                    <a:lstStyle/>
                    <a:p>
                      <a:pPr algn="ctr"/>
                      <a:r>
                        <a:rPr lang="th-TH" sz="1700" dirty="0" smtClean="0">
                          <a:solidFill>
                            <a:schemeClr val="accent4">
                              <a:lumMod val="25000"/>
                            </a:schemeClr>
                          </a:solidFill>
                          <a:latin typeface="TH SarabunPSK" pitchFamily="34" charset="-34"/>
                          <a:cs typeface="TH SarabunPSK" pitchFamily="34" charset="-34"/>
                        </a:rPr>
                        <a:t>ในเขตเศรษฐกิจพิเศษ (กิจการทั่วไป </a:t>
                      </a:r>
                      <a:r>
                        <a:rPr lang="en-US" sz="1700" dirty="0" smtClean="0">
                          <a:solidFill>
                            <a:schemeClr val="accent4">
                              <a:lumMod val="25000"/>
                            </a:schemeClr>
                          </a:solidFill>
                          <a:latin typeface="TH SarabunPSK" pitchFamily="34" charset="-34"/>
                          <a:cs typeface="TH SarabunPSK" pitchFamily="34" charset="-34"/>
                        </a:rPr>
                        <a:t>BOI</a:t>
                      </a:r>
                      <a:r>
                        <a:rPr lang="th-TH" sz="1700" dirty="0" smtClean="0">
                          <a:solidFill>
                            <a:schemeClr val="accent4">
                              <a:lumMod val="25000"/>
                            </a:schemeClr>
                          </a:solidFill>
                          <a:latin typeface="TH SarabunPSK" pitchFamily="34" charset="-34"/>
                          <a:cs typeface="TH SarabunPSK" pitchFamily="34" charset="-34"/>
                        </a:rPr>
                        <a:t>) </a:t>
                      </a:r>
                      <a:br>
                        <a:rPr lang="th-TH" sz="1700" dirty="0" smtClean="0">
                          <a:solidFill>
                            <a:schemeClr val="accent4">
                              <a:lumMod val="25000"/>
                            </a:schemeClr>
                          </a:solidFill>
                          <a:latin typeface="TH SarabunPSK" pitchFamily="34" charset="-34"/>
                          <a:cs typeface="TH SarabunPSK" pitchFamily="34" charset="-34"/>
                        </a:rPr>
                      </a:br>
                      <a:r>
                        <a:rPr lang="th-TH" sz="1700" dirty="0" smtClean="0">
                          <a:solidFill>
                            <a:schemeClr val="accent4">
                              <a:lumMod val="25000"/>
                            </a:schemeClr>
                          </a:solidFill>
                          <a:latin typeface="TH SarabunPSK" pitchFamily="34" charset="-34"/>
                          <a:cs typeface="TH SarabunPSK" pitchFamily="34" charset="-34"/>
                        </a:rPr>
                        <a:t>และนอกเขตเศรษฐกิจพิเศษใน 20 จังหวัดรายได้ต่ำ</a:t>
                      </a:r>
                      <a:endParaRPr lang="th-TH" sz="1700" dirty="0">
                        <a:solidFill>
                          <a:schemeClr val="accent4">
                            <a:lumMod val="25000"/>
                          </a:schemeClr>
                        </a:solidFill>
                        <a:latin typeface="TH SarabunPSK" pitchFamily="34" charset="-34"/>
                        <a:cs typeface="TH SarabunPSK" pitchFamily="34" charset="-34"/>
                      </a:endParaRPr>
                    </a:p>
                  </a:txBody>
                  <a:tcPr marL="84406" marR="84406" marT="34290" marB="34290"/>
                </a:tc>
                <a:tc>
                  <a:txBody>
                    <a:bodyPr/>
                    <a:lstStyle/>
                    <a:p>
                      <a:pPr algn="ctr"/>
                      <a:r>
                        <a:rPr lang="th-TH" sz="1700" dirty="0" smtClean="0">
                          <a:solidFill>
                            <a:schemeClr val="accent4">
                              <a:lumMod val="25000"/>
                            </a:schemeClr>
                          </a:solidFill>
                          <a:latin typeface="TH SarabunPSK" pitchFamily="34" charset="-34"/>
                          <a:cs typeface="TH SarabunPSK" pitchFamily="34" charset="-34"/>
                        </a:rPr>
                        <a:t>ในเขตเศรษฐกิจพิเศษ </a:t>
                      </a:r>
                      <a:br>
                        <a:rPr lang="th-TH" sz="1700" dirty="0" smtClean="0">
                          <a:solidFill>
                            <a:schemeClr val="accent4">
                              <a:lumMod val="25000"/>
                            </a:schemeClr>
                          </a:solidFill>
                          <a:latin typeface="TH SarabunPSK" pitchFamily="34" charset="-34"/>
                          <a:cs typeface="TH SarabunPSK" pitchFamily="34" charset="-34"/>
                        </a:rPr>
                      </a:br>
                      <a:r>
                        <a:rPr lang="th-TH" sz="1700" dirty="0" smtClean="0">
                          <a:solidFill>
                            <a:schemeClr val="accent4">
                              <a:lumMod val="25000"/>
                            </a:schemeClr>
                          </a:solidFill>
                          <a:latin typeface="TH SarabunPSK" pitchFamily="34" charset="-34"/>
                          <a:cs typeface="TH SarabunPSK" pitchFamily="34" charset="-34"/>
                        </a:rPr>
                        <a:t>(</a:t>
                      </a:r>
                      <a:r>
                        <a:rPr lang="en-US" sz="1700" dirty="0" smtClean="0">
                          <a:solidFill>
                            <a:schemeClr val="accent4">
                              <a:lumMod val="25000"/>
                            </a:schemeClr>
                          </a:solidFill>
                          <a:latin typeface="TH SarabunPSK" pitchFamily="34" charset="-34"/>
                          <a:cs typeface="TH SarabunPSK" pitchFamily="34" charset="-34"/>
                        </a:rPr>
                        <a:t>13 </a:t>
                      </a:r>
                      <a:r>
                        <a:rPr lang="th-TH" sz="1700" dirty="0" smtClean="0">
                          <a:solidFill>
                            <a:schemeClr val="accent4">
                              <a:lumMod val="25000"/>
                            </a:schemeClr>
                          </a:solidFill>
                          <a:latin typeface="TH SarabunPSK" pitchFamily="34" charset="-34"/>
                          <a:cs typeface="TH SarabunPSK" pitchFamily="34" charset="-34"/>
                        </a:rPr>
                        <a:t>กลุ่มกิจการเป้าหมาย)</a:t>
                      </a:r>
                      <a:endParaRPr lang="th-TH" sz="1700" dirty="0">
                        <a:solidFill>
                          <a:schemeClr val="accent4">
                            <a:lumMod val="25000"/>
                          </a:schemeClr>
                        </a:solidFill>
                        <a:latin typeface="TH SarabunPSK" pitchFamily="34" charset="-34"/>
                        <a:cs typeface="TH SarabunPSK" pitchFamily="34" charset="-34"/>
                      </a:endParaRPr>
                    </a:p>
                  </a:txBody>
                  <a:tcPr marL="84406" marR="84406" marT="34290" marB="34290"/>
                </a:tc>
              </a:tr>
              <a:tr h="98298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th-TH" sz="1500" b="1" dirty="0" smtClean="0">
                          <a:solidFill>
                            <a:schemeClr val="tx1"/>
                          </a:solidFill>
                          <a:latin typeface="TH SarabunPSK" pitchFamily="34" charset="-34"/>
                          <a:cs typeface="TH SarabunPSK" pitchFamily="34" charset="-34"/>
                        </a:rPr>
                        <a:t>ยกเว้นภาษี</a:t>
                      </a:r>
                      <a:br>
                        <a:rPr lang="th-TH" sz="1500" b="1" dirty="0" smtClean="0">
                          <a:solidFill>
                            <a:schemeClr val="tx1"/>
                          </a:solidFill>
                          <a:latin typeface="TH SarabunPSK" pitchFamily="34" charset="-34"/>
                          <a:cs typeface="TH SarabunPSK" pitchFamily="34" charset="-34"/>
                        </a:rPr>
                      </a:br>
                      <a:r>
                        <a:rPr lang="th-TH" sz="1500" b="1" dirty="0" smtClean="0">
                          <a:solidFill>
                            <a:schemeClr val="tx1"/>
                          </a:solidFill>
                          <a:latin typeface="TH SarabunPSK" pitchFamily="34" charset="-34"/>
                          <a:cs typeface="TH SarabunPSK" pitchFamily="34" charset="-34"/>
                        </a:rPr>
                        <a:t>เงินได้นิติบุคคล</a:t>
                      </a:r>
                    </a:p>
                    <a:p>
                      <a:endParaRPr lang="th-TH" sz="1500" b="1" dirty="0">
                        <a:latin typeface="TH SarabunPSK" pitchFamily="34" charset="-34"/>
                        <a:cs typeface="TH SarabunPSK" pitchFamily="34" charset="-34"/>
                      </a:endParaRPr>
                    </a:p>
                  </a:txBody>
                  <a:tcPr marL="84406" marR="84406" marT="34290" marB="34290"/>
                </a:tc>
                <a:tc>
                  <a:txBody>
                    <a:bodyPr/>
                    <a:lstStyle/>
                    <a:p>
                      <a:r>
                        <a:rPr lang="en-US" sz="1500" b="1" baseline="0" dirty="0" smtClean="0">
                          <a:latin typeface="TH SarabunPSK" pitchFamily="34" charset="-34"/>
                          <a:cs typeface="TH SarabunPSK" pitchFamily="34" charset="-34"/>
                        </a:rPr>
                        <a:t>A1 - </a:t>
                      </a:r>
                      <a:r>
                        <a:rPr lang="th-TH" sz="1500" b="1" baseline="0" dirty="0" smtClean="0">
                          <a:latin typeface="TH SarabunPSK" pitchFamily="34" charset="-34"/>
                          <a:cs typeface="TH SarabunPSK" pitchFamily="34" charset="-34"/>
                        </a:rPr>
                        <a:t>8 ปี </a:t>
                      </a:r>
                      <a:r>
                        <a:rPr lang="en-US" sz="1500" b="1" baseline="0" dirty="0" smtClean="0">
                          <a:latin typeface="TH SarabunPSK" pitchFamily="34" charset="-34"/>
                          <a:cs typeface="TH SarabunPSK" pitchFamily="34" charset="-34"/>
                        </a:rPr>
                        <a:t/>
                      </a:r>
                      <a:br>
                        <a:rPr lang="en-US" sz="1500" b="1" baseline="0" dirty="0" smtClean="0">
                          <a:latin typeface="TH SarabunPSK" pitchFamily="34" charset="-34"/>
                          <a:cs typeface="TH SarabunPSK" pitchFamily="34" charset="-34"/>
                        </a:rPr>
                      </a:br>
                      <a:r>
                        <a:rPr lang="th-TH" sz="1500" b="1" baseline="0" dirty="0" smtClean="0">
                          <a:latin typeface="TH SarabunPSK" pitchFamily="34" charset="-34"/>
                          <a:cs typeface="TH SarabunPSK" pitchFamily="34" charset="-34"/>
                        </a:rPr>
                        <a:t>โดยไม่กำหนดวงเงินภาษีที่จะได้รับยกเว้น</a:t>
                      </a:r>
                    </a:p>
                  </a:txBody>
                  <a:tcPr marL="84406" marR="84406" marT="34290" marB="34290"/>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500" b="1" baseline="0" dirty="0" smtClean="0">
                          <a:solidFill>
                            <a:schemeClr val="tx1"/>
                          </a:solidFill>
                          <a:latin typeface="TH SarabunPSK" pitchFamily="34" charset="-34"/>
                          <a:cs typeface="TH SarabunPSK" pitchFamily="34" charset="-34"/>
                        </a:rPr>
                        <a:t>A1 – 8 </a:t>
                      </a:r>
                      <a:r>
                        <a:rPr lang="th-TH" sz="1500" b="1" baseline="0" dirty="0" smtClean="0">
                          <a:solidFill>
                            <a:schemeClr val="tx1"/>
                          </a:solidFill>
                          <a:latin typeface="TH SarabunPSK" pitchFamily="34" charset="-34"/>
                          <a:cs typeface="TH SarabunPSK" pitchFamily="34" charset="-34"/>
                        </a:rPr>
                        <a:t>ปี </a:t>
                      </a:r>
                      <a:r>
                        <a:rPr lang="en-US" sz="1500" b="1" baseline="0" dirty="0" smtClean="0">
                          <a:solidFill>
                            <a:schemeClr val="tx1"/>
                          </a:solidFill>
                          <a:latin typeface="TH SarabunPSK" pitchFamily="34" charset="-34"/>
                          <a:cs typeface="TH SarabunPSK" pitchFamily="34" charset="-34"/>
                        </a:rPr>
                        <a:t/>
                      </a:r>
                      <a:br>
                        <a:rPr lang="en-US" sz="1500" b="1" baseline="0" dirty="0" smtClean="0">
                          <a:solidFill>
                            <a:schemeClr val="tx1"/>
                          </a:solidFill>
                          <a:latin typeface="TH SarabunPSK" pitchFamily="34" charset="-34"/>
                          <a:cs typeface="TH SarabunPSK" pitchFamily="34" charset="-34"/>
                        </a:rPr>
                      </a:br>
                      <a:r>
                        <a:rPr lang="th-TH" sz="1500" b="1" baseline="0" dirty="0" smtClean="0">
                          <a:solidFill>
                            <a:schemeClr val="tx1"/>
                          </a:solidFill>
                          <a:latin typeface="TH SarabunPSK" pitchFamily="34" charset="-34"/>
                          <a:cs typeface="TH SarabunPSK" pitchFamily="34" charset="-34"/>
                        </a:rPr>
                        <a:t>โดยไม่กำหนดวงเงินภาษีที่ได้รับการยกเว้น </a:t>
                      </a:r>
                      <a:r>
                        <a:rPr lang="th-TH" sz="1500" b="1" baseline="0" dirty="0" smtClean="0">
                          <a:solidFill>
                            <a:srgbClr val="FF0000"/>
                          </a:solidFill>
                          <a:latin typeface="TH SarabunPSK" pitchFamily="34" charset="-34"/>
                          <a:cs typeface="TH SarabunPSK" pitchFamily="34" charset="-34"/>
                        </a:rPr>
                        <a:t>และได้รับลดหย่อนภาษีเงินได้นิติบุคคลร้อยละ 50 เพิ่มอีก 5 ปี </a:t>
                      </a:r>
                      <a:endParaRPr lang="en-US" sz="1500" b="1" baseline="0" dirty="0" smtClean="0">
                        <a:solidFill>
                          <a:srgbClr val="FF0000"/>
                        </a:solidFill>
                        <a:latin typeface="TH SarabunPSK" pitchFamily="34" charset="-34"/>
                        <a:cs typeface="TH SarabunPSK" pitchFamily="34" charset="-34"/>
                      </a:endParaRPr>
                    </a:p>
                  </a:txBody>
                  <a:tcPr marL="84406" marR="84406" marT="34290" marB="34290"/>
                </a:tc>
                <a:tc rowSpan="5">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th-TH" sz="1500" b="1" baseline="0" dirty="0" smtClean="0">
                          <a:solidFill>
                            <a:srgbClr val="FF0000"/>
                          </a:solidFill>
                          <a:latin typeface="TH SarabunPSK" pitchFamily="34" charset="-34"/>
                          <a:cs typeface="TH SarabunPSK" pitchFamily="34" charset="-34"/>
                        </a:rPr>
                        <a:t>ได้รับยกเว้นภาษี 8 ปี (จำกัดวงเงินไม่เกินร้อยละ </a:t>
                      </a:r>
                      <a:r>
                        <a:rPr lang="en-US" sz="1500" b="1" baseline="0" dirty="0" smtClean="0">
                          <a:solidFill>
                            <a:srgbClr val="FF0000"/>
                          </a:solidFill>
                          <a:latin typeface="TH SarabunPSK" pitchFamily="34" charset="-34"/>
                          <a:cs typeface="TH SarabunPSK" pitchFamily="34" charset="-34"/>
                        </a:rPr>
                        <a:t>100</a:t>
                      </a:r>
                      <a:r>
                        <a:rPr lang="th-TH" sz="1500" b="1" baseline="0" dirty="0" smtClean="0">
                          <a:solidFill>
                            <a:srgbClr val="FF0000"/>
                          </a:solidFill>
                          <a:latin typeface="TH SarabunPSK" pitchFamily="34" charset="-34"/>
                          <a:cs typeface="TH SarabunPSK" pitchFamily="34" charset="-34"/>
                        </a:rPr>
                        <a:t>)</a:t>
                      </a:r>
                    </a:p>
                    <a:p>
                      <a:pPr marL="0" marR="0" indent="0" algn="l" defTabSz="914400" rtl="0" eaLnBrk="1" fontAlgn="auto" latinLnBrk="0" hangingPunct="1">
                        <a:lnSpc>
                          <a:spcPct val="100000"/>
                        </a:lnSpc>
                        <a:spcBef>
                          <a:spcPts val="0"/>
                        </a:spcBef>
                        <a:spcAft>
                          <a:spcPts val="0"/>
                        </a:spcAft>
                        <a:buClrTx/>
                        <a:buSzTx/>
                        <a:buFontTx/>
                        <a:buNone/>
                        <a:tabLst/>
                        <a:defRPr/>
                      </a:pPr>
                      <a:r>
                        <a:rPr lang="th-TH" sz="1500" b="1" baseline="0" dirty="0" smtClean="0">
                          <a:solidFill>
                            <a:srgbClr val="FF0000"/>
                          </a:solidFill>
                          <a:latin typeface="TH SarabunPSK" pitchFamily="34" charset="-34"/>
                          <a:cs typeface="TH SarabunPSK" pitchFamily="34" charset="-34"/>
                        </a:rPr>
                        <a:t>ได้รับการลดหย่อนภาษีเงินได้นิติบุคคลร้อยละ 50 เพิ่มอีก 5 ปี </a:t>
                      </a:r>
                    </a:p>
                  </a:txBody>
                  <a:tcPr marL="84406" marR="84406" marT="34290" marB="34290"/>
                </a:tc>
              </a:tr>
              <a:tr h="961563">
                <a:tc>
                  <a:txBody>
                    <a:bodyPr/>
                    <a:lstStyle/>
                    <a:p>
                      <a:endParaRPr lang="th-TH" sz="1500" b="1" dirty="0">
                        <a:latin typeface="TH SarabunPSK" pitchFamily="34" charset="-34"/>
                        <a:cs typeface="TH SarabunPSK" pitchFamily="34" charset="-34"/>
                      </a:endParaRPr>
                    </a:p>
                  </a:txBody>
                  <a:tcPr marL="84406" marR="84406" marT="34290" marB="34290"/>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500" b="1" baseline="0" dirty="0" smtClean="0">
                          <a:latin typeface="TH SarabunPSK" pitchFamily="34" charset="-34"/>
                          <a:cs typeface="TH SarabunPSK" pitchFamily="34" charset="-34"/>
                        </a:rPr>
                        <a:t>A2* – 8 </a:t>
                      </a:r>
                      <a:r>
                        <a:rPr lang="th-TH" sz="1500" b="1" baseline="0" dirty="0" smtClean="0">
                          <a:latin typeface="TH SarabunPSK" pitchFamily="34" charset="-34"/>
                          <a:cs typeface="TH SarabunPSK" pitchFamily="34" charset="-34"/>
                        </a:rPr>
                        <a:t>ปี </a:t>
                      </a:r>
                      <a:br>
                        <a:rPr lang="th-TH" sz="1500" b="1" baseline="0" dirty="0" smtClean="0">
                          <a:latin typeface="TH SarabunPSK" pitchFamily="34" charset="-34"/>
                          <a:cs typeface="TH SarabunPSK" pitchFamily="34" charset="-34"/>
                        </a:rPr>
                      </a:br>
                      <a:endParaRPr lang="th-TH" sz="1500" b="1" baseline="0" dirty="0" smtClean="0">
                        <a:latin typeface="TH SarabunPSK" pitchFamily="34" charset="-34"/>
                        <a:cs typeface="TH SarabunPSK" pitchFamily="34" charset="-34"/>
                      </a:endParaRPr>
                    </a:p>
                  </a:txBody>
                  <a:tcPr marL="84406" marR="84406" marT="34290" marB="34290"/>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500" b="1" baseline="0" dirty="0" smtClean="0">
                          <a:solidFill>
                            <a:schemeClr val="tx1"/>
                          </a:solidFill>
                          <a:latin typeface="TH SarabunPSK" pitchFamily="34" charset="-34"/>
                          <a:cs typeface="TH SarabunPSK" pitchFamily="34" charset="-34"/>
                        </a:rPr>
                        <a:t>A2* – 8 </a:t>
                      </a:r>
                      <a:r>
                        <a:rPr lang="th-TH" sz="1500" b="1" baseline="0" dirty="0" smtClean="0">
                          <a:solidFill>
                            <a:schemeClr val="tx1"/>
                          </a:solidFill>
                          <a:latin typeface="TH SarabunPSK" pitchFamily="34" charset="-34"/>
                          <a:cs typeface="TH SarabunPSK" pitchFamily="34" charset="-34"/>
                        </a:rPr>
                        <a:t>ปี </a:t>
                      </a:r>
                      <a:br>
                        <a:rPr lang="th-TH" sz="1500" b="1" baseline="0" dirty="0" smtClean="0">
                          <a:solidFill>
                            <a:schemeClr val="tx1"/>
                          </a:solidFill>
                          <a:latin typeface="TH SarabunPSK" pitchFamily="34" charset="-34"/>
                          <a:cs typeface="TH SarabunPSK" pitchFamily="34" charset="-34"/>
                        </a:rPr>
                      </a:br>
                      <a:r>
                        <a:rPr lang="th-TH" sz="1500" b="1" baseline="0" dirty="0" smtClean="0">
                          <a:solidFill>
                            <a:srgbClr val="FF0000"/>
                          </a:solidFill>
                          <a:latin typeface="TH SarabunPSK" pitchFamily="34" charset="-34"/>
                          <a:cs typeface="TH SarabunPSK" pitchFamily="34" charset="-34"/>
                        </a:rPr>
                        <a:t>และได้รับการลดหย่อนภาษีเงินได้นิติบุคคลร้อยละ 50 เพิ่มอีก 5 ปี </a:t>
                      </a:r>
                      <a:endParaRPr lang="th-TH" sz="1500" b="1" baseline="0" dirty="0" smtClean="0">
                        <a:latin typeface="TH SarabunPSK" pitchFamily="34" charset="-34"/>
                        <a:cs typeface="TH SarabunPSK" pitchFamily="34" charset="-34"/>
                      </a:endParaRPr>
                    </a:p>
                  </a:txBody>
                  <a:tcPr marL="84406" marR="84406" marT="34290" marB="34290"/>
                </a:tc>
                <a:tc v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th-TH" sz="2000" baseline="0" dirty="0" smtClean="0">
                        <a:solidFill>
                          <a:srgbClr val="FF0000"/>
                        </a:solidFill>
                        <a:latin typeface="TH SarabunPSK" pitchFamily="34" charset="-34"/>
                        <a:cs typeface="TH SarabunPSK" pitchFamily="34" charset="-34"/>
                      </a:endParaRPr>
                    </a:p>
                  </a:txBody>
                  <a:tcPr/>
                </a:tc>
              </a:tr>
              <a:tr h="525780">
                <a:tc>
                  <a:txBody>
                    <a:bodyPr/>
                    <a:lstStyle/>
                    <a:p>
                      <a:endParaRPr lang="th-TH" sz="1500" b="1" dirty="0">
                        <a:latin typeface="TH SarabunPSK" pitchFamily="34" charset="-34"/>
                        <a:cs typeface="TH SarabunPSK" pitchFamily="34" charset="-34"/>
                      </a:endParaRPr>
                    </a:p>
                  </a:txBody>
                  <a:tcPr marL="84406" marR="84406" marT="34290" marB="34290"/>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500" b="1" baseline="0" dirty="0" smtClean="0">
                          <a:latin typeface="TH SarabunPSK" pitchFamily="34" charset="-34"/>
                          <a:cs typeface="TH SarabunPSK" pitchFamily="34" charset="-34"/>
                        </a:rPr>
                        <a:t>A3* – 5 </a:t>
                      </a:r>
                      <a:r>
                        <a:rPr lang="th-TH" sz="1500" b="1" baseline="0" dirty="0" smtClean="0">
                          <a:latin typeface="TH SarabunPSK" pitchFamily="34" charset="-34"/>
                          <a:cs typeface="TH SarabunPSK" pitchFamily="34" charset="-34"/>
                        </a:rPr>
                        <a:t>ปี</a:t>
                      </a:r>
                      <a:r>
                        <a:rPr lang="en-US" sz="1500" b="1" baseline="0" dirty="0" smtClean="0">
                          <a:latin typeface="TH SarabunPSK" pitchFamily="34" charset="-34"/>
                          <a:cs typeface="TH SarabunPSK" pitchFamily="34" charset="-34"/>
                        </a:rPr>
                        <a:t> </a:t>
                      </a:r>
                      <a:r>
                        <a:rPr lang="th-TH" sz="1500" b="1" baseline="0" dirty="0" smtClean="0">
                          <a:latin typeface="TH SarabunPSK" pitchFamily="34" charset="-34"/>
                          <a:cs typeface="TH SarabunPSK" pitchFamily="34" charset="-34"/>
                        </a:rPr>
                        <a:t/>
                      </a:r>
                      <a:br>
                        <a:rPr lang="th-TH" sz="1500" b="1" baseline="0" dirty="0" smtClean="0">
                          <a:latin typeface="TH SarabunPSK" pitchFamily="34" charset="-34"/>
                          <a:cs typeface="TH SarabunPSK" pitchFamily="34" charset="-34"/>
                        </a:rPr>
                      </a:br>
                      <a:endParaRPr lang="th-TH" sz="1500" b="1" baseline="0" dirty="0" smtClean="0">
                        <a:latin typeface="TH SarabunPSK" pitchFamily="34" charset="-34"/>
                        <a:cs typeface="TH SarabunPSK" pitchFamily="34" charset="-34"/>
                      </a:endParaRPr>
                    </a:p>
                  </a:txBody>
                  <a:tcPr marL="84406" marR="84406" marT="34290" marB="34290"/>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500" b="1" baseline="0" dirty="0" smtClean="0">
                          <a:solidFill>
                            <a:schemeClr val="tx1"/>
                          </a:solidFill>
                          <a:latin typeface="TH SarabunPSK" pitchFamily="34" charset="-34"/>
                          <a:cs typeface="TH SarabunPSK" pitchFamily="34" charset="-34"/>
                        </a:rPr>
                        <a:t>A3* – </a:t>
                      </a:r>
                      <a:r>
                        <a:rPr lang="en-US" sz="1500" b="1" baseline="0" dirty="0" smtClean="0">
                          <a:solidFill>
                            <a:srgbClr val="FF0000"/>
                          </a:solidFill>
                          <a:latin typeface="TH SarabunPSK" pitchFamily="34" charset="-34"/>
                          <a:cs typeface="TH SarabunPSK" pitchFamily="34" charset="-34"/>
                        </a:rPr>
                        <a:t>8 </a:t>
                      </a:r>
                      <a:r>
                        <a:rPr lang="th-TH" sz="1500" b="1" baseline="0" dirty="0" smtClean="0">
                          <a:solidFill>
                            <a:srgbClr val="FF0000"/>
                          </a:solidFill>
                          <a:latin typeface="TH SarabunPSK" pitchFamily="34" charset="-34"/>
                          <a:cs typeface="TH SarabunPSK" pitchFamily="34" charset="-34"/>
                        </a:rPr>
                        <a:t>ปี </a:t>
                      </a:r>
                    </a:p>
                    <a:p>
                      <a:pPr marL="0" marR="0" indent="0" algn="l" defTabSz="914400" rtl="0" eaLnBrk="1" fontAlgn="auto" latinLnBrk="0" hangingPunct="1">
                        <a:lnSpc>
                          <a:spcPct val="100000"/>
                        </a:lnSpc>
                        <a:spcBef>
                          <a:spcPts val="0"/>
                        </a:spcBef>
                        <a:spcAft>
                          <a:spcPts val="0"/>
                        </a:spcAft>
                        <a:buClrTx/>
                        <a:buSzTx/>
                        <a:buFontTx/>
                        <a:buNone/>
                        <a:tabLst/>
                        <a:defRPr/>
                      </a:pPr>
                      <a:endParaRPr lang="th-TH" sz="1500" b="1" baseline="0" dirty="0" smtClean="0">
                        <a:latin typeface="TH SarabunPSK" pitchFamily="34" charset="-34"/>
                        <a:cs typeface="TH SarabunPSK" pitchFamily="34" charset="-34"/>
                      </a:endParaRPr>
                    </a:p>
                  </a:txBody>
                  <a:tcPr marL="84406" marR="84406" marT="34290" marB="34290"/>
                </a:tc>
                <a:tc v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th-TH" sz="2000" baseline="0" dirty="0" smtClean="0">
                        <a:solidFill>
                          <a:srgbClr val="FF0000"/>
                        </a:solidFill>
                        <a:latin typeface="TH SarabunPSK" pitchFamily="34" charset="-34"/>
                        <a:cs typeface="TH SarabunPSK" pitchFamily="34" charset="-34"/>
                      </a:endParaRPr>
                    </a:p>
                  </a:txBody>
                  <a:tcPr/>
                </a:tc>
              </a:tr>
              <a:tr h="525780">
                <a:tc>
                  <a:txBody>
                    <a:bodyPr/>
                    <a:lstStyle/>
                    <a:p>
                      <a:endParaRPr lang="th-TH" sz="1500" b="1" dirty="0">
                        <a:latin typeface="TH SarabunPSK" pitchFamily="34" charset="-34"/>
                        <a:cs typeface="TH SarabunPSK" pitchFamily="34" charset="-34"/>
                      </a:endParaRPr>
                    </a:p>
                  </a:txBody>
                  <a:tcPr marL="84406" marR="84406" marT="34290" marB="34290"/>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500" b="1" baseline="0" dirty="0" smtClean="0">
                          <a:latin typeface="TH SarabunPSK" pitchFamily="34" charset="-34"/>
                          <a:cs typeface="TH SarabunPSK" pitchFamily="34" charset="-34"/>
                        </a:rPr>
                        <a:t>A4* – 3 </a:t>
                      </a:r>
                      <a:r>
                        <a:rPr lang="th-TH" sz="1500" b="1" baseline="0" dirty="0" smtClean="0">
                          <a:latin typeface="TH SarabunPSK" pitchFamily="34" charset="-34"/>
                          <a:cs typeface="TH SarabunPSK" pitchFamily="34" charset="-34"/>
                        </a:rPr>
                        <a:t>ปี  </a:t>
                      </a:r>
                      <a:br>
                        <a:rPr lang="th-TH" sz="1500" b="1" baseline="0" dirty="0" smtClean="0">
                          <a:latin typeface="TH SarabunPSK" pitchFamily="34" charset="-34"/>
                          <a:cs typeface="TH SarabunPSK" pitchFamily="34" charset="-34"/>
                        </a:rPr>
                      </a:br>
                      <a:endParaRPr lang="th-TH" sz="1500" b="1" baseline="0" dirty="0" smtClean="0">
                        <a:latin typeface="TH SarabunPSK" pitchFamily="34" charset="-34"/>
                        <a:cs typeface="TH SarabunPSK" pitchFamily="34" charset="-34"/>
                      </a:endParaRPr>
                    </a:p>
                  </a:txBody>
                  <a:tcPr marL="84406" marR="84406" marT="34290" marB="34290"/>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500" b="1" baseline="0" dirty="0" smtClean="0">
                          <a:solidFill>
                            <a:schemeClr val="tx1"/>
                          </a:solidFill>
                          <a:latin typeface="TH SarabunPSK" pitchFamily="34" charset="-34"/>
                          <a:cs typeface="TH SarabunPSK" pitchFamily="34" charset="-34"/>
                        </a:rPr>
                        <a:t>A4* – </a:t>
                      </a:r>
                      <a:r>
                        <a:rPr lang="en-US" sz="1500" b="1" baseline="0" dirty="0" smtClean="0">
                          <a:solidFill>
                            <a:srgbClr val="FF0000"/>
                          </a:solidFill>
                          <a:latin typeface="TH SarabunPSK" pitchFamily="34" charset="-34"/>
                          <a:cs typeface="TH SarabunPSK" pitchFamily="34" charset="-34"/>
                        </a:rPr>
                        <a:t>6 </a:t>
                      </a:r>
                      <a:r>
                        <a:rPr lang="th-TH" sz="1500" b="1" baseline="0" dirty="0" smtClean="0">
                          <a:solidFill>
                            <a:srgbClr val="FF0000"/>
                          </a:solidFill>
                          <a:latin typeface="TH SarabunPSK" pitchFamily="34" charset="-34"/>
                          <a:cs typeface="TH SarabunPSK" pitchFamily="34" charset="-34"/>
                        </a:rPr>
                        <a:t>ปี </a:t>
                      </a:r>
                    </a:p>
                    <a:p>
                      <a:pPr marL="0" marR="0" indent="0" algn="l" defTabSz="914400" rtl="0" eaLnBrk="1" fontAlgn="auto" latinLnBrk="0" hangingPunct="1">
                        <a:lnSpc>
                          <a:spcPct val="100000"/>
                        </a:lnSpc>
                        <a:spcBef>
                          <a:spcPts val="0"/>
                        </a:spcBef>
                        <a:spcAft>
                          <a:spcPts val="0"/>
                        </a:spcAft>
                        <a:buClrTx/>
                        <a:buSzTx/>
                        <a:buFontTx/>
                        <a:buNone/>
                        <a:tabLst/>
                        <a:defRPr/>
                      </a:pPr>
                      <a:endParaRPr lang="th-TH" sz="1500" b="1" baseline="0" dirty="0" smtClean="0">
                        <a:latin typeface="TH SarabunPSK" pitchFamily="34" charset="-34"/>
                        <a:cs typeface="TH SarabunPSK" pitchFamily="34" charset="-34"/>
                      </a:endParaRPr>
                    </a:p>
                  </a:txBody>
                  <a:tcPr marL="84406" marR="84406" marT="34290" marB="34290"/>
                </a:tc>
                <a:tc v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th-TH" sz="2000" baseline="0" dirty="0" smtClean="0">
                        <a:solidFill>
                          <a:srgbClr val="FF0000"/>
                        </a:solidFill>
                        <a:latin typeface="TH SarabunPSK" pitchFamily="34" charset="-34"/>
                        <a:cs typeface="TH SarabunPSK" pitchFamily="34" charset="-34"/>
                      </a:endParaRPr>
                    </a:p>
                  </a:txBody>
                  <a:tcPr/>
                </a:tc>
              </a:tr>
              <a:tr h="525780">
                <a:tc>
                  <a:txBody>
                    <a:bodyPr/>
                    <a:lstStyle/>
                    <a:p>
                      <a:endParaRPr lang="th-TH" sz="1500" b="1" dirty="0">
                        <a:latin typeface="TH SarabunPSK" pitchFamily="34" charset="-34"/>
                        <a:cs typeface="TH SarabunPSK" pitchFamily="34" charset="-34"/>
                      </a:endParaRPr>
                    </a:p>
                  </a:txBody>
                  <a:tcPr marL="84406" marR="84406" marT="34290" marB="34290"/>
                </a:tc>
                <a:tc>
                  <a:txBody>
                    <a:bodyPr/>
                    <a:lstStyle/>
                    <a:p>
                      <a:r>
                        <a:rPr lang="en-US" sz="1500" b="1" baseline="0" dirty="0" smtClean="0">
                          <a:latin typeface="TH SarabunPSK" pitchFamily="34" charset="-34"/>
                          <a:cs typeface="TH SarabunPSK" pitchFamily="34" charset="-34"/>
                        </a:rPr>
                        <a:t>B1 – </a:t>
                      </a:r>
                      <a:r>
                        <a:rPr lang="th-TH" sz="1500" b="1" baseline="0" dirty="0" smtClean="0">
                          <a:latin typeface="TH SarabunPSK" pitchFamily="34" charset="-34"/>
                          <a:cs typeface="TH SarabunPSK" pitchFamily="34" charset="-34"/>
                        </a:rPr>
                        <a:t>ไม่ได้รับยกเว้น</a:t>
                      </a:r>
                      <a:endParaRPr lang="en-US" sz="1500" b="1" baseline="0" dirty="0" smtClean="0">
                        <a:latin typeface="TH SarabunPSK" pitchFamily="34" charset="-34"/>
                        <a:cs typeface="TH SarabunPSK" pitchFamily="34" charset="-34"/>
                      </a:endParaRPr>
                    </a:p>
                    <a:p>
                      <a:r>
                        <a:rPr lang="en-US" sz="1500" b="1" dirty="0" smtClean="0">
                          <a:latin typeface="TH SarabunPSK" pitchFamily="34" charset="-34"/>
                          <a:cs typeface="TH SarabunPSK" pitchFamily="34" charset="-34"/>
                        </a:rPr>
                        <a:t>B2 – </a:t>
                      </a:r>
                      <a:r>
                        <a:rPr lang="th-TH" sz="1500" b="1" dirty="0" smtClean="0">
                          <a:latin typeface="TH SarabunPSK" pitchFamily="34" charset="-34"/>
                          <a:cs typeface="TH SarabunPSK" pitchFamily="34" charset="-34"/>
                        </a:rPr>
                        <a:t>ไม่ได้รับยกเว้น</a:t>
                      </a:r>
                    </a:p>
                  </a:txBody>
                  <a:tcPr marL="84406" marR="84406" marT="34290" marB="34290"/>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500" b="1" baseline="0" dirty="0" smtClean="0">
                          <a:latin typeface="TH SarabunPSK" pitchFamily="34" charset="-34"/>
                          <a:cs typeface="TH SarabunPSK" pitchFamily="34" charset="-34"/>
                        </a:rPr>
                        <a:t>B1 – </a:t>
                      </a:r>
                      <a:r>
                        <a:rPr lang="en-US" sz="1500" b="1" baseline="0" dirty="0" smtClean="0">
                          <a:solidFill>
                            <a:srgbClr val="FF0000"/>
                          </a:solidFill>
                          <a:latin typeface="TH SarabunPSK" pitchFamily="34" charset="-34"/>
                          <a:cs typeface="TH SarabunPSK" pitchFamily="34" charset="-34"/>
                        </a:rPr>
                        <a:t>3 </a:t>
                      </a:r>
                      <a:r>
                        <a:rPr lang="th-TH" sz="1500" b="1" baseline="0" dirty="0" smtClean="0">
                          <a:solidFill>
                            <a:srgbClr val="FF0000"/>
                          </a:solidFill>
                          <a:latin typeface="TH SarabunPSK" pitchFamily="34" charset="-34"/>
                          <a:cs typeface="TH SarabunPSK" pitchFamily="34" charset="-34"/>
                        </a:rPr>
                        <a:t>ปี </a:t>
                      </a:r>
                      <a:r>
                        <a:rPr lang="en-US" sz="1500" b="1" baseline="0" dirty="0" smtClean="0">
                          <a:latin typeface="TH SarabunPSK" pitchFamily="34" charset="-34"/>
                          <a:cs typeface="TH SarabunPSK" pitchFamily="34" charset="-34"/>
                        </a:rPr>
                        <a:t> </a:t>
                      </a:r>
                    </a:p>
                    <a:p>
                      <a:pPr marL="0" marR="0" indent="0" algn="l" defTabSz="914400" rtl="0" eaLnBrk="1" fontAlgn="auto" latinLnBrk="0" hangingPunct="1">
                        <a:lnSpc>
                          <a:spcPct val="100000"/>
                        </a:lnSpc>
                        <a:spcBef>
                          <a:spcPts val="0"/>
                        </a:spcBef>
                        <a:spcAft>
                          <a:spcPts val="0"/>
                        </a:spcAft>
                        <a:buClrTx/>
                        <a:buSzTx/>
                        <a:buFontTx/>
                        <a:buNone/>
                        <a:tabLst/>
                        <a:defRPr/>
                      </a:pPr>
                      <a:r>
                        <a:rPr lang="en-US" sz="1500" b="1" baseline="0" dirty="0" smtClean="0">
                          <a:latin typeface="TH SarabunPSK" pitchFamily="34" charset="-34"/>
                          <a:cs typeface="TH SarabunPSK" pitchFamily="34" charset="-34"/>
                        </a:rPr>
                        <a:t>B2 – </a:t>
                      </a:r>
                      <a:r>
                        <a:rPr lang="en-US" sz="1500" b="1" baseline="0" dirty="0" smtClean="0">
                          <a:solidFill>
                            <a:srgbClr val="FF0000"/>
                          </a:solidFill>
                          <a:latin typeface="TH SarabunPSK" pitchFamily="34" charset="-34"/>
                          <a:cs typeface="TH SarabunPSK" pitchFamily="34" charset="-34"/>
                        </a:rPr>
                        <a:t>3 </a:t>
                      </a:r>
                      <a:r>
                        <a:rPr lang="th-TH" sz="1500" b="1" baseline="0" dirty="0" smtClean="0">
                          <a:solidFill>
                            <a:srgbClr val="FF0000"/>
                          </a:solidFill>
                          <a:latin typeface="TH SarabunPSK" pitchFamily="34" charset="-34"/>
                          <a:cs typeface="TH SarabunPSK" pitchFamily="34" charset="-34"/>
                        </a:rPr>
                        <a:t>ปี</a:t>
                      </a:r>
                    </a:p>
                  </a:txBody>
                  <a:tcPr marL="84406" marR="84406" marT="34290" marB="34290"/>
                </a:tc>
                <a:tc vMerge="1">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th-TH" sz="2000" baseline="0" dirty="0" smtClean="0">
                        <a:solidFill>
                          <a:srgbClr val="FF0000"/>
                        </a:solidFill>
                        <a:latin typeface="TH SarabunPSK" pitchFamily="34" charset="-34"/>
                        <a:cs typeface="TH SarabunPSK" pitchFamily="34" charset="-34"/>
                      </a:endParaRPr>
                    </a:p>
                  </a:txBody>
                  <a:tcPr/>
                </a:tc>
              </a:tr>
            </a:tbl>
          </a:graphicData>
        </a:graphic>
      </p:graphicFrame>
      <p:sp>
        <p:nvSpPr>
          <p:cNvPr id="2" name="Rectangle 1"/>
          <p:cNvSpPr/>
          <p:nvPr/>
        </p:nvSpPr>
        <p:spPr>
          <a:xfrm>
            <a:off x="4067945" y="4833983"/>
            <a:ext cx="4386094" cy="309519"/>
          </a:xfrm>
          <a:prstGeom prst="rect">
            <a:avLst/>
          </a:prstGeom>
        </p:spPr>
        <p:txBody>
          <a:bodyPr wrap="none" lIns="77925" tIns="38963" rIns="77925" bIns="38963">
            <a:spAutoFit/>
          </a:bodyPr>
          <a:lstStyle/>
          <a:p>
            <a:pPr fontAlgn="auto">
              <a:spcBef>
                <a:spcPts val="0"/>
              </a:spcBef>
              <a:spcAft>
                <a:spcPts val="0"/>
              </a:spcAft>
              <a:defRPr/>
            </a:pPr>
            <a:r>
              <a:rPr lang="th-TH" sz="1500" dirty="0">
                <a:latin typeface="TH SarabunPSK" pitchFamily="34" charset="-34"/>
                <a:cs typeface="TH SarabunPSK" pitchFamily="34" charset="-34"/>
              </a:rPr>
              <a:t>หมายเหตุ </a:t>
            </a:r>
            <a:r>
              <a:rPr lang="en-US" sz="1500" dirty="0">
                <a:latin typeface="TH SarabunPSK" pitchFamily="34" charset="-34"/>
                <a:cs typeface="TH SarabunPSK" pitchFamily="34" charset="-34"/>
              </a:rPr>
              <a:t>: * </a:t>
            </a:r>
            <a:r>
              <a:rPr lang="th-TH" sz="1500" dirty="0">
                <a:latin typeface="TH SarabunPSK" pitchFamily="34" charset="-34"/>
                <a:cs typeface="TH SarabunPSK" pitchFamily="34" charset="-34"/>
              </a:rPr>
              <a:t>เป็นสัดส่วนร้อยละ 100 ของเงินลงทุน (ไม่รวมค่าที่ดินและทุน</a:t>
            </a:r>
            <a:r>
              <a:rPr lang="th-TH" sz="1500" dirty="0" smtClean="0">
                <a:latin typeface="TH SarabunPSK" pitchFamily="34" charset="-34"/>
                <a:cs typeface="TH SarabunPSK" pitchFamily="34" charset="-34"/>
              </a:rPr>
              <a:t>หมุนเวียน</a:t>
            </a:r>
            <a:endParaRPr lang="th-TH" sz="1500" dirty="0">
              <a:latin typeface="TH SarabunPSK" pitchFamily="34" charset="-34"/>
              <a:cs typeface="TH SarabunPSK" pitchFamily="34" charset="-34"/>
            </a:endParaRPr>
          </a:p>
        </p:txBody>
      </p:sp>
    </p:spTree>
    <p:extLst>
      <p:ext uri="{BB962C8B-B14F-4D97-AF65-F5344CB8AC3E}">
        <p14:creationId xmlns:p14="http://schemas.microsoft.com/office/powerpoint/2010/main" xmlns="" val="3570832941"/>
      </p:ext>
    </p:extLst>
  </p:cSld>
  <p:clrMapOvr>
    <a:masterClrMapping/>
  </p:clrMapOvr>
  <p:transition>
    <p:fade thruBlk="1"/>
  </p:transition>
  <p:timing>
    <p:tnLst>
      <p:par>
        <p:cTn id="1" dur="indefinite" restart="never" nodeType="tmRoot"/>
      </p:par>
    </p:tnLst>
  </p:timing>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2"/>
          <p:cNvSpPr txBox="1">
            <a:spLocks/>
          </p:cNvSpPr>
          <p:nvPr/>
        </p:nvSpPr>
        <p:spPr>
          <a:xfrm>
            <a:off x="0" y="73694"/>
            <a:ext cx="9144000" cy="438691"/>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defRPr lang="en-US" sz="2700" b="0" kern="1200" baseline="0">
                <a:solidFill>
                  <a:schemeClr val="tx1"/>
                </a:solidFill>
                <a:latin typeface="+mj-lt"/>
                <a:ea typeface="+mj-ea"/>
                <a:cs typeface="+mj-cs"/>
                <a:sym typeface="+mn-lt"/>
              </a:defRPr>
            </a:lvl1pPr>
          </a:lstStyle>
          <a:p>
            <a:pPr algn="ctr"/>
            <a:r>
              <a:rPr lang="th-TH" sz="2400" b="1" dirty="0">
                <a:latin typeface="TH SarabunPSK" pitchFamily="34" charset="-34"/>
                <a:cs typeface="TH SarabunPSK" pitchFamily="34" charset="-34"/>
              </a:rPr>
              <a:t>โอกาสการลงทุน </a:t>
            </a:r>
            <a:r>
              <a:rPr lang="en-US" sz="2400" b="1" dirty="0">
                <a:latin typeface="TH SarabunPSK" pitchFamily="34" charset="-34"/>
                <a:cs typeface="TH SarabunPSK" pitchFamily="34" charset="-34"/>
              </a:rPr>
              <a:t>: </a:t>
            </a:r>
            <a:r>
              <a:rPr lang="th-TH" sz="2400" b="1" dirty="0">
                <a:latin typeface="TH SarabunPSK" pitchFamily="34" charset="-34"/>
                <a:cs typeface="TH SarabunPSK" pitchFamily="34" charset="-34"/>
              </a:rPr>
              <a:t>การเปรียบเทียบสิทธิประโยชน์การลงทุนนอกเขตและในเขตเศรษฐกิจพิเศษ (ต่อ) </a:t>
            </a:r>
          </a:p>
        </p:txBody>
      </p:sp>
      <p:graphicFrame>
        <p:nvGraphicFramePr>
          <p:cNvPr id="6" name="Table 5"/>
          <p:cNvGraphicFramePr>
            <a:graphicFrameLocks noGrp="1"/>
          </p:cNvGraphicFramePr>
          <p:nvPr>
            <p:extLst>
              <p:ext uri="{D42A27DB-BD31-4B8C-83A1-F6EECF244321}">
                <p14:modId xmlns:p14="http://schemas.microsoft.com/office/powerpoint/2010/main" xmlns="" val="470802879"/>
              </p:ext>
            </p:extLst>
          </p:nvPr>
        </p:nvGraphicFramePr>
        <p:xfrm>
          <a:off x="21" y="421441"/>
          <a:ext cx="9143998" cy="4392501"/>
        </p:xfrm>
        <a:graphic>
          <a:graphicData uri="http://schemas.openxmlformats.org/drawingml/2006/table">
            <a:tbl>
              <a:tblPr firstRow="1" bandRow="1">
                <a:tableStyleId>{00A15C55-8517-42AA-B614-E9B94910E393}</a:tableStyleId>
              </a:tblPr>
              <a:tblGrid>
                <a:gridCol w="2236002"/>
                <a:gridCol w="1377153"/>
                <a:gridCol w="3524327"/>
                <a:gridCol w="2006516"/>
              </a:tblGrid>
              <a:tr h="857250">
                <a:tc>
                  <a:txBody>
                    <a:bodyPr/>
                    <a:lstStyle/>
                    <a:p>
                      <a:pPr algn="ctr"/>
                      <a:r>
                        <a:rPr lang="th-TH" sz="1700" dirty="0" smtClean="0">
                          <a:solidFill>
                            <a:schemeClr val="accent4">
                              <a:lumMod val="25000"/>
                            </a:schemeClr>
                          </a:solidFill>
                          <a:latin typeface="TH SarabunPSK" pitchFamily="34" charset="-34"/>
                          <a:cs typeface="TH SarabunPSK" pitchFamily="34" charset="-34"/>
                        </a:rPr>
                        <a:t>สิทธิประโยชน์</a:t>
                      </a:r>
                      <a:endParaRPr lang="th-TH" sz="1700" dirty="0">
                        <a:solidFill>
                          <a:schemeClr val="accent4">
                            <a:lumMod val="25000"/>
                          </a:schemeClr>
                        </a:solidFill>
                        <a:latin typeface="TH SarabunPSK" pitchFamily="34" charset="-34"/>
                        <a:cs typeface="TH SarabunPSK" pitchFamily="34" charset="-34"/>
                      </a:endParaRPr>
                    </a:p>
                  </a:txBody>
                  <a:tcPr marL="84406" marR="84406" marT="34290" marB="34290"/>
                </a:tc>
                <a:tc>
                  <a:txBody>
                    <a:bodyPr/>
                    <a:lstStyle/>
                    <a:p>
                      <a:pPr algn="ctr"/>
                      <a:r>
                        <a:rPr lang="th-TH" sz="1700" dirty="0" smtClean="0">
                          <a:solidFill>
                            <a:schemeClr val="accent4">
                              <a:lumMod val="25000"/>
                            </a:schemeClr>
                          </a:solidFill>
                          <a:latin typeface="TH SarabunPSK" pitchFamily="34" charset="-34"/>
                          <a:cs typeface="TH SarabunPSK" pitchFamily="34" charset="-34"/>
                        </a:rPr>
                        <a:t>นอกเขตเศรษฐกิจพิเศษ</a:t>
                      </a:r>
                      <a:endParaRPr lang="th-TH" sz="1700" dirty="0">
                        <a:solidFill>
                          <a:schemeClr val="accent4">
                            <a:lumMod val="25000"/>
                          </a:schemeClr>
                        </a:solidFill>
                        <a:latin typeface="TH SarabunPSK" pitchFamily="34" charset="-34"/>
                        <a:cs typeface="TH SarabunPSK" pitchFamily="34" charset="-34"/>
                      </a:endParaRPr>
                    </a:p>
                  </a:txBody>
                  <a:tcPr marL="84406" marR="84406" marT="34290" marB="34290"/>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th-TH" sz="1700" b="1" i="0" u="none" strike="noStrike" kern="1200" cap="none" spc="0" normalizeH="0" baseline="0" noProof="0" dirty="0" smtClean="0">
                          <a:ln>
                            <a:noFill/>
                          </a:ln>
                          <a:solidFill>
                            <a:srgbClr val="A3DCFF">
                              <a:lumMod val="25000"/>
                            </a:srgbClr>
                          </a:solidFill>
                          <a:effectLst/>
                          <a:uLnTx/>
                          <a:uFillTx/>
                          <a:latin typeface="TH SarabunPSK" pitchFamily="34" charset="-34"/>
                          <a:ea typeface="+mn-ea"/>
                          <a:cs typeface="TH SarabunPSK" pitchFamily="34" charset="-34"/>
                        </a:rPr>
                        <a:t>ในเขตเศรษฐกิจพิเศษ (กิจการของ </a:t>
                      </a:r>
                      <a:r>
                        <a:rPr kumimoji="0" lang="en-US" sz="1700" b="1" i="0" u="none" strike="noStrike" kern="1200" cap="none" spc="0" normalizeH="0" baseline="0" noProof="0" dirty="0" smtClean="0">
                          <a:ln>
                            <a:noFill/>
                          </a:ln>
                          <a:solidFill>
                            <a:srgbClr val="A3DCFF">
                              <a:lumMod val="25000"/>
                            </a:srgbClr>
                          </a:solidFill>
                          <a:effectLst/>
                          <a:uLnTx/>
                          <a:uFillTx/>
                          <a:latin typeface="TH SarabunPSK" pitchFamily="34" charset="-34"/>
                          <a:ea typeface="+mn-ea"/>
                          <a:cs typeface="TH SarabunPSK" pitchFamily="34" charset="-34"/>
                        </a:rPr>
                        <a:t>BOI</a:t>
                      </a:r>
                      <a:r>
                        <a:rPr kumimoji="0" lang="th-TH" sz="1700" b="1" i="0" u="none" strike="noStrike" kern="1200" cap="none" spc="0" normalizeH="0" baseline="0" noProof="0" dirty="0" smtClean="0">
                          <a:ln>
                            <a:noFill/>
                          </a:ln>
                          <a:solidFill>
                            <a:srgbClr val="A3DCFF">
                              <a:lumMod val="25000"/>
                            </a:srgbClr>
                          </a:solidFill>
                          <a:effectLst/>
                          <a:uLnTx/>
                          <a:uFillTx/>
                          <a:latin typeface="TH SarabunPSK" pitchFamily="34" charset="-34"/>
                          <a:ea typeface="+mn-ea"/>
                          <a:cs typeface="TH SarabunPSK" pitchFamily="34" charset="-34"/>
                        </a:rPr>
                        <a:t>) </a:t>
                      </a:r>
                      <a:br>
                        <a:rPr kumimoji="0" lang="th-TH" sz="1700" b="1" i="0" u="none" strike="noStrike" kern="1200" cap="none" spc="0" normalizeH="0" baseline="0" noProof="0" dirty="0" smtClean="0">
                          <a:ln>
                            <a:noFill/>
                          </a:ln>
                          <a:solidFill>
                            <a:srgbClr val="A3DCFF">
                              <a:lumMod val="25000"/>
                            </a:srgbClr>
                          </a:solidFill>
                          <a:effectLst/>
                          <a:uLnTx/>
                          <a:uFillTx/>
                          <a:latin typeface="TH SarabunPSK" pitchFamily="34" charset="-34"/>
                          <a:ea typeface="+mn-ea"/>
                          <a:cs typeface="TH SarabunPSK" pitchFamily="34" charset="-34"/>
                        </a:rPr>
                      </a:br>
                      <a:r>
                        <a:rPr kumimoji="0" lang="th-TH" sz="1700" b="1" i="0" u="none" strike="noStrike" kern="1200" cap="none" spc="0" normalizeH="0" baseline="0" noProof="0" dirty="0" smtClean="0">
                          <a:ln>
                            <a:noFill/>
                          </a:ln>
                          <a:solidFill>
                            <a:srgbClr val="A3DCFF">
                              <a:lumMod val="25000"/>
                            </a:srgbClr>
                          </a:solidFill>
                          <a:effectLst/>
                          <a:uLnTx/>
                          <a:uFillTx/>
                          <a:latin typeface="TH SarabunPSK" pitchFamily="34" charset="-34"/>
                          <a:ea typeface="+mn-ea"/>
                          <a:cs typeface="TH SarabunPSK" pitchFamily="34" charset="-34"/>
                        </a:rPr>
                        <a:t>และนอกเขตเศรษฐกิจพิเศษใน 20 จังหวัดรายได้ต่ำ</a:t>
                      </a:r>
                      <a:endParaRPr kumimoji="0" lang="th-TH" sz="1700" b="1" i="0" u="none" strike="noStrike" kern="1200" cap="none" spc="0" normalizeH="0" baseline="0" noProof="0" dirty="0">
                        <a:ln>
                          <a:noFill/>
                        </a:ln>
                        <a:solidFill>
                          <a:srgbClr val="A3DCFF">
                            <a:lumMod val="25000"/>
                          </a:srgbClr>
                        </a:solidFill>
                        <a:effectLst/>
                        <a:uLnTx/>
                        <a:uFillTx/>
                        <a:latin typeface="TH SarabunPSK" pitchFamily="34" charset="-34"/>
                        <a:ea typeface="+mn-ea"/>
                        <a:cs typeface="TH SarabunPSK" pitchFamily="34" charset="-34"/>
                      </a:endParaRPr>
                    </a:p>
                  </a:txBody>
                  <a:tcPr marL="84406" marR="84406" marT="34290" marB="34290"/>
                </a:tc>
                <a:tc>
                  <a:txBody>
                    <a:bodyPr/>
                    <a:lstStyle/>
                    <a:p>
                      <a:pPr algn="ctr"/>
                      <a:r>
                        <a:rPr lang="th-TH" sz="1700" dirty="0" smtClean="0">
                          <a:solidFill>
                            <a:schemeClr val="accent4">
                              <a:lumMod val="25000"/>
                            </a:schemeClr>
                          </a:solidFill>
                          <a:latin typeface="TH SarabunPSK" pitchFamily="34" charset="-34"/>
                          <a:cs typeface="TH SarabunPSK" pitchFamily="34" charset="-34"/>
                        </a:rPr>
                        <a:t>ในเขตเศรษฐกิจพิเศษ </a:t>
                      </a:r>
                      <a:br>
                        <a:rPr lang="th-TH" sz="1700" dirty="0" smtClean="0">
                          <a:solidFill>
                            <a:schemeClr val="accent4">
                              <a:lumMod val="25000"/>
                            </a:schemeClr>
                          </a:solidFill>
                          <a:latin typeface="TH SarabunPSK" pitchFamily="34" charset="-34"/>
                          <a:cs typeface="TH SarabunPSK" pitchFamily="34" charset="-34"/>
                        </a:rPr>
                      </a:br>
                      <a:r>
                        <a:rPr lang="th-TH" sz="1700" dirty="0" smtClean="0">
                          <a:solidFill>
                            <a:schemeClr val="accent4">
                              <a:lumMod val="25000"/>
                            </a:schemeClr>
                          </a:solidFill>
                          <a:latin typeface="TH SarabunPSK" pitchFamily="34" charset="-34"/>
                          <a:cs typeface="TH SarabunPSK" pitchFamily="34" charset="-34"/>
                        </a:rPr>
                        <a:t>(</a:t>
                      </a:r>
                      <a:r>
                        <a:rPr lang="en-US" sz="1700" dirty="0" smtClean="0">
                          <a:solidFill>
                            <a:schemeClr val="accent4">
                              <a:lumMod val="25000"/>
                            </a:schemeClr>
                          </a:solidFill>
                          <a:latin typeface="TH SarabunPSK" pitchFamily="34" charset="-34"/>
                          <a:cs typeface="TH SarabunPSK" pitchFamily="34" charset="-34"/>
                        </a:rPr>
                        <a:t>13 </a:t>
                      </a:r>
                      <a:r>
                        <a:rPr lang="th-TH" sz="1700" dirty="0" smtClean="0">
                          <a:solidFill>
                            <a:schemeClr val="accent4">
                              <a:lumMod val="25000"/>
                            </a:schemeClr>
                          </a:solidFill>
                          <a:latin typeface="TH SarabunPSK" pitchFamily="34" charset="-34"/>
                          <a:cs typeface="TH SarabunPSK" pitchFamily="34" charset="-34"/>
                        </a:rPr>
                        <a:t>กลุ่มกิจการเป้าหมาย)</a:t>
                      </a:r>
                      <a:endParaRPr lang="th-TH" sz="1700" dirty="0">
                        <a:solidFill>
                          <a:schemeClr val="accent4">
                            <a:lumMod val="25000"/>
                          </a:schemeClr>
                        </a:solidFill>
                        <a:latin typeface="TH SarabunPSK" pitchFamily="34" charset="-34"/>
                        <a:cs typeface="TH SarabunPSK" pitchFamily="34" charset="-34"/>
                      </a:endParaRPr>
                    </a:p>
                  </a:txBody>
                  <a:tcPr marL="84406" marR="84406" marT="34290" marB="34290"/>
                </a:tc>
              </a:tr>
              <a:tr h="364365">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th-TH" sz="1500" b="1" dirty="0" smtClean="0">
                          <a:solidFill>
                            <a:schemeClr val="tx1"/>
                          </a:solidFill>
                          <a:latin typeface="TH SarabunPSK" pitchFamily="34" charset="-34"/>
                          <a:cs typeface="TH SarabunPSK" pitchFamily="34" charset="-34"/>
                        </a:rPr>
                        <a:t>ยกเว้นอากรขาเข้าสำหรับเครื่องจักร</a:t>
                      </a:r>
                    </a:p>
                  </a:txBody>
                  <a:tcPr marL="84406" marR="84406" marT="34290" marB="34290"/>
                </a:tc>
                <a:tc>
                  <a:txBody>
                    <a:bodyPr/>
                    <a:lstStyle/>
                    <a:p>
                      <a:pPr marL="0" marR="0" lvl="0" indent="0" algn="ctr" defTabSz="914400" rtl="0" eaLnBrk="1" fontAlgn="auto" latinLnBrk="0" hangingPunct="1">
                        <a:lnSpc>
                          <a:spcPts val="1700"/>
                        </a:lnSpc>
                        <a:spcBef>
                          <a:spcPts val="600"/>
                        </a:spcBef>
                        <a:spcAft>
                          <a:spcPts val="0"/>
                        </a:spcAft>
                        <a:buClrTx/>
                        <a:buSzTx/>
                        <a:buFont typeface="Wingdings" pitchFamily="2" charset="2"/>
                        <a:buChar char="ü"/>
                        <a:tabLst/>
                        <a:defRPr/>
                      </a:pPr>
                      <a:r>
                        <a:rPr kumimoji="0" lang="en-US" sz="1400" b="0" i="0" u="none" strike="noStrike" kern="1200" cap="none" spc="0" normalizeH="0" baseline="0" noProof="0" dirty="0" smtClean="0">
                          <a:ln>
                            <a:noFill/>
                          </a:ln>
                          <a:solidFill>
                            <a:prstClr val="black"/>
                          </a:solidFill>
                          <a:effectLst/>
                          <a:uLnTx/>
                          <a:uFillTx/>
                          <a:latin typeface="TH SarabunPSK" pitchFamily="34" charset="-34"/>
                          <a:ea typeface="+mn-ea"/>
                          <a:cs typeface="TH SarabunPSK" pitchFamily="34" charset="-34"/>
                        </a:rPr>
                        <a:t> </a:t>
                      </a:r>
                      <a:endParaRPr kumimoji="0" lang="th-TH" sz="1400" b="0" i="0" u="none" strike="noStrike" kern="1200" cap="none" spc="0" normalizeH="0" baseline="0" noProof="0" dirty="0" smtClean="0">
                        <a:ln>
                          <a:noFill/>
                        </a:ln>
                        <a:solidFill>
                          <a:prstClr val="black"/>
                        </a:solidFill>
                        <a:effectLst/>
                        <a:uLnTx/>
                        <a:uFillTx/>
                        <a:latin typeface="TH SarabunPSK" pitchFamily="34" charset="-34"/>
                        <a:ea typeface="+mn-ea"/>
                        <a:cs typeface="TH SarabunPSK" pitchFamily="34" charset="-34"/>
                      </a:endParaRPr>
                    </a:p>
                  </a:txBody>
                  <a:tcPr marL="84406" marR="84406" marT="34290" marB="34290"/>
                </a:tc>
                <a:tc>
                  <a:txBody>
                    <a:bodyPr/>
                    <a:lstStyle/>
                    <a:p>
                      <a:pPr marL="0" marR="0" lvl="0" indent="0" algn="ctr" defTabSz="914400" rtl="0" eaLnBrk="1" fontAlgn="auto" latinLnBrk="0" hangingPunct="1">
                        <a:lnSpc>
                          <a:spcPts val="1700"/>
                        </a:lnSpc>
                        <a:spcBef>
                          <a:spcPts val="600"/>
                        </a:spcBef>
                        <a:spcAft>
                          <a:spcPts val="0"/>
                        </a:spcAft>
                        <a:buClrTx/>
                        <a:buSzTx/>
                        <a:buFont typeface="Wingdings" pitchFamily="2" charset="2"/>
                        <a:buChar char="ü"/>
                        <a:tabLst/>
                        <a:defRPr/>
                      </a:pPr>
                      <a:r>
                        <a:rPr kumimoji="0" lang="en-US" sz="1400" b="0" i="0" u="none" strike="noStrike" kern="1200" cap="none" spc="0" normalizeH="0" baseline="0" noProof="0" dirty="0" smtClean="0">
                          <a:ln>
                            <a:noFill/>
                          </a:ln>
                          <a:solidFill>
                            <a:prstClr val="black"/>
                          </a:solidFill>
                          <a:effectLst/>
                          <a:uLnTx/>
                          <a:uFillTx/>
                          <a:latin typeface="TH SarabunPSK" pitchFamily="34" charset="-34"/>
                          <a:ea typeface="+mn-ea"/>
                          <a:cs typeface="TH SarabunPSK" pitchFamily="34" charset="-34"/>
                        </a:rPr>
                        <a:t> </a:t>
                      </a:r>
                      <a:endParaRPr kumimoji="0" lang="th-TH" sz="1400" b="0" i="0" u="none" strike="noStrike" kern="1200" cap="none" spc="0" normalizeH="0" baseline="0" noProof="0" dirty="0" smtClean="0">
                        <a:ln>
                          <a:noFill/>
                        </a:ln>
                        <a:solidFill>
                          <a:prstClr val="black"/>
                        </a:solidFill>
                        <a:effectLst/>
                        <a:uLnTx/>
                        <a:uFillTx/>
                        <a:latin typeface="TH SarabunPSK" pitchFamily="34" charset="-34"/>
                        <a:ea typeface="+mn-ea"/>
                        <a:cs typeface="TH SarabunPSK" pitchFamily="34" charset="-34"/>
                      </a:endParaRPr>
                    </a:p>
                  </a:txBody>
                  <a:tcPr marL="84406" marR="84406" marT="34290" marB="34290"/>
                </a:tc>
                <a:tc>
                  <a:txBody>
                    <a:bodyPr/>
                    <a:lstStyle/>
                    <a:p>
                      <a:pPr marL="0" marR="0" lvl="0" indent="0" algn="ctr" defTabSz="914400" rtl="0" eaLnBrk="1" fontAlgn="auto" latinLnBrk="0" hangingPunct="1">
                        <a:lnSpc>
                          <a:spcPts val="1700"/>
                        </a:lnSpc>
                        <a:spcBef>
                          <a:spcPts val="600"/>
                        </a:spcBef>
                        <a:spcAft>
                          <a:spcPts val="0"/>
                        </a:spcAft>
                        <a:buClrTx/>
                        <a:buSzTx/>
                        <a:buFont typeface="Wingdings" pitchFamily="2" charset="2"/>
                        <a:buChar char="ü"/>
                        <a:tabLst/>
                        <a:defRPr/>
                      </a:pPr>
                      <a:r>
                        <a:rPr kumimoji="0" lang="en-US" sz="1400" b="0" i="0" u="none" strike="noStrike" kern="1200" cap="none" spc="0" normalizeH="0" baseline="0" noProof="0" dirty="0" smtClean="0">
                          <a:ln>
                            <a:noFill/>
                          </a:ln>
                          <a:solidFill>
                            <a:prstClr val="black"/>
                          </a:solidFill>
                          <a:effectLst/>
                          <a:uLnTx/>
                          <a:uFillTx/>
                          <a:latin typeface="TH SarabunPSK" pitchFamily="34" charset="-34"/>
                          <a:ea typeface="+mn-ea"/>
                          <a:cs typeface="TH SarabunPSK" pitchFamily="34" charset="-34"/>
                        </a:rPr>
                        <a:t> </a:t>
                      </a:r>
                      <a:endParaRPr kumimoji="0" lang="th-TH" sz="1400" b="0" i="0" u="none" strike="noStrike" kern="1200" cap="none" spc="0" normalizeH="0" baseline="0" noProof="0" dirty="0" smtClean="0">
                        <a:ln>
                          <a:noFill/>
                        </a:ln>
                        <a:solidFill>
                          <a:prstClr val="black"/>
                        </a:solidFill>
                        <a:effectLst/>
                        <a:uLnTx/>
                        <a:uFillTx/>
                        <a:latin typeface="TH SarabunPSK" pitchFamily="34" charset="-34"/>
                        <a:ea typeface="+mn-ea"/>
                        <a:cs typeface="TH SarabunPSK" pitchFamily="34" charset="-34"/>
                      </a:endParaRPr>
                    </a:p>
                  </a:txBody>
                  <a:tcPr marL="84406" marR="84406" marT="34290" marB="34290"/>
                </a:tc>
              </a:tr>
              <a:tr h="75438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th-TH" sz="1500" b="1" dirty="0" smtClean="0">
                          <a:solidFill>
                            <a:schemeClr val="tx1"/>
                          </a:solidFill>
                          <a:latin typeface="TH SarabunPSK" pitchFamily="34" charset="-34"/>
                          <a:cs typeface="TH SarabunPSK" pitchFamily="34" charset="-34"/>
                        </a:rPr>
                        <a:t>ยกเว้นอากรขาเข้าสำหรับวัตถุดิบหรือวัสดุจำเป็นสำหรับส่วนที่ผลิตเพื่อส่งออก</a:t>
                      </a:r>
                      <a:r>
                        <a:rPr lang="en-US" sz="1500" b="1" dirty="0" smtClean="0">
                          <a:solidFill>
                            <a:schemeClr val="tx1"/>
                          </a:solidFill>
                          <a:latin typeface="TH SarabunPSK" pitchFamily="34" charset="-34"/>
                          <a:cs typeface="TH SarabunPSK" pitchFamily="34" charset="-34"/>
                        </a:rPr>
                        <a:t> 1</a:t>
                      </a:r>
                      <a:r>
                        <a:rPr lang="en-US" sz="1500" b="1" baseline="0" dirty="0" smtClean="0">
                          <a:solidFill>
                            <a:schemeClr val="tx1"/>
                          </a:solidFill>
                          <a:latin typeface="TH SarabunPSK" pitchFamily="34" charset="-34"/>
                          <a:cs typeface="TH SarabunPSK" pitchFamily="34" charset="-34"/>
                        </a:rPr>
                        <a:t> </a:t>
                      </a:r>
                      <a:r>
                        <a:rPr lang="th-TH" sz="1500" b="1" baseline="0" dirty="0" smtClean="0">
                          <a:solidFill>
                            <a:schemeClr val="tx1"/>
                          </a:solidFill>
                          <a:latin typeface="TH SarabunPSK" pitchFamily="34" charset="-34"/>
                          <a:cs typeface="TH SarabunPSK" pitchFamily="34" charset="-34"/>
                        </a:rPr>
                        <a:t>ปี </a:t>
                      </a:r>
                      <a:endParaRPr lang="th-TH" sz="1500" b="1" dirty="0">
                        <a:latin typeface="TH SarabunPSK" pitchFamily="34" charset="-34"/>
                        <a:cs typeface="TH SarabunPSK" pitchFamily="34" charset="-34"/>
                      </a:endParaRPr>
                    </a:p>
                  </a:txBody>
                  <a:tcPr marL="84406" marR="84406" marT="34290" marB="34290"/>
                </a:tc>
                <a:tc>
                  <a:txBody>
                    <a:bodyPr/>
                    <a:lstStyle/>
                    <a:p>
                      <a:pPr marL="0" marR="0" lvl="0" indent="0" algn="ctr" defTabSz="914400" rtl="0" eaLnBrk="1" fontAlgn="auto" latinLnBrk="0" hangingPunct="1">
                        <a:lnSpc>
                          <a:spcPts val="1700"/>
                        </a:lnSpc>
                        <a:spcBef>
                          <a:spcPts val="0"/>
                        </a:spcBef>
                        <a:spcAft>
                          <a:spcPts val="0"/>
                        </a:spcAft>
                        <a:buClrTx/>
                        <a:buSzTx/>
                        <a:buFont typeface="Wingdings" pitchFamily="2" charset="2"/>
                        <a:buChar char="ü"/>
                        <a:tabLst/>
                        <a:defRPr/>
                      </a:pPr>
                      <a:r>
                        <a:rPr kumimoji="0" lang="en-US" sz="1400" b="0" i="0" u="none" strike="noStrike" kern="1200" cap="none" spc="0" normalizeH="0" baseline="0" noProof="0" smtClean="0">
                          <a:ln>
                            <a:noFill/>
                          </a:ln>
                          <a:solidFill>
                            <a:prstClr val="black"/>
                          </a:solidFill>
                          <a:effectLst/>
                          <a:uLnTx/>
                          <a:uFillTx/>
                          <a:latin typeface="TH SarabunPSK" pitchFamily="34" charset="-34"/>
                          <a:ea typeface="+mn-ea"/>
                          <a:cs typeface="TH SarabunPSK" pitchFamily="34" charset="-34"/>
                        </a:rPr>
                        <a:t> </a:t>
                      </a:r>
                      <a:endParaRPr kumimoji="0" lang="th-TH" sz="1400" b="0" i="0" u="none" strike="noStrike" kern="1200" cap="none" spc="0" normalizeH="0" baseline="0" noProof="0" smtClean="0">
                        <a:ln>
                          <a:noFill/>
                        </a:ln>
                        <a:solidFill>
                          <a:prstClr val="black"/>
                        </a:solidFill>
                        <a:effectLst/>
                        <a:uLnTx/>
                        <a:uFillTx/>
                        <a:latin typeface="TH SarabunPSK" pitchFamily="34" charset="-34"/>
                        <a:ea typeface="+mn-ea"/>
                        <a:cs typeface="TH SarabunPSK" pitchFamily="34" charset="-34"/>
                      </a:endParaRPr>
                    </a:p>
                    <a:p>
                      <a:endParaRPr lang="th-TH" sz="1500" dirty="0">
                        <a:latin typeface="TH SarabunPSK" pitchFamily="34" charset="-34"/>
                        <a:cs typeface="TH SarabunPSK" pitchFamily="34" charset="-34"/>
                      </a:endParaRPr>
                    </a:p>
                  </a:txBody>
                  <a:tcPr marL="84406" marR="84406" marT="34290" marB="34290"/>
                </a:tc>
                <a:tc>
                  <a:txBody>
                    <a:bodyPr/>
                    <a:lstStyle/>
                    <a:p>
                      <a:pPr marL="0" marR="0" lvl="0" indent="0" algn="ctr" defTabSz="914400" rtl="0" eaLnBrk="1" fontAlgn="auto" latinLnBrk="0" hangingPunct="1">
                        <a:lnSpc>
                          <a:spcPts val="1700"/>
                        </a:lnSpc>
                        <a:spcBef>
                          <a:spcPts val="0"/>
                        </a:spcBef>
                        <a:spcAft>
                          <a:spcPts val="0"/>
                        </a:spcAft>
                        <a:buClrTx/>
                        <a:buSzTx/>
                        <a:buFont typeface="Wingdings" pitchFamily="2" charset="2"/>
                        <a:buChar char="ü"/>
                        <a:tabLst/>
                        <a:defRPr/>
                      </a:pPr>
                      <a:r>
                        <a:rPr kumimoji="0" lang="en-US" sz="1400" b="0" i="0" u="none" strike="noStrike" kern="1200" cap="none" spc="0" normalizeH="0" baseline="0" noProof="0" dirty="0" smtClean="0">
                          <a:ln>
                            <a:noFill/>
                          </a:ln>
                          <a:solidFill>
                            <a:prstClr val="black"/>
                          </a:solidFill>
                          <a:effectLst/>
                          <a:uLnTx/>
                          <a:uFillTx/>
                          <a:latin typeface="TH SarabunPSK" pitchFamily="34" charset="-34"/>
                          <a:ea typeface="+mn-ea"/>
                          <a:cs typeface="TH SarabunPSK" pitchFamily="34" charset="-34"/>
                        </a:rPr>
                        <a:t> </a:t>
                      </a:r>
                      <a:endParaRPr kumimoji="0" lang="th-TH" sz="1400" b="0" i="0" u="none" strike="noStrike" kern="1200" cap="none" spc="0" normalizeH="0" baseline="0" noProof="0" dirty="0" smtClean="0">
                        <a:ln>
                          <a:noFill/>
                        </a:ln>
                        <a:solidFill>
                          <a:prstClr val="black"/>
                        </a:solidFill>
                        <a:effectLst/>
                        <a:uLnTx/>
                        <a:uFillTx/>
                        <a:latin typeface="TH SarabunPSK" pitchFamily="34" charset="-34"/>
                        <a:ea typeface="+mn-ea"/>
                        <a:cs typeface="TH SarabunPSK" pitchFamily="34" charset="-34"/>
                      </a:endParaRPr>
                    </a:p>
                    <a:p>
                      <a:endParaRPr lang="th-TH" sz="1500" dirty="0">
                        <a:latin typeface="TH SarabunPSK" pitchFamily="34" charset="-34"/>
                        <a:cs typeface="TH SarabunPSK" pitchFamily="34" charset="-34"/>
                      </a:endParaRPr>
                    </a:p>
                  </a:txBody>
                  <a:tcPr marL="84406" marR="84406" marT="34290" marB="34290"/>
                </a:tc>
                <a:tc>
                  <a:txBody>
                    <a:bodyPr/>
                    <a:lstStyle/>
                    <a:p>
                      <a:pPr marL="0" marR="0" lvl="0" indent="0" algn="ctr" defTabSz="914400" rtl="0" eaLnBrk="1" fontAlgn="auto" latinLnBrk="0" hangingPunct="1">
                        <a:lnSpc>
                          <a:spcPts val="1700"/>
                        </a:lnSpc>
                        <a:spcBef>
                          <a:spcPts val="0"/>
                        </a:spcBef>
                        <a:spcAft>
                          <a:spcPts val="0"/>
                        </a:spcAft>
                        <a:buClrTx/>
                        <a:buSzTx/>
                        <a:buFont typeface="Wingdings" pitchFamily="2" charset="2"/>
                        <a:buChar char="ü"/>
                        <a:tabLst/>
                        <a:defRPr/>
                      </a:pPr>
                      <a:r>
                        <a:rPr kumimoji="0" lang="en-US" sz="1400" b="0" i="0" u="none" strike="noStrike" kern="1200" cap="none" spc="0" normalizeH="0" baseline="0" noProof="0" smtClean="0">
                          <a:ln>
                            <a:noFill/>
                          </a:ln>
                          <a:solidFill>
                            <a:prstClr val="black"/>
                          </a:solidFill>
                          <a:effectLst/>
                          <a:uLnTx/>
                          <a:uFillTx/>
                          <a:latin typeface="TH SarabunPSK" pitchFamily="34" charset="-34"/>
                          <a:ea typeface="+mn-ea"/>
                          <a:cs typeface="TH SarabunPSK" pitchFamily="34" charset="-34"/>
                        </a:rPr>
                        <a:t> </a:t>
                      </a:r>
                      <a:endParaRPr kumimoji="0" lang="th-TH" sz="1400" b="0" i="0" u="none" strike="noStrike" kern="1200" cap="none" spc="0" normalizeH="0" baseline="0" noProof="0" smtClean="0">
                        <a:ln>
                          <a:noFill/>
                        </a:ln>
                        <a:solidFill>
                          <a:prstClr val="black"/>
                        </a:solidFill>
                        <a:effectLst/>
                        <a:uLnTx/>
                        <a:uFillTx/>
                        <a:latin typeface="TH SarabunPSK" pitchFamily="34" charset="-34"/>
                        <a:ea typeface="+mn-ea"/>
                        <a:cs typeface="TH SarabunPSK" pitchFamily="34" charset="-34"/>
                      </a:endParaRPr>
                    </a:p>
                    <a:p>
                      <a:endParaRPr lang="th-TH" sz="1500" dirty="0">
                        <a:latin typeface="TH SarabunPSK" pitchFamily="34" charset="-34"/>
                        <a:cs typeface="TH SarabunPSK" pitchFamily="34" charset="-34"/>
                      </a:endParaRPr>
                    </a:p>
                  </a:txBody>
                  <a:tcPr marL="84406" marR="84406" marT="34290" marB="34290"/>
                </a:tc>
              </a:tr>
              <a:tr h="75438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th-TH" sz="1500" b="1" dirty="0" smtClean="0">
                          <a:solidFill>
                            <a:schemeClr val="tx1"/>
                          </a:solidFill>
                          <a:latin typeface="TH SarabunPSK" pitchFamily="34" charset="-34"/>
                          <a:cs typeface="TH SarabunPSK" pitchFamily="34" charset="-34"/>
                        </a:rPr>
                        <a:t>สิทธิประโยชน์ที่มิใช่ภาษีอากร เช่น การถือครองที่ดิน การนำช่างฝีมือต่างด้าวมาทำงาน</a:t>
                      </a:r>
                    </a:p>
                  </a:txBody>
                  <a:tcPr marL="84406" marR="84406" marT="34290" marB="34290"/>
                </a:tc>
                <a:tc>
                  <a:txBody>
                    <a:bodyPr/>
                    <a:lstStyle/>
                    <a:p>
                      <a:pPr marL="0" marR="0" lvl="0" indent="0" algn="ctr" defTabSz="914400" rtl="0" eaLnBrk="1" fontAlgn="auto" latinLnBrk="0" hangingPunct="1">
                        <a:lnSpc>
                          <a:spcPts val="1700"/>
                        </a:lnSpc>
                        <a:spcBef>
                          <a:spcPts val="0"/>
                        </a:spcBef>
                        <a:spcAft>
                          <a:spcPts val="0"/>
                        </a:spcAft>
                        <a:buClrTx/>
                        <a:buSzTx/>
                        <a:buFont typeface="Wingdings" pitchFamily="2" charset="2"/>
                        <a:buChar char="ü"/>
                        <a:tabLst/>
                        <a:defRPr/>
                      </a:pPr>
                      <a:r>
                        <a:rPr kumimoji="0" lang="en-US" sz="1400" b="0" i="0" u="none" strike="noStrike" kern="1200" cap="none" spc="0" normalizeH="0" baseline="0" noProof="0" dirty="0" smtClean="0">
                          <a:ln>
                            <a:noFill/>
                          </a:ln>
                          <a:solidFill>
                            <a:prstClr val="black"/>
                          </a:solidFill>
                          <a:effectLst/>
                          <a:uLnTx/>
                          <a:uFillTx/>
                          <a:latin typeface="TH SarabunPSK" pitchFamily="34" charset="-34"/>
                          <a:ea typeface="+mn-ea"/>
                          <a:cs typeface="TH SarabunPSK" pitchFamily="34" charset="-34"/>
                        </a:rPr>
                        <a:t> </a:t>
                      </a:r>
                      <a:endParaRPr kumimoji="0" lang="th-TH" sz="1400" b="0" i="0" u="none" strike="noStrike" kern="1200" cap="none" spc="0" normalizeH="0" baseline="0" noProof="0" dirty="0" smtClean="0">
                        <a:ln>
                          <a:noFill/>
                        </a:ln>
                        <a:solidFill>
                          <a:prstClr val="black"/>
                        </a:solidFill>
                        <a:effectLst/>
                        <a:uLnTx/>
                        <a:uFillTx/>
                        <a:latin typeface="TH SarabunPSK" pitchFamily="34" charset="-34"/>
                        <a:ea typeface="+mn-ea"/>
                        <a:cs typeface="TH SarabunPSK" pitchFamily="34" charset="-34"/>
                      </a:endParaRPr>
                    </a:p>
                    <a:p>
                      <a:endParaRPr lang="th-TH" sz="1500" dirty="0">
                        <a:latin typeface="TH SarabunPSK" pitchFamily="34" charset="-34"/>
                        <a:cs typeface="TH SarabunPSK" pitchFamily="34" charset="-34"/>
                      </a:endParaRPr>
                    </a:p>
                  </a:txBody>
                  <a:tcPr marL="84406" marR="84406" marT="34290" marB="34290"/>
                </a:tc>
                <a:tc>
                  <a:txBody>
                    <a:bodyPr/>
                    <a:lstStyle/>
                    <a:p>
                      <a:pPr marL="0" marR="0" lvl="0" indent="0" algn="ctr" defTabSz="914400" rtl="0" eaLnBrk="1" fontAlgn="auto" latinLnBrk="0" hangingPunct="1">
                        <a:lnSpc>
                          <a:spcPts val="1700"/>
                        </a:lnSpc>
                        <a:spcBef>
                          <a:spcPts val="0"/>
                        </a:spcBef>
                        <a:spcAft>
                          <a:spcPts val="0"/>
                        </a:spcAft>
                        <a:buClrTx/>
                        <a:buSzTx/>
                        <a:buFont typeface="Wingdings" pitchFamily="2" charset="2"/>
                        <a:buChar char="ü"/>
                        <a:tabLst/>
                        <a:defRPr/>
                      </a:pPr>
                      <a:r>
                        <a:rPr kumimoji="0" lang="en-US" sz="1400" b="0" i="0" u="none" strike="noStrike" kern="1200" cap="none" spc="0" normalizeH="0" baseline="0" noProof="0" dirty="0" smtClean="0">
                          <a:ln>
                            <a:noFill/>
                          </a:ln>
                          <a:solidFill>
                            <a:prstClr val="black"/>
                          </a:solidFill>
                          <a:effectLst/>
                          <a:uLnTx/>
                          <a:uFillTx/>
                          <a:latin typeface="TH SarabunPSK" pitchFamily="34" charset="-34"/>
                          <a:ea typeface="+mn-ea"/>
                          <a:cs typeface="TH SarabunPSK" pitchFamily="34" charset="-34"/>
                        </a:rPr>
                        <a:t> </a:t>
                      </a:r>
                      <a:endParaRPr kumimoji="0" lang="th-TH" sz="1400" b="0" i="0" u="none" strike="noStrike" kern="1200" cap="none" spc="0" normalizeH="0" baseline="0" noProof="0" dirty="0" smtClean="0">
                        <a:ln>
                          <a:noFill/>
                        </a:ln>
                        <a:solidFill>
                          <a:prstClr val="black"/>
                        </a:solidFill>
                        <a:effectLst/>
                        <a:uLnTx/>
                        <a:uFillTx/>
                        <a:latin typeface="TH SarabunPSK" pitchFamily="34" charset="-34"/>
                        <a:ea typeface="+mn-ea"/>
                        <a:cs typeface="TH SarabunPSK" pitchFamily="34" charset="-34"/>
                      </a:endParaRPr>
                    </a:p>
                    <a:p>
                      <a:endParaRPr lang="th-TH" sz="1500" dirty="0">
                        <a:latin typeface="TH SarabunPSK" pitchFamily="34" charset="-34"/>
                        <a:cs typeface="TH SarabunPSK" pitchFamily="34" charset="-34"/>
                      </a:endParaRPr>
                    </a:p>
                  </a:txBody>
                  <a:tcPr marL="84406" marR="84406" marT="34290" marB="34290"/>
                </a:tc>
                <a:tc>
                  <a:txBody>
                    <a:bodyPr/>
                    <a:lstStyle/>
                    <a:p>
                      <a:pPr marL="0" marR="0" lvl="0" indent="0" algn="ctr" defTabSz="914400" rtl="0" eaLnBrk="1" fontAlgn="auto" latinLnBrk="0" hangingPunct="1">
                        <a:lnSpc>
                          <a:spcPts val="1700"/>
                        </a:lnSpc>
                        <a:spcBef>
                          <a:spcPts val="0"/>
                        </a:spcBef>
                        <a:spcAft>
                          <a:spcPts val="0"/>
                        </a:spcAft>
                        <a:buClrTx/>
                        <a:buSzTx/>
                        <a:buFont typeface="Wingdings" pitchFamily="2" charset="2"/>
                        <a:buChar char="ü"/>
                        <a:tabLst/>
                        <a:defRPr/>
                      </a:pPr>
                      <a:r>
                        <a:rPr kumimoji="0" lang="en-US" sz="1400" b="0" i="0" u="none" strike="noStrike" kern="1200" cap="none" spc="0" normalizeH="0" baseline="0" noProof="0" smtClean="0">
                          <a:ln>
                            <a:noFill/>
                          </a:ln>
                          <a:solidFill>
                            <a:prstClr val="black"/>
                          </a:solidFill>
                          <a:effectLst/>
                          <a:uLnTx/>
                          <a:uFillTx/>
                          <a:latin typeface="TH SarabunPSK" pitchFamily="34" charset="-34"/>
                          <a:ea typeface="+mn-ea"/>
                          <a:cs typeface="TH SarabunPSK" pitchFamily="34" charset="-34"/>
                        </a:rPr>
                        <a:t> </a:t>
                      </a:r>
                      <a:endParaRPr kumimoji="0" lang="th-TH" sz="1400" b="0" i="0" u="none" strike="noStrike" kern="1200" cap="none" spc="0" normalizeH="0" baseline="0" noProof="0" smtClean="0">
                        <a:ln>
                          <a:noFill/>
                        </a:ln>
                        <a:solidFill>
                          <a:prstClr val="black"/>
                        </a:solidFill>
                        <a:effectLst/>
                        <a:uLnTx/>
                        <a:uFillTx/>
                        <a:latin typeface="TH SarabunPSK" pitchFamily="34" charset="-34"/>
                        <a:ea typeface="+mn-ea"/>
                        <a:cs typeface="TH SarabunPSK" pitchFamily="34" charset="-34"/>
                      </a:endParaRPr>
                    </a:p>
                    <a:p>
                      <a:endParaRPr lang="th-TH" sz="1500" dirty="0">
                        <a:latin typeface="TH SarabunPSK" pitchFamily="34" charset="-34"/>
                        <a:cs typeface="TH SarabunPSK" pitchFamily="34" charset="-34"/>
                      </a:endParaRPr>
                    </a:p>
                  </a:txBody>
                  <a:tcPr marL="84406" marR="84406" marT="34290" marB="34290"/>
                </a:tc>
              </a:tr>
              <a:tr h="420066">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th-TH" sz="1500" b="1" dirty="0" smtClean="0">
                          <a:solidFill>
                            <a:schemeClr val="tx1"/>
                          </a:solidFill>
                          <a:latin typeface="TH SarabunPSK" pitchFamily="34" charset="-34"/>
                          <a:cs typeface="TH SarabunPSK" pitchFamily="34" charset="-34"/>
                        </a:rPr>
                        <a:t>หักค่าขนส่งไฟฟ้าประปา </a:t>
                      </a:r>
                      <a:r>
                        <a:rPr lang="en-US" sz="1500" b="1" dirty="0" smtClean="0">
                          <a:solidFill>
                            <a:schemeClr val="tx1"/>
                          </a:solidFill>
                          <a:latin typeface="TH SarabunPSK" pitchFamily="34" charset="-34"/>
                          <a:cs typeface="TH SarabunPSK" pitchFamily="34" charset="-34"/>
                        </a:rPr>
                        <a:t>2</a:t>
                      </a:r>
                      <a:r>
                        <a:rPr lang="en-US" sz="1500" b="1" baseline="0" dirty="0" smtClean="0">
                          <a:solidFill>
                            <a:schemeClr val="tx1"/>
                          </a:solidFill>
                          <a:latin typeface="TH SarabunPSK" pitchFamily="34" charset="-34"/>
                          <a:cs typeface="TH SarabunPSK" pitchFamily="34" charset="-34"/>
                        </a:rPr>
                        <a:t> </a:t>
                      </a:r>
                      <a:r>
                        <a:rPr lang="th-TH" sz="1500" b="1" baseline="0" dirty="0" smtClean="0">
                          <a:solidFill>
                            <a:schemeClr val="tx1"/>
                          </a:solidFill>
                          <a:latin typeface="TH SarabunPSK" pitchFamily="34" charset="-34"/>
                          <a:cs typeface="TH SarabunPSK" pitchFamily="34" charset="-34"/>
                        </a:rPr>
                        <a:t>เท่า </a:t>
                      </a:r>
                      <a:r>
                        <a:rPr lang="en-US" sz="1500" b="1" baseline="0" dirty="0" smtClean="0">
                          <a:solidFill>
                            <a:schemeClr val="tx1"/>
                          </a:solidFill>
                          <a:latin typeface="TH SarabunPSK" pitchFamily="34" charset="-34"/>
                          <a:cs typeface="TH SarabunPSK" pitchFamily="34" charset="-34"/>
                        </a:rPr>
                        <a:t>10 </a:t>
                      </a:r>
                      <a:r>
                        <a:rPr lang="th-TH" sz="1500" b="1" baseline="0" dirty="0" smtClean="0">
                          <a:solidFill>
                            <a:schemeClr val="tx1"/>
                          </a:solidFill>
                          <a:latin typeface="TH SarabunPSK" pitchFamily="34" charset="-34"/>
                          <a:cs typeface="TH SarabunPSK" pitchFamily="34" charset="-34"/>
                        </a:rPr>
                        <a:t>ปี</a:t>
                      </a:r>
                      <a:endParaRPr lang="th-TH" sz="1500" b="1" dirty="0" smtClean="0">
                        <a:solidFill>
                          <a:schemeClr val="tx1"/>
                        </a:solidFill>
                        <a:latin typeface="TH SarabunPSK" pitchFamily="34" charset="-34"/>
                        <a:cs typeface="TH SarabunPSK" pitchFamily="34" charset="-34"/>
                      </a:endParaRPr>
                    </a:p>
                  </a:txBody>
                  <a:tcPr marL="84406" marR="84406" marT="34290" marB="34290"/>
                </a:tc>
                <a:tc>
                  <a:txBody>
                    <a:bodyPr/>
                    <a:lstStyle/>
                    <a:p>
                      <a:endParaRPr lang="th-TH" sz="1500" dirty="0">
                        <a:latin typeface="TH SarabunPSK" pitchFamily="34" charset="-34"/>
                        <a:cs typeface="TH SarabunPSK" pitchFamily="34" charset="-34"/>
                      </a:endParaRPr>
                    </a:p>
                  </a:txBody>
                  <a:tcPr marL="84406" marR="84406" marT="34290" marB="34290"/>
                </a:tc>
                <a:tc>
                  <a:txBody>
                    <a:bodyPr/>
                    <a:lstStyle/>
                    <a:p>
                      <a:pPr marL="0" marR="0" lvl="0" indent="0" algn="ctr" defTabSz="914400" rtl="0" eaLnBrk="1" fontAlgn="auto" latinLnBrk="0" hangingPunct="1">
                        <a:lnSpc>
                          <a:spcPts val="1700"/>
                        </a:lnSpc>
                        <a:spcBef>
                          <a:spcPts val="0"/>
                        </a:spcBef>
                        <a:spcAft>
                          <a:spcPts val="0"/>
                        </a:spcAft>
                        <a:buClrTx/>
                        <a:buSzTx/>
                        <a:buFont typeface="Wingdings" pitchFamily="2" charset="2"/>
                        <a:buChar char="ü"/>
                        <a:tabLst/>
                        <a:defRPr/>
                      </a:pPr>
                      <a:r>
                        <a:rPr kumimoji="0" lang="en-US" sz="1400" b="0" i="0" u="none" strike="noStrike" kern="1200" cap="none" spc="0" normalizeH="0" baseline="0" noProof="0" dirty="0" smtClean="0">
                          <a:ln>
                            <a:noFill/>
                          </a:ln>
                          <a:solidFill>
                            <a:prstClr val="black"/>
                          </a:solidFill>
                          <a:effectLst/>
                          <a:uLnTx/>
                          <a:uFillTx/>
                          <a:latin typeface="TH SarabunPSK" pitchFamily="34" charset="-34"/>
                          <a:ea typeface="+mn-ea"/>
                          <a:cs typeface="TH SarabunPSK" pitchFamily="34" charset="-34"/>
                        </a:rPr>
                        <a:t> </a:t>
                      </a:r>
                      <a:endParaRPr kumimoji="0" lang="th-TH" sz="1400" b="0" i="0" u="none" strike="noStrike" kern="1200" cap="none" spc="0" normalizeH="0" baseline="0" noProof="0" dirty="0" smtClean="0">
                        <a:ln>
                          <a:noFill/>
                        </a:ln>
                        <a:solidFill>
                          <a:prstClr val="black"/>
                        </a:solidFill>
                        <a:effectLst/>
                        <a:uLnTx/>
                        <a:uFillTx/>
                        <a:latin typeface="TH SarabunPSK" pitchFamily="34" charset="-34"/>
                        <a:ea typeface="+mn-ea"/>
                        <a:cs typeface="TH SarabunPSK" pitchFamily="34" charset="-34"/>
                      </a:endParaRPr>
                    </a:p>
                  </a:txBody>
                  <a:tcPr marL="84406" marR="84406" marT="34290" marB="34290"/>
                </a:tc>
                <a:tc>
                  <a:txBody>
                    <a:bodyPr/>
                    <a:lstStyle/>
                    <a:p>
                      <a:pPr marL="0" marR="0" lvl="0" indent="0" algn="ctr" defTabSz="914400" rtl="0" eaLnBrk="1" fontAlgn="auto" latinLnBrk="0" hangingPunct="1">
                        <a:lnSpc>
                          <a:spcPts val="1700"/>
                        </a:lnSpc>
                        <a:spcBef>
                          <a:spcPts val="0"/>
                        </a:spcBef>
                        <a:spcAft>
                          <a:spcPts val="0"/>
                        </a:spcAft>
                        <a:buClrTx/>
                        <a:buSzTx/>
                        <a:buFont typeface="Wingdings" pitchFamily="2" charset="2"/>
                        <a:buChar char="ü"/>
                        <a:tabLst/>
                        <a:defRPr/>
                      </a:pPr>
                      <a:r>
                        <a:rPr kumimoji="0" lang="en-US" sz="1400" b="0" i="0" u="none" strike="noStrike" kern="1200" cap="none" spc="0" normalizeH="0" baseline="0" noProof="0" dirty="0" smtClean="0">
                          <a:ln>
                            <a:noFill/>
                          </a:ln>
                          <a:solidFill>
                            <a:prstClr val="black"/>
                          </a:solidFill>
                          <a:effectLst/>
                          <a:uLnTx/>
                          <a:uFillTx/>
                          <a:latin typeface="TH SarabunPSK" pitchFamily="34" charset="-34"/>
                          <a:ea typeface="+mn-ea"/>
                          <a:cs typeface="TH SarabunPSK" pitchFamily="34" charset="-34"/>
                        </a:rPr>
                        <a:t> </a:t>
                      </a:r>
                      <a:endParaRPr kumimoji="0" lang="th-TH" sz="1400" b="0" i="0" u="none" strike="noStrike" kern="1200" cap="none" spc="0" normalizeH="0" baseline="0" noProof="0" dirty="0" smtClean="0">
                        <a:ln>
                          <a:noFill/>
                        </a:ln>
                        <a:solidFill>
                          <a:prstClr val="black"/>
                        </a:solidFill>
                        <a:effectLst/>
                        <a:uLnTx/>
                        <a:uFillTx/>
                        <a:latin typeface="TH SarabunPSK" pitchFamily="34" charset="-34"/>
                        <a:ea typeface="+mn-ea"/>
                        <a:cs typeface="TH SarabunPSK" pitchFamily="34" charset="-34"/>
                      </a:endParaRPr>
                    </a:p>
                  </a:txBody>
                  <a:tcPr marL="84406" marR="84406" marT="34290" marB="34290"/>
                </a:tc>
              </a:tr>
              <a:tr h="52578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th-TH" sz="1500" b="1" dirty="0" smtClean="0">
                          <a:solidFill>
                            <a:schemeClr val="tx1"/>
                          </a:solidFill>
                          <a:latin typeface="TH SarabunPSK" pitchFamily="34" charset="-34"/>
                          <a:cs typeface="TH SarabunPSK" pitchFamily="34" charset="-34"/>
                        </a:rPr>
                        <a:t>หักค่าติดตั้ง /ก่อสร้าง </a:t>
                      </a:r>
                      <a:r>
                        <a:rPr lang="en-US" sz="1500" b="1" dirty="0" smtClean="0">
                          <a:solidFill>
                            <a:schemeClr val="tx1"/>
                          </a:solidFill>
                          <a:latin typeface="TH SarabunPSK" pitchFamily="34" charset="-34"/>
                          <a:cs typeface="TH SarabunPSK" pitchFamily="34" charset="-34"/>
                        </a:rPr>
                        <a:t>25% </a:t>
                      </a:r>
                      <a:r>
                        <a:rPr lang="th-TH" sz="1500" b="1" dirty="0" smtClean="0">
                          <a:solidFill>
                            <a:schemeClr val="tx1"/>
                          </a:solidFill>
                          <a:latin typeface="TH SarabunPSK" pitchFamily="34" charset="-34"/>
                          <a:cs typeface="TH SarabunPSK" pitchFamily="34" charset="-34"/>
                        </a:rPr>
                        <a:t>ของเงินลงทุน</a:t>
                      </a:r>
                    </a:p>
                  </a:txBody>
                  <a:tcPr marL="84406" marR="84406" marT="34290" marB="34290"/>
                </a:tc>
                <a:tc>
                  <a:txBody>
                    <a:bodyPr/>
                    <a:lstStyle/>
                    <a:p>
                      <a:endParaRPr lang="th-TH" sz="1500" dirty="0">
                        <a:latin typeface="TH SarabunPSK" pitchFamily="34" charset="-34"/>
                        <a:cs typeface="TH SarabunPSK" pitchFamily="34" charset="-34"/>
                      </a:endParaRPr>
                    </a:p>
                  </a:txBody>
                  <a:tcPr marL="84406" marR="84406" marT="34290" marB="34290"/>
                </a:tc>
                <a:tc>
                  <a:txBody>
                    <a:bodyPr/>
                    <a:lstStyle/>
                    <a:p>
                      <a:pPr marL="0" marR="0" lvl="0" indent="0" algn="ctr" defTabSz="914400" rtl="0" eaLnBrk="1" fontAlgn="auto" latinLnBrk="0" hangingPunct="1">
                        <a:lnSpc>
                          <a:spcPts val="1700"/>
                        </a:lnSpc>
                        <a:spcBef>
                          <a:spcPts val="0"/>
                        </a:spcBef>
                        <a:spcAft>
                          <a:spcPts val="0"/>
                        </a:spcAft>
                        <a:buClrTx/>
                        <a:buSzTx/>
                        <a:buFont typeface="Wingdings" pitchFamily="2" charset="2"/>
                        <a:buChar char="ü"/>
                        <a:tabLst/>
                        <a:defRPr/>
                      </a:pPr>
                      <a:r>
                        <a:rPr kumimoji="0" lang="en-US" sz="1400" b="0" i="0" u="none" strike="noStrike" kern="1200" cap="none" spc="0" normalizeH="0" baseline="0" noProof="0" dirty="0" smtClean="0">
                          <a:ln>
                            <a:noFill/>
                          </a:ln>
                          <a:solidFill>
                            <a:prstClr val="black"/>
                          </a:solidFill>
                          <a:effectLst/>
                          <a:uLnTx/>
                          <a:uFillTx/>
                          <a:latin typeface="TH SarabunPSK" pitchFamily="34" charset="-34"/>
                          <a:ea typeface="+mn-ea"/>
                          <a:cs typeface="TH SarabunPSK" pitchFamily="34" charset="-34"/>
                        </a:rPr>
                        <a:t> </a:t>
                      </a:r>
                      <a:endParaRPr kumimoji="0" lang="th-TH" sz="1400" b="0" i="0" u="none" strike="noStrike" kern="1200" cap="none" spc="0" normalizeH="0" baseline="0" noProof="0" dirty="0" smtClean="0">
                        <a:ln>
                          <a:noFill/>
                        </a:ln>
                        <a:solidFill>
                          <a:prstClr val="black"/>
                        </a:solidFill>
                        <a:effectLst/>
                        <a:uLnTx/>
                        <a:uFillTx/>
                        <a:latin typeface="TH SarabunPSK" pitchFamily="34" charset="-34"/>
                        <a:ea typeface="+mn-ea"/>
                        <a:cs typeface="TH SarabunPSK" pitchFamily="34" charset="-34"/>
                      </a:endParaRPr>
                    </a:p>
                    <a:p>
                      <a:endParaRPr lang="th-TH" sz="1500" dirty="0">
                        <a:latin typeface="TH SarabunPSK" pitchFamily="34" charset="-34"/>
                        <a:cs typeface="TH SarabunPSK" pitchFamily="34" charset="-34"/>
                      </a:endParaRPr>
                    </a:p>
                  </a:txBody>
                  <a:tcPr marL="84406" marR="84406" marT="34290" marB="34290"/>
                </a:tc>
                <a:tc>
                  <a:txBody>
                    <a:bodyPr/>
                    <a:lstStyle/>
                    <a:p>
                      <a:pPr marL="0" marR="0" lvl="0" indent="0" algn="ctr" defTabSz="914400" rtl="0" eaLnBrk="1" fontAlgn="auto" latinLnBrk="0" hangingPunct="1">
                        <a:lnSpc>
                          <a:spcPts val="1700"/>
                        </a:lnSpc>
                        <a:spcBef>
                          <a:spcPts val="0"/>
                        </a:spcBef>
                        <a:spcAft>
                          <a:spcPts val="0"/>
                        </a:spcAft>
                        <a:buClrTx/>
                        <a:buSzTx/>
                        <a:buFont typeface="Wingdings" pitchFamily="2" charset="2"/>
                        <a:buChar char="ü"/>
                        <a:tabLst/>
                        <a:defRPr/>
                      </a:pPr>
                      <a:r>
                        <a:rPr kumimoji="0" lang="en-US" sz="1400" b="0" i="0" u="none" strike="noStrike" kern="1200" cap="none" spc="0" normalizeH="0" baseline="0" noProof="0" dirty="0" smtClean="0">
                          <a:ln>
                            <a:noFill/>
                          </a:ln>
                          <a:solidFill>
                            <a:prstClr val="black"/>
                          </a:solidFill>
                          <a:effectLst/>
                          <a:uLnTx/>
                          <a:uFillTx/>
                          <a:latin typeface="TH SarabunPSK" pitchFamily="34" charset="-34"/>
                          <a:ea typeface="+mn-ea"/>
                          <a:cs typeface="TH SarabunPSK" pitchFamily="34" charset="-34"/>
                        </a:rPr>
                        <a:t> </a:t>
                      </a:r>
                      <a:endParaRPr kumimoji="0" lang="th-TH" sz="1400" b="0" i="0" u="none" strike="noStrike" kern="1200" cap="none" spc="0" normalizeH="0" baseline="0" noProof="0" dirty="0" smtClean="0">
                        <a:ln>
                          <a:noFill/>
                        </a:ln>
                        <a:solidFill>
                          <a:prstClr val="black"/>
                        </a:solidFill>
                        <a:effectLst/>
                        <a:uLnTx/>
                        <a:uFillTx/>
                        <a:latin typeface="TH SarabunPSK" pitchFamily="34" charset="-34"/>
                        <a:ea typeface="+mn-ea"/>
                        <a:cs typeface="TH SarabunPSK" pitchFamily="34" charset="-34"/>
                      </a:endParaRPr>
                    </a:p>
                    <a:p>
                      <a:endParaRPr lang="th-TH" sz="1500" dirty="0">
                        <a:latin typeface="TH SarabunPSK" pitchFamily="34" charset="-34"/>
                        <a:cs typeface="TH SarabunPSK" pitchFamily="34" charset="-34"/>
                      </a:endParaRPr>
                    </a:p>
                  </a:txBody>
                  <a:tcPr marL="84406" marR="84406" marT="34290" marB="34290"/>
                </a:tc>
              </a:tr>
              <a:tr h="71628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th-TH" sz="1500" b="1" dirty="0" smtClean="0">
                          <a:solidFill>
                            <a:schemeClr val="tx1"/>
                          </a:solidFill>
                          <a:latin typeface="TH SarabunPSK" pitchFamily="34" charset="-34"/>
                          <a:cs typeface="TH SarabunPSK" pitchFamily="34" charset="-34"/>
                        </a:rPr>
                        <a:t>อนุญาตให้ใช้แรงงานต่างด้าวไร้ฝีมือ</a:t>
                      </a:r>
                    </a:p>
                  </a:txBody>
                  <a:tcPr marL="84406" marR="84406" marT="34290" marB="34290"/>
                </a:tc>
                <a:tc>
                  <a:txBody>
                    <a:bodyPr/>
                    <a:lstStyle/>
                    <a:p>
                      <a:pPr marL="0" marR="0" lvl="0" indent="0" algn="ctr" defTabSz="914400" rtl="0" eaLnBrk="1" fontAlgn="auto" latinLnBrk="0" hangingPunct="1">
                        <a:lnSpc>
                          <a:spcPts val="1700"/>
                        </a:lnSpc>
                        <a:spcBef>
                          <a:spcPts val="0"/>
                        </a:spcBef>
                        <a:spcAft>
                          <a:spcPts val="0"/>
                        </a:spcAft>
                        <a:buClrTx/>
                        <a:buSzTx/>
                        <a:buFont typeface="Wingdings" pitchFamily="2" charset="2"/>
                        <a:buChar char="ü"/>
                        <a:tabLst/>
                        <a:defRPr/>
                      </a:pPr>
                      <a:r>
                        <a:rPr kumimoji="0" lang="en-US" sz="1500" b="0" i="0" u="none" strike="noStrike" kern="1200" cap="none" spc="0" normalizeH="0" baseline="0" noProof="0" dirty="0" smtClean="0">
                          <a:ln>
                            <a:noFill/>
                          </a:ln>
                          <a:solidFill>
                            <a:prstClr val="black"/>
                          </a:solidFill>
                          <a:effectLst/>
                          <a:uLnTx/>
                          <a:uFillTx/>
                          <a:latin typeface="TH SarabunPSK" pitchFamily="34" charset="-34"/>
                          <a:ea typeface="+mn-ea"/>
                          <a:cs typeface="TH SarabunPSK" pitchFamily="34" charset="-34"/>
                        </a:rPr>
                        <a:t> </a:t>
                      </a:r>
                      <a:r>
                        <a:rPr lang="en-US" sz="1500" dirty="0" smtClean="0">
                          <a:latin typeface="TH SarabunPSK" pitchFamily="34" charset="-34"/>
                          <a:cs typeface="TH SarabunPSK" pitchFamily="34" charset="-34"/>
                        </a:rPr>
                        <a:t/>
                      </a:r>
                      <a:br>
                        <a:rPr lang="en-US" sz="1500" dirty="0" smtClean="0">
                          <a:latin typeface="TH SarabunPSK" pitchFamily="34" charset="-34"/>
                          <a:cs typeface="TH SarabunPSK" pitchFamily="34" charset="-34"/>
                        </a:rPr>
                      </a:br>
                      <a:r>
                        <a:rPr lang="th-TH" sz="1500" dirty="0" smtClean="0">
                          <a:latin typeface="TH SarabunPSK" pitchFamily="34" charset="-34"/>
                          <a:cs typeface="TH SarabunPSK" pitchFamily="34" charset="-34"/>
                        </a:rPr>
                        <a:t>(</a:t>
                      </a:r>
                      <a:r>
                        <a:rPr lang="en-US" sz="1500" dirty="0" smtClean="0">
                          <a:latin typeface="TH SarabunPSK" pitchFamily="34" charset="-34"/>
                          <a:cs typeface="TH SarabunPSK" pitchFamily="34" charset="-34"/>
                        </a:rPr>
                        <a:t>BOI </a:t>
                      </a:r>
                      <a:r>
                        <a:rPr lang="th-TH" sz="1500" dirty="0" smtClean="0">
                          <a:latin typeface="TH SarabunPSK" pitchFamily="34" charset="-34"/>
                          <a:cs typeface="TH SarabunPSK" pitchFamily="34" charset="-34"/>
                        </a:rPr>
                        <a:t>ผ่อนผันให้ใช้ได้ถึง 31 ธ.ค.59)</a:t>
                      </a:r>
                      <a:endParaRPr lang="th-TH" sz="1500" dirty="0">
                        <a:latin typeface="TH SarabunPSK" pitchFamily="34" charset="-34"/>
                        <a:cs typeface="TH SarabunPSK" pitchFamily="34" charset="-34"/>
                      </a:endParaRPr>
                    </a:p>
                  </a:txBody>
                  <a:tcPr marL="84406" marR="84406" marT="34290" marB="34290"/>
                </a:tc>
                <a:tc>
                  <a:txBody>
                    <a:bodyPr/>
                    <a:lstStyle/>
                    <a:p>
                      <a:pPr marL="0" marR="0" lvl="0" indent="0" algn="ctr" defTabSz="914400" rtl="0" eaLnBrk="1" fontAlgn="auto" latinLnBrk="0" hangingPunct="1">
                        <a:lnSpc>
                          <a:spcPts val="1700"/>
                        </a:lnSpc>
                        <a:spcBef>
                          <a:spcPts val="0"/>
                        </a:spcBef>
                        <a:spcAft>
                          <a:spcPts val="0"/>
                        </a:spcAft>
                        <a:buClrTx/>
                        <a:buSzTx/>
                        <a:buFont typeface="Wingdings" pitchFamily="2" charset="2"/>
                        <a:buChar char="ü"/>
                        <a:tabLst/>
                        <a:defRPr/>
                      </a:pPr>
                      <a:r>
                        <a:rPr kumimoji="0" lang="en-US" sz="1400" b="0" i="0" u="none" strike="noStrike" kern="1200" cap="none" spc="0" normalizeH="0" baseline="0" noProof="0" dirty="0" smtClean="0">
                          <a:ln>
                            <a:noFill/>
                          </a:ln>
                          <a:solidFill>
                            <a:prstClr val="black"/>
                          </a:solidFill>
                          <a:effectLst/>
                          <a:uLnTx/>
                          <a:uFillTx/>
                          <a:latin typeface="TH SarabunPSK" pitchFamily="34" charset="-34"/>
                          <a:ea typeface="+mn-ea"/>
                          <a:cs typeface="TH SarabunPSK" pitchFamily="34" charset="-34"/>
                        </a:rPr>
                        <a:t> </a:t>
                      </a:r>
                      <a:endParaRPr kumimoji="0" lang="th-TH" sz="1400" b="0" i="0" u="none" strike="noStrike" kern="1200" cap="none" spc="0" normalizeH="0" baseline="0" noProof="0" dirty="0" smtClean="0">
                        <a:ln>
                          <a:noFill/>
                        </a:ln>
                        <a:solidFill>
                          <a:prstClr val="black"/>
                        </a:solidFill>
                        <a:effectLst/>
                        <a:uLnTx/>
                        <a:uFillTx/>
                        <a:latin typeface="TH SarabunPSK" pitchFamily="34" charset="-34"/>
                        <a:ea typeface="+mn-ea"/>
                        <a:cs typeface="TH SarabunPSK" pitchFamily="34" charset="-34"/>
                      </a:endParaRPr>
                    </a:p>
                    <a:p>
                      <a:endParaRPr lang="th-TH" sz="1500" dirty="0">
                        <a:latin typeface="TH SarabunPSK" pitchFamily="34" charset="-34"/>
                        <a:cs typeface="TH SarabunPSK" pitchFamily="34" charset="-34"/>
                      </a:endParaRPr>
                    </a:p>
                  </a:txBody>
                  <a:tcPr marL="84406" marR="84406" marT="34290" marB="34290"/>
                </a:tc>
                <a:tc>
                  <a:txBody>
                    <a:bodyPr/>
                    <a:lstStyle/>
                    <a:p>
                      <a:pPr marL="0" marR="0" lvl="0" indent="0" algn="ctr" defTabSz="914400" rtl="0" eaLnBrk="1" fontAlgn="auto" latinLnBrk="0" hangingPunct="1">
                        <a:lnSpc>
                          <a:spcPts val="1700"/>
                        </a:lnSpc>
                        <a:spcBef>
                          <a:spcPts val="0"/>
                        </a:spcBef>
                        <a:spcAft>
                          <a:spcPts val="0"/>
                        </a:spcAft>
                        <a:buClrTx/>
                        <a:buSzTx/>
                        <a:buFont typeface="Wingdings" pitchFamily="2" charset="2"/>
                        <a:buChar char="ü"/>
                        <a:tabLst/>
                        <a:defRPr/>
                      </a:pPr>
                      <a:r>
                        <a:rPr kumimoji="0" lang="en-US" sz="1400" b="0" i="0" u="none" strike="noStrike" kern="1200" cap="none" spc="0" normalizeH="0" baseline="0" noProof="0" dirty="0" smtClean="0">
                          <a:ln>
                            <a:noFill/>
                          </a:ln>
                          <a:solidFill>
                            <a:prstClr val="black"/>
                          </a:solidFill>
                          <a:effectLst/>
                          <a:uLnTx/>
                          <a:uFillTx/>
                          <a:latin typeface="TH SarabunPSK" pitchFamily="34" charset="-34"/>
                          <a:ea typeface="+mn-ea"/>
                          <a:cs typeface="TH SarabunPSK" pitchFamily="34" charset="-34"/>
                        </a:rPr>
                        <a:t> </a:t>
                      </a:r>
                      <a:endParaRPr kumimoji="0" lang="th-TH" sz="1400" b="0" i="0" u="none" strike="noStrike" kern="1200" cap="none" spc="0" normalizeH="0" baseline="0" noProof="0" dirty="0" smtClean="0">
                        <a:ln>
                          <a:noFill/>
                        </a:ln>
                        <a:solidFill>
                          <a:prstClr val="black"/>
                        </a:solidFill>
                        <a:effectLst/>
                        <a:uLnTx/>
                        <a:uFillTx/>
                        <a:latin typeface="TH SarabunPSK" pitchFamily="34" charset="-34"/>
                        <a:ea typeface="+mn-ea"/>
                        <a:cs typeface="TH SarabunPSK" pitchFamily="34" charset="-34"/>
                      </a:endParaRPr>
                    </a:p>
                    <a:p>
                      <a:endParaRPr lang="th-TH" sz="1500" dirty="0">
                        <a:latin typeface="TH SarabunPSK" pitchFamily="34" charset="-34"/>
                        <a:cs typeface="TH SarabunPSK" pitchFamily="34" charset="-34"/>
                      </a:endParaRPr>
                    </a:p>
                  </a:txBody>
                  <a:tcPr marL="84406" marR="84406" marT="34290" marB="34290"/>
                </a:tc>
              </a:tr>
            </a:tbl>
          </a:graphicData>
        </a:graphic>
      </p:graphicFrame>
    </p:spTree>
    <p:extLst>
      <p:ext uri="{BB962C8B-B14F-4D97-AF65-F5344CB8AC3E}">
        <p14:creationId xmlns:p14="http://schemas.microsoft.com/office/powerpoint/2010/main" xmlns="" val="231904988"/>
      </p:ext>
    </p:extLst>
  </p:cSld>
  <p:clrMapOvr>
    <a:masterClrMapping/>
  </p:clrMapOvr>
  <p:transition>
    <p:fade thruBlk="1"/>
  </p:transition>
  <p:timing>
    <p:tnLst>
      <p:par>
        <p:cTn id="1" dur="indefinite" restart="never" nodeType="tmRoot"/>
      </p:par>
    </p:tnLst>
  </p:timing>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590872" y="1786508"/>
            <a:ext cx="8229600" cy="857250"/>
          </a:xfrm>
          <a:solidFill>
            <a:schemeClr val="accent1">
              <a:lumMod val="20000"/>
              <a:lumOff val="80000"/>
            </a:schemeClr>
          </a:solidFill>
          <a:ln w="19050">
            <a:solidFill>
              <a:schemeClr val="accent1"/>
            </a:solidFill>
          </a:ln>
        </p:spPr>
        <p:txBody>
          <a:bodyPr>
            <a:normAutofit/>
          </a:bodyPr>
          <a:lstStyle/>
          <a:p>
            <a:r>
              <a:rPr lang="th-TH" sz="3600" b="1" dirty="0" smtClean="0">
                <a:solidFill>
                  <a:schemeClr val="accent1"/>
                </a:solidFill>
                <a:latin typeface="TH SarabunPSK" pitchFamily="34" charset="-34"/>
                <a:cs typeface="TH SarabunPSK" pitchFamily="34" charset="-34"/>
              </a:rPr>
              <a:t>ข้อมูล </a:t>
            </a:r>
            <a:r>
              <a:rPr lang="en-US" sz="3600" b="1" dirty="0" smtClean="0">
                <a:solidFill>
                  <a:schemeClr val="accent1"/>
                </a:solidFill>
                <a:latin typeface="TH SarabunPSK" pitchFamily="34" charset="-34"/>
                <a:cs typeface="TH SarabunPSK" pitchFamily="34" charset="-34"/>
              </a:rPr>
              <a:t>Back-Up </a:t>
            </a:r>
            <a:r>
              <a:rPr lang="th-TH" sz="3600" b="1" dirty="0" smtClean="0">
                <a:solidFill>
                  <a:schemeClr val="accent1"/>
                </a:solidFill>
                <a:latin typeface="TH SarabunPSK" pitchFamily="34" charset="-34"/>
                <a:cs typeface="TH SarabunPSK" pitchFamily="34" charset="-34"/>
              </a:rPr>
              <a:t>การเชื่อมโยงภูมิภาค</a:t>
            </a:r>
            <a:endParaRPr lang="th-TH" sz="3600" b="1" dirty="0">
              <a:solidFill>
                <a:schemeClr val="accent1"/>
              </a:solidFill>
              <a:latin typeface="TH SarabunPSK" pitchFamily="34" charset="-34"/>
              <a:cs typeface="TH SarabunPSK" pitchFamily="34" charset="-34"/>
            </a:endParaRPr>
          </a:p>
        </p:txBody>
      </p:sp>
    </p:spTree>
    <p:extLst>
      <p:ext uri="{BB962C8B-B14F-4D97-AF65-F5344CB8AC3E}">
        <p14:creationId xmlns:p14="http://schemas.microsoft.com/office/powerpoint/2010/main" xmlns="" val="2836949363"/>
      </p:ext>
    </p:extLst>
  </p:cSld>
  <p:clrMapOvr>
    <a:masterClrMapping/>
  </p:clrMapOvr>
  <p:transition spd="slow">
    <p:fade thruBlk="1"/>
  </p:transition>
  <p:timing>
    <p:tnLst>
      <p:par>
        <p:cTn id="1" dur="indefinite" restart="never" nodeType="tmRoot"/>
      </p:par>
    </p:tnLst>
  </p:timing>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0" name="Diagram 109"/>
          <p:cNvGraphicFramePr/>
          <p:nvPr/>
        </p:nvGraphicFramePr>
        <p:xfrm>
          <a:off x="6500826" y="355795"/>
          <a:ext cx="2608248" cy="2162378"/>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pic>
        <p:nvPicPr>
          <p:cNvPr id="1029" name="Picture 9" descr="gms1124cSM"/>
          <p:cNvPicPr>
            <a:picLocks noChangeAspect="1" noChangeArrowheads="1"/>
          </p:cNvPicPr>
          <p:nvPr/>
        </p:nvPicPr>
        <p:blipFill>
          <a:blip r:embed="rId8" cstate="email"/>
          <a:srcRect/>
          <a:stretch>
            <a:fillRect/>
          </a:stretch>
        </p:blipFill>
        <p:spPr bwMode="auto">
          <a:xfrm>
            <a:off x="2268538" y="453645"/>
            <a:ext cx="4286250" cy="4582716"/>
          </a:xfrm>
          <a:prstGeom prst="rect">
            <a:avLst/>
          </a:prstGeom>
          <a:noFill/>
          <a:ln w="9525">
            <a:noFill/>
            <a:miter lim="800000"/>
            <a:headEnd/>
            <a:tailEnd/>
          </a:ln>
        </p:spPr>
      </p:pic>
      <p:sp>
        <p:nvSpPr>
          <p:cNvPr id="40" name="AutoShape 7"/>
          <p:cNvSpPr>
            <a:spLocks noChangeArrowheads="1"/>
          </p:cNvSpPr>
          <p:nvPr/>
        </p:nvSpPr>
        <p:spPr bwMode="auto">
          <a:xfrm>
            <a:off x="142845" y="3536165"/>
            <a:ext cx="2062163" cy="1125149"/>
          </a:xfrm>
          <a:prstGeom prst="rect">
            <a:avLst/>
          </a:prstGeom>
          <a:blipFill>
            <a:blip r:embed="rId9" cstate="print"/>
            <a:tile tx="0" ty="0" sx="100000" sy="100000" flip="none" algn="tl"/>
          </a:blipFill>
          <a:ln>
            <a:solidFill>
              <a:schemeClr val="bg2">
                <a:lumMod val="50000"/>
              </a:schemeClr>
            </a:solidFill>
            <a:headEnd/>
            <a:tailEnd/>
          </a:ln>
          <a:scene3d>
            <a:camera prst="orthographicFront">
              <a:rot lat="0" lon="0" rev="0"/>
            </a:camera>
            <a:lightRig rig="threePt" dir="t">
              <a:rot lat="0" lon="0" rev="0"/>
            </a:lightRig>
          </a:scene3d>
          <a:sp3d>
            <a:bevelT w="63500" h="25400"/>
          </a:sp3d>
        </p:spPr>
        <p:style>
          <a:lnRef idx="0">
            <a:schemeClr val="accent1"/>
          </a:lnRef>
          <a:fillRef idx="3">
            <a:schemeClr val="accent1"/>
          </a:fillRef>
          <a:effectRef idx="3">
            <a:schemeClr val="accent1"/>
          </a:effectRef>
          <a:fontRef idx="minor">
            <a:schemeClr val="lt1"/>
          </a:fontRef>
        </p:style>
        <p:txBody>
          <a:bodyPr lIns="91428" tIns="45714" rIns="91428" bIns="45714"/>
          <a:lstStyle>
            <a:defPPr>
              <a:defRPr lang="th-TH"/>
            </a:defPPr>
            <a:lvl1pPr algn="l" rtl="0" fontAlgn="base">
              <a:spcBef>
                <a:spcPct val="0"/>
              </a:spcBef>
              <a:spcAft>
                <a:spcPct val="0"/>
              </a:spcAft>
              <a:defRPr sz="2800" kern="1200">
                <a:solidFill>
                  <a:schemeClr val="lt1"/>
                </a:solidFill>
                <a:latin typeface="+mn-lt"/>
                <a:ea typeface="+mn-ea"/>
                <a:cs typeface="+mn-cs"/>
              </a:defRPr>
            </a:lvl1pPr>
            <a:lvl2pPr marL="457200" algn="l" rtl="0" fontAlgn="base">
              <a:spcBef>
                <a:spcPct val="0"/>
              </a:spcBef>
              <a:spcAft>
                <a:spcPct val="0"/>
              </a:spcAft>
              <a:defRPr sz="2800" kern="1200">
                <a:solidFill>
                  <a:schemeClr val="lt1"/>
                </a:solidFill>
                <a:latin typeface="+mn-lt"/>
                <a:ea typeface="+mn-ea"/>
                <a:cs typeface="+mn-cs"/>
              </a:defRPr>
            </a:lvl2pPr>
            <a:lvl3pPr marL="914400" algn="l" rtl="0" fontAlgn="base">
              <a:spcBef>
                <a:spcPct val="0"/>
              </a:spcBef>
              <a:spcAft>
                <a:spcPct val="0"/>
              </a:spcAft>
              <a:defRPr sz="2800" kern="1200">
                <a:solidFill>
                  <a:schemeClr val="lt1"/>
                </a:solidFill>
                <a:latin typeface="+mn-lt"/>
                <a:ea typeface="+mn-ea"/>
                <a:cs typeface="+mn-cs"/>
              </a:defRPr>
            </a:lvl3pPr>
            <a:lvl4pPr marL="1371600" algn="l" rtl="0" fontAlgn="base">
              <a:spcBef>
                <a:spcPct val="0"/>
              </a:spcBef>
              <a:spcAft>
                <a:spcPct val="0"/>
              </a:spcAft>
              <a:defRPr sz="2800" kern="1200">
                <a:solidFill>
                  <a:schemeClr val="lt1"/>
                </a:solidFill>
                <a:latin typeface="+mn-lt"/>
                <a:ea typeface="+mn-ea"/>
                <a:cs typeface="+mn-cs"/>
              </a:defRPr>
            </a:lvl4pPr>
            <a:lvl5pPr marL="1828800" algn="l" rtl="0" fontAlgn="base">
              <a:spcBef>
                <a:spcPct val="0"/>
              </a:spcBef>
              <a:spcAft>
                <a:spcPct val="0"/>
              </a:spcAft>
              <a:defRPr sz="2800" kern="1200">
                <a:solidFill>
                  <a:schemeClr val="lt1"/>
                </a:solidFill>
                <a:latin typeface="+mn-lt"/>
                <a:ea typeface="+mn-ea"/>
                <a:cs typeface="+mn-cs"/>
              </a:defRPr>
            </a:lvl5pPr>
            <a:lvl6pPr marL="2286000" algn="l" defTabSz="914400" rtl="0" eaLnBrk="1" latinLnBrk="0" hangingPunct="1">
              <a:defRPr sz="2800" kern="1200">
                <a:solidFill>
                  <a:schemeClr val="lt1"/>
                </a:solidFill>
                <a:latin typeface="+mn-lt"/>
                <a:ea typeface="+mn-ea"/>
                <a:cs typeface="+mn-cs"/>
              </a:defRPr>
            </a:lvl6pPr>
            <a:lvl7pPr marL="2743200" algn="l" defTabSz="914400" rtl="0" eaLnBrk="1" latinLnBrk="0" hangingPunct="1">
              <a:defRPr sz="2800" kern="1200">
                <a:solidFill>
                  <a:schemeClr val="lt1"/>
                </a:solidFill>
                <a:latin typeface="+mn-lt"/>
                <a:ea typeface="+mn-ea"/>
                <a:cs typeface="+mn-cs"/>
              </a:defRPr>
            </a:lvl7pPr>
            <a:lvl8pPr marL="3200400" algn="l" defTabSz="914400" rtl="0" eaLnBrk="1" latinLnBrk="0" hangingPunct="1">
              <a:defRPr sz="2800" kern="1200">
                <a:solidFill>
                  <a:schemeClr val="lt1"/>
                </a:solidFill>
                <a:latin typeface="+mn-lt"/>
                <a:ea typeface="+mn-ea"/>
                <a:cs typeface="+mn-cs"/>
              </a:defRPr>
            </a:lvl8pPr>
            <a:lvl9pPr marL="3657600" algn="l" defTabSz="914400" rtl="0" eaLnBrk="1" latinLnBrk="0" hangingPunct="1">
              <a:defRPr sz="2800" kern="1200">
                <a:solidFill>
                  <a:schemeClr val="lt1"/>
                </a:solidFill>
                <a:latin typeface="+mn-lt"/>
                <a:ea typeface="+mn-ea"/>
                <a:cs typeface="+mn-cs"/>
              </a:defRPr>
            </a:lvl9pPr>
          </a:lstStyle>
          <a:p>
            <a:pPr marL="114286" indent="-114286" fontAlgn="auto">
              <a:lnSpc>
                <a:spcPct val="85000"/>
              </a:lnSpc>
              <a:spcBef>
                <a:spcPct val="20000"/>
              </a:spcBef>
              <a:spcAft>
                <a:spcPts val="0"/>
              </a:spcAft>
              <a:buFontTx/>
              <a:buChar char="•"/>
              <a:defRPr/>
            </a:pPr>
            <a:endParaRPr lang="th-TH" sz="400" dirty="0">
              <a:solidFill>
                <a:prstClr val="white"/>
              </a:solidFill>
              <a:latin typeface="Tahoma" pitchFamily="34" charset="0"/>
              <a:cs typeface="Tahoma" pitchFamily="34" charset="0"/>
            </a:endParaRPr>
          </a:p>
        </p:txBody>
      </p:sp>
      <p:sp>
        <p:nvSpPr>
          <p:cNvPr id="41" name="AutoShape 7"/>
          <p:cNvSpPr>
            <a:spLocks noChangeArrowheads="1"/>
          </p:cNvSpPr>
          <p:nvPr/>
        </p:nvSpPr>
        <p:spPr bwMode="auto">
          <a:xfrm>
            <a:off x="142844" y="2250281"/>
            <a:ext cx="2000264" cy="1185567"/>
          </a:xfrm>
          <a:prstGeom prst="rect">
            <a:avLst/>
          </a:prstGeom>
          <a:blipFill>
            <a:blip r:embed="rId9" cstate="print"/>
            <a:tile tx="0" ty="0" sx="100000" sy="100000" flip="none" algn="tl"/>
          </a:blipFill>
          <a:ln>
            <a:solidFill>
              <a:schemeClr val="bg2">
                <a:lumMod val="50000"/>
              </a:schemeClr>
            </a:solidFill>
            <a:headEnd/>
            <a:tailEnd/>
          </a:ln>
          <a:scene3d>
            <a:camera prst="orthographicFront">
              <a:rot lat="0" lon="0" rev="0"/>
            </a:camera>
            <a:lightRig rig="threePt" dir="t">
              <a:rot lat="0" lon="0" rev="0"/>
            </a:lightRig>
          </a:scene3d>
          <a:sp3d>
            <a:bevelT w="63500" h="25400"/>
          </a:sp3d>
        </p:spPr>
        <p:style>
          <a:lnRef idx="0">
            <a:schemeClr val="accent1"/>
          </a:lnRef>
          <a:fillRef idx="3">
            <a:schemeClr val="accent1"/>
          </a:fillRef>
          <a:effectRef idx="3">
            <a:schemeClr val="accent1"/>
          </a:effectRef>
          <a:fontRef idx="minor">
            <a:schemeClr val="lt1"/>
          </a:fontRef>
        </p:style>
        <p:txBody>
          <a:bodyPr lIns="91428" tIns="45714" rIns="91428" bIns="45714"/>
          <a:lstStyle>
            <a:defPPr>
              <a:defRPr lang="th-TH"/>
            </a:defPPr>
            <a:lvl1pPr algn="l" rtl="0" fontAlgn="base">
              <a:spcBef>
                <a:spcPct val="0"/>
              </a:spcBef>
              <a:spcAft>
                <a:spcPct val="0"/>
              </a:spcAft>
              <a:defRPr sz="2800" kern="1200">
                <a:solidFill>
                  <a:schemeClr val="lt1"/>
                </a:solidFill>
                <a:latin typeface="+mn-lt"/>
                <a:ea typeface="+mn-ea"/>
                <a:cs typeface="+mn-cs"/>
              </a:defRPr>
            </a:lvl1pPr>
            <a:lvl2pPr marL="457200" algn="l" rtl="0" fontAlgn="base">
              <a:spcBef>
                <a:spcPct val="0"/>
              </a:spcBef>
              <a:spcAft>
                <a:spcPct val="0"/>
              </a:spcAft>
              <a:defRPr sz="2800" kern="1200">
                <a:solidFill>
                  <a:schemeClr val="lt1"/>
                </a:solidFill>
                <a:latin typeface="+mn-lt"/>
                <a:ea typeface="+mn-ea"/>
                <a:cs typeface="+mn-cs"/>
              </a:defRPr>
            </a:lvl2pPr>
            <a:lvl3pPr marL="914400" algn="l" rtl="0" fontAlgn="base">
              <a:spcBef>
                <a:spcPct val="0"/>
              </a:spcBef>
              <a:spcAft>
                <a:spcPct val="0"/>
              </a:spcAft>
              <a:defRPr sz="2800" kern="1200">
                <a:solidFill>
                  <a:schemeClr val="lt1"/>
                </a:solidFill>
                <a:latin typeface="+mn-lt"/>
                <a:ea typeface="+mn-ea"/>
                <a:cs typeface="+mn-cs"/>
              </a:defRPr>
            </a:lvl3pPr>
            <a:lvl4pPr marL="1371600" algn="l" rtl="0" fontAlgn="base">
              <a:spcBef>
                <a:spcPct val="0"/>
              </a:spcBef>
              <a:spcAft>
                <a:spcPct val="0"/>
              </a:spcAft>
              <a:defRPr sz="2800" kern="1200">
                <a:solidFill>
                  <a:schemeClr val="lt1"/>
                </a:solidFill>
                <a:latin typeface="+mn-lt"/>
                <a:ea typeface="+mn-ea"/>
                <a:cs typeface="+mn-cs"/>
              </a:defRPr>
            </a:lvl4pPr>
            <a:lvl5pPr marL="1828800" algn="l" rtl="0" fontAlgn="base">
              <a:spcBef>
                <a:spcPct val="0"/>
              </a:spcBef>
              <a:spcAft>
                <a:spcPct val="0"/>
              </a:spcAft>
              <a:defRPr sz="2800" kern="1200">
                <a:solidFill>
                  <a:schemeClr val="lt1"/>
                </a:solidFill>
                <a:latin typeface="+mn-lt"/>
                <a:ea typeface="+mn-ea"/>
                <a:cs typeface="+mn-cs"/>
              </a:defRPr>
            </a:lvl5pPr>
            <a:lvl6pPr marL="2286000" algn="l" defTabSz="914400" rtl="0" eaLnBrk="1" latinLnBrk="0" hangingPunct="1">
              <a:defRPr sz="2800" kern="1200">
                <a:solidFill>
                  <a:schemeClr val="lt1"/>
                </a:solidFill>
                <a:latin typeface="+mn-lt"/>
                <a:ea typeface="+mn-ea"/>
                <a:cs typeface="+mn-cs"/>
              </a:defRPr>
            </a:lvl6pPr>
            <a:lvl7pPr marL="2743200" algn="l" defTabSz="914400" rtl="0" eaLnBrk="1" latinLnBrk="0" hangingPunct="1">
              <a:defRPr sz="2800" kern="1200">
                <a:solidFill>
                  <a:schemeClr val="lt1"/>
                </a:solidFill>
                <a:latin typeface="+mn-lt"/>
                <a:ea typeface="+mn-ea"/>
                <a:cs typeface="+mn-cs"/>
              </a:defRPr>
            </a:lvl7pPr>
            <a:lvl8pPr marL="3200400" algn="l" defTabSz="914400" rtl="0" eaLnBrk="1" latinLnBrk="0" hangingPunct="1">
              <a:defRPr sz="2800" kern="1200">
                <a:solidFill>
                  <a:schemeClr val="lt1"/>
                </a:solidFill>
                <a:latin typeface="+mn-lt"/>
                <a:ea typeface="+mn-ea"/>
                <a:cs typeface="+mn-cs"/>
              </a:defRPr>
            </a:lvl8pPr>
            <a:lvl9pPr marL="3657600" algn="l" defTabSz="914400" rtl="0" eaLnBrk="1" latinLnBrk="0" hangingPunct="1">
              <a:defRPr sz="2800" kern="1200">
                <a:solidFill>
                  <a:schemeClr val="lt1"/>
                </a:solidFill>
                <a:latin typeface="+mn-lt"/>
                <a:ea typeface="+mn-ea"/>
                <a:cs typeface="+mn-cs"/>
              </a:defRPr>
            </a:lvl9pPr>
          </a:lstStyle>
          <a:p>
            <a:pPr marL="114286" indent="-114286" fontAlgn="auto">
              <a:lnSpc>
                <a:spcPct val="85000"/>
              </a:lnSpc>
              <a:spcBef>
                <a:spcPct val="20000"/>
              </a:spcBef>
              <a:spcAft>
                <a:spcPts val="0"/>
              </a:spcAft>
              <a:buFontTx/>
              <a:buChar char="•"/>
              <a:defRPr/>
            </a:pPr>
            <a:endParaRPr lang="th-TH" sz="400" dirty="0">
              <a:solidFill>
                <a:prstClr val="white"/>
              </a:solidFill>
              <a:latin typeface="Tahoma" pitchFamily="34" charset="0"/>
              <a:cs typeface="Tahoma" pitchFamily="34" charset="0"/>
            </a:endParaRPr>
          </a:p>
        </p:txBody>
      </p:sp>
      <p:sp>
        <p:nvSpPr>
          <p:cNvPr id="42" name="AutoShape 7"/>
          <p:cNvSpPr>
            <a:spLocks noChangeArrowheads="1"/>
          </p:cNvSpPr>
          <p:nvPr/>
        </p:nvSpPr>
        <p:spPr bwMode="auto">
          <a:xfrm>
            <a:off x="6678299" y="2518175"/>
            <a:ext cx="2143140" cy="1356560"/>
          </a:xfrm>
          <a:prstGeom prst="rect">
            <a:avLst/>
          </a:prstGeom>
          <a:blipFill>
            <a:blip r:embed="rId9" cstate="print"/>
            <a:tile tx="0" ty="0" sx="100000" sy="100000" flip="none" algn="tl"/>
          </a:blipFill>
          <a:ln>
            <a:solidFill>
              <a:schemeClr val="bg2">
                <a:lumMod val="50000"/>
              </a:schemeClr>
            </a:solidFill>
            <a:headEnd/>
            <a:tailEnd/>
          </a:ln>
          <a:scene3d>
            <a:camera prst="orthographicFront">
              <a:rot lat="0" lon="0" rev="0"/>
            </a:camera>
            <a:lightRig rig="threePt" dir="t">
              <a:rot lat="0" lon="0" rev="0"/>
            </a:lightRig>
          </a:scene3d>
          <a:sp3d>
            <a:bevelT w="63500" h="25400"/>
          </a:sp3d>
        </p:spPr>
        <p:style>
          <a:lnRef idx="0">
            <a:schemeClr val="accent1"/>
          </a:lnRef>
          <a:fillRef idx="3">
            <a:schemeClr val="accent1"/>
          </a:fillRef>
          <a:effectRef idx="3">
            <a:schemeClr val="accent1"/>
          </a:effectRef>
          <a:fontRef idx="minor">
            <a:schemeClr val="lt1"/>
          </a:fontRef>
        </p:style>
        <p:txBody>
          <a:bodyPr lIns="91428" tIns="45714" rIns="91428" bIns="45714"/>
          <a:lstStyle>
            <a:defPPr>
              <a:defRPr lang="th-TH"/>
            </a:defPPr>
            <a:lvl1pPr algn="l" rtl="0" fontAlgn="base">
              <a:spcBef>
                <a:spcPct val="0"/>
              </a:spcBef>
              <a:spcAft>
                <a:spcPct val="0"/>
              </a:spcAft>
              <a:defRPr sz="2800" kern="1200">
                <a:solidFill>
                  <a:schemeClr val="lt1"/>
                </a:solidFill>
                <a:latin typeface="+mn-lt"/>
                <a:ea typeface="+mn-ea"/>
                <a:cs typeface="+mn-cs"/>
              </a:defRPr>
            </a:lvl1pPr>
            <a:lvl2pPr marL="457200" algn="l" rtl="0" fontAlgn="base">
              <a:spcBef>
                <a:spcPct val="0"/>
              </a:spcBef>
              <a:spcAft>
                <a:spcPct val="0"/>
              </a:spcAft>
              <a:defRPr sz="2800" kern="1200">
                <a:solidFill>
                  <a:schemeClr val="lt1"/>
                </a:solidFill>
                <a:latin typeface="+mn-lt"/>
                <a:ea typeface="+mn-ea"/>
                <a:cs typeface="+mn-cs"/>
              </a:defRPr>
            </a:lvl2pPr>
            <a:lvl3pPr marL="914400" algn="l" rtl="0" fontAlgn="base">
              <a:spcBef>
                <a:spcPct val="0"/>
              </a:spcBef>
              <a:spcAft>
                <a:spcPct val="0"/>
              </a:spcAft>
              <a:defRPr sz="2800" kern="1200">
                <a:solidFill>
                  <a:schemeClr val="lt1"/>
                </a:solidFill>
                <a:latin typeface="+mn-lt"/>
                <a:ea typeface="+mn-ea"/>
                <a:cs typeface="+mn-cs"/>
              </a:defRPr>
            </a:lvl3pPr>
            <a:lvl4pPr marL="1371600" algn="l" rtl="0" fontAlgn="base">
              <a:spcBef>
                <a:spcPct val="0"/>
              </a:spcBef>
              <a:spcAft>
                <a:spcPct val="0"/>
              </a:spcAft>
              <a:defRPr sz="2800" kern="1200">
                <a:solidFill>
                  <a:schemeClr val="lt1"/>
                </a:solidFill>
                <a:latin typeface="+mn-lt"/>
                <a:ea typeface="+mn-ea"/>
                <a:cs typeface="+mn-cs"/>
              </a:defRPr>
            </a:lvl4pPr>
            <a:lvl5pPr marL="1828800" algn="l" rtl="0" fontAlgn="base">
              <a:spcBef>
                <a:spcPct val="0"/>
              </a:spcBef>
              <a:spcAft>
                <a:spcPct val="0"/>
              </a:spcAft>
              <a:defRPr sz="2800" kern="1200">
                <a:solidFill>
                  <a:schemeClr val="lt1"/>
                </a:solidFill>
                <a:latin typeface="+mn-lt"/>
                <a:ea typeface="+mn-ea"/>
                <a:cs typeface="+mn-cs"/>
              </a:defRPr>
            </a:lvl5pPr>
            <a:lvl6pPr marL="2286000" algn="l" defTabSz="914400" rtl="0" eaLnBrk="1" latinLnBrk="0" hangingPunct="1">
              <a:defRPr sz="2800" kern="1200">
                <a:solidFill>
                  <a:schemeClr val="lt1"/>
                </a:solidFill>
                <a:latin typeface="+mn-lt"/>
                <a:ea typeface="+mn-ea"/>
                <a:cs typeface="+mn-cs"/>
              </a:defRPr>
            </a:lvl6pPr>
            <a:lvl7pPr marL="2743200" algn="l" defTabSz="914400" rtl="0" eaLnBrk="1" latinLnBrk="0" hangingPunct="1">
              <a:defRPr sz="2800" kern="1200">
                <a:solidFill>
                  <a:schemeClr val="lt1"/>
                </a:solidFill>
                <a:latin typeface="+mn-lt"/>
                <a:ea typeface="+mn-ea"/>
                <a:cs typeface="+mn-cs"/>
              </a:defRPr>
            </a:lvl7pPr>
            <a:lvl8pPr marL="3200400" algn="l" defTabSz="914400" rtl="0" eaLnBrk="1" latinLnBrk="0" hangingPunct="1">
              <a:defRPr sz="2800" kern="1200">
                <a:solidFill>
                  <a:schemeClr val="lt1"/>
                </a:solidFill>
                <a:latin typeface="+mn-lt"/>
                <a:ea typeface="+mn-ea"/>
                <a:cs typeface="+mn-cs"/>
              </a:defRPr>
            </a:lvl8pPr>
            <a:lvl9pPr marL="3657600" algn="l" defTabSz="914400" rtl="0" eaLnBrk="1" latinLnBrk="0" hangingPunct="1">
              <a:defRPr sz="2800" kern="1200">
                <a:solidFill>
                  <a:schemeClr val="lt1"/>
                </a:solidFill>
                <a:latin typeface="+mn-lt"/>
                <a:ea typeface="+mn-ea"/>
                <a:cs typeface="+mn-cs"/>
              </a:defRPr>
            </a:lvl9pPr>
          </a:lstStyle>
          <a:p>
            <a:pPr marL="114286" indent="-114286" fontAlgn="auto">
              <a:lnSpc>
                <a:spcPct val="85000"/>
              </a:lnSpc>
              <a:spcBef>
                <a:spcPct val="20000"/>
              </a:spcBef>
              <a:spcAft>
                <a:spcPts val="0"/>
              </a:spcAft>
              <a:buFontTx/>
              <a:buChar char="•"/>
              <a:defRPr/>
            </a:pPr>
            <a:endParaRPr lang="th-TH" sz="400" dirty="0">
              <a:solidFill>
                <a:prstClr val="white"/>
              </a:solidFill>
              <a:latin typeface="Tahoma" pitchFamily="34" charset="0"/>
              <a:cs typeface="Tahoma" pitchFamily="34" charset="0"/>
            </a:endParaRPr>
          </a:p>
        </p:txBody>
      </p:sp>
      <p:pic>
        <p:nvPicPr>
          <p:cNvPr id="43" name="Picture 42" descr="df03192007e"/>
          <p:cNvPicPr preferRelativeResize="0">
            <a:picLocks noChangeArrowheads="1"/>
          </p:cNvPicPr>
          <p:nvPr/>
        </p:nvPicPr>
        <p:blipFill>
          <a:blip r:embed="rId10" cstate="email"/>
          <a:srcRect/>
          <a:stretch>
            <a:fillRect/>
          </a:stretch>
        </p:blipFill>
        <p:spPr bwMode="auto">
          <a:xfrm>
            <a:off x="6786578" y="2571751"/>
            <a:ext cx="857256" cy="499304"/>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44" name="Picture 43" descr="IMG_5081"/>
          <p:cNvPicPr>
            <a:picLocks noChangeAspect="1" noChangeArrowheads="1"/>
          </p:cNvPicPr>
          <p:nvPr/>
        </p:nvPicPr>
        <p:blipFill>
          <a:blip r:embed="rId11" cstate="email"/>
          <a:srcRect/>
          <a:stretch>
            <a:fillRect/>
          </a:stretch>
        </p:blipFill>
        <p:spPr bwMode="auto">
          <a:xfrm>
            <a:off x="214282" y="3589741"/>
            <a:ext cx="857256" cy="551094"/>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sp>
        <p:nvSpPr>
          <p:cNvPr id="1041" name="Rectangle 44"/>
          <p:cNvSpPr>
            <a:spLocks noChangeArrowheads="1"/>
          </p:cNvSpPr>
          <p:nvPr/>
        </p:nvSpPr>
        <p:spPr bwMode="auto">
          <a:xfrm>
            <a:off x="6715124" y="3105784"/>
            <a:ext cx="2293275" cy="746346"/>
          </a:xfrm>
          <a:prstGeom prst="rect">
            <a:avLst/>
          </a:prstGeom>
          <a:noFill/>
          <a:ln w="9525">
            <a:noFill/>
            <a:miter lim="800000"/>
            <a:headEnd/>
            <a:tailEnd/>
          </a:ln>
        </p:spPr>
        <p:txBody>
          <a:bodyPr wrap="square" lIns="91428" tIns="45714" rIns="91428" bIns="45714">
            <a:spAutoFit/>
          </a:bodyPr>
          <a:lstStyle/>
          <a:p>
            <a:pPr marL="92064" indent="-92064">
              <a:lnSpc>
                <a:spcPts val="1700"/>
              </a:lnSpc>
              <a:buFont typeface="Wingdings" pitchFamily="2" charset="2"/>
              <a:buChar char="§"/>
            </a:pPr>
            <a:r>
              <a:rPr lang="en-US" sz="1500" b="1" dirty="0">
                <a:solidFill>
                  <a:srgbClr val="000000"/>
                </a:solidFill>
                <a:latin typeface="TH SarabunPSK" pitchFamily="34" charset="-34"/>
                <a:cs typeface="TH SarabunPSK" pitchFamily="34" charset="-34"/>
              </a:rPr>
              <a:t> </a:t>
            </a:r>
            <a:r>
              <a:rPr lang="th-TH" sz="1500" b="1" dirty="0" smtClean="0">
                <a:solidFill>
                  <a:srgbClr val="000000"/>
                </a:solidFill>
                <a:latin typeface="TH SarabunPSK" pitchFamily="34" charset="-34"/>
                <a:cs typeface="TH SarabunPSK" pitchFamily="34" charset="-34"/>
              </a:rPr>
              <a:t>รถไฟความเร็วสูง ไทย-สปป.ลาว-จีน</a:t>
            </a:r>
            <a:endParaRPr lang="en-US" sz="1500" b="1" dirty="0">
              <a:solidFill>
                <a:srgbClr val="000000"/>
              </a:solidFill>
              <a:latin typeface="TH SarabunPSK" pitchFamily="34" charset="-34"/>
              <a:cs typeface="TH SarabunPSK" pitchFamily="34" charset="-34"/>
            </a:endParaRPr>
          </a:p>
          <a:p>
            <a:pPr marL="92064" indent="-92064">
              <a:lnSpc>
                <a:spcPts val="1700"/>
              </a:lnSpc>
              <a:buFont typeface="Wingdings" pitchFamily="2" charset="2"/>
              <a:buChar char="§"/>
            </a:pPr>
            <a:r>
              <a:rPr lang="th-TH" sz="1500" b="1" dirty="0">
                <a:solidFill>
                  <a:srgbClr val="000000"/>
                </a:solidFill>
                <a:latin typeface="TH SarabunPSK" pitchFamily="34" charset="-34"/>
                <a:cs typeface="TH SarabunPSK" pitchFamily="34" charset="-34"/>
              </a:rPr>
              <a:t> </a:t>
            </a:r>
            <a:r>
              <a:rPr lang="th-TH" sz="1500" b="1" dirty="0" smtClean="0">
                <a:solidFill>
                  <a:srgbClr val="000000"/>
                </a:solidFill>
                <a:latin typeface="TH SarabunPSK" pitchFamily="34" charset="-34"/>
                <a:cs typeface="TH SarabunPSK" pitchFamily="34" charset="-34"/>
              </a:rPr>
              <a:t>รถไฟเชื่อมโยงอนุภูมิภาคเส้นทางสิงคโปร์-คุนหมิง</a:t>
            </a:r>
            <a:endParaRPr lang="th-TH" sz="1500" b="1" dirty="0">
              <a:solidFill>
                <a:srgbClr val="000000"/>
              </a:solidFill>
              <a:latin typeface="TH SarabunPSK" pitchFamily="34" charset="-34"/>
              <a:cs typeface="TH SarabunPSK" pitchFamily="34" charset="-34"/>
            </a:endParaRPr>
          </a:p>
        </p:txBody>
      </p:sp>
      <p:sp>
        <p:nvSpPr>
          <p:cNvPr id="1042" name="Rectangle 45"/>
          <p:cNvSpPr>
            <a:spLocks noChangeArrowheads="1"/>
          </p:cNvSpPr>
          <p:nvPr/>
        </p:nvSpPr>
        <p:spPr bwMode="auto">
          <a:xfrm>
            <a:off x="142880" y="3068125"/>
            <a:ext cx="1908843" cy="311805"/>
          </a:xfrm>
          <a:prstGeom prst="rect">
            <a:avLst/>
          </a:prstGeom>
          <a:noFill/>
          <a:ln w="9525">
            <a:noFill/>
            <a:miter lim="800000"/>
            <a:headEnd/>
            <a:tailEnd/>
          </a:ln>
        </p:spPr>
        <p:txBody>
          <a:bodyPr wrap="square" lIns="91428" tIns="45714" rIns="91428" bIns="45714">
            <a:spAutoFit/>
          </a:bodyPr>
          <a:lstStyle/>
          <a:p>
            <a:pPr>
              <a:lnSpc>
                <a:spcPts val="1700"/>
              </a:lnSpc>
            </a:pPr>
            <a:r>
              <a:rPr lang="th-TH" sz="1600" b="1" dirty="0" smtClean="0">
                <a:solidFill>
                  <a:srgbClr val="000000"/>
                </a:solidFill>
                <a:latin typeface="TH SarabunPSK" pitchFamily="34" charset="-34"/>
                <a:cs typeface="TH SarabunPSK" pitchFamily="34" charset="-34"/>
              </a:rPr>
              <a:t>การพัฒนาเศรษฐกิจชายแดน</a:t>
            </a:r>
            <a:endParaRPr lang="th-TH" sz="1600" b="1" dirty="0">
              <a:solidFill>
                <a:srgbClr val="000000"/>
              </a:solidFill>
              <a:latin typeface="TH SarabunPSK" pitchFamily="34" charset="-34"/>
              <a:cs typeface="TH SarabunPSK" pitchFamily="34" charset="-34"/>
            </a:endParaRPr>
          </a:p>
        </p:txBody>
      </p:sp>
      <p:sp>
        <p:nvSpPr>
          <p:cNvPr id="1043" name="Rectangle 46"/>
          <p:cNvSpPr>
            <a:spLocks noChangeArrowheads="1"/>
          </p:cNvSpPr>
          <p:nvPr/>
        </p:nvSpPr>
        <p:spPr bwMode="auto">
          <a:xfrm>
            <a:off x="179388" y="4223149"/>
            <a:ext cx="2000250" cy="528338"/>
          </a:xfrm>
          <a:prstGeom prst="rect">
            <a:avLst/>
          </a:prstGeom>
          <a:noFill/>
          <a:ln w="9525">
            <a:noFill/>
            <a:miter lim="800000"/>
            <a:headEnd/>
            <a:tailEnd/>
          </a:ln>
        </p:spPr>
        <p:txBody>
          <a:bodyPr lIns="91428" tIns="45714" rIns="91428" bIns="45714">
            <a:spAutoFit/>
          </a:bodyPr>
          <a:lstStyle/>
          <a:p>
            <a:pPr>
              <a:lnSpc>
                <a:spcPts val="1700"/>
              </a:lnSpc>
            </a:pPr>
            <a:r>
              <a:rPr lang="th-TH" sz="1600" b="1" dirty="0" smtClean="0">
                <a:solidFill>
                  <a:srgbClr val="000000"/>
                </a:solidFill>
                <a:latin typeface="TH SarabunPSK" pitchFamily="34" charset="-34"/>
                <a:cs typeface="TH SarabunPSK" pitchFamily="34" charset="-34"/>
              </a:rPr>
              <a:t>การพัฒนาท่าเรือน้ำลึกและเขตอุตสาหกรรมทวาย</a:t>
            </a:r>
            <a:endParaRPr lang="th-TH" sz="1600" b="1" dirty="0">
              <a:solidFill>
                <a:srgbClr val="000000"/>
              </a:solidFill>
              <a:latin typeface="TH SarabunPSK" pitchFamily="34" charset="-34"/>
              <a:cs typeface="TH SarabunPSK" pitchFamily="34" charset="-34"/>
            </a:endParaRPr>
          </a:p>
        </p:txBody>
      </p:sp>
      <p:pic>
        <p:nvPicPr>
          <p:cNvPr id="48" name="Picture 47" descr="http://t0.gstatic.com/images?q=tbn:ANd9GcS0vbHOkQ4HDqcTg0aYmQX80dXfu3x-fURCzGkr5YU1p9bPOUZA"/>
          <p:cNvPicPr>
            <a:picLocks noChangeAspect="1" noChangeArrowheads="1"/>
          </p:cNvPicPr>
          <p:nvPr/>
        </p:nvPicPr>
        <p:blipFill>
          <a:blip r:embed="rId12" cstate="email"/>
          <a:srcRect/>
          <a:stretch>
            <a:fillRect/>
          </a:stretch>
        </p:blipFill>
        <p:spPr bwMode="auto">
          <a:xfrm>
            <a:off x="285720" y="2378569"/>
            <a:ext cx="714380" cy="580434"/>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49" name="Picture 48" descr="http://www.ku.ac.th/e-magazine/february44/agri/food2.jpg"/>
          <p:cNvPicPr>
            <a:picLocks noChangeAspect="1" noChangeArrowheads="1"/>
          </p:cNvPicPr>
          <p:nvPr/>
        </p:nvPicPr>
        <p:blipFill>
          <a:blip r:embed="rId13" cstate="email"/>
          <a:srcRect/>
          <a:stretch>
            <a:fillRect/>
          </a:stretch>
        </p:blipFill>
        <p:spPr bwMode="auto">
          <a:xfrm>
            <a:off x="1214414" y="2357437"/>
            <a:ext cx="785818" cy="589364"/>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50" name="Picture 49" descr="3"/>
          <p:cNvPicPr>
            <a:picLocks noChangeAspect="1" noChangeArrowheads="1"/>
          </p:cNvPicPr>
          <p:nvPr/>
        </p:nvPicPr>
        <p:blipFill>
          <a:blip r:embed="rId14" cstate="print"/>
          <a:srcRect/>
          <a:stretch>
            <a:fillRect/>
          </a:stretch>
        </p:blipFill>
        <p:spPr bwMode="auto">
          <a:xfrm>
            <a:off x="1285852" y="3589744"/>
            <a:ext cx="785818" cy="589364"/>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51" name="Picture 50"/>
          <p:cNvPicPr>
            <a:picLocks noChangeAspect="1" noChangeArrowheads="1"/>
          </p:cNvPicPr>
          <p:nvPr/>
        </p:nvPicPr>
        <p:blipFill>
          <a:blip r:embed="rId15" cstate="email"/>
          <a:srcRect/>
          <a:stretch>
            <a:fillRect/>
          </a:stretch>
        </p:blipFill>
        <p:spPr bwMode="auto">
          <a:xfrm>
            <a:off x="7786711" y="2571751"/>
            <a:ext cx="857256" cy="499304"/>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cxnSp>
        <p:nvCxnSpPr>
          <p:cNvPr id="53" name="Straight Arrow Connector 52"/>
          <p:cNvCxnSpPr/>
          <p:nvPr/>
        </p:nvCxnSpPr>
        <p:spPr>
          <a:xfrm>
            <a:off x="2143129" y="2588421"/>
            <a:ext cx="1643063" cy="107157"/>
          </a:xfrm>
          <a:prstGeom prst="straightConnector1">
            <a:avLst/>
          </a:prstGeom>
          <a:ln w="38100">
            <a:solidFill>
              <a:srgbClr val="C00000"/>
            </a:solidFill>
            <a:tailEnd type="arrow"/>
          </a:ln>
        </p:spPr>
        <p:style>
          <a:lnRef idx="1">
            <a:schemeClr val="accent1"/>
          </a:lnRef>
          <a:fillRef idx="0">
            <a:schemeClr val="accent1"/>
          </a:fillRef>
          <a:effectRef idx="0">
            <a:schemeClr val="accent1"/>
          </a:effectRef>
          <a:fontRef idx="minor">
            <a:schemeClr val="tx1"/>
          </a:fontRef>
        </p:style>
      </p:cxnSp>
      <p:cxnSp>
        <p:nvCxnSpPr>
          <p:cNvPr id="55" name="Straight Arrow Connector 54"/>
          <p:cNvCxnSpPr/>
          <p:nvPr/>
        </p:nvCxnSpPr>
        <p:spPr>
          <a:xfrm flipV="1">
            <a:off x="2205044" y="3268270"/>
            <a:ext cx="1509713" cy="831056"/>
          </a:xfrm>
          <a:prstGeom prst="straightConnector1">
            <a:avLst/>
          </a:prstGeom>
          <a:ln w="38100">
            <a:solidFill>
              <a:srgbClr val="C00000"/>
            </a:solidFill>
            <a:tailEnd type="arrow"/>
          </a:ln>
        </p:spPr>
        <p:style>
          <a:lnRef idx="1">
            <a:schemeClr val="accent1"/>
          </a:lnRef>
          <a:fillRef idx="0">
            <a:schemeClr val="accent1"/>
          </a:fillRef>
          <a:effectRef idx="0">
            <a:schemeClr val="accent1"/>
          </a:effectRef>
          <a:fontRef idx="minor">
            <a:schemeClr val="tx1"/>
          </a:fontRef>
        </p:style>
      </p:cxnSp>
      <p:cxnSp>
        <p:nvCxnSpPr>
          <p:cNvPr id="57" name="Straight Arrow Connector 56"/>
          <p:cNvCxnSpPr/>
          <p:nvPr/>
        </p:nvCxnSpPr>
        <p:spPr>
          <a:xfrm flipH="1" flipV="1">
            <a:off x="5000633" y="1677595"/>
            <a:ext cx="1643062" cy="1322782"/>
          </a:xfrm>
          <a:prstGeom prst="straightConnector1">
            <a:avLst/>
          </a:prstGeom>
          <a:ln w="38100">
            <a:solidFill>
              <a:srgbClr val="C00000"/>
            </a:solidFill>
            <a:tailEnd type="arrow"/>
          </a:ln>
        </p:spPr>
        <p:style>
          <a:lnRef idx="1">
            <a:schemeClr val="accent1"/>
          </a:lnRef>
          <a:fillRef idx="0">
            <a:schemeClr val="accent1"/>
          </a:fillRef>
          <a:effectRef idx="0">
            <a:schemeClr val="accent1"/>
          </a:effectRef>
          <a:fontRef idx="minor">
            <a:schemeClr val="tx1"/>
          </a:fontRef>
        </p:style>
      </p:cxnSp>
      <p:sp>
        <p:nvSpPr>
          <p:cNvPr id="1051" name="Oval 53"/>
          <p:cNvSpPr>
            <a:spLocks noChangeArrowheads="1"/>
          </p:cNvSpPr>
          <p:nvPr/>
        </p:nvSpPr>
        <p:spPr bwMode="auto">
          <a:xfrm>
            <a:off x="3643314" y="2534842"/>
            <a:ext cx="357188" cy="267890"/>
          </a:xfrm>
          <a:prstGeom prst="ellipse">
            <a:avLst/>
          </a:prstGeom>
          <a:solidFill>
            <a:srgbClr val="0000FF">
              <a:alpha val="23921"/>
            </a:srgbClr>
          </a:solidFill>
          <a:ln w="38100">
            <a:noFill/>
            <a:prstDash val="sysDot"/>
            <a:round/>
            <a:headEnd/>
            <a:tailEnd/>
          </a:ln>
        </p:spPr>
        <p:txBody>
          <a:bodyPr wrap="none" lIns="91428" tIns="45714" rIns="91428" bIns="45714" anchor="ctr"/>
          <a:lstStyle/>
          <a:p>
            <a:endParaRPr lang="en-US" sz="1400">
              <a:solidFill>
                <a:srgbClr val="000000"/>
              </a:solidFill>
              <a:latin typeface="Tahoma" pitchFamily="34" charset="0"/>
              <a:cs typeface="Tahoma" pitchFamily="34" charset="0"/>
            </a:endParaRPr>
          </a:p>
        </p:txBody>
      </p:sp>
      <p:sp>
        <p:nvSpPr>
          <p:cNvPr id="1052" name="Oval 53"/>
          <p:cNvSpPr>
            <a:spLocks noChangeArrowheads="1"/>
          </p:cNvSpPr>
          <p:nvPr/>
        </p:nvSpPr>
        <p:spPr bwMode="auto">
          <a:xfrm>
            <a:off x="3643314" y="3017045"/>
            <a:ext cx="357188" cy="267891"/>
          </a:xfrm>
          <a:prstGeom prst="ellipse">
            <a:avLst/>
          </a:prstGeom>
          <a:solidFill>
            <a:srgbClr val="0000FF">
              <a:alpha val="23921"/>
            </a:srgbClr>
          </a:solidFill>
          <a:ln w="38100">
            <a:noFill/>
            <a:prstDash val="sysDot"/>
            <a:round/>
            <a:headEnd/>
            <a:tailEnd/>
          </a:ln>
        </p:spPr>
        <p:txBody>
          <a:bodyPr wrap="none" lIns="91428" tIns="45714" rIns="91428" bIns="45714" anchor="ctr"/>
          <a:lstStyle/>
          <a:p>
            <a:endParaRPr lang="en-US" sz="1400">
              <a:solidFill>
                <a:srgbClr val="000000"/>
              </a:solidFill>
              <a:latin typeface="Tahoma" pitchFamily="34" charset="0"/>
              <a:cs typeface="Tahoma" pitchFamily="34" charset="0"/>
            </a:endParaRPr>
          </a:p>
        </p:txBody>
      </p:sp>
      <p:graphicFrame>
        <p:nvGraphicFramePr>
          <p:cNvPr id="1026" name="Object 2"/>
          <p:cNvGraphicFramePr>
            <a:graphicFrameLocks/>
          </p:cNvGraphicFramePr>
          <p:nvPr>
            <p:extLst>
              <p:ext uri="{D42A27DB-BD31-4B8C-83A1-F6EECF244321}">
                <p14:modId xmlns:p14="http://schemas.microsoft.com/office/powerpoint/2010/main" xmlns="" val="1227887968"/>
              </p:ext>
            </p:extLst>
          </p:nvPr>
        </p:nvGraphicFramePr>
        <p:xfrm>
          <a:off x="3357564" y="3231360"/>
          <a:ext cx="357188" cy="188119"/>
        </p:xfrm>
        <a:graphic>
          <a:graphicData uri="http://schemas.openxmlformats.org/presentationml/2006/ole">
            <p:oleObj spid="_x0000_s197644" name="Clip" r:id="rId16" imgW="42737760" imgH="22985640" progId="">
              <p:embed/>
            </p:oleObj>
          </a:graphicData>
        </a:graphic>
      </p:graphicFrame>
      <p:graphicFrame>
        <p:nvGraphicFramePr>
          <p:cNvPr id="1027" name="Object 3"/>
          <p:cNvGraphicFramePr>
            <a:graphicFrameLocks/>
          </p:cNvGraphicFramePr>
          <p:nvPr>
            <p:extLst>
              <p:ext uri="{D42A27DB-BD31-4B8C-83A1-F6EECF244321}">
                <p14:modId xmlns:p14="http://schemas.microsoft.com/office/powerpoint/2010/main" xmlns="" val="972677211"/>
              </p:ext>
            </p:extLst>
          </p:nvPr>
        </p:nvGraphicFramePr>
        <p:xfrm>
          <a:off x="6072189" y="2374110"/>
          <a:ext cx="357188" cy="188119"/>
        </p:xfrm>
        <a:graphic>
          <a:graphicData uri="http://schemas.openxmlformats.org/presentationml/2006/ole">
            <p:oleObj spid="_x0000_s197645" name="Clip" r:id="rId17" imgW="5520600" imgH="2961720" progId="">
              <p:embed/>
            </p:oleObj>
          </a:graphicData>
        </a:graphic>
      </p:graphicFrame>
      <p:cxnSp>
        <p:nvCxnSpPr>
          <p:cNvPr id="64" name="Straight Arrow Connector 63"/>
          <p:cNvCxnSpPr/>
          <p:nvPr/>
        </p:nvCxnSpPr>
        <p:spPr>
          <a:xfrm rot="10800000">
            <a:off x="4714882" y="2213372"/>
            <a:ext cx="1928813" cy="787004"/>
          </a:xfrm>
          <a:prstGeom prst="straightConnector1">
            <a:avLst/>
          </a:prstGeom>
          <a:ln w="38100">
            <a:solidFill>
              <a:srgbClr val="C00000"/>
            </a:solidFill>
            <a:tailEnd type="arrow"/>
          </a:ln>
        </p:spPr>
        <p:style>
          <a:lnRef idx="1">
            <a:schemeClr val="accent1"/>
          </a:lnRef>
          <a:fillRef idx="0">
            <a:schemeClr val="accent1"/>
          </a:fillRef>
          <a:effectRef idx="0">
            <a:schemeClr val="accent1"/>
          </a:effectRef>
          <a:fontRef idx="minor">
            <a:schemeClr val="tx1"/>
          </a:fontRef>
        </p:style>
      </p:cxnSp>
      <p:cxnSp>
        <p:nvCxnSpPr>
          <p:cNvPr id="73" name="Straight Arrow Connector 72"/>
          <p:cNvCxnSpPr/>
          <p:nvPr/>
        </p:nvCxnSpPr>
        <p:spPr>
          <a:xfrm rot="10800000" flipV="1">
            <a:off x="5429250" y="3017046"/>
            <a:ext cx="1214438" cy="535782"/>
          </a:xfrm>
          <a:prstGeom prst="straightConnector1">
            <a:avLst/>
          </a:prstGeom>
          <a:ln w="38100">
            <a:solidFill>
              <a:srgbClr val="C00000"/>
            </a:solidFill>
            <a:tailEnd type="arrow"/>
          </a:ln>
        </p:spPr>
        <p:style>
          <a:lnRef idx="1">
            <a:schemeClr val="accent1"/>
          </a:lnRef>
          <a:fillRef idx="0">
            <a:schemeClr val="accent1"/>
          </a:fillRef>
          <a:effectRef idx="0">
            <a:schemeClr val="accent1"/>
          </a:effectRef>
          <a:fontRef idx="minor">
            <a:schemeClr val="tx1"/>
          </a:fontRef>
        </p:style>
      </p:cxnSp>
      <p:sp>
        <p:nvSpPr>
          <p:cNvPr id="85" name="AutoShape 7"/>
          <p:cNvSpPr>
            <a:spLocks noChangeArrowheads="1"/>
          </p:cNvSpPr>
          <p:nvPr/>
        </p:nvSpPr>
        <p:spPr bwMode="auto">
          <a:xfrm>
            <a:off x="142844" y="498978"/>
            <a:ext cx="2000264" cy="1644146"/>
          </a:xfrm>
          <a:prstGeom prst="rect">
            <a:avLst/>
          </a:prstGeom>
          <a:blipFill>
            <a:blip r:embed="rId9" cstate="print"/>
            <a:tile tx="0" ty="0" sx="100000" sy="100000" flip="none" algn="tl"/>
          </a:blipFill>
          <a:ln>
            <a:solidFill>
              <a:schemeClr val="bg2">
                <a:lumMod val="50000"/>
              </a:schemeClr>
            </a:solidFill>
            <a:headEnd/>
            <a:tailEnd/>
          </a:ln>
          <a:scene3d>
            <a:camera prst="orthographicFront">
              <a:rot lat="0" lon="0" rev="0"/>
            </a:camera>
            <a:lightRig rig="threePt" dir="t">
              <a:rot lat="0" lon="0" rev="0"/>
            </a:lightRig>
          </a:scene3d>
          <a:sp3d>
            <a:bevelT w="63500" h="25400"/>
          </a:sp3d>
        </p:spPr>
        <p:style>
          <a:lnRef idx="0">
            <a:schemeClr val="accent1"/>
          </a:lnRef>
          <a:fillRef idx="3">
            <a:schemeClr val="accent1"/>
          </a:fillRef>
          <a:effectRef idx="3">
            <a:schemeClr val="accent1"/>
          </a:effectRef>
          <a:fontRef idx="minor">
            <a:schemeClr val="lt1"/>
          </a:fontRef>
        </p:style>
        <p:txBody>
          <a:bodyPr lIns="91428" tIns="45714" rIns="91428" bIns="45714"/>
          <a:lstStyle/>
          <a:p>
            <a:pPr marL="114286" indent="-114286">
              <a:lnSpc>
                <a:spcPct val="85000"/>
              </a:lnSpc>
              <a:spcBef>
                <a:spcPct val="20000"/>
              </a:spcBef>
              <a:buFontTx/>
              <a:buChar char="•"/>
              <a:defRPr/>
            </a:pPr>
            <a:endParaRPr lang="th-TH" sz="500" dirty="0">
              <a:solidFill>
                <a:prstClr val="white"/>
              </a:solidFill>
            </a:endParaRPr>
          </a:p>
        </p:txBody>
      </p:sp>
      <p:sp>
        <p:nvSpPr>
          <p:cNvPr id="1058" name="Rectangle 85"/>
          <p:cNvSpPr>
            <a:spLocks noChangeArrowheads="1"/>
          </p:cNvSpPr>
          <p:nvPr/>
        </p:nvSpPr>
        <p:spPr bwMode="auto">
          <a:xfrm>
            <a:off x="153987" y="1278604"/>
            <a:ext cx="2055813" cy="923318"/>
          </a:xfrm>
          <a:prstGeom prst="rect">
            <a:avLst/>
          </a:prstGeom>
          <a:noFill/>
          <a:ln w="9525">
            <a:noFill/>
            <a:miter lim="800000"/>
            <a:headEnd/>
            <a:tailEnd/>
          </a:ln>
        </p:spPr>
        <p:txBody>
          <a:bodyPr lIns="91428" tIns="45714" rIns="91428" bIns="45714">
            <a:spAutoFit/>
          </a:bodyPr>
          <a:lstStyle/>
          <a:p>
            <a:r>
              <a:rPr lang="th-TH" sz="1800" b="1" dirty="0" smtClean="0">
                <a:solidFill>
                  <a:srgbClr val="000000"/>
                </a:solidFill>
                <a:latin typeface="TH SarabunPSK" pitchFamily="34" charset="-34"/>
                <a:cs typeface="TH SarabunPSK" pitchFamily="34" charset="-34"/>
              </a:rPr>
              <a:t>การแลกเปลี่ยนสิทธิจราจรสามฝ่ายระหว่าง ไทย-สปป.ลาว-จีน </a:t>
            </a:r>
            <a:endParaRPr lang="th-TH" sz="1800" b="1" dirty="0">
              <a:solidFill>
                <a:srgbClr val="000000"/>
              </a:solidFill>
              <a:latin typeface="TH SarabunPSK" pitchFamily="34" charset="-34"/>
              <a:cs typeface="TH SarabunPSK" pitchFamily="34" charset="-34"/>
            </a:endParaRPr>
          </a:p>
        </p:txBody>
      </p:sp>
      <p:pic>
        <p:nvPicPr>
          <p:cNvPr id="88" name="Picture 17" descr="C:\Documents and Settings\hiran\Desktop\รูปประกอบรายงาน R3A\R3\R3A ช่วงที่ 2\SAM_1016.JPG"/>
          <p:cNvPicPr>
            <a:picLocks noChangeAspect="1" noChangeArrowheads="1"/>
          </p:cNvPicPr>
          <p:nvPr/>
        </p:nvPicPr>
        <p:blipFill>
          <a:blip r:embed="rId18" cstate="email"/>
          <a:srcRect/>
          <a:stretch>
            <a:fillRect/>
          </a:stretch>
        </p:blipFill>
        <p:spPr bwMode="auto">
          <a:xfrm>
            <a:off x="214282" y="589350"/>
            <a:ext cx="780618" cy="552572"/>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82" name="Picture 6" descr="http://www.freightmaxad.com/magazine/wp-content/uploads/2011/01/101.jpg"/>
          <p:cNvPicPr>
            <a:picLocks noChangeAspect="1" noChangeArrowheads="1"/>
          </p:cNvPicPr>
          <p:nvPr/>
        </p:nvPicPr>
        <p:blipFill>
          <a:blip r:embed="rId19" cstate="email"/>
          <a:srcRect/>
          <a:stretch>
            <a:fillRect/>
          </a:stretch>
        </p:blipFill>
        <p:spPr bwMode="auto">
          <a:xfrm>
            <a:off x="1142977" y="589348"/>
            <a:ext cx="857256" cy="551094"/>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sp>
        <p:nvSpPr>
          <p:cNvPr id="96" name="Rectangle 95"/>
          <p:cNvSpPr/>
          <p:nvPr/>
        </p:nvSpPr>
        <p:spPr>
          <a:xfrm rot="18798151">
            <a:off x="4797030" y="944567"/>
            <a:ext cx="307182" cy="1439863"/>
          </a:xfrm>
          <a:prstGeom prst="rect">
            <a:avLst/>
          </a:prstGeom>
          <a:solidFill>
            <a:schemeClr val="bg2">
              <a:lumMod val="10000"/>
              <a:alpha val="50000"/>
            </a:schemeClr>
          </a:solidFill>
          <a:ln>
            <a:solidFill>
              <a:schemeClr val="bg1">
                <a:lumMod val="50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lIns="91428" tIns="45714" rIns="91428" bIns="45714" anchor="ctr"/>
          <a:lstStyle/>
          <a:p>
            <a:pPr algn="ctr">
              <a:defRPr/>
            </a:pPr>
            <a:endParaRPr lang="en-US" sz="1400">
              <a:solidFill>
                <a:prstClr val="white"/>
              </a:solidFill>
              <a:latin typeface="Tahoma" pitchFamily="34" charset="0"/>
              <a:cs typeface="Tahoma" pitchFamily="34" charset="0"/>
            </a:endParaRPr>
          </a:p>
        </p:txBody>
      </p:sp>
      <p:sp>
        <p:nvSpPr>
          <p:cNvPr id="97" name="Rectangle 96"/>
          <p:cNvSpPr/>
          <p:nvPr/>
        </p:nvSpPr>
        <p:spPr>
          <a:xfrm rot="20549190">
            <a:off x="4259269" y="1312069"/>
            <a:ext cx="430213" cy="1338263"/>
          </a:xfrm>
          <a:prstGeom prst="rect">
            <a:avLst/>
          </a:prstGeom>
          <a:solidFill>
            <a:schemeClr val="bg2">
              <a:lumMod val="10000"/>
              <a:alpha val="50000"/>
            </a:schemeClr>
          </a:solidFill>
          <a:ln>
            <a:solidFill>
              <a:schemeClr val="bg1">
                <a:lumMod val="50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lIns="91428" tIns="45714" rIns="91428" bIns="45714" anchor="ctr"/>
          <a:lstStyle/>
          <a:p>
            <a:pPr algn="ctr">
              <a:defRPr/>
            </a:pPr>
            <a:endParaRPr lang="en-US" sz="1400">
              <a:solidFill>
                <a:prstClr val="white"/>
              </a:solidFill>
              <a:latin typeface="Tahoma" pitchFamily="34" charset="0"/>
              <a:cs typeface="Tahoma" pitchFamily="34" charset="0"/>
            </a:endParaRPr>
          </a:p>
        </p:txBody>
      </p:sp>
      <p:sp>
        <p:nvSpPr>
          <p:cNvPr id="98" name="Rectangle 97"/>
          <p:cNvSpPr/>
          <p:nvPr/>
        </p:nvSpPr>
        <p:spPr>
          <a:xfrm rot="17745228">
            <a:off x="5109572" y="2451695"/>
            <a:ext cx="320279" cy="2065338"/>
          </a:xfrm>
          <a:prstGeom prst="rect">
            <a:avLst/>
          </a:prstGeom>
          <a:solidFill>
            <a:schemeClr val="bg2">
              <a:lumMod val="10000"/>
              <a:alpha val="50000"/>
            </a:schemeClr>
          </a:solidFill>
          <a:ln>
            <a:solidFill>
              <a:schemeClr val="bg1">
                <a:lumMod val="50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lIns="91428" tIns="45714" rIns="91428" bIns="45714" anchor="ctr"/>
          <a:lstStyle/>
          <a:p>
            <a:pPr algn="ctr">
              <a:defRPr/>
            </a:pPr>
            <a:endParaRPr lang="en-US" sz="1400">
              <a:solidFill>
                <a:prstClr val="white"/>
              </a:solidFill>
              <a:latin typeface="Tahoma" pitchFamily="34" charset="0"/>
              <a:cs typeface="Tahoma" pitchFamily="34" charset="0"/>
            </a:endParaRPr>
          </a:p>
        </p:txBody>
      </p:sp>
      <p:cxnSp>
        <p:nvCxnSpPr>
          <p:cNvPr id="100" name="Straight Arrow Connector 99"/>
          <p:cNvCxnSpPr/>
          <p:nvPr/>
        </p:nvCxnSpPr>
        <p:spPr>
          <a:xfrm>
            <a:off x="2143129" y="1248967"/>
            <a:ext cx="1928813" cy="750095"/>
          </a:xfrm>
          <a:prstGeom prst="straightConnector1">
            <a:avLst/>
          </a:prstGeom>
          <a:ln w="38100">
            <a:solidFill>
              <a:srgbClr val="C00000"/>
            </a:solidFill>
            <a:tailEnd type="arrow"/>
          </a:ln>
        </p:spPr>
        <p:style>
          <a:lnRef idx="1">
            <a:schemeClr val="accent1"/>
          </a:lnRef>
          <a:fillRef idx="0">
            <a:schemeClr val="accent1"/>
          </a:fillRef>
          <a:effectRef idx="0">
            <a:schemeClr val="accent1"/>
          </a:effectRef>
          <a:fontRef idx="minor">
            <a:schemeClr val="tx1"/>
          </a:fontRef>
        </p:style>
      </p:cxnSp>
      <p:sp>
        <p:nvSpPr>
          <p:cNvPr id="1065" name="TextBox 76"/>
          <p:cNvSpPr txBox="1">
            <a:spLocks noChangeArrowheads="1"/>
          </p:cNvSpPr>
          <p:nvPr/>
        </p:nvSpPr>
        <p:spPr bwMode="auto">
          <a:xfrm>
            <a:off x="7072314" y="1195389"/>
            <a:ext cx="1500188" cy="361625"/>
          </a:xfrm>
          <a:prstGeom prst="rect">
            <a:avLst/>
          </a:prstGeom>
          <a:noFill/>
          <a:ln w="9525">
            <a:noFill/>
            <a:miter lim="800000"/>
            <a:headEnd/>
            <a:tailEnd/>
          </a:ln>
        </p:spPr>
        <p:txBody>
          <a:bodyPr lIns="91428" tIns="45714" rIns="91428" bIns="45714">
            <a:spAutoFit/>
          </a:bodyPr>
          <a:lstStyle/>
          <a:p>
            <a:pPr algn="ctr">
              <a:lnSpc>
                <a:spcPts val="2100"/>
              </a:lnSpc>
            </a:pPr>
            <a:r>
              <a:rPr lang="en-US" sz="1200" b="1" dirty="0">
                <a:solidFill>
                  <a:srgbClr val="17375E"/>
                </a:solidFill>
                <a:latin typeface="Tahoma" pitchFamily="34" charset="0"/>
                <a:cs typeface="Tahoma" pitchFamily="34" charset="0"/>
              </a:rPr>
              <a:t>ASEAN</a:t>
            </a:r>
          </a:p>
        </p:txBody>
      </p:sp>
      <p:sp>
        <p:nvSpPr>
          <p:cNvPr id="1066" name="TextBox 77"/>
          <p:cNvSpPr txBox="1">
            <a:spLocks noChangeArrowheads="1"/>
          </p:cNvSpPr>
          <p:nvPr/>
        </p:nvSpPr>
        <p:spPr bwMode="auto">
          <a:xfrm>
            <a:off x="7143750" y="571500"/>
            <a:ext cx="1500188" cy="553986"/>
          </a:xfrm>
          <a:prstGeom prst="rect">
            <a:avLst/>
          </a:prstGeom>
          <a:noFill/>
          <a:ln w="9525">
            <a:noFill/>
            <a:miter lim="800000"/>
            <a:headEnd/>
            <a:tailEnd/>
          </a:ln>
        </p:spPr>
        <p:txBody>
          <a:bodyPr lIns="91428" tIns="45714" rIns="91428" bIns="45714">
            <a:spAutoFit/>
          </a:bodyPr>
          <a:lstStyle/>
          <a:p>
            <a:pPr algn="ctr">
              <a:lnSpc>
                <a:spcPts val="1800"/>
              </a:lnSpc>
            </a:pPr>
            <a:r>
              <a:rPr lang="en-US" sz="1050" b="1" dirty="0">
                <a:solidFill>
                  <a:srgbClr val="17375E"/>
                </a:solidFill>
                <a:latin typeface="Tahoma" pitchFamily="34" charset="0"/>
                <a:cs typeface="Tahoma" pitchFamily="34" charset="0"/>
              </a:rPr>
              <a:t>Political-Security Community</a:t>
            </a:r>
          </a:p>
        </p:txBody>
      </p:sp>
      <p:sp>
        <p:nvSpPr>
          <p:cNvPr id="1067" name="TextBox 78"/>
          <p:cNvSpPr txBox="1">
            <a:spLocks noChangeArrowheads="1"/>
          </p:cNvSpPr>
          <p:nvPr/>
        </p:nvSpPr>
        <p:spPr bwMode="auto">
          <a:xfrm>
            <a:off x="6429375" y="1771650"/>
            <a:ext cx="1500188" cy="553986"/>
          </a:xfrm>
          <a:prstGeom prst="rect">
            <a:avLst/>
          </a:prstGeom>
          <a:noFill/>
          <a:ln w="9525">
            <a:noFill/>
            <a:miter lim="800000"/>
            <a:headEnd/>
            <a:tailEnd/>
          </a:ln>
        </p:spPr>
        <p:txBody>
          <a:bodyPr lIns="91428" tIns="45714" rIns="91428" bIns="45714">
            <a:spAutoFit/>
          </a:bodyPr>
          <a:lstStyle/>
          <a:p>
            <a:pPr algn="ctr">
              <a:lnSpc>
                <a:spcPts val="1800"/>
              </a:lnSpc>
            </a:pPr>
            <a:r>
              <a:rPr lang="en-US" sz="1100" b="1" dirty="0">
                <a:solidFill>
                  <a:srgbClr val="17375E"/>
                </a:solidFill>
                <a:latin typeface="Tahoma" pitchFamily="34" charset="0"/>
                <a:cs typeface="Tahoma" pitchFamily="34" charset="0"/>
              </a:rPr>
              <a:t>Economic Community</a:t>
            </a:r>
          </a:p>
        </p:txBody>
      </p:sp>
      <p:sp>
        <p:nvSpPr>
          <p:cNvPr id="1068" name="TextBox 79"/>
          <p:cNvSpPr txBox="1">
            <a:spLocks noChangeArrowheads="1"/>
          </p:cNvSpPr>
          <p:nvPr/>
        </p:nvSpPr>
        <p:spPr bwMode="auto">
          <a:xfrm>
            <a:off x="7715250" y="1862138"/>
            <a:ext cx="1500188" cy="553986"/>
          </a:xfrm>
          <a:prstGeom prst="rect">
            <a:avLst/>
          </a:prstGeom>
          <a:noFill/>
          <a:ln w="9525">
            <a:noFill/>
            <a:miter lim="800000"/>
            <a:headEnd/>
            <a:tailEnd/>
          </a:ln>
        </p:spPr>
        <p:txBody>
          <a:bodyPr lIns="91428" tIns="45714" rIns="91428" bIns="45714">
            <a:spAutoFit/>
          </a:bodyPr>
          <a:lstStyle/>
          <a:p>
            <a:pPr algn="ctr">
              <a:lnSpc>
                <a:spcPts val="1800"/>
              </a:lnSpc>
            </a:pPr>
            <a:r>
              <a:rPr lang="en-US" sz="1100" b="1" dirty="0">
                <a:solidFill>
                  <a:srgbClr val="17375E"/>
                </a:solidFill>
                <a:latin typeface="Tahoma" pitchFamily="34" charset="0"/>
                <a:cs typeface="Tahoma" pitchFamily="34" charset="0"/>
              </a:rPr>
              <a:t>Socio-Cultural Community</a:t>
            </a:r>
          </a:p>
        </p:txBody>
      </p:sp>
      <p:sp>
        <p:nvSpPr>
          <p:cNvPr id="1075" name="Oval 53"/>
          <p:cNvSpPr>
            <a:spLocks noChangeArrowheads="1"/>
          </p:cNvSpPr>
          <p:nvPr/>
        </p:nvSpPr>
        <p:spPr bwMode="auto">
          <a:xfrm>
            <a:off x="3929064" y="1945483"/>
            <a:ext cx="357188" cy="267891"/>
          </a:xfrm>
          <a:prstGeom prst="ellipse">
            <a:avLst/>
          </a:prstGeom>
          <a:solidFill>
            <a:srgbClr val="0000FF">
              <a:alpha val="23921"/>
            </a:srgbClr>
          </a:solidFill>
          <a:ln w="38100">
            <a:noFill/>
            <a:prstDash val="sysDot"/>
            <a:round/>
            <a:headEnd/>
            <a:tailEnd/>
          </a:ln>
        </p:spPr>
        <p:txBody>
          <a:bodyPr wrap="none" lIns="91428" tIns="45714" rIns="91428" bIns="45714" anchor="ctr"/>
          <a:lstStyle/>
          <a:p>
            <a:endParaRPr lang="en-US" sz="1400">
              <a:solidFill>
                <a:srgbClr val="000000"/>
              </a:solidFill>
              <a:latin typeface="Tahoma" pitchFamily="34" charset="0"/>
              <a:cs typeface="Tahoma" pitchFamily="34" charset="0"/>
            </a:endParaRPr>
          </a:p>
        </p:txBody>
      </p:sp>
      <p:sp>
        <p:nvSpPr>
          <p:cNvPr id="130" name="AutoShape 7"/>
          <p:cNvSpPr>
            <a:spLocks noChangeArrowheads="1"/>
          </p:cNvSpPr>
          <p:nvPr/>
        </p:nvSpPr>
        <p:spPr bwMode="auto">
          <a:xfrm>
            <a:off x="6678299" y="3964792"/>
            <a:ext cx="2143140" cy="1017992"/>
          </a:xfrm>
          <a:prstGeom prst="rect">
            <a:avLst/>
          </a:prstGeom>
          <a:blipFill>
            <a:blip r:embed="rId9" cstate="print"/>
            <a:tile tx="0" ty="0" sx="100000" sy="100000" flip="none" algn="tl"/>
          </a:blipFill>
          <a:ln>
            <a:solidFill>
              <a:schemeClr val="bg2">
                <a:lumMod val="50000"/>
              </a:schemeClr>
            </a:solidFill>
            <a:headEnd/>
            <a:tailEnd/>
          </a:ln>
          <a:scene3d>
            <a:camera prst="orthographicFront">
              <a:rot lat="0" lon="0" rev="0"/>
            </a:camera>
            <a:lightRig rig="threePt" dir="t">
              <a:rot lat="0" lon="0" rev="0"/>
            </a:lightRig>
          </a:scene3d>
          <a:sp3d>
            <a:bevelT w="63500" h="25400"/>
          </a:sp3d>
        </p:spPr>
        <p:style>
          <a:lnRef idx="0">
            <a:schemeClr val="accent1"/>
          </a:lnRef>
          <a:fillRef idx="3">
            <a:schemeClr val="accent1"/>
          </a:fillRef>
          <a:effectRef idx="3">
            <a:schemeClr val="accent1"/>
          </a:effectRef>
          <a:fontRef idx="minor">
            <a:schemeClr val="lt1"/>
          </a:fontRef>
        </p:style>
        <p:txBody>
          <a:bodyPr lIns="91428" tIns="45714" rIns="91428" bIns="45714"/>
          <a:lstStyle>
            <a:defPPr>
              <a:defRPr lang="th-TH"/>
            </a:defPPr>
            <a:lvl1pPr algn="l" rtl="0" fontAlgn="base">
              <a:spcBef>
                <a:spcPct val="0"/>
              </a:spcBef>
              <a:spcAft>
                <a:spcPct val="0"/>
              </a:spcAft>
              <a:defRPr sz="2800" kern="1200">
                <a:solidFill>
                  <a:schemeClr val="lt1"/>
                </a:solidFill>
                <a:latin typeface="+mn-lt"/>
                <a:ea typeface="+mn-ea"/>
                <a:cs typeface="+mn-cs"/>
              </a:defRPr>
            </a:lvl1pPr>
            <a:lvl2pPr marL="457200" algn="l" rtl="0" fontAlgn="base">
              <a:spcBef>
                <a:spcPct val="0"/>
              </a:spcBef>
              <a:spcAft>
                <a:spcPct val="0"/>
              </a:spcAft>
              <a:defRPr sz="2800" kern="1200">
                <a:solidFill>
                  <a:schemeClr val="lt1"/>
                </a:solidFill>
                <a:latin typeface="+mn-lt"/>
                <a:ea typeface="+mn-ea"/>
                <a:cs typeface="+mn-cs"/>
              </a:defRPr>
            </a:lvl2pPr>
            <a:lvl3pPr marL="914400" algn="l" rtl="0" fontAlgn="base">
              <a:spcBef>
                <a:spcPct val="0"/>
              </a:spcBef>
              <a:spcAft>
                <a:spcPct val="0"/>
              </a:spcAft>
              <a:defRPr sz="2800" kern="1200">
                <a:solidFill>
                  <a:schemeClr val="lt1"/>
                </a:solidFill>
                <a:latin typeface="+mn-lt"/>
                <a:ea typeface="+mn-ea"/>
                <a:cs typeface="+mn-cs"/>
              </a:defRPr>
            </a:lvl3pPr>
            <a:lvl4pPr marL="1371600" algn="l" rtl="0" fontAlgn="base">
              <a:spcBef>
                <a:spcPct val="0"/>
              </a:spcBef>
              <a:spcAft>
                <a:spcPct val="0"/>
              </a:spcAft>
              <a:defRPr sz="2800" kern="1200">
                <a:solidFill>
                  <a:schemeClr val="lt1"/>
                </a:solidFill>
                <a:latin typeface="+mn-lt"/>
                <a:ea typeface="+mn-ea"/>
                <a:cs typeface="+mn-cs"/>
              </a:defRPr>
            </a:lvl4pPr>
            <a:lvl5pPr marL="1828800" algn="l" rtl="0" fontAlgn="base">
              <a:spcBef>
                <a:spcPct val="0"/>
              </a:spcBef>
              <a:spcAft>
                <a:spcPct val="0"/>
              </a:spcAft>
              <a:defRPr sz="2800" kern="1200">
                <a:solidFill>
                  <a:schemeClr val="lt1"/>
                </a:solidFill>
                <a:latin typeface="+mn-lt"/>
                <a:ea typeface="+mn-ea"/>
                <a:cs typeface="+mn-cs"/>
              </a:defRPr>
            </a:lvl5pPr>
            <a:lvl6pPr marL="2286000" algn="l" defTabSz="914400" rtl="0" eaLnBrk="1" latinLnBrk="0" hangingPunct="1">
              <a:defRPr sz="2800" kern="1200">
                <a:solidFill>
                  <a:schemeClr val="lt1"/>
                </a:solidFill>
                <a:latin typeface="+mn-lt"/>
                <a:ea typeface="+mn-ea"/>
                <a:cs typeface="+mn-cs"/>
              </a:defRPr>
            </a:lvl6pPr>
            <a:lvl7pPr marL="2743200" algn="l" defTabSz="914400" rtl="0" eaLnBrk="1" latinLnBrk="0" hangingPunct="1">
              <a:defRPr sz="2800" kern="1200">
                <a:solidFill>
                  <a:schemeClr val="lt1"/>
                </a:solidFill>
                <a:latin typeface="+mn-lt"/>
                <a:ea typeface="+mn-ea"/>
                <a:cs typeface="+mn-cs"/>
              </a:defRPr>
            </a:lvl7pPr>
            <a:lvl8pPr marL="3200400" algn="l" defTabSz="914400" rtl="0" eaLnBrk="1" latinLnBrk="0" hangingPunct="1">
              <a:defRPr sz="2800" kern="1200">
                <a:solidFill>
                  <a:schemeClr val="lt1"/>
                </a:solidFill>
                <a:latin typeface="+mn-lt"/>
                <a:ea typeface="+mn-ea"/>
                <a:cs typeface="+mn-cs"/>
              </a:defRPr>
            </a:lvl8pPr>
            <a:lvl9pPr marL="3657600" algn="l" defTabSz="914400" rtl="0" eaLnBrk="1" latinLnBrk="0" hangingPunct="1">
              <a:defRPr sz="2800" kern="1200">
                <a:solidFill>
                  <a:schemeClr val="lt1"/>
                </a:solidFill>
                <a:latin typeface="+mn-lt"/>
                <a:ea typeface="+mn-ea"/>
                <a:cs typeface="+mn-cs"/>
              </a:defRPr>
            </a:lvl9pPr>
          </a:lstStyle>
          <a:p>
            <a:pPr marL="114286" indent="-114286" fontAlgn="auto">
              <a:lnSpc>
                <a:spcPct val="85000"/>
              </a:lnSpc>
              <a:spcBef>
                <a:spcPct val="20000"/>
              </a:spcBef>
              <a:spcAft>
                <a:spcPts val="0"/>
              </a:spcAft>
              <a:buFontTx/>
              <a:buChar char="•"/>
              <a:defRPr/>
            </a:pPr>
            <a:endParaRPr lang="th-TH" sz="400" dirty="0">
              <a:solidFill>
                <a:prstClr val="white"/>
              </a:solidFill>
              <a:latin typeface="Tahoma" pitchFamily="34" charset="0"/>
              <a:cs typeface="Tahoma" pitchFamily="34" charset="0"/>
            </a:endParaRPr>
          </a:p>
        </p:txBody>
      </p:sp>
      <p:cxnSp>
        <p:nvCxnSpPr>
          <p:cNvPr id="131" name="Straight Arrow Connector 130"/>
          <p:cNvCxnSpPr/>
          <p:nvPr/>
        </p:nvCxnSpPr>
        <p:spPr>
          <a:xfrm rot="10800000" flipV="1">
            <a:off x="4211646" y="4463656"/>
            <a:ext cx="2466975" cy="14288"/>
          </a:xfrm>
          <a:prstGeom prst="straightConnector1">
            <a:avLst/>
          </a:prstGeom>
          <a:ln w="38100">
            <a:solidFill>
              <a:srgbClr val="C00000"/>
            </a:solidFill>
            <a:tailEnd type="arrow"/>
          </a:ln>
        </p:spPr>
        <p:style>
          <a:lnRef idx="1">
            <a:schemeClr val="accent1"/>
          </a:lnRef>
          <a:fillRef idx="0">
            <a:schemeClr val="accent1"/>
          </a:fillRef>
          <a:effectRef idx="0">
            <a:schemeClr val="accent1"/>
          </a:effectRef>
          <a:fontRef idx="minor">
            <a:schemeClr val="tx1"/>
          </a:fontRef>
        </p:style>
      </p:cxnSp>
      <p:sp>
        <p:nvSpPr>
          <p:cNvPr id="1080" name="Rectangle 53"/>
          <p:cNvSpPr>
            <a:spLocks noChangeArrowheads="1"/>
          </p:cNvSpPr>
          <p:nvPr/>
        </p:nvSpPr>
        <p:spPr bwMode="auto">
          <a:xfrm>
            <a:off x="6786563" y="4675586"/>
            <a:ext cx="2000250" cy="338542"/>
          </a:xfrm>
          <a:prstGeom prst="rect">
            <a:avLst/>
          </a:prstGeom>
          <a:noFill/>
          <a:ln w="9525">
            <a:noFill/>
            <a:miter lim="800000"/>
            <a:headEnd/>
            <a:tailEnd/>
          </a:ln>
        </p:spPr>
        <p:txBody>
          <a:bodyPr lIns="91428" tIns="45714" rIns="91428" bIns="45714">
            <a:spAutoFit/>
          </a:bodyPr>
          <a:lstStyle/>
          <a:p>
            <a:pPr algn="ctr"/>
            <a:r>
              <a:rPr lang="th-TH" sz="1600" b="1" dirty="0" smtClean="0">
                <a:solidFill>
                  <a:srgbClr val="000000"/>
                </a:solidFill>
                <a:latin typeface="TH SarabunPSK" pitchFamily="34" charset="-34"/>
                <a:cs typeface="TH SarabunPSK" pitchFamily="34" charset="-34"/>
              </a:rPr>
              <a:t>ทางด่วน หาดใหญ่-สะเดา</a:t>
            </a:r>
            <a:endParaRPr lang="th-TH" sz="1600" b="1" dirty="0">
              <a:solidFill>
                <a:srgbClr val="000000"/>
              </a:solidFill>
              <a:latin typeface="TH SarabunPSK" pitchFamily="34" charset="-34"/>
              <a:cs typeface="TH SarabunPSK" pitchFamily="34" charset="-34"/>
            </a:endParaRPr>
          </a:p>
        </p:txBody>
      </p:sp>
      <p:pic>
        <p:nvPicPr>
          <p:cNvPr id="56" name="Picture 55" descr="df03192007e"/>
          <p:cNvPicPr preferRelativeResize="0">
            <a:picLocks noChangeArrowheads="1"/>
          </p:cNvPicPr>
          <p:nvPr/>
        </p:nvPicPr>
        <p:blipFill>
          <a:blip r:embed="rId20" cstate="email"/>
          <a:stretch>
            <a:fillRect/>
          </a:stretch>
        </p:blipFill>
        <p:spPr bwMode="auto">
          <a:xfrm>
            <a:off x="6778598" y="4071950"/>
            <a:ext cx="865236" cy="511392"/>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58" name="Picture 57" descr="df03192007e"/>
          <p:cNvPicPr preferRelativeResize="0">
            <a:picLocks noChangeArrowheads="1"/>
          </p:cNvPicPr>
          <p:nvPr/>
        </p:nvPicPr>
        <p:blipFill>
          <a:blip r:embed="rId21" cstate="email"/>
          <a:stretch>
            <a:fillRect/>
          </a:stretch>
        </p:blipFill>
        <p:spPr bwMode="auto">
          <a:xfrm>
            <a:off x="7786711" y="4042765"/>
            <a:ext cx="873216" cy="564970"/>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sp>
        <p:nvSpPr>
          <p:cNvPr id="63" name="Oval 62"/>
          <p:cNvSpPr/>
          <p:nvPr/>
        </p:nvSpPr>
        <p:spPr>
          <a:xfrm>
            <a:off x="7675569" y="1475185"/>
            <a:ext cx="468313" cy="386954"/>
          </a:xfrm>
          <a:prstGeom prst="ellipse">
            <a:avLst/>
          </a:prstGeom>
          <a:blipFill rotWithShape="0">
            <a:blip r:embed="rId22" cstate="email"/>
            <a:stretch>
              <a:fillRect/>
            </a:stretch>
          </a:blipFill>
        </p:spPr>
        <p:style>
          <a:lnRef idx="2">
            <a:schemeClr val="lt1">
              <a:hueOff val="0"/>
              <a:satOff val="0"/>
              <a:lumOff val="0"/>
              <a:alphaOff val="0"/>
            </a:schemeClr>
          </a:lnRef>
          <a:fillRef idx="1">
            <a:scrgbClr r="0" g="0" b="0"/>
          </a:fillRef>
          <a:effectRef idx="0">
            <a:schemeClr val="accent1">
              <a:tint val="50000"/>
              <a:hueOff val="0"/>
              <a:satOff val="0"/>
              <a:lumOff val="0"/>
              <a:alphaOff val="0"/>
            </a:schemeClr>
          </a:effectRef>
          <a:fontRef idx="minor">
            <a:schemeClr val="lt1">
              <a:hueOff val="0"/>
              <a:satOff val="0"/>
              <a:lumOff val="0"/>
              <a:alphaOff val="0"/>
            </a:schemeClr>
          </a:fontRef>
        </p:style>
      </p:sp>
      <p:sp>
        <p:nvSpPr>
          <p:cNvPr id="47" name="TextBox 46"/>
          <p:cNvSpPr txBox="1"/>
          <p:nvPr/>
        </p:nvSpPr>
        <p:spPr>
          <a:xfrm>
            <a:off x="0" y="-19050"/>
            <a:ext cx="9144000" cy="535531"/>
          </a:xfrm>
          <a:prstGeom prst="rect">
            <a:avLst/>
          </a:prstGeom>
          <a:noFill/>
        </p:spPr>
        <p:txBody>
          <a:bodyPr wrap="square" rtlCol="0">
            <a:spAutoFit/>
          </a:bodyPr>
          <a:lstStyle/>
          <a:p>
            <a:pPr algn="ctr" eaLnBrk="0" hangingPunct="0">
              <a:lnSpc>
                <a:spcPct val="90000"/>
              </a:lnSpc>
              <a:defRPr/>
            </a:pPr>
            <a:r>
              <a:rPr lang="th-TH" sz="3200" b="1" dirty="0" smtClean="0">
                <a:solidFill>
                  <a:srgbClr val="558ED5"/>
                </a:solidFill>
                <a:latin typeface="Century Gothic" pitchFamily="34" charset="0"/>
                <a:ea typeface="+mj-ea"/>
                <a:cs typeface="TH SarabunPSK" pitchFamily="34" charset="-34"/>
              </a:rPr>
              <a:t>การพัฒนาโครงสร้างพื้นฐานเพื่อเชื่อมโยงกับประเทศเพื่อนบ้าน</a:t>
            </a:r>
            <a:endParaRPr lang="th-TH" sz="3200" b="1" dirty="0">
              <a:solidFill>
                <a:srgbClr val="558ED5"/>
              </a:solidFill>
              <a:latin typeface="Century Gothic" pitchFamily="34" charset="0"/>
              <a:ea typeface="+mj-ea"/>
              <a:cs typeface="TH SarabunPSK" pitchFamily="34" charset="-34"/>
            </a:endParaRPr>
          </a:p>
        </p:txBody>
      </p:sp>
      <p:cxnSp>
        <p:nvCxnSpPr>
          <p:cNvPr id="52" name="Straight Connector 51"/>
          <p:cNvCxnSpPr/>
          <p:nvPr/>
        </p:nvCxnSpPr>
        <p:spPr>
          <a:xfrm>
            <a:off x="152400" y="386760"/>
            <a:ext cx="8856000" cy="0"/>
          </a:xfrm>
          <a:prstGeom prst="line">
            <a:avLst/>
          </a:prstGeom>
          <a:ln w="19050">
            <a:solidFill>
              <a:schemeClr val="tx2">
                <a:lumMod val="40000"/>
                <a:lumOff val="60000"/>
              </a:schemeClr>
            </a:solidFill>
          </a:ln>
          <a:effectLst>
            <a:outerShdw blurRad="50800" dist="38100" dir="2700000" algn="tl" rotWithShape="0">
              <a:schemeClr val="accent1">
                <a:lumMod val="60000"/>
                <a:lumOff val="40000"/>
                <a:alpha val="40000"/>
              </a:schemeClr>
            </a:outerShdw>
          </a:effectLst>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xmlns="" val="1851626888"/>
      </p:ext>
    </p:extLst>
  </p:cSld>
  <p:clrMapOvr>
    <a:masterClrMapping/>
  </p:clrMapOvr>
  <p:transition/>
  <p:timing>
    <p:tnLst>
      <p:par>
        <p:cTn id="1" dur="indefinite" restart="never" nodeType="tmRoot"/>
      </p:par>
    </p:tnLst>
  </p:timing>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9" name="Picture 38"/>
          <p:cNvPicPr>
            <a:picLocks noChangeAspect="1" noChangeArrowheads="1"/>
          </p:cNvPicPr>
          <p:nvPr/>
        </p:nvPicPr>
        <p:blipFill>
          <a:blip r:embed="rId3" cstate="print"/>
          <a:srcRect/>
          <a:stretch>
            <a:fillRect/>
          </a:stretch>
        </p:blipFill>
        <p:spPr bwMode="auto">
          <a:xfrm>
            <a:off x="5527588" y="3075379"/>
            <a:ext cx="949412" cy="696521"/>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sp>
        <p:nvSpPr>
          <p:cNvPr id="34" name="Rounded Rectangle 33"/>
          <p:cNvSpPr/>
          <p:nvPr/>
        </p:nvSpPr>
        <p:spPr>
          <a:xfrm>
            <a:off x="72784" y="1559119"/>
            <a:ext cx="2213217" cy="2453891"/>
          </a:xfrm>
          <a:prstGeom prst="roundRect">
            <a:avLst/>
          </a:prstGeom>
          <a:noFill/>
          <a:ln w="38100"/>
        </p:spPr>
        <p:style>
          <a:lnRef idx="2">
            <a:schemeClr val="accent1">
              <a:shade val="50000"/>
            </a:schemeClr>
          </a:lnRef>
          <a:fillRef idx="1">
            <a:schemeClr val="accent1"/>
          </a:fillRef>
          <a:effectRef idx="0">
            <a:schemeClr val="accent1"/>
          </a:effectRef>
          <a:fontRef idx="minor">
            <a:schemeClr val="lt1"/>
          </a:fontRef>
        </p:style>
        <p:txBody>
          <a:bodyPr anchor="ctr"/>
          <a:lstStyle/>
          <a:p>
            <a:pPr fontAlgn="auto">
              <a:spcBef>
                <a:spcPts val="1200"/>
              </a:spcBef>
              <a:spcAft>
                <a:spcPts val="0"/>
              </a:spcAft>
              <a:defRPr/>
            </a:pPr>
            <a:r>
              <a:rPr lang="th-TH" sz="2200" b="1" dirty="0" smtClean="0">
                <a:solidFill>
                  <a:schemeClr val="tx1"/>
                </a:solidFill>
                <a:latin typeface="TH SarabunPSK" pitchFamily="34" charset="-34"/>
                <a:cs typeface="TH SarabunPSK" pitchFamily="34" charset="-34"/>
              </a:rPr>
              <a:t>การพัฒนาเครือข่ายเส้นทางคมนาคมทางบกเพื่อเชื่อมโยงกับเขตเศรษฐกิจที่สำคัญ และเมืองต่างๆ ในภูมิภาคและ </a:t>
            </a:r>
            <a:r>
              <a:rPr lang="en-US" sz="2200" b="1" dirty="0" smtClean="0">
                <a:solidFill>
                  <a:schemeClr val="tx1"/>
                </a:solidFill>
                <a:latin typeface="TH SarabunPSK" pitchFamily="34" charset="-34"/>
                <a:cs typeface="TH SarabunPSK" pitchFamily="34" charset="-34"/>
              </a:rPr>
              <a:t>GMS</a:t>
            </a:r>
          </a:p>
        </p:txBody>
      </p:sp>
      <p:pic>
        <p:nvPicPr>
          <p:cNvPr id="30" name="Picture 17" descr="C:\Documents and Settings\hiran\Desktop\รูปประกอบรายงาน R3A\R3\R3A ช่วงที่ 2\SAM_1016.JPG"/>
          <p:cNvPicPr>
            <a:picLocks noChangeAspect="1" noChangeArrowheads="1"/>
          </p:cNvPicPr>
          <p:nvPr/>
        </p:nvPicPr>
        <p:blipFill>
          <a:blip r:embed="rId4" cstate="print"/>
          <a:srcRect l="12250" r="9001"/>
          <a:stretch>
            <a:fillRect/>
          </a:stretch>
        </p:blipFill>
        <p:spPr bwMode="auto">
          <a:xfrm>
            <a:off x="5410201" y="1871658"/>
            <a:ext cx="1047757" cy="642942"/>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sp>
        <p:nvSpPr>
          <p:cNvPr id="38" name="TextBox 37"/>
          <p:cNvSpPr txBox="1"/>
          <p:nvPr/>
        </p:nvSpPr>
        <p:spPr>
          <a:xfrm>
            <a:off x="2071670" y="1261089"/>
            <a:ext cx="7072330" cy="461665"/>
          </a:xfrm>
          <a:prstGeom prst="rect">
            <a:avLst/>
          </a:prstGeom>
          <a:noFill/>
        </p:spPr>
        <p:txBody>
          <a:bodyPr wrap="square" rtlCol="0">
            <a:spAutoFit/>
          </a:bodyPr>
          <a:lstStyle/>
          <a:p>
            <a:r>
              <a:rPr lang="en-US" sz="2400" b="1" dirty="0" smtClean="0">
                <a:solidFill>
                  <a:srgbClr val="FF0000"/>
                </a:solidFill>
                <a:latin typeface="TH SarabunPSK" pitchFamily="34" charset="-34"/>
                <a:cs typeface="TH SarabunPSK" pitchFamily="34" charset="-34"/>
              </a:rPr>
              <a:t>     </a:t>
            </a:r>
            <a:r>
              <a:rPr lang="th-TH" sz="2400" b="1" dirty="0" smtClean="0">
                <a:solidFill>
                  <a:srgbClr val="FF0000"/>
                </a:solidFill>
                <a:latin typeface="TH SarabunPSK" pitchFamily="34" charset="-34"/>
                <a:cs typeface="TH SarabunPSK" pitchFamily="34" charset="-34"/>
              </a:rPr>
              <a:t>เพิ่มประสิทธิภาพ</a:t>
            </a:r>
            <a:r>
              <a:rPr lang="en-US" sz="2400" b="1" dirty="0" smtClean="0">
                <a:solidFill>
                  <a:srgbClr val="FF0000"/>
                </a:solidFill>
                <a:latin typeface="TH SarabunPSK" pitchFamily="34" charset="-34"/>
                <a:cs typeface="TH SarabunPSK" pitchFamily="34" charset="-34"/>
              </a:rPr>
              <a:t> + </a:t>
            </a:r>
            <a:r>
              <a:rPr lang="th-TH" sz="2400" b="1" dirty="0" smtClean="0">
                <a:solidFill>
                  <a:srgbClr val="FF0000"/>
                </a:solidFill>
                <a:latin typeface="TH SarabunPSK" pitchFamily="34" charset="-34"/>
                <a:cs typeface="TH SarabunPSK" pitchFamily="34" charset="-34"/>
              </a:rPr>
              <a:t>ยกระดับรูปแบบการคมนาคม</a:t>
            </a:r>
            <a:r>
              <a:rPr lang="en-US" sz="2400" b="1" dirty="0" smtClean="0">
                <a:solidFill>
                  <a:srgbClr val="FF0000"/>
                </a:solidFill>
                <a:latin typeface="TH SarabunPSK" pitchFamily="34" charset="-34"/>
                <a:cs typeface="TH SarabunPSK" pitchFamily="34" charset="-34"/>
              </a:rPr>
              <a:t> + </a:t>
            </a:r>
            <a:r>
              <a:rPr lang="th-TH" sz="2400" b="1" dirty="0" smtClean="0">
                <a:solidFill>
                  <a:srgbClr val="FF0000"/>
                </a:solidFill>
                <a:latin typeface="TH SarabunPSK" pitchFamily="34" charset="-34"/>
                <a:cs typeface="TH SarabunPSK" pitchFamily="34" charset="-34"/>
              </a:rPr>
              <a:t>ป้องกันอุทกภัย</a:t>
            </a:r>
            <a:endParaRPr lang="th-TH" sz="2400" b="1" dirty="0">
              <a:solidFill>
                <a:srgbClr val="FF0000"/>
              </a:solidFill>
              <a:latin typeface="TH SarabunPSK" pitchFamily="34" charset="-34"/>
              <a:cs typeface="TH SarabunPSK" pitchFamily="34" charset="-34"/>
            </a:endParaRPr>
          </a:p>
        </p:txBody>
      </p:sp>
      <p:sp>
        <p:nvSpPr>
          <p:cNvPr id="41" name="Rounded Rectangle 40"/>
          <p:cNvSpPr/>
          <p:nvPr/>
        </p:nvSpPr>
        <p:spPr>
          <a:xfrm>
            <a:off x="6496032" y="1714494"/>
            <a:ext cx="2571768" cy="914406"/>
          </a:xfrm>
          <a:prstGeom prst="roundRect">
            <a:avLst/>
          </a:prstGeom>
          <a:solidFill>
            <a:schemeClr val="bg1"/>
          </a:solidFill>
          <a:ln w="41275"/>
        </p:spPr>
        <p:style>
          <a:lnRef idx="2">
            <a:schemeClr val="accent1">
              <a:shade val="50000"/>
            </a:schemeClr>
          </a:lnRef>
          <a:fillRef idx="1">
            <a:schemeClr val="accent1"/>
          </a:fillRef>
          <a:effectRef idx="0">
            <a:schemeClr val="accent1"/>
          </a:effectRef>
          <a:fontRef idx="minor">
            <a:schemeClr val="lt1"/>
          </a:fontRef>
        </p:style>
        <p:txBody>
          <a:bodyPr anchor="ctr"/>
          <a:lstStyle/>
          <a:p>
            <a:pPr marL="285750" indent="-285750" fontAlgn="auto">
              <a:spcBef>
                <a:spcPts val="300"/>
              </a:spcBef>
              <a:spcAft>
                <a:spcPts val="0"/>
              </a:spcAft>
              <a:buFont typeface="Wingdings" pitchFamily="2" charset="2"/>
              <a:buChar char="v"/>
              <a:defRPr/>
            </a:pPr>
            <a:r>
              <a:rPr lang="th-TH" sz="1500" b="1" dirty="0" smtClean="0">
                <a:solidFill>
                  <a:schemeClr val="tx1"/>
                </a:solidFill>
                <a:latin typeface="TH SarabunPSK" pitchFamily="34" charset="-34"/>
                <a:cs typeface="TH SarabunPSK" pitchFamily="34" charset="-34"/>
              </a:rPr>
              <a:t>ทางด่วนและทางหลวง</a:t>
            </a:r>
          </a:p>
          <a:p>
            <a:pPr marL="285750" indent="-285750" fontAlgn="auto">
              <a:spcBef>
                <a:spcPts val="300"/>
              </a:spcBef>
              <a:spcAft>
                <a:spcPts val="0"/>
              </a:spcAft>
              <a:buFont typeface="Wingdings" pitchFamily="2" charset="2"/>
              <a:buChar char="v"/>
              <a:defRPr/>
            </a:pPr>
            <a:r>
              <a:rPr lang="th-TH" sz="1500" b="1" dirty="0" smtClean="0">
                <a:solidFill>
                  <a:schemeClr val="tx1"/>
                </a:solidFill>
                <a:latin typeface="TH SarabunPSK" pitchFamily="34" charset="-34"/>
                <a:cs typeface="TH SarabunPSK" pitchFamily="34" charset="-34"/>
              </a:rPr>
              <a:t>เชื่อมโยงระหว่าง</a:t>
            </a:r>
            <a:r>
              <a:rPr lang="en-US" sz="1500" b="1" dirty="0" smtClean="0">
                <a:solidFill>
                  <a:schemeClr val="tx1"/>
                </a:solidFill>
                <a:latin typeface="TH SarabunPSK" pitchFamily="34" charset="-34"/>
                <a:cs typeface="TH SarabunPSK" pitchFamily="34" charset="-34"/>
              </a:rPr>
              <a:t> EWEC , NSEC, SEC  </a:t>
            </a:r>
            <a:r>
              <a:rPr lang="th-TH" sz="1500" b="1" dirty="0" smtClean="0">
                <a:solidFill>
                  <a:schemeClr val="tx1"/>
                </a:solidFill>
                <a:latin typeface="TH SarabunPSK" pitchFamily="34" charset="-34"/>
                <a:cs typeface="TH SarabunPSK" pitchFamily="34" charset="-34"/>
              </a:rPr>
              <a:t>เพื่อรองรับการขยายตัวทางเศรษฐกิจและ </a:t>
            </a:r>
            <a:r>
              <a:rPr lang="en-US" sz="1500" b="1" dirty="0" smtClean="0">
                <a:solidFill>
                  <a:schemeClr val="tx1"/>
                </a:solidFill>
                <a:latin typeface="TH SarabunPSK" pitchFamily="34" charset="-34"/>
                <a:cs typeface="TH SarabunPSK" pitchFamily="34" charset="-34"/>
              </a:rPr>
              <a:t>AEC </a:t>
            </a:r>
            <a:endParaRPr lang="th-TH" sz="1500" b="1" dirty="0">
              <a:solidFill>
                <a:schemeClr val="tx1"/>
              </a:solidFill>
              <a:latin typeface="TH SarabunPSK" pitchFamily="34" charset="-34"/>
              <a:cs typeface="TH SarabunPSK" pitchFamily="34" charset="-34"/>
            </a:endParaRPr>
          </a:p>
        </p:txBody>
      </p:sp>
      <p:sp>
        <p:nvSpPr>
          <p:cNvPr id="42" name="Rounded Rectangle 41"/>
          <p:cNvSpPr/>
          <p:nvPr/>
        </p:nvSpPr>
        <p:spPr>
          <a:xfrm>
            <a:off x="6496032" y="2761913"/>
            <a:ext cx="2571768" cy="1285884"/>
          </a:xfrm>
          <a:prstGeom prst="roundRect">
            <a:avLst/>
          </a:prstGeom>
          <a:solidFill>
            <a:schemeClr val="bg1"/>
          </a:solidFill>
          <a:ln w="41275"/>
        </p:spPr>
        <p:style>
          <a:lnRef idx="2">
            <a:schemeClr val="accent1">
              <a:shade val="50000"/>
            </a:schemeClr>
          </a:lnRef>
          <a:fillRef idx="1">
            <a:schemeClr val="accent1"/>
          </a:fillRef>
          <a:effectRef idx="0">
            <a:schemeClr val="accent1"/>
          </a:effectRef>
          <a:fontRef idx="minor">
            <a:schemeClr val="lt1"/>
          </a:fontRef>
        </p:style>
        <p:txBody>
          <a:bodyPr anchor="ctr"/>
          <a:lstStyle/>
          <a:p>
            <a:pPr marL="285750" indent="-285750" fontAlgn="auto">
              <a:spcAft>
                <a:spcPts val="0"/>
              </a:spcAft>
              <a:buFont typeface="Wingdings" pitchFamily="2" charset="2"/>
              <a:buChar char="v"/>
              <a:defRPr/>
            </a:pPr>
            <a:r>
              <a:rPr lang="th-TH" sz="1600" b="1" spc="-20" dirty="0" smtClean="0">
                <a:solidFill>
                  <a:schemeClr val="tx1"/>
                </a:solidFill>
                <a:latin typeface="TH SarabunPSK" pitchFamily="34" charset="-34"/>
                <a:cs typeface="TH SarabunPSK" pitchFamily="34" charset="-34"/>
              </a:rPr>
              <a:t>แผนแม่บทการพัฒนาระบบราง</a:t>
            </a:r>
          </a:p>
          <a:p>
            <a:pPr marL="285750" indent="-285750" fontAlgn="auto">
              <a:spcAft>
                <a:spcPts val="0"/>
              </a:spcAft>
              <a:buFont typeface="Wingdings" pitchFamily="2" charset="2"/>
              <a:buChar char="v"/>
              <a:defRPr/>
            </a:pPr>
            <a:r>
              <a:rPr lang="th-TH" sz="1600" b="1" spc="-20" dirty="0" smtClean="0">
                <a:solidFill>
                  <a:schemeClr val="tx1"/>
                </a:solidFill>
                <a:latin typeface="TH SarabunPSK" pitchFamily="34" charset="-34"/>
                <a:cs typeface="TH SarabunPSK" pitchFamily="34" charset="-34"/>
              </a:rPr>
              <a:t>สิ่งอำนวยความสะดวกหลายรูปแบบ และ </a:t>
            </a:r>
            <a:r>
              <a:rPr lang="en-US" sz="1600" b="1" spc="-20" dirty="0" smtClean="0">
                <a:solidFill>
                  <a:schemeClr val="tx1"/>
                </a:solidFill>
                <a:latin typeface="TH SarabunPSK" pitchFamily="34" charset="-34"/>
                <a:cs typeface="TH SarabunPSK" pitchFamily="34" charset="-34"/>
              </a:rPr>
              <a:t>NSW </a:t>
            </a:r>
            <a:endParaRPr lang="en-US" sz="1600" b="1" spc="-20" dirty="0">
              <a:solidFill>
                <a:schemeClr val="tx1"/>
              </a:solidFill>
              <a:latin typeface="TH SarabunPSK" pitchFamily="34" charset="-34"/>
              <a:cs typeface="TH SarabunPSK" pitchFamily="34" charset="-34"/>
            </a:endParaRPr>
          </a:p>
          <a:p>
            <a:pPr marL="285750" indent="-285750" fontAlgn="auto">
              <a:spcAft>
                <a:spcPts val="0"/>
              </a:spcAft>
              <a:buFont typeface="Wingdings" pitchFamily="2" charset="2"/>
              <a:buChar char="v"/>
              <a:defRPr/>
            </a:pPr>
            <a:r>
              <a:rPr lang="th-TH" sz="1600" b="1" spc="-20" dirty="0" smtClean="0">
                <a:solidFill>
                  <a:schemeClr val="tx1"/>
                </a:solidFill>
                <a:latin typeface="TH SarabunPSK" pitchFamily="34" charset="-34"/>
                <a:cs typeface="TH SarabunPSK" pitchFamily="34" charset="-34"/>
              </a:rPr>
              <a:t>การพัฒนารถไฟความเร็วสูงเชื่อมโยงภายใน </a:t>
            </a:r>
            <a:r>
              <a:rPr lang="en-US" sz="1600" b="1" spc="-20" dirty="0" smtClean="0">
                <a:solidFill>
                  <a:schemeClr val="tx1"/>
                </a:solidFill>
                <a:latin typeface="TH SarabunPSK" pitchFamily="34" charset="-34"/>
                <a:cs typeface="TH SarabunPSK" pitchFamily="34" charset="-34"/>
              </a:rPr>
              <a:t>GMS</a:t>
            </a:r>
            <a:endParaRPr lang="th-TH" sz="1600" b="1" spc="-20" dirty="0">
              <a:solidFill>
                <a:schemeClr val="tx1"/>
              </a:solidFill>
              <a:latin typeface="TH SarabunPSK" pitchFamily="34" charset="-34"/>
              <a:cs typeface="TH SarabunPSK" pitchFamily="34" charset="-34"/>
            </a:endParaRPr>
          </a:p>
        </p:txBody>
      </p:sp>
      <p:sp>
        <p:nvSpPr>
          <p:cNvPr id="43" name="Rounded Rectangle 42"/>
          <p:cNvSpPr/>
          <p:nvPr/>
        </p:nvSpPr>
        <p:spPr>
          <a:xfrm>
            <a:off x="6553200" y="4204530"/>
            <a:ext cx="2476536" cy="589364"/>
          </a:xfrm>
          <a:prstGeom prst="roundRect">
            <a:avLst/>
          </a:prstGeom>
          <a:solidFill>
            <a:schemeClr val="bg1"/>
          </a:solidFill>
          <a:ln w="41275"/>
        </p:spPr>
        <p:style>
          <a:lnRef idx="2">
            <a:schemeClr val="accent1">
              <a:shade val="50000"/>
            </a:schemeClr>
          </a:lnRef>
          <a:fillRef idx="1">
            <a:schemeClr val="accent1"/>
          </a:fillRef>
          <a:effectRef idx="0">
            <a:schemeClr val="accent1"/>
          </a:effectRef>
          <a:fontRef idx="minor">
            <a:schemeClr val="lt1"/>
          </a:fontRef>
        </p:style>
        <p:txBody>
          <a:bodyPr anchor="ctr"/>
          <a:lstStyle/>
          <a:p>
            <a:pPr marL="285750" indent="-285750" fontAlgn="auto">
              <a:spcBef>
                <a:spcPts val="1200"/>
              </a:spcBef>
              <a:spcAft>
                <a:spcPts val="0"/>
              </a:spcAft>
              <a:buFont typeface="Wingdings" pitchFamily="2" charset="2"/>
              <a:buChar char="v"/>
              <a:defRPr/>
            </a:pPr>
            <a:r>
              <a:rPr lang="th-TH" sz="1600" b="1" dirty="0" smtClean="0">
                <a:solidFill>
                  <a:schemeClr val="tx1"/>
                </a:solidFill>
                <a:latin typeface="TH SarabunPSK" pitchFamily="34" charset="-34"/>
                <a:cs typeface="TH SarabunPSK" pitchFamily="34" charset="-34"/>
              </a:rPr>
              <a:t>การพัฒนาเครือข่ายขนส่งมวลชนภายในเขตเมืองหลวง</a:t>
            </a:r>
            <a:endParaRPr lang="th-TH" sz="1600" b="1" dirty="0">
              <a:solidFill>
                <a:schemeClr val="tx1"/>
              </a:solidFill>
              <a:latin typeface="TH SarabunPSK" pitchFamily="34" charset="-34"/>
              <a:cs typeface="TH SarabunPSK" pitchFamily="34" charset="-34"/>
            </a:endParaRPr>
          </a:p>
        </p:txBody>
      </p:sp>
      <p:pic>
        <p:nvPicPr>
          <p:cNvPr id="44" name="Picture 4" descr="07-0109 hj"/>
          <p:cNvPicPr>
            <a:picLocks noChangeAspect="1" noChangeArrowheads="1"/>
          </p:cNvPicPr>
          <p:nvPr/>
        </p:nvPicPr>
        <p:blipFill>
          <a:blip r:embed="rId5" cstate="print"/>
          <a:srcRect b="7198"/>
          <a:stretch>
            <a:fillRect/>
          </a:stretch>
        </p:blipFill>
        <p:spPr bwMode="auto">
          <a:xfrm>
            <a:off x="2227944" y="1556740"/>
            <a:ext cx="3308873" cy="3251599"/>
          </a:xfrm>
          <a:prstGeom prst="rect">
            <a:avLst/>
          </a:prstGeom>
          <a:ln>
            <a:noFill/>
          </a:ln>
          <a:effectLst>
            <a:softEdge rad="112500"/>
          </a:effectLst>
        </p:spPr>
      </p:pic>
      <p:pic>
        <p:nvPicPr>
          <p:cNvPr id="16" name="Picture 4" descr="Slide29"/>
          <p:cNvPicPr>
            <a:picLocks noChangeAspect="1" noChangeArrowheads="1"/>
          </p:cNvPicPr>
          <p:nvPr/>
        </p:nvPicPr>
        <p:blipFill>
          <a:blip r:embed="rId6" cstate="print"/>
          <a:srcRect/>
          <a:stretch>
            <a:fillRect/>
          </a:stretch>
        </p:blipFill>
        <p:spPr bwMode="auto">
          <a:xfrm>
            <a:off x="5536816" y="4140674"/>
            <a:ext cx="928694" cy="535785"/>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sp>
        <p:nvSpPr>
          <p:cNvPr id="18" name="Rectangle 17"/>
          <p:cNvSpPr/>
          <p:nvPr/>
        </p:nvSpPr>
        <p:spPr>
          <a:xfrm>
            <a:off x="4724400" y="557892"/>
            <a:ext cx="2133600" cy="508996"/>
          </a:xfrm>
          <a:prstGeom prst="rect">
            <a:avLst/>
          </a:prstGeom>
          <a:solidFill>
            <a:schemeClr val="accent3">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th-TH" b="1" dirty="0" smtClean="0">
                <a:solidFill>
                  <a:schemeClr val="tx1"/>
                </a:solidFill>
                <a:latin typeface="TH SarabunPSK" pitchFamily="34" charset="-34"/>
                <a:cs typeface="TH SarabunPSK" pitchFamily="34" charset="-34"/>
              </a:rPr>
              <a:t>โทรคมนาคม</a:t>
            </a:r>
            <a:endParaRPr lang="th-TH" b="1" dirty="0">
              <a:solidFill>
                <a:schemeClr val="tx1"/>
              </a:solidFill>
              <a:latin typeface="TH SarabunPSK" pitchFamily="34" charset="-34"/>
              <a:cs typeface="TH SarabunPSK" pitchFamily="34" charset="-34"/>
            </a:endParaRPr>
          </a:p>
        </p:txBody>
      </p:sp>
      <p:sp>
        <p:nvSpPr>
          <p:cNvPr id="21" name="Rectangle 20"/>
          <p:cNvSpPr/>
          <p:nvPr/>
        </p:nvSpPr>
        <p:spPr>
          <a:xfrm>
            <a:off x="6858000" y="551240"/>
            <a:ext cx="2286000" cy="515648"/>
          </a:xfrm>
          <a:prstGeom prst="rect">
            <a:avLst/>
          </a:prstGeom>
          <a:solidFill>
            <a:schemeClr val="accent3">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lnSpc>
                <a:spcPts val="2400"/>
              </a:lnSpc>
              <a:spcBef>
                <a:spcPts val="0"/>
              </a:spcBef>
              <a:spcAft>
                <a:spcPts val="0"/>
              </a:spcAft>
              <a:defRPr/>
            </a:pPr>
            <a:r>
              <a:rPr lang="th-TH" b="1" dirty="0" smtClean="0">
                <a:solidFill>
                  <a:schemeClr val="tx1"/>
                </a:solidFill>
                <a:latin typeface="TH SarabunPSK" pitchFamily="34" charset="-34"/>
                <a:cs typeface="TH SarabunPSK" pitchFamily="34" charset="-34"/>
              </a:rPr>
              <a:t>การพัฒนาเมืองชายแดน</a:t>
            </a:r>
            <a:endParaRPr lang="th-TH" b="1" dirty="0">
              <a:solidFill>
                <a:schemeClr val="tx1"/>
              </a:solidFill>
              <a:latin typeface="TH SarabunPSK" pitchFamily="34" charset="-34"/>
              <a:cs typeface="TH SarabunPSK" pitchFamily="34" charset="-34"/>
            </a:endParaRPr>
          </a:p>
        </p:txBody>
      </p:sp>
      <p:sp>
        <p:nvSpPr>
          <p:cNvPr id="22" name="Down Arrow Callout 21"/>
          <p:cNvSpPr/>
          <p:nvPr/>
        </p:nvSpPr>
        <p:spPr>
          <a:xfrm>
            <a:off x="0" y="530319"/>
            <a:ext cx="2590800" cy="734617"/>
          </a:xfrm>
          <a:prstGeom prst="downArrowCallout">
            <a:avLst>
              <a:gd name="adj1" fmla="val 35939"/>
              <a:gd name="adj2" fmla="val 28417"/>
              <a:gd name="adj3" fmla="val 15924"/>
              <a:gd name="adj4" fmla="val 70231"/>
            </a:avLst>
          </a:prstGeom>
        </p:spPr>
        <p:style>
          <a:lnRef idx="3">
            <a:schemeClr val="lt1"/>
          </a:lnRef>
          <a:fillRef idx="1">
            <a:schemeClr val="accent1"/>
          </a:fillRef>
          <a:effectRef idx="1">
            <a:schemeClr val="accent1"/>
          </a:effectRef>
          <a:fontRef idx="minor">
            <a:schemeClr val="lt1"/>
          </a:fontRef>
        </p:style>
        <p:txBody>
          <a:bodyPr anchor="ctr"/>
          <a:lstStyle/>
          <a:p>
            <a:pPr algn="ctr" fontAlgn="auto">
              <a:spcBef>
                <a:spcPts val="0"/>
              </a:spcBef>
              <a:spcAft>
                <a:spcPts val="0"/>
              </a:spcAft>
              <a:defRPr/>
            </a:pPr>
            <a:r>
              <a:rPr lang="th-TH" b="1" dirty="0" smtClean="0">
                <a:solidFill>
                  <a:schemeClr val="bg1">
                    <a:lumMod val="95000"/>
                  </a:schemeClr>
                </a:solidFill>
                <a:latin typeface="TH SarabunPSK" pitchFamily="34" charset="-34"/>
                <a:cs typeface="TH SarabunPSK" pitchFamily="34" charset="-34"/>
              </a:rPr>
              <a:t>คมนาคม</a:t>
            </a:r>
            <a:r>
              <a:rPr lang="en-US" b="1" dirty="0" smtClean="0">
                <a:solidFill>
                  <a:schemeClr val="bg1">
                    <a:lumMod val="95000"/>
                  </a:schemeClr>
                </a:solidFill>
                <a:latin typeface="TH SarabunPSK" pitchFamily="34" charset="-34"/>
                <a:cs typeface="TH SarabunPSK" pitchFamily="34" charset="-34"/>
              </a:rPr>
              <a:t> </a:t>
            </a:r>
            <a:endParaRPr lang="th-TH" b="1" dirty="0">
              <a:solidFill>
                <a:schemeClr val="bg1">
                  <a:lumMod val="95000"/>
                </a:schemeClr>
              </a:solidFill>
              <a:latin typeface="TH SarabunPSK" pitchFamily="34" charset="-34"/>
              <a:cs typeface="TH SarabunPSK" pitchFamily="34" charset="-34"/>
            </a:endParaRPr>
          </a:p>
        </p:txBody>
      </p:sp>
      <p:sp>
        <p:nvSpPr>
          <p:cNvPr id="23" name="Rectangle 22"/>
          <p:cNvSpPr/>
          <p:nvPr/>
        </p:nvSpPr>
        <p:spPr>
          <a:xfrm>
            <a:off x="2590800" y="555084"/>
            <a:ext cx="2133600" cy="508996"/>
          </a:xfrm>
          <a:prstGeom prst="rect">
            <a:avLst/>
          </a:prstGeom>
          <a:solidFill>
            <a:schemeClr val="accent3">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th-TH" b="1" dirty="0" smtClean="0">
                <a:solidFill>
                  <a:schemeClr val="tx1"/>
                </a:solidFill>
                <a:latin typeface="TH SarabunPSK" pitchFamily="34" charset="-34"/>
                <a:cs typeface="TH SarabunPSK" pitchFamily="34" charset="-34"/>
              </a:rPr>
              <a:t>พลังงาน</a:t>
            </a:r>
            <a:endParaRPr lang="th-TH" b="1" dirty="0">
              <a:solidFill>
                <a:schemeClr val="tx1"/>
              </a:solidFill>
              <a:latin typeface="TH SarabunPSK" pitchFamily="34" charset="-34"/>
              <a:cs typeface="TH SarabunPSK" pitchFamily="34" charset="-34"/>
            </a:endParaRPr>
          </a:p>
        </p:txBody>
      </p:sp>
      <p:sp>
        <p:nvSpPr>
          <p:cNvPr id="24" name="Rounded Rectangle 23"/>
          <p:cNvSpPr/>
          <p:nvPr/>
        </p:nvSpPr>
        <p:spPr>
          <a:xfrm>
            <a:off x="0" y="0"/>
            <a:ext cx="9144000" cy="400050"/>
          </a:xfrm>
          <a:prstGeom prst="roundRect">
            <a:avLst>
              <a:gd name="adj" fmla="val 0"/>
            </a:avLst>
          </a:prstGeom>
          <a:solidFill>
            <a:schemeClr val="tx2">
              <a:lumMod val="60000"/>
              <a:lumOff val="40000"/>
            </a:schemeClr>
          </a:solidFill>
          <a:scene3d>
            <a:camera prst="orthographicFront"/>
            <a:lightRig rig="threePt" dir="t"/>
          </a:scene3d>
          <a:sp3d>
            <a:bevelT w="114300" prst="artDeco"/>
          </a:sp3d>
        </p:spPr>
        <p:style>
          <a:lnRef idx="3">
            <a:schemeClr val="lt1"/>
          </a:lnRef>
          <a:fillRef idx="1">
            <a:schemeClr val="accent1"/>
          </a:fillRef>
          <a:effectRef idx="1">
            <a:schemeClr val="accent1"/>
          </a:effectRef>
          <a:fontRef idx="minor">
            <a:schemeClr val="lt1"/>
          </a:fontRef>
        </p:style>
        <p:txBody>
          <a:bodyPr vert="horz" lIns="91440" tIns="45720" rIns="91440" bIns="45720" rtlCol="0" anchor="ctr">
            <a:noAutofit/>
          </a:bodyPr>
          <a:lstStyle/>
          <a:p>
            <a:pPr marL="463550" indent="-463550" algn="ctr" fontAlgn="auto">
              <a:spcAft>
                <a:spcPts val="0"/>
              </a:spcAft>
              <a:defRPr/>
            </a:pPr>
            <a:r>
              <a:rPr lang="th-TH" sz="3600" b="1" dirty="0" smtClean="0">
                <a:solidFill>
                  <a:schemeClr val="bg1"/>
                </a:solidFill>
                <a:effectLst>
                  <a:outerShdw blurRad="38100" dist="38100" dir="2700000" algn="tl">
                    <a:srgbClr val="000000">
                      <a:alpha val="43137"/>
                    </a:srgbClr>
                  </a:outerShdw>
                </a:effectLst>
                <a:latin typeface="TH SarabunPSK" pitchFamily="34" charset="-34"/>
                <a:cs typeface="TH SarabunPSK" pitchFamily="34" charset="-34"/>
              </a:rPr>
              <a:t>การพัฒนาโครงสร้างพื้นฐาน</a:t>
            </a:r>
            <a:endParaRPr lang="th-TH" sz="3600" b="1" dirty="0">
              <a:solidFill>
                <a:schemeClr val="bg1"/>
              </a:solidFill>
              <a:effectLst>
                <a:outerShdw blurRad="38100" dist="38100" dir="2700000" algn="tl">
                  <a:srgbClr val="000000">
                    <a:alpha val="43137"/>
                  </a:srgbClr>
                </a:outerShdw>
              </a:effectLst>
              <a:latin typeface="TH SarabunPSK" pitchFamily="34" charset="-34"/>
              <a:cs typeface="TH SarabunPSK" pitchFamily="34" charset="-34"/>
            </a:endParaRPr>
          </a:p>
        </p:txBody>
      </p:sp>
    </p:spTree>
    <p:extLst>
      <p:ext uri="{BB962C8B-B14F-4D97-AF65-F5344CB8AC3E}">
        <p14:creationId xmlns:p14="http://schemas.microsoft.com/office/powerpoint/2010/main" xmlns="" val="151661706"/>
      </p:ext>
    </p:extLst>
  </p:cSld>
  <p:clrMapOvr>
    <a:masterClrMapping/>
  </p:clrMapOvr>
  <p:transition>
    <p:fade thruBlk="1"/>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a:xfrm>
            <a:off x="681231" y="363917"/>
            <a:ext cx="7879374" cy="560923"/>
          </a:xfrm>
        </p:spPr>
        <p:txBody>
          <a:bodyPr/>
          <a:lstStyle/>
          <a:p>
            <a:r>
              <a:rPr lang="th-TH" sz="3400" b="1" dirty="0">
                <a:latin typeface="TH SarabunPSK" pitchFamily="34" charset="-34"/>
                <a:cs typeface="TH SarabunPSK" pitchFamily="34" charset="-34"/>
              </a:rPr>
              <a:t>ประเด็นการบรรยาย </a:t>
            </a:r>
            <a:endParaRPr lang="en-US" sz="3400" b="1" dirty="0">
              <a:latin typeface="TH SarabunPSK" pitchFamily="34" charset="-34"/>
              <a:cs typeface="TH SarabunPSK" pitchFamily="34" charset="-34"/>
            </a:endParaRPr>
          </a:p>
        </p:txBody>
      </p:sp>
      <p:sp>
        <p:nvSpPr>
          <p:cNvPr id="8" name="Rectangle 7"/>
          <p:cNvSpPr/>
          <p:nvPr/>
        </p:nvSpPr>
        <p:spPr>
          <a:xfrm>
            <a:off x="619698" y="1582288"/>
            <a:ext cx="7861110" cy="542498"/>
          </a:xfrm>
          <a:prstGeom prst="rect">
            <a:avLst/>
          </a:prstGeom>
          <a:solidFill>
            <a:schemeClr val="accent4"/>
          </a:solidFill>
          <a:ln w="28575">
            <a:solidFill>
              <a:srgbClr val="0000FF"/>
            </a:solidFill>
          </a:ln>
          <a:effectLst/>
        </p:spPr>
        <p:style>
          <a:lnRef idx="1">
            <a:schemeClr val="accent1"/>
          </a:lnRef>
          <a:fillRef idx="0">
            <a:schemeClr val="accent1"/>
          </a:fillRef>
          <a:effectRef idx="0">
            <a:schemeClr val="accent1"/>
          </a:effectRef>
          <a:fontRef idx="minor">
            <a:schemeClr val="tx1"/>
          </a:fontRef>
        </p:style>
        <p:txBody>
          <a:bodyPr lIns="61358" tIns="61358" rIns="61358" bIns="92038" rtlCol="0" anchor="t" anchorCtr="0">
            <a:noAutofit/>
          </a:bodyPr>
          <a:lstStyle/>
          <a:p>
            <a:pPr fontAlgn="base">
              <a:lnSpc>
                <a:spcPct val="90000"/>
              </a:lnSpc>
              <a:spcBef>
                <a:spcPts val="341"/>
              </a:spcBef>
              <a:spcAft>
                <a:spcPct val="0"/>
              </a:spcAft>
            </a:pPr>
            <a:endParaRPr lang="en-US" sz="1300" dirty="0">
              <a:solidFill>
                <a:srgbClr val="000000"/>
              </a:solidFill>
            </a:endParaRPr>
          </a:p>
        </p:txBody>
      </p:sp>
      <p:sp>
        <p:nvSpPr>
          <p:cNvPr id="9" name="Rectangle 8"/>
          <p:cNvSpPr/>
          <p:nvPr/>
        </p:nvSpPr>
        <p:spPr>
          <a:xfrm>
            <a:off x="619698" y="2304286"/>
            <a:ext cx="7861110" cy="542498"/>
          </a:xfrm>
          <a:prstGeom prst="rect">
            <a:avLst/>
          </a:prstGeom>
          <a:solidFill>
            <a:schemeClr val="accent4"/>
          </a:solidFill>
          <a:ln w="9525">
            <a:noFill/>
          </a:ln>
          <a:effectLst/>
        </p:spPr>
        <p:style>
          <a:lnRef idx="1">
            <a:schemeClr val="accent1"/>
          </a:lnRef>
          <a:fillRef idx="0">
            <a:schemeClr val="accent1"/>
          </a:fillRef>
          <a:effectRef idx="0">
            <a:schemeClr val="accent1"/>
          </a:effectRef>
          <a:fontRef idx="minor">
            <a:schemeClr val="tx1"/>
          </a:fontRef>
        </p:style>
        <p:txBody>
          <a:bodyPr lIns="61358" tIns="61358" rIns="61358" bIns="92038" rtlCol="0" anchor="t" anchorCtr="0">
            <a:noAutofit/>
          </a:bodyPr>
          <a:lstStyle/>
          <a:p>
            <a:pPr fontAlgn="base">
              <a:lnSpc>
                <a:spcPct val="90000"/>
              </a:lnSpc>
              <a:spcBef>
                <a:spcPts val="341"/>
              </a:spcBef>
              <a:spcAft>
                <a:spcPct val="0"/>
              </a:spcAft>
            </a:pPr>
            <a:endParaRPr lang="en-US" sz="1300" dirty="0">
              <a:solidFill>
                <a:srgbClr val="000000"/>
              </a:solidFill>
            </a:endParaRPr>
          </a:p>
        </p:txBody>
      </p:sp>
      <p:sp>
        <p:nvSpPr>
          <p:cNvPr id="10" name="Rectangle 9"/>
          <p:cNvSpPr/>
          <p:nvPr/>
        </p:nvSpPr>
        <p:spPr>
          <a:xfrm>
            <a:off x="619698" y="3054034"/>
            <a:ext cx="7861110" cy="542498"/>
          </a:xfrm>
          <a:prstGeom prst="rect">
            <a:avLst/>
          </a:prstGeom>
          <a:solidFill>
            <a:schemeClr val="accent4"/>
          </a:solidFill>
          <a:ln w="9525">
            <a:noFill/>
          </a:ln>
          <a:effectLst/>
        </p:spPr>
        <p:style>
          <a:lnRef idx="1">
            <a:schemeClr val="accent1"/>
          </a:lnRef>
          <a:fillRef idx="0">
            <a:schemeClr val="accent1"/>
          </a:fillRef>
          <a:effectRef idx="0">
            <a:schemeClr val="accent1"/>
          </a:effectRef>
          <a:fontRef idx="minor">
            <a:schemeClr val="tx1"/>
          </a:fontRef>
        </p:style>
        <p:txBody>
          <a:bodyPr lIns="61358" tIns="61358" rIns="61358" bIns="92038" rtlCol="0" anchor="t" anchorCtr="0">
            <a:noAutofit/>
          </a:bodyPr>
          <a:lstStyle/>
          <a:p>
            <a:pPr fontAlgn="base">
              <a:lnSpc>
                <a:spcPct val="90000"/>
              </a:lnSpc>
              <a:spcBef>
                <a:spcPts val="341"/>
              </a:spcBef>
              <a:spcAft>
                <a:spcPct val="0"/>
              </a:spcAft>
            </a:pPr>
            <a:endParaRPr lang="en-US" sz="1300" dirty="0">
              <a:solidFill>
                <a:srgbClr val="000000"/>
              </a:solidFill>
            </a:endParaRPr>
          </a:p>
        </p:txBody>
      </p:sp>
      <p:sp>
        <p:nvSpPr>
          <p:cNvPr id="12" name="Textframe 12"/>
          <p:cNvSpPr txBox="1"/>
          <p:nvPr/>
        </p:nvSpPr>
        <p:spPr>
          <a:xfrm>
            <a:off x="1025978" y="2388564"/>
            <a:ext cx="7306801" cy="373949"/>
          </a:xfrm>
          <a:prstGeom prst="rect">
            <a:avLst/>
          </a:prstGeom>
          <a:noFill/>
          <a:ln w="9525">
            <a:noFill/>
          </a:ln>
        </p:spPr>
        <p:txBody>
          <a:bodyPr vert="horz" wrap="square" lIns="0" tIns="0" rIns="0" bIns="0" rtlCol="0">
            <a:spAutoFit/>
          </a:bodyPr>
          <a:lstStyle/>
          <a:p>
            <a:pPr fontAlgn="base">
              <a:lnSpc>
                <a:spcPct val="90000"/>
              </a:lnSpc>
              <a:spcBef>
                <a:spcPts val="341"/>
              </a:spcBef>
              <a:spcAft>
                <a:spcPct val="0"/>
              </a:spcAft>
              <a:buSzPct val="100000"/>
            </a:pPr>
            <a:r>
              <a:rPr lang="th-TH" sz="2700" b="1" dirty="0" smtClean="0">
                <a:solidFill>
                  <a:srgbClr val="003F56"/>
                </a:solidFill>
                <a:latin typeface="TH SarabunPSK" pitchFamily="34" charset="-34"/>
                <a:cs typeface="TH SarabunPSK" pitchFamily="34" charset="-34"/>
              </a:rPr>
              <a:t>การพัฒนาเขตเศรษฐกิจ</a:t>
            </a:r>
            <a:r>
              <a:rPr lang="th-TH" sz="2700" b="1" dirty="0">
                <a:solidFill>
                  <a:srgbClr val="003F56"/>
                </a:solidFill>
                <a:latin typeface="TH SarabunPSK" pitchFamily="34" charset="-34"/>
                <a:cs typeface="TH SarabunPSK" pitchFamily="34" charset="-34"/>
              </a:rPr>
              <a:t>พิเศษ</a:t>
            </a:r>
            <a:endParaRPr lang="en-US" sz="2700" b="1" dirty="0">
              <a:solidFill>
                <a:srgbClr val="003F56"/>
              </a:solidFill>
              <a:latin typeface="TH SarabunPSK" pitchFamily="34" charset="-34"/>
              <a:cs typeface="TH SarabunPSK" pitchFamily="34" charset="-34"/>
            </a:endParaRPr>
          </a:p>
        </p:txBody>
      </p:sp>
      <p:sp>
        <p:nvSpPr>
          <p:cNvPr id="13" name="RbNavigator"/>
          <p:cNvSpPr txBox="1"/>
          <p:nvPr/>
        </p:nvSpPr>
        <p:spPr>
          <a:xfrm>
            <a:off x="619702" y="1582288"/>
            <a:ext cx="341056" cy="542498"/>
          </a:xfrm>
          <a:prstGeom prst="rect">
            <a:avLst/>
          </a:prstGeom>
          <a:solidFill>
            <a:schemeClr val="accent3"/>
          </a:solidFill>
          <a:ln w="9525">
            <a:noFill/>
          </a:ln>
        </p:spPr>
        <p:txBody>
          <a:bodyPr vert="horz" wrap="none" lIns="0" tIns="0" rIns="0" bIns="0" rtlCol="0" anchor="ctr">
            <a:noAutofit/>
          </a:bodyPr>
          <a:lstStyle/>
          <a:p>
            <a:pPr algn="ctr" fontAlgn="base">
              <a:lnSpc>
                <a:spcPct val="90000"/>
              </a:lnSpc>
              <a:spcBef>
                <a:spcPts val="341"/>
              </a:spcBef>
              <a:spcAft>
                <a:spcPct val="0"/>
              </a:spcAft>
              <a:buClr>
                <a:srgbClr val="000000"/>
              </a:buClr>
              <a:buSzPct val="100000"/>
            </a:pPr>
            <a:r>
              <a:rPr kumimoji="1" lang="th-TH" sz="2100" b="1" dirty="0">
                <a:solidFill>
                  <a:srgbClr val="FFFFFF"/>
                </a:solidFill>
                <a:cs typeface="Arial Narrow" pitchFamily="34" charset="0"/>
              </a:rPr>
              <a:t>2</a:t>
            </a:r>
            <a:endParaRPr kumimoji="1" lang="en-US" sz="2100" b="1" dirty="0">
              <a:solidFill>
                <a:srgbClr val="FFFFFF"/>
              </a:solidFill>
              <a:cs typeface="Arial Narrow" pitchFamily="34" charset="0"/>
            </a:endParaRPr>
          </a:p>
        </p:txBody>
      </p:sp>
      <p:sp>
        <p:nvSpPr>
          <p:cNvPr id="15" name="RbNavigator"/>
          <p:cNvSpPr txBox="1"/>
          <p:nvPr/>
        </p:nvSpPr>
        <p:spPr>
          <a:xfrm>
            <a:off x="619702" y="2304286"/>
            <a:ext cx="341056" cy="542498"/>
          </a:xfrm>
          <a:prstGeom prst="rect">
            <a:avLst/>
          </a:prstGeom>
          <a:solidFill>
            <a:schemeClr val="accent3"/>
          </a:solidFill>
          <a:ln w="9525">
            <a:noFill/>
          </a:ln>
        </p:spPr>
        <p:txBody>
          <a:bodyPr vert="horz" wrap="none" lIns="0" tIns="0" rIns="0" bIns="0" rtlCol="0" anchor="ctr">
            <a:noAutofit/>
          </a:bodyPr>
          <a:lstStyle/>
          <a:p>
            <a:pPr algn="ctr" fontAlgn="base">
              <a:lnSpc>
                <a:spcPct val="90000"/>
              </a:lnSpc>
              <a:spcBef>
                <a:spcPts val="341"/>
              </a:spcBef>
              <a:spcAft>
                <a:spcPct val="0"/>
              </a:spcAft>
              <a:buClr>
                <a:srgbClr val="000000"/>
              </a:buClr>
              <a:buSzPct val="100000"/>
            </a:pPr>
            <a:r>
              <a:rPr kumimoji="1" lang="th-TH" sz="2100" b="1" dirty="0">
                <a:solidFill>
                  <a:srgbClr val="FFFFFF"/>
                </a:solidFill>
                <a:cs typeface="Arial Narrow" pitchFamily="34" charset="0"/>
              </a:rPr>
              <a:t>3</a:t>
            </a:r>
            <a:endParaRPr kumimoji="1" lang="en-US" sz="2100" b="1" dirty="0">
              <a:solidFill>
                <a:srgbClr val="FFFFFF"/>
              </a:solidFill>
              <a:cs typeface="Arial Narrow" pitchFamily="34" charset="0"/>
            </a:endParaRPr>
          </a:p>
        </p:txBody>
      </p:sp>
      <p:sp>
        <p:nvSpPr>
          <p:cNvPr id="16" name="Textframe 12"/>
          <p:cNvSpPr txBox="1"/>
          <p:nvPr/>
        </p:nvSpPr>
        <p:spPr>
          <a:xfrm>
            <a:off x="1043608" y="3167901"/>
            <a:ext cx="7306801" cy="373949"/>
          </a:xfrm>
          <a:prstGeom prst="rect">
            <a:avLst/>
          </a:prstGeom>
          <a:noFill/>
          <a:ln w="9525">
            <a:noFill/>
          </a:ln>
        </p:spPr>
        <p:txBody>
          <a:bodyPr vert="horz" wrap="square" lIns="0" tIns="0" rIns="0" bIns="0" rtlCol="0">
            <a:spAutoFit/>
          </a:bodyPr>
          <a:lstStyle/>
          <a:p>
            <a:pPr fontAlgn="base">
              <a:lnSpc>
                <a:spcPct val="90000"/>
              </a:lnSpc>
              <a:spcBef>
                <a:spcPts val="341"/>
              </a:spcBef>
              <a:spcAft>
                <a:spcPct val="0"/>
              </a:spcAft>
              <a:buSzPct val="100000"/>
            </a:pPr>
            <a:r>
              <a:rPr lang="th-TH" sz="2700" b="1" dirty="0">
                <a:solidFill>
                  <a:srgbClr val="003F56"/>
                </a:solidFill>
                <a:latin typeface="TH SarabunPSK" pitchFamily="34" charset="-34"/>
                <a:cs typeface="TH SarabunPSK" pitchFamily="34" charset="-34"/>
              </a:rPr>
              <a:t>การเชื่อมโยงประเทศในภูมิภาค</a:t>
            </a:r>
            <a:endParaRPr lang="en-US" sz="2700" b="1" dirty="0">
              <a:solidFill>
                <a:srgbClr val="003F56"/>
              </a:solidFill>
              <a:latin typeface="TH SarabunPSK" pitchFamily="34" charset="-34"/>
              <a:cs typeface="TH SarabunPSK" pitchFamily="34" charset="-34"/>
            </a:endParaRPr>
          </a:p>
        </p:txBody>
      </p:sp>
      <p:sp>
        <p:nvSpPr>
          <p:cNvPr id="17" name="RbNavigator"/>
          <p:cNvSpPr txBox="1"/>
          <p:nvPr/>
        </p:nvSpPr>
        <p:spPr>
          <a:xfrm>
            <a:off x="619702" y="3054034"/>
            <a:ext cx="341056" cy="542498"/>
          </a:xfrm>
          <a:prstGeom prst="rect">
            <a:avLst/>
          </a:prstGeom>
          <a:solidFill>
            <a:schemeClr val="accent3"/>
          </a:solidFill>
          <a:ln w="9525">
            <a:noFill/>
          </a:ln>
        </p:spPr>
        <p:txBody>
          <a:bodyPr vert="horz" wrap="none" lIns="0" tIns="0" rIns="0" bIns="0" rtlCol="0" anchor="ctr">
            <a:noAutofit/>
          </a:bodyPr>
          <a:lstStyle/>
          <a:p>
            <a:pPr algn="ctr" fontAlgn="base">
              <a:lnSpc>
                <a:spcPct val="90000"/>
              </a:lnSpc>
              <a:spcBef>
                <a:spcPts val="341"/>
              </a:spcBef>
              <a:spcAft>
                <a:spcPct val="0"/>
              </a:spcAft>
              <a:buClr>
                <a:srgbClr val="000000"/>
              </a:buClr>
              <a:buSzPct val="100000"/>
            </a:pPr>
            <a:r>
              <a:rPr kumimoji="1" lang="th-TH" sz="2100" b="1" dirty="0">
                <a:solidFill>
                  <a:srgbClr val="FFFFFF"/>
                </a:solidFill>
                <a:cs typeface="Arial Narrow" pitchFamily="34" charset="0"/>
              </a:rPr>
              <a:t>4</a:t>
            </a:r>
            <a:endParaRPr kumimoji="1" lang="en-US" sz="2100" b="1" dirty="0">
              <a:solidFill>
                <a:srgbClr val="FFFFFF"/>
              </a:solidFill>
              <a:cs typeface="Arial Narrow" pitchFamily="34" charset="0"/>
            </a:endParaRPr>
          </a:p>
        </p:txBody>
      </p:sp>
      <p:sp>
        <p:nvSpPr>
          <p:cNvPr id="18" name="Rectangle 17"/>
          <p:cNvSpPr/>
          <p:nvPr/>
        </p:nvSpPr>
        <p:spPr>
          <a:xfrm>
            <a:off x="619697" y="3779992"/>
            <a:ext cx="7861110" cy="542498"/>
          </a:xfrm>
          <a:prstGeom prst="rect">
            <a:avLst/>
          </a:prstGeom>
          <a:solidFill>
            <a:schemeClr val="accent4"/>
          </a:solidFill>
          <a:ln w="9525">
            <a:noFill/>
          </a:ln>
          <a:effectLst/>
        </p:spPr>
        <p:style>
          <a:lnRef idx="1">
            <a:schemeClr val="accent1"/>
          </a:lnRef>
          <a:fillRef idx="0">
            <a:schemeClr val="accent1"/>
          </a:fillRef>
          <a:effectRef idx="0">
            <a:schemeClr val="accent1"/>
          </a:effectRef>
          <a:fontRef idx="minor">
            <a:schemeClr val="tx1"/>
          </a:fontRef>
        </p:style>
        <p:txBody>
          <a:bodyPr lIns="61358" tIns="61358" rIns="61358" bIns="92038" rtlCol="0" anchor="t" anchorCtr="0">
            <a:noAutofit/>
          </a:bodyPr>
          <a:lstStyle/>
          <a:p>
            <a:pPr fontAlgn="base">
              <a:lnSpc>
                <a:spcPct val="90000"/>
              </a:lnSpc>
              <a:spcBef>
                <a:spcPts val="341"/>
              </a:spcBef>
              <a:spcAft>
                <a:spcPct val="0"/>
              </a:spcAft>
            </a:pPr>
            <a:endParaRPr lang="en-US" sz="1300" dirty="0">
              <a:solidFill>
                <a:srgbClr val="000000"/>
              </a:solidFill>
            </a:endParaRPr>
          </a:p>
        </p:txBody>
      </p:sp>
      <p:sp>
        <p:nvSpPr>
          <p:cNvPr id="19" name="Textframe 12"/>
          <p:cNvSpPr txBox="1"/>
          <p:nvPr/>
        </p:nvSpPr>
        <p:spPr>
          <a:xfrm>
            <a:off x="1025978" y="1666567"/>
            <a:ext cx="7306801" cy="373949"/>
          </a:xfrm>
          <a:prstGeom prst="rect">
            <a:avLst/>
          </a:prstGeom>
          <a:noFill/>
          <a:ln w="9525">
            <a:noFill/>
          </a:ln>
        </p:spPr>
        <p:txBody>
          <a:bodyPr vert="horz" wrap="square" lIns="0" tIns="0" rIns="0" bIns="0" rtlCol="0">
            <a:spAutoFit/>
          </a:bodyPr>
          <a:lstStyle/>
          <a:p>
            <a:pPr fontAlgn="base">
              <a:lnSpc>
                <a:spcPct val="90000"/>
              </a:lnSpc>
              <a:spcBef>
                <a:spcPts val="341"/>
              </a:spcBef>
              <a:spcAft>
                <a:spcPct val="0"/>
              </a:spcAft>
              <a:buSzPct val="100000"/>
            </a:pPr>
            <a:r>
              <a:rPr lang="th-TH" sz="2700" b="1" dirty="0" smtClean="0">
                <a:solidFill>
                  <a:srgbClr val="003F56"/>
                </a:solidFill>
                <a:latin typeface="TH SarabunPSK" pitchFamily="34" charset="-34"/>
                <a:cs typeface="TH SarabunPSK" pitchFamily="34" charset="-34"/>
              </a:rPr>
              <a:t>การพัฒนาระบบโลจิ</a:t>
            </a:r>
            <a:r>
              <a:rPr lang="th-TH" sz="2700" b="1" dirty="0">
                <a:solidFill>
                  <a:srgbClr val="003F56"/>
                </a:solidFill>
                <a:latin typeface="TH SarabunPSK" pitchFamily="34" charset="-34"/>
                <a:cs typeface="TH SarabunPSK" pitchFamily="34" charset="-34"/>
              </a:rPr>
              <a:t>สติกส์และโครงสร้างพื้นฐาน</a:t>
            </a:r>
            <a:endParaRPr lang="en-US" sz="2700" b="1" dirty="0">
              <a:solidFill>
                <a:srgbClr val="003F56"/>
              </a:solidFill>
              <a:latin typeface="TH SarabunPSK" pitchFamily="34" charset="-34"/>
              <a:cs typeface="TH SarabunPSK" pitchFamily="34" charset="-34"/>
            </a:endParaRPr>
          </a:p>
        </p:txBody>
      </p:sp>
      <p:sp>
        <p:nvSpPr>
          <p:cNvPr id="20" name="RbNavigator"/>
          <p:cNvSpPr txBox="1"/>
          <p:nvPr/>
        </p:nvSpPr>
        <p:spPr>
          <a:xfrm>
            <a:off x="619701" y="3779992"/>
            <a:ext cx="341056" cy="542498"/>
          </a:xfrm>
          <a:prstGeom prst="rect">
            <a:avLst/>
          </a:prstGeom>
          <a:solidFill>
            <a:schemeClr val="accent3"/>
          </a:solidFill>
          <a:ln w="9525">
            <a:noFill/>
          </a:ln>
        </p:spPr>
        <p:txBody>
          <a:bodyPr vert="horz" wrap="none" lIns="0" tIns="0" rIns="0" bIns="0" rtlCol="0" anchor="ctr">
            <a:noAutofit/>
          </a:bodyPr>
          <a:lstStyle/>
          <a:p>
            <a:pPr algn="ctr" fontAlgn="base">
              <a:lnSpc>
                <a:spcPct val="90000"/>
              </a:lnSpc>
              <a:spcBef>
                <a:spcPts val="341"/>
              </a:spcBef>
              <a:spcAft>
                <a:spcPct val="0"/>
              </a:spcAft>
              <a:buClr>
                <a:srgbClr val="000000"/>
              </a:buClr>
              <a:buSzPct val="100000"/>
            </a:pPr>
            <a:r>
              <a:rPr kumimoji="1" lang="th-TH" sz="2100" b="1" dirty="0">
                <a:solidFill>
                  <a:srgbClr val="FFFFFF"/>
                </a:solidFill>
                <a:cs typeface="Arial Narrow" pitchFamily="34" charset="0"/>
              </a:rPr>
              <a:t>5</a:t>
            </a:r>
            <a:endParaRPr kumimoji="1" lang="en-US" sz="2100" b="1" dirty="0">
              <a:solidFill>
                <a:srgbClr val="FFFFFF"/>
              </a:solidFill>
              <a:cs typeface="Arial Narrow" pitchFamily="34" charset="0"/>
            </a:endParaRPr>
          </a:p>
        </p:txBody>
      </p:sp>
      <p:sp>
        <p:nvSpPr>
          <p:cNvPr id="24" name="Rectangle 23"/>
          <p:cNvSpPr/>
          <p:nvPr/>
        </p:nvSpPr>
        <p:spPr>
          <a:xfrm>
            <a:off x="619702" y="904858"/>
            <a:ext cx="7861110" cy="542498"/>
          </a:xfrm>
          <a:prstGeom prst="rect">
            <a:avLst/>
          </a:prstGeom>
          <a:solidFill>
            <a:schemeClr val="accent4"/>
          </a:solidFill>
          <a:ln w="9525">
            <a:noFill/>
          </a:ln>
          <a:effectLst/>
        </p:spPr>
        <p:style>
          <a:lnRef idx="1">
            <a:schemeClr val="accent1"/>
          </a:lnRef>
          <a:fillRef idx="0">
            <a:schemeClr val="accent1"/>
          </a:fillRef>
          <a:effectRef idx="0">
            <a:schemeClr val="accent1"/>
          </a:effectRef>
          <a:fontRef idx="minor">
            <a:schemeClr val="tx1"/>
          </a:fontRef>
        </p:style>
        <p:txBody>
          <a:bodyPr lIns="61358" tIns="61358" rIns="61358" bIns="92038" rtlCol="0" anchor="t" anchorCtr="0">
            <a:noAutofit/>
          </a:bodyPr>
          <a:lstStyle/>
          <a:p>
            <a:pPr fontAlgn="base">
              <a:lnSpc>
                <a:spcPct val="90000"/>
              </a:lnSpc>
              <a:spcBef>
                <a:spcPts val="341"/>
              </a:spcBef>
              <a:spcAft>
                <a:spcPct val="0"/>
              </a:spcAft>
            </a:pPr>
            <a:endParaRPr lang="en-US" sz="1300" dirty="0">
              <a:solidFill>
                <a:srgbClr val="000000"/>
              </a:solidFill>
            </a:endParaRPr>
          </a:p>
        </p:txBody>
      </p:sp>
      <p:sp>
        <p:nvSpPr>
          <p:cNvPr id="25" name="RbNavigator"/>
          <p:cNvSpPr txBox="1"/>
          <p:nvPr/>
        </p:nvSpPr>
        <p:spPr>
          <a:xfrm>
            <a:off x="619705" y="904858"/>
            <a:ext cx="341056" cy="542498"/>
          </a:xfrm>
          <a:prstGeom prst="rect">
            <a:avLst/>
          </a:prstGeom>
          <a:solidFill>
            <a:schemeClr val="accent3"/>
          </a:solidFill>
          <a:ln w="9525">
            <a:noFill/>
          </a:ln>
        </p:spPr>
        <p:txBody>
          <a:bodyPr vert="horz" wrap="none" lIns="0" tIns="0" rIns="0" bIns="0" rtlCol="0" anchor="ctr">
            <a:noAutofit/>
          </a:bodyPr>
          <a:lstStyle/>
          <a:p>
            <a:pPr algn="ctr" fontAlgn="base">
              <a:lnSpc>
                <a:spcPct val="90000"/>
              </a:lnSpc>
              <a:spcBef>
                <a:spcPts val="341"/>
              </a:spcBef>
              <a:spcAft>
                <a:spcPct val="0"/>
              </a:spcAft>
              <a:buClr>
                <a:srgbClr val="000000"/>
              </a:buClr>
              <a:buSzPct val="100000"/>
            </a:pPr>
            <a:r>
              <a:rPr kumimoji="1" lang="th-TH" sz="2100" b="1" dirty="0">
                <a:solidFill>
                  <a:srgbClr val="FFFFFF"/>
                </a:solidFill>
                <a:cs typeface="Arial Narrow" pitchFamily="34" charset="0"/>
              </a:rPr>
              <a:t>1</a:t>
            </a:r>
            <a:endParaRPr kumimoji="1" lang="en-US" sz="2100" b="1" dirty="0">
              <a:solidFill>
                <a:srgbClr val="FFFFFF"/>
              </a:solidFill>
              <a:cs typeface="Arial Narrow" pitchFamily="34" charset="0"/>
            </a:endParaRPr>
          </a:p>
        </p:txBody>
      </p:sp>
      <p:sp>
        <p:nvSpPr>
          <p:cNvPr id="26" name="Textframe 12"/>
          <p:cNvSpPr txBox="1"/>
          <p:nvPr/>
        </p:nvSpPr>
        <p:spPr>
          <a:xfrm>
            <a:off x="1078010" y="1009502"/>
            <a:ext cx="7306801" cy="373949"/>
          </a:xfrm>
          <a:prstGeom prst="rect">
            <a:avLst/>
          </a:prstGeom>
          <a:noFill/>
          <a:ln w="9525">
            <a:noFill/>
          </a:ln>
        </p:spPr>
        <p:txBody>
          <a:bodyPr vert="horz" wrap="square" lIns="0" tIns="0" rIns="0" bIns="0" rtlCol="0">
            <a:spAutoFit/>
          </a:bodyPr>
          <a:lstStyle/>
          <a:p>
            <a:pPr fontAlgn="base">
              <a:lnSpc>
                <a:spcPct val="90000"/>
              </a:lnSpc>
              <a:spcBef>
                <a:spcPts val="341"/>
              </a:spcBef>
              <a:spcAft>
                <a:spcPct val="0"/>
              </a:spcAft>
              <a:buSzPct val="100000"/>
            </a:pPr>
            <a:r>
              <a:rPr lang="th-TH" sz="2700" b="1" dirty="0">
                <a:solidFill>
                  <a:srgbClr val="003F56"/>
                </a:solidFill>
                <a:latin typeface="TH SarabunPSK" pitchFamily="34" charset="-34"/>
                <a:cs typeface="TH SarabunPSK" pitchFamily="34" charset="-34"/>
              </a:rPr>
              <a:t>ทิศทางและเป้าหมายการพัฒนาประเทศ </a:t>
            </a:r>
            <a:endParaRPr lang="en-US" sz="2700" b="1" dirty="0">
              <a:solidFill>
                <a:srgbClr val="003F56"/>
              </a:solidFill>
              <a:latin typeface="TH SarabunPSK" pitchFamily="34" charset="-34"/>
              <a:cs typeface="TH SarabunPSK" pitchFamily="34" charset="-34"/>
            </a:endParaRPr>
          </a:p>
        </p:txBody>
      </p:sp>
      <p:sp>
        <p:nvSpPr>
          <p:cNvPr id="21" name="Textframe 12"/>
          <p:cNvSpPr txBox="1"/>
          <p:nvPr/>
        </p:nvSpPr>
        <p:spPr>
          <a:xfrm>
            <a:off x="1042952" y="3864269"/>
            <a:ext cx="7306801" cy="373949"/>
          </a:xfrm>
          <a:prstGeom prst="rect">
            <a:avLst/>
          </a:prstGeom>
          <a:noFill/>
          <a:ln w="9525">
            <a:noFill/>
          </a:ln>
        </p:spPr>
        <p:txBody>
          <a:bodyPr vert="horz" wrap="square" lIns="0" tIns="0" rIns="0" bIns="0" rtlCol="0">
            <a:spAutoFit/>
          </a:bodyPr>
          <a:lstStyle/>
          <a:p>
            <a:pPr fontAlgn="base">
              <a:lnSpc>
                <a:spcPct val="90000"/>
              </a:lnSpc>
              <a:spcBef>
                <a:spcPts val="341"/>
              </a:spcBef>
              <a:spcAft>
                <a:spcPct val="0"/>
              </a:spcAft>
              <a:buSzPct val="100000"/>
            </a:pPr>
            <a:r>
              <a:rPr lang="th-TH" sz="2700" b="1" dirty="0">
                <a:solidFill>
                  <a:srgbClr val="003F56"/>
                </a:solidFill>
                <a:latin typeface="TH SarabunPSK" pitchFamily="34" charset="-34"/>
                <a:cs typeface="TH SarabunPSK" pitchFamily="34" charset="-34"/>
              </a:rPr>
              <a:t>กา</a:t>
            </a:r>
            <a:r>
              <a:rPr lang="th-TH" sz="2700" b="1" dirty="0" smtClean="0">
                <a:solidFill>
                  <a:srgbClr val="003F56"/>
                </a:solidFill>
                <a:latin typeface="TH SarabunPSK" pitchFamily="34" charset="-34"/>
                <a:cs typeface="TH SarabunPSK" pitchFamily="34" charset="-34"/>
              </a:rPr>
              <a:t>รสนับสนุนการพัฒนาเขตเศรษฐกิจพิเศษทวาย</a:t>
            </a:r>
            <a:endParaRPr lang="en-US" sz="2700" b="1" dirty="0">
              <a:solidFill>
                <a:srgbClr val="003F56"/>
              </a:solidFill>
              <a:latin typeface="TH SarabunPSK" pitchFamily="34" charset="-34"/>
              <a:cs typeface="TH SarabunPSK" pitchFamily="34" charset="-34"/>
            </a:endParaRPr>
          </a:p>
        </p:txBody>
      </p:sp>
    </p:spTree>
    <p:extLst>
      <p:ext uri="{BB962C8B-B14F-4D97-AF65-F5344CB8AC3E}">
        <p14:creationId xmlns:p14="http://schemas.microsoft.com/office/powerpoint/2010/main" xmlns="" val="153228574"/>
      </p:ext>
    </p:extLst>
  </p:cSld>
  <p:clrMapOvr>
    <a:masterClrMapping/>
  </p:clrMapOvr>
  <p:transition spd="med">
    <p:fade thruBlk="1"/>
  </p:transition>
  <p:timing>
    <p:tnLst>
      <p:par>
        <p:cTn id="1" dur="indefinite" restart="never" nodeType="tmRoot"/>
      </p:par>
    </p:tnLst>
  </p:timing>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Rounded Rectangle 23"/>
          <p:cNvSpPr/>
          <p:nvPr/>
        </p:nvSpPr>
        <p:spPr>
          <a:xfrm>
            <a:off x="4220345" y="3501206"/>
            <a:ext cx="4848228" cy="1435893"/>
          </a:xfrm>
          <a:prstGeom prst="roundRect">
            <a:avLst/>
          </a:prstGeom>
          <a:solidFill>
            <a:schemeClr val="bg1"/>
          </a:solidFill>
          <a:ln w="76200"/>
        </p:spPr>
        <p:style>
          <a:lnRef idx="2">
            <a:schemeClr val="accent1">
              <a:shade val="50000"/>
            </a:schemeClr>
          </a:lnRef>
          <a:fillRef idx="1">
            <a:schemeClr val="accent1"/>
          </a:fillRef>
          <a:effectRef idx="0">
            <a:schemeClr val="accent1"/>
          </a:effectRef>
          <a:fontRef idx="minor">
            <a:schemeClr val="lt1"/>
          </a:fontRef>
        </p:style>
        <p:txBody>
          <a:bodyPr anchor="ctr"/>
          <a:lstStyle/>
          <a:p>
            <a:pPr fontAlgn="auto">
              <a:spcBef>
                <a:spcPts val="1200"/>
              </a:spcBef>
              <a:spcAft>
                <a:spcPts val="0"/>
              </a:spcAft>
              <a:defRPr/>
            </a:pPr>
            <a:endParaRPr lang="th-TH" b="1" dirty="0">
              <a:latin typeface="TH SarabunPSK" pitchFamily="34" charset="-34"/>
              <a:cs typeface="TH SarabunPSK" pitchFamily="34" charset="-34"/>
            </a:endParaRPr>
          </a:p>
        </p:txBody>
      </p:sp>
      <p:sp>
        <p:nvSpPr>
          <p:cNvPr id="81" name="Rectangle 80"/>
          <p:cNvSpPr/>
          <p:nvPr/>
        </p:nvSpPr>
        <p:spPr>
          <a:xfrm>
            <a:off x="4572000" y="1821651"/>
            <a:ext cx="4419600" cy="482207"/>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174625" indent="-174625" fontAlgn="auto">
              <a:spcBef>
                <a:spcPts val="0"/>
              </a:spcBef>
              <a:spcAft>
                <a:spcPts val="0"/>
              </a:spcAft>
              <a:buFont typeface="Arial" pitchFamily="34" charset="0"/>
              <a:buChar char="•"/>
              <a:defRPr/>
            </a:pPr>
            <a:endParaRPr lang="en-US" b="1" dirty="0" smtClean="0">
              <a:solidFill>
                <a:schemeClr val="tx1">
                  <a:lumMod val="85000"/>
                  <a:lumOff val="15000"/>
                </a:schemeClr>
              </a:solidFill>
              <a:latin typeface="TH SarabunPSK" pitchFamily="34" charset="-34"/>
              <a:cs typeface="TH SarabunPSK" pitchFamily="34" charset="-34"/>
            </a:endParaRPr>
          </a:p>
          <a:p>
            <a:pPr marL="174625" indent="-174625" fontAlgn="auto">
              <a:spcBef>
                <a:spcPts val="0"/>
              </a:spcBef>
              <a:spcAft>
                <a:spcPts val="0"/>
              </a:spcAft>
              <a:buFont typeface="Arial" pitchFamily="34" charset="0"/>
              <a:buChar char="•"/>
              <a:defRPr/>
            </a:pPr>
            <a:r>
              <a:rPr lang="th-TH" b="1" dirty="0" smtClean="0">
                <a:solidFill>
                  <a:schemeClr val="tx1">
                    <a:lumMod val="85000"/>
                    <a:lumOff val="15000"/>
                  </a:schemeClr>
                </a:solidFill>
                <a:latin typeface="TH SarabunPSK" pitchFamily="34" charset="-34"/>
                <a:cs typeface="TH SarabunPSK" pitchFamily="34" charset="-34"/>
              </a:rPr>
              <a:t>การพัฒนาโครงสร้างพื้นฐานเมือง</a:t>
            </a:r>
            <a:endParaRPr lang="en-US" b="1" dirty="0" smtClean="0">
              <a:solidFill>
                <a:schemeClr val="tx1">
                  <a:lumMod val="85000"/>
                  <a:lumOff val="15000"/>
                </a:schemeClr>
              </a:solidFill>
              <a:latin typeface="TH SarabunPSK" pitchFamily="34" charset="-34"/>
              <a:cs typeface="TH SarabunPSK" pitchFamily="34" charset="-34"/>
            </a:endParaRPr>
          </a:p>
          <a:p>
            <a:pPr marL="174625" indent="11113" fontAlgn="auto">
              <a:spcBef>
                <a:spcPts val="0"/>
              </a:spcBef>
              <a:spcAft>
                <a:spcPts val="0"/>
              </a:spcAft>
              <a:tabLst>
                <a:tab pos="444500" algn="l"/>
              </a:tabLst>
              <a:defRPr/>
            </a:pPr>
            <a:endParaRPr lang="th-TH" b="1" dirty="0">
              <a:solidFill>
                <a:schemeClr val="tx1">
                  <a:lumMod val="85000"/>
                  <a:lumOff val="15000"/>
                </a:schemeClr>
              </a:solidFill>
              <a:latin typeface="TH SarabunPSK" pitchFamily="34" charset="-34"/>
              <a:cs typeface="TH SarabunPSK" pitchFamily="34" charset="-34"/>
            </a:endParaRPr>
          </a:p>
        </p:txBody>
      </p:sp>
      <p:sp>
        <p:nvSpPr>
          <p:cNvPr id="29" name="Rectangle 28"/>
          <p:cNvSpPr/>
          <p:nvPr/>
        </p:nvSpPr>
        <p:spPr>
          <a:xfrm>
            <a:off x="4572000" y="2357436"/>
            <a:ext cx="4429156" cy="482207"/>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174625" indent="-174625" fontAlgn="auto">
              <a:spcBef>
                <a:spcPts val="0"/>
              </a:spcBef>
              <a:spcAft>
                <a:spcPts val="0"/>
              </a:spcAft>
              <a:buFont typeface="Arial" pitchFamily="34" charset="0"/>
              <a:buChar char="•"/>
              <a:defRPr/>
            </a:pPr>
            <a:r>
              <a:rPr lang="th-TH" b="1" dirty="0" smtClean="0">
                <a:solidFill>
                  <a:schemeClr val="tx1">
                    <a:lumMod val="85000"/>
                    <a:lumOff val="15000"/>
                  </a:schemeClr>
                </a:solidFill>
                <a:latin typeface="TH SarabunPSK" pitchFamily="34" charset="-34"/>
                <a:cs typeface="TH SarabunPSK" pitchFamily="34" charset="-34"/>
              </a:rPr>
              <a:t>การพัฒนาเขตเศรษฐกิจพิเศษ</a:t>
            </a:r>
            <a:endParaRPr lang="th-TH" b="1" dirty="0">
              <a:solidFill>
                <a:schemeClr val="tx1">
                  <a:lumMod val="85000"/>
                  <a:lumOff val="15000"/>
                </a:schemeClr>
              </a:solidFill>
              <a:latin typeface="TH SarabunPSK" pitchFamily="34" charset="-34"/>
              <a:cs typeface="TH SarabunPSK" pitchFamily="34" charset="-34"/>
            </a:endParaRPr>
          </a:p>
        </p:txBody>
      </p:sp>
      <p:pic>
        <p:nvPicPr>
          <p:cNvPr id="31" name="Picture 2"/>
          <p:cNvPicPr>
            <a:picLocks noChangeAspect="1" noChangeArrowheads="1"/>
          </p:cNvPicPr>
          <p:nvPr/>
        </p:nvPicPr>
        <p:blipFill>
          <a:blip r:embed="rId3" cstate="screen">
            <a:extLst>
              <a:ext uri="{28A0092B-C50C-407E-A947-70E740481C1C}">
                <a14:useLocalDpi xmlns:a14="http://schemas.microsoft.com/office/drawing/2010/main" xmlns=""/>
              </a:ext>
            </a:extLst>
          </a:blip>
          <a:stretch>
            <a:fillRect/>
          </a:stretch>
        </p:blipFill>
        <p:spPr bwMode="auto">
          <a:xfrm>
            <a:off x="7585072" y="3643320"/>
            <a:ext cx="1295400" cy="857250"/>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sp>
        <p:nvSpPr>
          <p:cNvPr id="32" name="TextBox 31"/>
          <p:cNvSpPr txBox="1"/>
          <p:nvPr/>
        </p:nvSpPr>
        <p:spPr>
          <a:xfrm>
            <a:off x="4191000" y="4573983"/>
            <a:ext cx="1905000" cy="400110"/>
          </a:xfrm>
          <a:prstGeom prst="rect">
            <a:avLst/>
          </a:prstGeom>
          <a:noFill/>
        </p:spPr>
        <p:txBody>
          <a:bodyPr wrap="square" rtlCol="0">
            <a:spAutoFit/>
          </a:bodyPr>
          <a:lstStyle/>
          <a:p>
            <a:pPr algn="ctr"/>
            <a:r>
              <a:rPr lang="th-TH" sz="2000" b="1" dirty="0" smtClean="0">
                <a:latin typeface="TH SarabunPSK" pitchFamily="34" charset="-34"/>
                <a:cs typeface="TH SarabunPSK" pitchFamily="34" charset="-34"/>
              </a:rPr>
              <a:t>สาธารณูปโภคในเมือง</a:t>
            </a:r>
            <a:endParaRPr lang="th-TH" sz="2000" b="1" dirty="0">
              <a:latin typeface="TH SarabunPSK" pitchFamily="34" charset="-34"/>
              <a:cs typeface="TH SarabunPSK" pitchFamily="34" charset="-34"/>
            </a:endParaRPr>
          </a:p>
        </p:txBody>
      </p:sp>
      <p:sp>
        <p:nvSpPr>
          <p:cNvPr id="34" name="TextBox 33"/>
          <p:cNvSpPr txBox="1"/>
          <p:nvPr/>
        </p:nvSpPr>
        <p:spPr>
          <a:xfrm>
            <a:off x="6243622" y="4579161"/>
            <a:ext cx="1071578" cy="400110"/>
          </a:xfrm>
          <a:prstGeom prst="rect">
            <a:avLst/>
          </a:prstGeom>
          <a:noFill/>
        </p:spPr>
        <p:txBody>
          <a:bodyPr wrap="square" rtlCol="0">
            <a:spAutoFit/>
          </a:bodyPr>
          <a:lstStyle/>
          <a:p>
            <a:pPr algn="ctr"/>
            <a:r>
              <a:rPr lang="en-US" sz="2000" b="1" dirty="0" smtClean="0">
                <a:latin typeface="TH SarabunPSK" pitchFamily="34" charset="-34"/>
                <a:cs typeface="TH SarabunPSK" pitchFamily="34" charset="-34"/>
              </a:rPr>
              <a:t>SBEZ</a:t>
            </a:r>
            <a:endParaRPr lang="th-TH" sz="2000" b="1" dirty="0">
              <a:latin typeface="TH SarabunPSK" pitchFamily="34" charset="-34"/>
              <a:cs typeface="TH SarabunPSK" pitchFamily="34" charset="-34"/>
            </a:endParaRPr>
          </a:p>
        </p:txBody>
      </p:sp>
      <p:sp>
        <p:nvSpPr>
          <p:cNvPr id="40" name="TextBox 39"/>
          <p:cNvSpPr txBox="1"/>
          <p:nvPr/>
        </p:nvSpPr>
        <p:spPr>
          <a:xfrm>
            <a:off x="7391400" y="4537873"/>
            <a:ext cx="1676400" cy="502702"/>
          </a:xfrm>
          <a:prstGeom prst="rect">
            <a:avLst/>
          </a:prstGeom>
          <a:noFill/>
        </p:spPr>
        <p:txBody>
          <a:bodyPr wrap="square" rtlCol="0">
            <a:spAutoFit/>
          </a:bodyPr>
          <a:lstStyle/>
          <a:p>
            <a:pPr algn="ctr">
              <a:lnSpc>
                <a:spcPts val="1600"/>
              </a:lnSpc>
            </a:pPr>
            <a:r>
              <a:rPr lang="th-TH" sz="1800" b="1" dirty="0" smtClean="0">
                <a:latin typeface="TH SarabunPSK" pitchFamily="34" charset="-34"/>
                <a:cs typeface="TH SarabunPSK" pitchFamily="34" charset="-34"/>
              </a:rPr>
              <a:t>สิ่งอำนวยความสะดวก</a:t>
            </a:r>
            <a:r>
              <a:rPr lang="en-US" sz="1800" b="1" dirty="0" smtClean="0">
                <a:latin typeface="TH SarabunPSK" pitchFamily="34" charset="-34"/>
                <a:cs typeface="TH SarabunPSK" pitchFamily="34" charset="-34"/>
              </a:rPr>
              <a:t> </a:t>
            </a:r>
            <a:r>
              <a:rPr lang="th-TH" sz="1800" b="1" dirty="0" smtClean="0">
                <a:latin typeface="TH SarabunPSK" pitchFamily="34" charset="-34"/>
                <a:cs typeface="TH SarabunPSK" pitchFamily="34" charset="-34"/>
              </a:rPr>
              <a:t/>
            </a:r>
            <a:br>
              <a:rPr lang="th-TH" sz="1800" b="1" dirty="0" smtClean="0">
                <a:latin typeface="TH SarabunPSK" pitchFamily="34" charset="-34"/>
                <a:cs typeface="TH SarabunPSK" pitchFamily="34" charset="-34"/>
              </a:rPr>
            </a:br>
            <a:r>
              <a:rPr lang="th-TH" sz="1800" b="1" dirty="0" smtClean="0">
                <a:latin typeface="TH SarabunPSK" pitchFamily="34" charset="-34"/>
                <a:cs typeface="TH SarabunPSK" pitchFamily="34" charset="-34"/>
              </a:rPr>
              <a:t>และ </a:t>
            </a:r>
            <a:r>
              <a:rPr lang="en-US" sz="1800" b="1" dirty="0" smtClean="0">
                <a:latin typeface="TH SarabunPSK" pitchFamily="34" charset="-34"/>
                <a:cs typeface="TH SarabunPSK" pitchFamily="34" charset="-34"/>
              </a:rPr>
              <a:t>CCA</a:t>
            </a:r>
            <a:endParaRPr lang="th-TH" sz="1800" b="1" dirty="0">
              <a:latin typeface="TH SarabunPSK" pitchFamily="34" charset="-34"/>
              <a:cs typeface="TH SarabunPSK" pitchFamily="34" charset="-34"/>
            </a:endParaRPr>
          </a:p>
        </p:txBody>
      </p:sp>
      <p:sp>
        <p:nvSpPr>
          <p:cNvPr id="26" name="Rounded Rectangle 25"/>
          <p:cNvSpPr/>
          <p:nvPr/>
        </p:nvSpPr>
        <p:spPr>
          <a:xfrm>
            <a:off x="0" y="0"/>
            <a:ext cx="9144000" cy="400050"/>
          </a:xfrm>
          <a:prstGeom prst="roundRect">
            <a:avLst>
              <a:gd name="adj" fmla="val 0"/>
            </a:avLst>
          </a:prstGeom>
          <a:solidFill>
            <a:schemeClr val="tx2">
              <a:lumMod val="60000"/>
              <a:lumOff val="40000"/>
            </a:schemeClr>
          </a:solidFill>
          <a:scene3d>
            <a:camera prst="orthographicFront"/>
            <a:lightRig rig="threePt" dir="t"/>
          </a:scene3d>
          <a:sp3d>
            <a:bevelT w="114300" prst="artDeco"/>
          </a:sp3d>
        </p:spPr>
        <p:style>
          <a:lnRef idx="3">
            <a:schemeClr val="lt1"/>
          </a:lnRef>
          <a:fillRef idx="1">
            <a:schemeClr val="accent1"/>
          </a:fillRef>
          <a:effectRef idx="1">
            <a:schemeClr val="accent1"/>
          </a:effectRef>
          <a:fontRef idx="minor">
            <a:schemeClr val="lt1"/>
          </a:fontRef>
        </p:style>
        <p:txBody>
          <a:bodyPr vert="horz" lIns="91440" tIns="45720" rIns="91440" bIns="45720" rtlCol="0" anchor="ctr">
            <a:noAutofit/>
          </a:bodyPr>
          <a:lstStyle/>
          <a:p>
            <a:pPr marL="463550" indent="-463550" algn="ctr" fontAlgn="auto">
              <a:spcAft>
                <a:spcPts val="0"/>
              </a:spcAft>
              <a:defRPr/>
            </a:pPr>
            <a:r>
              <a:rPr lang="th-TH" sz="3200" b="1" dirty="0" smtClean="0">
                <a:solidFill>
                  <a:schemeClr val="bg1"/>
                </a:solidFill>
                <a:effectLst>
                  <a:outerShdw blurRad="38100" dist="38100" dir="2700000" algn="tl">
                    <a:srgbClr val="000000">
                      <a:alpha val="43137"/>
                    </a:srgbClr>
                  </a:outerShdw>
                </a:effectLst>
                <a:latin typeface="TH SarabunPSK" pitchFamily="34" charset="-34"/>
                <a:cs typeface="TH SarabunPSK" pitchFamily="34" charset="-34"/>
              </a:rPr>
              <a:t>การพัฒนาโครงสร้างพื้นฐาน</a:t>
            </a:r>
            <a:endParaRPr lang="th-TH" sz="3200" b="1" dirty="0">
              <a:solidFill>
                <a:schemeClr val="bg1"/>
              </a:solidFill>
              <a:effectLst>
                <a:outerShdw blurRad="38100" dist="38100" dir="2700000" algn="tl">
                  <a:srgbClr val="000000">
                    <a:alpha val="43137"/>
                  </a:srgbClr>
                </a:outerShdw>
              </a:effectLst>
              <a:latin typeface="TH SarabunPSK" pitchFamily="34" charset="-34"/>
              <a:cs typeface="TH SarabunPSK" pitchFamily="34" charset="-34"/>
            </a:endParaRPr>
          </a:p>
        </p:txBody>
      </p:sp>
      <p:pic>
        <p:nvPicPr>
          <p:cNvPr id="41" name="Picture 2" descr="http://www.kalasin3.go.th/news_pic/p67477720944.jpg"/>
          <p:cNvPicPr>
            <a:picLocks noChangeAspect="1" noChangeArrowheads="1"/>
          </p:cNvPicPr>
          <p:nvPr/>
        </p:nvPicPr>
        <p:blipFill>
          <a:blip r:embed="rId4" cstate="print"/>
          <a:srcRect/>
          <a:stretch>
            <a:fillRect/>
          </a:stretch>
        </p:blipFill>
        <p:spPr bwMode="auto">
          <a:xfrm rot="582572">
            <a:off x="859815" y="1926605"/>
            <a:ext cx="2806700" cy="3149203"/>
          </a:xfrm>
          <a:prstGeom prst="rect">
            <a:avLst/>
          </a:prstGeom>
          <a:noFill/>
          <a:ln w="9525">
            <a:noFill/>
            <a:miter lim="800000"/>
            <a:headEnd/>
            <a:tailEnd/>
          </a:ln>
        </p:spPr>
      </p:pic>
      <p:sp>
        <p:nvSpPr>
          <p:cNvPr id="38" name="Oval 37"/>
          <p:cNvSpPr/>
          <p:nvPr/>
        </p:nvSpPr>
        <p:spPr>
          <a:xfrm>
            <a:off x="785786" y="1603790"/>
            <a:ext cx="2971800" cy="3486150"/>
          </a:xfrm>
          <a:prstGeom prst="ellipse">
            <a:avLst/>
          </a:prstGeom>
          <a:solidFill>
            <a:schemeClr val="tx2">
              <a:lumMod val="40000"/>
              <a:lumOff val="60000"/>
              <a:alpha val="1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th-TH" sz="3600" b="1">
              <a:latin typeface="TH SarabunPSK" pitchFamily="34" charset="-34"/>
              <a:cs typeface="TH SarabunPSK" pitchFamily="34" charset="-34"/>
            </a:endParaRPr>
          </a:p>
        </p:txBody>
      </p:sp>
      <p:sp>
        <p:nvSpPr>
          <p:cNvPr id="42" name="Isosceles Triangle 41"/>
          <p:cNvSpPr/>
          <p:nvPr/>
        </p:nvSpPr>
        <p:spPr>
          <a:xfrm>
            <a:off x="1643042" y="2686050"/>
            <a:ext cx="222504" cy="171450"/>
          </a:xfrm>
          <a:prstGeom prst="triangle">
            <a:avLst/>
          </a:prstGeom>
          <a:solidFill>
            <a:srgbClr val="FF00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th-TH" sz="3600" b="1">
              <a:latin typeface="TH SarabunPSK" pitchFamily="34" charset="-34"/>
              <a:cs typeface="TH SarabunPSK" pitchFamily="34" charset="-34"/>
            </a:endParaRPr>
          </a:p>
        </p:txBody>
      </p:sp>
      <p:sp>
        <p:nvSpPr>
          <p:cNvPr id="43" name="Isosceles Triangle 42"/>
          <p:cNvSpPr/>
          <p:nvPr/>
        </p:nvSpPr>
        <p:spPr>
          <a:xfrm>
            <a:off x="1920604" y="1875230"/>
            <a:ext cx="222504" cy="171450"/>
          </a:xfrm>
          <a:prstGeom prst="triangle">
            <a:avLst/>
          </a:prstGeom>
          <a:solidFill>
            <a:srgbClr val="FF00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th-TH" sz="3600" b="1">
              <a:latin typeface="TH SarabunPSK" pitchFamily="34" charset="-34"/>
              <a:cs typeface="TH SarabunPSK" pitchFamily="34" charset="-34"/>
            </a:endParaRPr>
          </a:p>
        </p:txBody>
      </p:sp>
      <p:sp>
        <p:nvSpPr>
          <p:cNvPr id="44" name="Isosceles Triangle 43"/>
          <p:cNvSpPr/>
          <p:nvPr/>
        </p:nvSpPr>
        <p:spPr>
          <a:xfrm>
            <a:off x="3143240" y="2625329"/>
            <a:ext cx="222504" cy="171450"/>
          </a:xfrm>
          <a:prstGeom prst="triangle">
            <a:avLst/>
          </a:prstGeom>
          <a:solidFill>
            <a:srgbClr val="FF00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th-TH" sz="3600" b="1">
              <a:latin typeface="TH SarabunPSK" pitchFamily="34" charset="-34"/>
              <a:cs typeface="TH SarabunPSK" pitchFamily="34" charset="-34"/>
            </a:endParaRPr>
          </a:p>
        </p:txBody>
      </p:sp>
      <p:sp>
        <p:nvSpPr>
          <p:cNvPr id="45" name="Isosceles Triangle 44"/>
          <p:cNvSpPr/>
          <p:nvPr/>
        </p:nvSpPr>
        <p:spPr>
          <a:xfrm>
            <a:off x="2977896" y="2400300"/>
            <a:ext cx="222504" cy="171450"/>
          </a:xfrm>
          <a:prstGeom prst="triangle">
            <a:avLst/>
          </a:prstGeom>
          <a:solidFill>
            <a:srgbClr val="FF00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th-TH" sz="3600" b="1">
              <a:latin typeface="TH SarabunPSK" pitchFamily="34" charset="-34"/>
              <a:cs typeface="TH SarabunPSK" pitchFamily="34" charset="-34"/>
            </a:endParaRPr>
          </a:p>
        </p:txBody>
      </p:sp>
      <p:sp>
        <p:nvSpPr>
          <p:cNvPr id="47" name="Isosceles Triangle 46"/>
          <p:cNvSpPr/>
          <p:nvPr/>
        </p:nvSpPr>
        <p:spPr>
          <a:xfrm>
            <a:off x="2571736" y="3000378"/>
            <a:ext cx="222504" cy="171450"/>
          </a:xfrm>
          <a:prstGeom prst="triangle">
            <a:avLst/>
          </a:prstGeom>
          <a:solidFill>
            <a:srgbClr val="FF00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th-TH" sz="3600" b="1">
              <a:latin typeface="TH SarabunPSK" pitchFamily="34" charset="-34"/>
              <a:cs typeface="TH SarabunPSK" pitchFamily="34" charset="-34"/>
            </a:endParaRPr>
          </a:p>
        </p:txBody>
      </p:sp>
      <p:sp>
        <p:nvSpPr>
          <p:cNvPr id="48" name="Isosceles Triangle 47"/>
          <p:cNvSpPr/>
          <p:nvPr/>
        </p:nvSpPr>
        <p:spPr>
          <a:xfrm>
            <a:off x="1785918" y="3000378"/>
            <a:ext cx="222504" cy="171450"/>
          </a:xfrm>
          <a:prstGeom prst="triangle">
            <a:avLst/>
          </a:prstGeom>
          <a:solidFill>
            <a:srgbClr val="FF00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th-TH" sz="3600" b="1">
              <a:latin typeface="TH SarabunPSK" pitchFamily="34" charset="-34"/>
              <a:cs typeface="TH SarabunPSK" pitchFamily="34" charset="-34"/>
            </a:endParaRPr>
          </a:p>
        </p:txBody>
      </p:sp>
      <p:sp>
        <p:nvSpPr>
          <p:cNvPr id="49" name="Isosceles Triangle 48"/>
          <p:cNvSpPr/>
          <p:nvPr/>
        </p:nvSpPr>
        <p:spPr>
          <a:xfrm>
            <a:off x="1714480" y="1918094"/>
            <a:ext cx="222504" cy="171450"/>
          </a:xfrm>
          <a:prstGeom prst="triangle">
            <a:avLst/>
          </a:prstGeom>
          <a:solidFill>
            <a:srgbClr val="FF00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th-TH" sz="3600" b="1">
              <a:latin typeface="TH SarabunPSK" pitchFamily="34" charset="-34"/>
              <a:cs typeface="TH SarabunPSK" pitchFamily="34" charset="-34"/>
            </a:endParaRPr>
          </a:p>
        </p:txBody>
      </p:sp>
      <p:sp>
        <p:nvSpPr>
          <p:cNvPr id="50" name="Rectangle 49"/>
          <p:cNvSpPr/>
          <p:nvPr/>
        </p:nvSpPr>
        <p:spPr>
          <a:xfrm>
            <a:off x="4572000" y="2893221"/>
            <a:ext cx="4429156" cy="482207"/>
          </a:xfrm>
          <a:prstGeom prst="rect">
            <a:avLst/>
          </a:prstGeom>
          <a:solidFill>
            <a:schemeClr val="tx2">
              <a:lumMod val="60000"/>
              <a:lumOff val="40000"/>
              <a:alpha val="7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174625" indent="-174625" fontAlgn="auto">
              <a:spcBef>
                <a:spcPts val="0"/>
              </a:spcBef>
              <a:spcAft>
                <a:spcPts val="0"/>
              </a:spcAft>
              <a:buFont typeface="Arial" pitchFamily="34" charset="0"/>
              <a:buChar char="•"/>
              <a:defRPr/>
            </a:pPr>
            <a:r>
              <a:rPr lang="th-TH" b="1" dirty="0" smtClean="0">
                <a:solidFill>
                  <a:schemeClr val="tx1">
                    <a:lumMod val="85000"/>
                    <a:lumOff val="15000"/>
                  </a:schemeClr>
                </a:solidFill>
                <a:latin typeface="TH SarabunPSK" pitchFamily="34" charset="-34"/>
                <a:cs typeface="TH SarabunPSK" pitchFamily="34" charset="-34"/>
              </a:rPr>
              <a:t>สิ่งอำนวยความสะดวกข้ามแดน</a:t>
            </a:r>
            <a:endParaRPr lang="th-TH" b="1" dirty="0">
              <a:solidFill>
                <a:schemeClr val="tx1">
                  <a:lumMod val="85000"/>
                  <a:lumOff val="15000"/>
                </a:schemeClr>
              </a:solidFill>
              <a:latin typeface="TH SarabunPSK" pitchFamily="34" charset="-34"/>
              <a:cs typeface="TH SarabunPSK" pitchFamily="34" charset="-34"/>
            </a:endParaRPr>
          </a:p>
        </p:txBody>
      </p:sp>
      <p:sp>
        <p:nvSpPr>
          <p:cNvPr id="51" name="TextBox 50"/>
          <p:cNvSpPr txBox="1"/>
          <p:nvPr/>
        </p:nvSpPr>
        <p:spPr>
          <a:xfrm>
            <a:off x="2143109" y="1728471"/>
            <a:ext cx="813043" cy="400110"/>
          </a:xfrm>
          <a:prstGeom prst="rect">
            <a:avLst/>
          </a:prstGeom>
          <a:noFill/>
        </p:spPr>
        <p:txBody>
          <a:bodyPr wrap="none" rtlCol="0">
            <a:spAutoFit/>
          </a:bodyPr>
          <a:lstStyle/>
          <a:p>
            <a:r>
              <a:rPr lang="th-TH" sz="2000" b="1" dirty="0" smtClean="0">
                <a:latin typeface="TH SarabunPSK" pitchFamily="34" charset="-34"/>
                <a:cs typeface="TH SarabunPSK" pitchFamily="34" charset="-34"/>
              </a:rPr>
              <a:t>เชียงของ</a:t>
            </a:r>
            <a:endParaRPr lang="th-TH" sz="2000" b="1" dirty="0">
              <a:latin typeface="TH SarabunPSK" pitchFamily="34" charset="-34"/>
              <a:cs typeface="TH SarabunPSK" pitchFamily="34" charset="-34"/>
            </a:endParaRPr>
          </a:p>
        </p:txBody>
      </p:sp>
      <p:sp>
        <p:nvSpPr>
          <p:cNvPr id="52" name="TextBox 51"/>
          <p:cNvSpPr txBox="1"/>
          <p:nvPr/>
        </p:nvSpPr>
        <p:spPr>
          <a:xfrm>
            <a:off x="797940" y="1821651"/>
            <a:ext cx="681597" cy="400110"/>
          </a:xfrm>
          <a:prstGeom prst="rect">
            <a:avLst/>
          </a:prstGeom>
          <a:noFill/>
        </p:spPr>
        <p:txBody>
          <a:bodyPr wrap="none" rtlCol="0">
            <a:spAutoFit/>
          </a:bodyPr>
          <a:lstStyle/>
          <a:p>
            <a:r>
              <a:rPr lang="th-TH" sz="2000" b="1" dirty="0" smtClean="0">
                <a:latin typeface="TH SarabunPSK" pitchFamily="34" charset="-34"/>
                <a:cs typeface="TH SarabunPSK" pitchFamily="34" charset="-34"/>
              </a:rPr>
              <a:t>แม่สาย</a:t>
            </a:r>
            <a:endParaRPr lang="th-TH" sz="2000" b="1" dirty="0">
              <a:latin typeface="TH SarabunPSK" pitchFamily="34" charset="-34"/>
              <a:cs typeface="TH SarabunPSK" pitchFamily="34" charset="-34"/>
            </a:endParaRPr>
          </a:p>
        </p:txBody>
      </p:sp>
      <p:sp>
        <p:nvSpPr>
          <p:cNvPr id="53" name="TextBox 52"/>
          <p:cNvSpPr txBox="1"/>
          <p:nvPr/>
        </p:nvSpPr>
        <p:spPr>
          <a:xfrm>
            <a:off x="785787" y="2625328"/>
            <a:ext cx="700833" cy="400110"/>
          </a:xfrm>
          <a:prstGeom prst="rect">
            <a:avLst/>
          </a:prstGeom>
          <a:noFill/>
        </p:spPr>
        <p:txBody>
          <a:bodyPr wrap="none" rtlCol="0">
            <a:spAutoFit/>
          </a:bodyPr>
          <a:lstStyle/>
          <a:p>
            <a:r>
              <a:rPr lang="th-TH" sz="2000" b="1" dirty="0" smtClean="0">
                <a:latin typeface="TH SarabunPSK" pitchFamily="34" charset="-34"/>
                <a:cs typeface="TH SarabunPSK" pitchFamily="34" charset="-34"/>
              </a:rPr>
              <a:t>แม่สอด</a:t>
            </a:r>
            <a:endParaRPr lang="th-TH" sz="2000" b="1" dirty="0">
              <a:latin typeface="TH SarabunPSK" pitchFamily="34" charset="-34"/>
              <a:cs typeface="TH SarabunPSK" pitchFamily="34" charset="-34"/>
            </a:endParaRPr>
          </a:p>
        </p:txBody>
      </p:sp>
      <p:sp>
        <p:nvSpPr>
          <p:cNvPr id="54" name="TextBox 53"/>
          <p:cNvSpPr txBox="1"/>
          <p:nvPr/>
        </p:nvSpPr>
        <p:spPr>
          <a:xfrm>
            <a:off x="428597" y="3053956"/>
            <a:ext cx="925253" cy="400110"/>
          </a:xfrm>
          <a:prstGeom prst="rect">
            <a:avLst/>
          </a:prstGeom>
          <a:noFill/>
        </p:spPr>
        <p:txBody>
          <a:bodyPr wrap="none" rtlCol="0">
            <a:spAutoFit/>
          </a:bodyPr>
          <a:lstStyle/>
          <a:p>
            <a:r>
              <a:rPr lang="th-TH" sz="2000" b="1" dirty="0" smtClean="0">
                <a:latin typeface="TH SarabunPSK" pitchFamily="34" charset="-34"/>
                <a:cs typeface="TH SarabunPSK" pitchFamily="34" charset="-34"/>
              </a:rPr>
              <a:t>กาญจนบุรี</a:t>
            </a:r>
            <a:endParaRPr lang="th-TH" sz="2000" b="1" dirty="0">
              <a:latin typeface="TH SarabunPSK" pitchFamily="34" charset="-34"/>
              <a:cs typeface="TH SarabunPSK" pitchFamily="34" charset="-34"/>
            </a:endParaRPr>
          </a:p>
        </p:txBody>
      </p:sp>
      <p:sp>
        <p:nvSpPr>
          <p:cNvPr id="55" name="TextBox 54"/>
          <p:cNvSpPr txBox="1"/>
          <p:nvPr/>
        </p:nvSpPr>
        <p:spPr>
          <a:xfrm>
            <a:off x="3048001" y="2260684"/>
            <a:ext cx="824265" cy="400110"/>
          </a:xfrm>
          <a:prstGeom prst="rect">
            <a:avLst/>
          </a:prstGeom>
          <a:noFill/>
        </p:spPr>
        <p:txBody>
          <a:bodyPr wrap="none" rtlCol="0">
            <a:spAutoFit/>
          </a:bodyPr>
          <a:lstStyle/>
          <a:p>
            <a:r>
              <a:rPr lang="th-TH" sz="2000" b="1" dirty="0" smtClean="0">
                <a:latin typeface="TH SarabunPSK" pitchFamily="34" charset="-34"/>
                <a:cs typeface="TH SarabunPSK" pitchFamily="34" charset="-34"/>
              </a:rPr>
              <a:t>นครพนม</a:t>
            </a:r>
            <a:endParaRPr lang="th-TH" sz="2000" b="1" dirty="0">
              <a:latin typeface="TH SarabunPSK" pitchFamily="34" charset="-34"/>
              <a:cs typeface="TH SarabunPSK" pitchFamily="34" charset="-34"/>
            </a:endParaRPr>
          </a:p>
        </p:txBody>
      </p:sp>
      <p:sp>
        <p:nvSpPr>
          <p:cNvPr id="56" name="TextBox 55"/>
          <p:cNvSpPr txBox="1"/>
          <p:nvPr/>
        </p:nvSpPr>
        <p:spPr>
          <a:xfrm>
            <a:off x="3352801" y="2603584"/>
            <a:ext cx="867545" cy="400110"/>
          </a:xfrm>
          <a:prstGeom prst="rect">
            <a:avLst/>
          </a:prstGeom>
          <a:noFill/>
        </p:spPr>
        <p:txBody>
          <a:bodyPr wrap="none" rtlCol="0">
            <a:spAutoFit/>
          </a:bodyPr>
          <a:lstStyle/>
          <a:p>
            <a:r>
              <a:rPr lang="th-TH" sz="2000" b="1" dirty="0" smtClean="0">
                <a:latin typeface="TH SarabunPSK" pitchFamily="34" charset="-34"/>
                <a:cs typeface="TH SarabunPSK" pitchFamily="34" charset="-34"/>
              </a:rPr>
              <a:t>มุกดาหาร</a:t>
            </a:r>
            <a:endParaRPr lang="th-TH" sz="2000" b="1" dirty="0">
              <a:latin typeface="TH SarabunPSK" pitchFamily="34" charset="-34"/>
              <a:cs typeface="TH SarabunPSK" pitchFamily="34" charset="-34"/>
            </a:endParaRPr>
          </a:p>
        </p:txBody>
      </p:sp>
      <p:sp>
        <p:nvSpPr>
          <p:cNvPr id="57" name="TextBox 56"/>
          <p:cNvSpPr txBox="1"/>
          <p:nvPr/>
        </p:nvSpPr>
        <p:spPr>
          <a:xfrm>
            <a:off x="2786051" y="3121512"/>
            <a:ext cx="1067921" cy="400110"/>
          </a:xfrm>
          <a:prstGeom prst="rect">
            <a:avLst/>
          </a:prstGeom>
          <a:noFill/>
        </p:spPr>
        <p:txBody>
          <a:bodyPr wrap="none" rtlCol="0">
            <a:spAutoFit/>
          </a:bodyPr>
          <a:lstStyle/>
          <a:p>
            <a:r>
              <a:rPr lang="th-TH" sz="2000" b="1" dirty="0" smtClean="0">
                <a:latin typeface="TH SarabunPSK" pitchFamily="34" charset="-34"/>
                <a:cs typeface="TH SarabunPSK" pitchFamily="34" charset="-34"/>
              </a:rPr>
              <a:t>อรัญประเทศ</a:t>
            </a:r>
            <a:endParaRPr lang="th-TH" sz="2000" b="1" dirty="0">
              <a:latin typeface="TH SarabunPSK" pitchFamily="34" charset="-34"/>
              <a:cs typeface="TH SarabunPSK" pitchFamily="34" charset="-34"/>
            </a:endParaRPr>
          </a:p>
        </p:txBody>
      </p:sp>
      <p:sp>
        <p:nvSpPr>
          <p:cNvPr id="58" name="Isosceles Triangle 57"/>
          <p:cNvSpPr/>
          <p:nvPr/>
        </p:nvSpPr>
        <p:spPr>
          <a:xfrm>
            <a:off x="142844" y="3854051"/>
            <a:ext cx="222504" cy="171450"/>
          </a:xfrm>
          <a:prstGeom prst="triangle">
            <a:avLst/>
          </a:prstGeom>
          <a:solidFill>
            <a:srgbClr val="FF00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th-TH" sz="3600" b="1">
              <a:latin typeface="TH SarabunPSK" pitchFamily="34" charset="-34"/>
              <a:cs typeface="TH SarabunPSK" pitchFamily="34" charset="-34"/>
            </a:endParaRPr>
          </a:p>
        </p:txBody>
      </p:sp>
      <p:sp>
        <p:nvSpPr>
          <p:cNvPr id="59" name="TextBox 58"/>
          <p:cNvSpPr txBox="1"/>
          <p:nvPr/>
        </p:nvSpPr>
        <p:spPr>
          <a:xfrm>
            <a:off x="428597" y="3790519"/>
            <a:ext cx="1135247" cy="707886"/>
          </a:xfrm>
          <a:prstGeom prst="rect">
            <a:avLst/>
          </a:prstGeom>
          <a:noFill/>
        </p:spPr>
        <p:txBody>
          <a:bodyPr wrap="none" rtlCol="0">
            <a:spAutoFit/>
          </a:bodyPr>
          <a:lstStyle/>
          <a:p>
            <a:r>
              <a:rPr lang="th-TH" sz="2000" b="1" dirty="0" smtClean="0">
                <a:latin typeface="TH SarabunPSK" pitchFamily="34" charset="-34"/>
                <a:cs typeface="TH SarabunPSK" pitchFamily="34" charset="-34"/>
              </a:rPr>
              <a:t>เมืองชายแดน</a:t>
            </a:r>
            <a:br>
              <a:rPr lang="th-TH" sz="2000" b="1" dirty="0" smtClean="0">
                <a:latin typeface="TH SarabunPSK" pitchFamily="34" charset="-34"/>
                <a:cs typeface="TH SarabunPSK" pitchFamily="34" charset="-34"/>
              </a:rPr>
            </a:br>
            <a:r>
              <a:rPr lang="th-TH" sz="2000" b="1" dirty="0" smtClean="0">
                <a:latin typeface="TH SarabunPSK" pitchFamily="34" charset="-34"/>
                <a:cs typeface="TH SarabunPSK" pitchFamily="34" charset="-34"/>
              </a:rPr>
              <a:t>ที่มีศักยภาพ</a:t>
            </a:r>
            <a:endParaRPr lang="th-TH" sz="2000" b="1" dirty="0">
              <a:latin typeface="TH SarabunPSK" pitchFamily="34" charset="-34"/>
              <a:cs typeface="TH SarabunPSK" pitchFamily="34" charset="-34"/>
            </a:endParaRPr>
          </a:p>
        </p:txBody>
      </p:sp>
      <p:pic>
        <p:nvPicPr>
          <p:cNvPr id="33" name="Picture 32" descr="images (2).jpg"/>
          <p:cNvPicPr>
            <a:picLocks noChangeAspect="1"/>
          </p:cNvPicPr>
          <p:nvPr/>
        </p:nvPicPr>
        <p:blipFill>
          <a:blip r:embed="rId5" cstate="print"/>
          <a:stretch>
            <a:fillRect/>
          </a:stretch>
        </p:blipFill>
        <p:spPr>
          <a:xfrm>
            <a:off x="6107980" y="3657595"/>
            <a:ext cx="1283421" cy="857255"/>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37" name="Picture 3"/>
          <p:cNvPicPr>
            <a:picLocks noChangeAspect="1" noChangeArrowheads="1"/>
          </p:cNvPicPr>
          <p:nvPr/>
        </p:nvPicPr>
        <p:blipFill>
          <a:blip r:embed="rId6" cstate="print"/>
          <a:srcRect b="8467"/>
          <a:stretch>
            <a:fillRect/>
          </a:stretch>
        </p:blipFill>
        <p:spPr bwMode="auto">
          <a:xfrm>
            <a:off x="4572000" y="3651629"/>
            <a:ext cx="1285884" cy="819764"/>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sp>
        <p:nvSpPr>
          <p:cNvPr id="39" name="Isosceles Triangle 38"/>
          <p:cNvSpPr/>
          <p:nvPr/>
        </p:nvSpPr>
        <p:spPr>
          <a:xfrm>
            <a:off x="2362200" y="4514850"/>
            <a:ext cx="222504" cy="171450"/>
          </a:xfrm>
          <a:prstGeom prst="triangle">
            <a:avLst/>
          </a:prstGeom>
          <a:solidFill>
            <a:srgbClr val="FF00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th-TH" sz="3600" b="1">
              <a:latin typeface="TH SarabunPSK" pitchFamily="34" charset="-34"/>
              <a:cs typeface="TH SarabunPSK" pitchFamily="34" charset="-34"/>
            </a:endParaRPr>
          </a:p>
        </p:txBody>
      </p:sp>
      <p:sp>
        <p:nvSpPr>
          <p:cNvPr id="46" name="Isosceles Triangle 45"/>
          <p:cNvSpPr/>
          <p:nvPr/>
        </p:nvSpPr>
        <p:spPr>
          <a:xfrm>
            <a:off x="2514600" y="4514850"/>
            <a:ext cx="222504" cy="171450"/>
          </a:xfrm>
          <a:prstGeom prst="triangle">
            <a:avLst/>
          </a:prstGeom>
          <a:solidFill>
            <a:srgbClr val="FF00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th-TH" sz="3600" b="1">
              <a:latin typeface="TH SarabunPSK" pitchFamily="34" charset="-34"/>
              <a:cs typeface="TH SarabunPSK" pitchFamily="34" charset="-34"/>
            </a:endParaRPr>
          </a:p>
        </p:txBody>
      </p:sp>
      <p:sp>
        <p:nvSpPr>
          <p:cNvPr id="60" name="TextBox 59"/>
          <p:cNvSpPr txBox="1"/>
          <p:nvPr/>
        </p:nvSpPr>
        <p:spPr>
          <a:xfrm>
            <a:off x="2585386" y="4286250"/>
            <a:ext cx="617477" cy="400110"/>
          </a:xfrm>
          <a:prstGeom prst="rect">
            <a:avLst/>
          </a:prstGeom>
          <a:noFill/>
        </p:spPr>
        <p:txBody>
          <a:bodyPr wrap="none" rtlCol="0">
            <a:spAutoFit/>
          </a:bodyPr>
          <a:lstStyle/>
          <a:p>
            <a:r>
              <a:rPr lang="th-TH" sz="2000" b="1" dirty="0" smtClean="0">
                <a:latin typeface="TH SarabunPSK" pitchFamily="34" charset="-34"/>
                <a:cs typeface="TH SarabunPSK" pitchFamily="34" charset="-34"/>
              </a:rPr>
              <a:t>สะเดา</a:t>
            </a:r>
            <a:endParaRPr lang="th-TH" sz="2000" b="1" dirty="0">
              <a:latin typeface="TH SarabunPSK" pitchFamily="34" charset="-34"/>
              <a:cs typeface="TH SarabunPSK" pitchFamily="34" charset="-34"/>
            </a:endParaRPr>
          </a:p>
        </p:txBody>
      </p:sp>
      <p:sp>
        <p:nvSpPr>
          <p:cNvPr id="61" name="TextBox 60"/>
          <p:cNvSpPr txBox="1"/>
          <p:nvPr/>
        </p:nvSpPr>
        <p:spPr>
          <a:xfrm>
            <a:off x="1143001" y="4457700"/>
            <a:ext cx="934871" cy="400110"/>
          </a:xfrm>
          <a:prstGeom prst="rect">
            <a:avLst/>
          </a:prstGeom>
          <a:noFill/>
        </p:spPr>
        <p:txBody>
          <a:bodyPr wrap="none" rtlCol="0">
            <a:spAutoFit/>
          </a:bodyPr>
          <a:lstStyle/>
          <a:p>
            <a:r>
              <a:rPr lang="th-TH" sz="2000" b="1" dirty="0" smtClean="0">
                <a:latin typeface="TH SarabunPSK" pitchFamily="34" charset="-34"/>
                <a:cs typeface="TH SarabunPSK" pitchFamily="34" charset="-34"/>
              </a:rPr>
              <a:t>ปาดังเบซา</a:t>
            </a:r>
            <a:endParaRPr lang="th-TH" sz="2000" b="1" dirty="0">
              <a:latin typeface="TH SarabunPSK" pitchFamily="34" charset="-34"/>
              <a:cs typeface="TH SarabunPSK" pitchFamily="34" charset="-34"/>
            </a:endParaRPr>
          </a:p>
        </p:txBody>
      </p:sp>
      <p:sp>
        <p:nvSpPr>
          <p:cNvPr id="63" name="Rectangle 62"/>
          <p:cNvSpPr/>
          <p:nvPr/>
        </p:nvSpPr>
        <p:spPr>
          <a:xfrm>
            <a:off x="-10886" y="557892"/>
            <a:ext cx="2133600" cy="508996"/>
          </a:xfrm>
          <a:prstGeom prst="rect">
            <a:avLst/>
          </a:prstGeom>
          <a:solidFill>
            <a:schemeClr val="accent3">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th-TH" b="1" dirty="0" smtClean="0">
                <a:solidFill>
                  <a:schemeClr val="tx1"/>
                </a:solidFill>
                <a:latin typeface="TH SarabunPSK" pitchFamily="34" charset="-34"/>
                <a:cs typeface="TH SarabunPSK" pitchFamily="34" charset="-34"/>
              </a:rPr>
              <a:t>คมนาคม</a:t>
            </a:r>
            <a:endParaRPr lang="th-TH" b="1" dirty="0">
              <a:solidFill>
                <a:schemeClr val="tx1"/>
              </a:solidFill>
              <a:latin typeface="TH SarabunPSK" pitchFamily="34" charset="-34"/>
              <a:cs typeface="TH SarabunPSK" pitchFamily="34" charset="-34"/>
            </a:endParaRPr>
          </a:p>
        </p:txBody>
      </p:sp>
      <p:sp>
        <p:nvSpPr>
          <p:cNvPr id="64" name="Rectangle 63"/>
          <p:cNvSpPr/>
          <p:nvPr/>
        </p:nvSpPr>
        <p:spPr>
          <a:xfrm>
            <a:off x="4281486" y="551240"/>
            <a:ext cx="2286000" cy="515648"/>
          </a:xfrm>
          <a:prstGeom prst="rect">
            <a:avLst/>
          </a:prstGeom>
          <a:solidFill>
            <a:schemeClr val="accent3">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th-TH" b="1" dirty="0" smtClean="0">
                <a:solidFill>
                  <a:schemeClr val="tx1"/>
                </a:solidFill>
                <a:latin typeface="TH SarabunPSK" pitchFamily="34" charset="-34"/>
                <a:cs typeface="TH SarabunPSK" pitchFamily="34" charset="-34"/>
              </a:rPr>
              <a:t>โทรคมนาคม</a:t>
            </a:r>
            <a:endParaRPr lang="th-TH" b="1" dirty="0">
              <a:solidFill>
                <a:schemeClr val="tx1"/>
              </a:solidFill>
              <a:latin typeface="TH SarabunPSK" pitchFamily="34" charset="-34"/>
              <a:cs typeface="TH SarabunPSK" pitchFamily="34" charset="-34"/>
            </a:endParaRPr>
          </a:p>
        </p:txBody>
      </p:sp>
      <p:sp>
        <p:nvSpPr>
          <p:cNvPr id="65" name="Down Arrow Callout 64"/>
          <p:cNvSpPr/>
          <p:nvPr/>
        </p:nvSpPr>
        <p:spPr>
          <a:xfrm>
            <a:off x="6567486" y="536205"/>
            <a:ext cx="2590800" cy="734617"/>
          </a:xfrm>
          <a:prstGeom prst="downArrowCallout">
            <a:avLst>
              <a:gd name="adj1" fmla="val 35939"/>
              <a:gd name="adj2" fmla="val 28417"/>
              <a:gd name="adj3" fmla="val 15924"/>
              <a:gd name="adj4" fmla="val 70231"/>
            </a:avLst>
          </a:prstGeom>
        </p:spPr>
        <p:style>
          <a:lnRef idx="3">
            <a:schemeClr val="lt1"/>
          </a:lnRef>
          <a:fillRef idx="1">
            <a:schemeClr val="accent1"/>
          </a:fillRef>
          <a:effectRef idx="1">
            <a:schemeClr val="accent1"/>
          </a:effectRef>
          <a:fontRef idx="minor">
            <a:schemeClr val="lt1"/>
          </a:fontRef>
        </p:style>
        <p:txBody>
          <a:bodyPr anchor="ctr"/>
          <a:lstStyle/>
          <a:p>
            <a:pPr algn="ctr" fontAlgn="auto">
              <a:lnSpc>
                <a:spcPts val="2400"/>
              </a:lnSpc>
              <a:spcBef>
                <a:spcPts val="0"/>
              </a:spcBef>
              <a:spcAft>
                <a:spcPts val="0"/>
              </a:spcAft>
              <a:defRPr/>
            </a:pPr>
            <a:r>
              <a:rPr lang="th-TH" b="1" dirty="0">
                <a:solidFill>
                  <a:schemeClr val="bg1"/>
                </a:solidFill>
                <a:latin typeface="TH SarabunPSK" pitchFamily="34" charset="-34"/>
                <a:cs typeface="TH SarabunPSK" pitchFamily="34" charset="-34"/>
              </a:rPr>
              <a:t>การพัฒนาเมืองชายแดน</a:t>
            </a:r>
          </a:p>
        </p:txBody>
      </p:sp>
      <p:sp>
        <p:nvSpPr>
          <p:cNvPr id="66" name="Rectangle 65"/>
          <p:cNvSpPr/>
          <p:nvPr/>
        </p:nvSpPr>
        <p:spPr>
          <a:xfrm>
            <a:off x="2122714" y="555084"/>
            <a:ext cx="2133600" cy="508996"/>
          </a:xfrm>
          <a:prstGeom prst="rect">
            <a:avLst/>
          </a:prstGeom>
          <a:solidFill>
            <a:schemeClr val="accent3">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th-TH" b="1" dirty="0" smtClean="0">
                <a:solidFill>
                  <a:schemeClr val="tx1"/>
                </a:solidFill>
                <a:latin typeface="TH SarabunPSK" pitchFamily="34" charset="-34"/>
                <a:cs typeface="TH SarabunPSK" pitchFamily="34" charset="-34"/>
              </a:rPr>
              <a:t>พลังงาน</a:t>
            </a:r>
            <a:endParaRPr lang="th-TH" b="1" dirty="0">
              <a:solidFill>
                <a:schemeClr val="tx1"/>
              </a:solidFill>
              <a:latin typeface="TH SarabunPSK" pitchFamily="34" charset="-34"/>
              <a:cs typeface="TH SarabunPSK" pitchFamily="34" charset="-34"/>
            </a:endParaRPr>
          </a:p>
        </p:txBody>
      </p:sp>
    </p:spTree>
    <p:extLst>
      <p:ext uri="{BB962C8B-B14F-4D97-AF65-F5344CB8AC3E}">
        <p14:creationId xmlns:p14="http://schemas.microsoft.com/office/powerpoint/2010/main" xmlns="" val="1901437669"/>
      </p:ext>
    </p:extLst>
  </p:cSld>
  <p:clrMapOvr>
    <a:masterClrMapping/>
  </p:clrMapOvr>
  <p:transition>
    <p:fade thruBlk="1"/>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Rounded Rectangle 16"/>
          <p:cNvSpPr/>
          <p:nvPr/>
        </p:nvSpPr>
        <p:spPr>
          <a:xfrm>
            <a:off x="0" y="3737610"/>
            <a:ext cx="9144000" cy="1292333"/>
          </a:xfrm>
          <a:prstGeom prst="roundRect">
            <a:avLst>
              <a:gd name="adj" fmla="val 1083"/>
            </a:avLst>
          </a:prstGeom>
          <a:solidFill>
            <a:schemeClr val="accent3">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273050" lvl="1" indent="-273050">
              <a:buFont typeface="Arial" pitchFamily="34" charset="0"/>
              <a:buChar char="•"/>
              <a:tabLst>
                <a:tab pos="273050" algn="l"/>
              </a:tabLst>
              <a:defRPr/>
            </a:pPr>
            <a:r>
              <a:rPr lang="th-TH" sz="1800" b="1" dirty="0" smtClean="0">
                <a:solidFill>
                  <a:schemeClr val="tx1"/>
                </a:solidFill>
                <a:latin typeface="TH SarabunPSK" pitchFamily="34" charset="-34"/>
                <a:cs typeface="TH SarabunPSK" pitchFamily="34" charset="-34"/>
              </a:rPr>
              <a:t>ปี </a:t>
            </a:r>
            <a:r>
              <a:rPr lang="th-TH" sz="1800" b="1" dirty="0">
                <a:solidFill>
                  <a:schemeClr val="tx1"/>
                </a:solidFill>
                <a:latin typeface="TH SarabunPSK" pitchFamily="34" charset="-34"/>
                <a:cs typeface="TH SarabunPSK" pitchFamily="34" charset="-34"/>
              </a:rPr>
              <a:t>2556 แนวโน้มการขยายตัวของมูลค่าต้นทุนโลจิ</a:t>
            </a:r>
            <a:r>
              <a:rPr lang="th-TH" sz="1800" b="1" dirty="0" smtClean="0">
                <a:solidFill>
                  <a:schemeClr val="tx1"/>
                </a:solidFill>
                <a:latin typeface="TH SarabunPSK" pitchFamily="34" charset="-34"/>
                <a:cs typeface="TH SarabunPSK" pitchFamily="34" charset="-34"/>
              </a:rPr>
              <a:t>สติกส์สอดคล้อง</a:t>
            </a:r>
            <a:r>
              <a:rPr lang="th-TH" sz="1800" b="1" dirty="0">
                <a:solidFill>
                  <a:schemeClr val="tx1"/>
                </a:solidFill>
                <a:latin typeface="TH SarabunPSK" pitchFamily="34" charset="-34"/>
                <a:cs typeface="TH SarabunPSK" pitchFamily="34" charset="-34"/>
              </a:rPr>
              <a:t>กับสภาวะเศรษฐกิจไทยชะลอตัวลงจากปี 2555 จาก</a:t>
            </a:r>
            <a:r>
              <a:rPr lang="th-TH" sz="1800" b="1" dirty="0" smtClean="0">
                <a:solidFill>
                  <a:schemeClr val="tx1"/>
                </a:solidFill>
                <a:latin typeface="TH SarabunPSK" pitchFamily="34" charset="-34"/>
                <a:cs typeface="TH SarabunPSK" pitchFamily="34" charset="-34"/>
              </a:rPr>
              <a:t>การลดลง</a:t>
            </a:r>
            <a:r>
              <a:rPr lang="th-TH" sz="1800" b="1" dirty="0">
                <a:solidFill>
                  <a:schemeClr val="tx1"/>
                </a:solidFill>
                <a:latin typeface="TH SarabunPSK" pitchFamily="34" charset="-34"/>
                <a:cs typeface="TH SarabunPSK" pitchFamily="34" charset="-34"/>
              </a:rPr>
              <a:t>ของอุป</a:t>
            </a:r>
            <a:r>
              <a:rPr lang="th-TH" sz="1800" b="1" dirty="0" smtClean="0">
                <a:solidFill>
                  <a:schemeClr val="tx1"/>
                </a:solidFill>
                <a:latin typeface="TH SarabunPSK" pitchFamily="34" charset="-34"/>
                <a:cs typeface="TH SarabunPSK" pitchFamily="34" charset="-34"/>
              </a:rPr>
              <a:t>สงค์</a:t>
            </a:r>
            <a:br>
              <a:rPr lang="th-TH" sz="1800" b="1" dirty="0" smtClean="0">
                <a:solidFill>
                  <a:schemeClr val="tx1"/>
                </a:solidFill>
                <a:latin typeface="TH SarabunPSK" pitchFamily="34" charset="-34"/>
                <a:cs typeface="TH SarabunPSK" pitchFamily="34" charset="-34"/>
              </a:rPr>
            </a:br>
            <a:r>
              <a:rPr lang="th-TH" sz="1800" b="1" dirty="0" smtClean="0">
                <a:solidFill>
                  <a:schemeClr val="tx1"/>
                </a:solidFill>
                <a:latin typeface="TH SarabunPSK" pitchFamily="34" charset="-34"/>
                <a:cs typeface="TH SarabunPSK" pitchFamily="34" charset="-34"/>
              </a:rPr>
              <a:t>ในประเทศ</a:t>
            </a:r>
            <a:endParaRPr lang="th-TH" sz="1800" b="1" u="sng" spc="-20" dirty="0" smtClean="0">
              <a:solidFill>
                <a:schemeClr val="tx1"/>
              </a:solidFill>
              <a:latin typeface="TH SarabunPSK" pitchFamily="34" charset="-34"/>
              <a:cs typeface="TH SarabunPSK" pitchFamily="34" charset="-34"/>
            </a:endParaRPr>
          </a:p>
          <a:p>
            <a:pPr marL="273050" lvl="1" indent="-273050">
              <a:buFont typeface="Arial" pitchFamily="34" charset="0"/>
              <a:buChar char="•"/>
              <a:defRPr/>
            </a:pPr>
            <a:r>
              <a:rPr lang="th-TH" sz="1800" b="1" spc="-20" dirty="0" smtClean="0">
                <a:solidFill>
                  <a:schemeClr val="tx1"/>
                </a:solidFill>
                <a:latin typeface="TH SarabunPSK" pitchFamily="34" charset="-34"/>
                <a:cs typeface="TH SarabunPSK" pitchFamily="34" charset="-34"/>
              </a:rPr>
              <a:t>ปี 2557 คาดว่าจะมี</a:t>
            </a:r>
            <a:r>
              <a:rPr lang="th-TH" sz="1800" b="1" spc="-20" dirty="0">
                <a:solidFill>
                  <a:schemeClr val="tx1"/>
                </a:solidFill>
                <a:latin typeface="TH SarabunPSK" pitchFamily="34" charset="-34"/>
                <a:cs typeface="TH SarabunPSK" pitchFamily="34" charset="-34"/>
              </a:rPr>
              <a:t>ต้นทุนโลจิสติกส์ต่อ </a:t>
            </a:r>
            <a:r>
              <a:rPr lang="en-US" sz="1800" b="1" spc="-20" dirty="0">
                <a:solidFill>
                  <a:schemeClr val="tx1"/>
                </a:solidFill>
                <a:latin typeface="TH SarabunPSK" pitchFamily="34" charset="-34"/>
                <a:cs typeface="TH SarabunPSK" pitchFamily="34" charset="-34"/>
              </a:rPr>
              <a:t>GDP</a:t>
            </a:r>
            <a:r>
              <a:rPr lang="th-TH" sz="1800" b="1" spc="-20" dirty="0">
                <a:solidFill>
                  <a:schemeClr val="tx1"/>
                </a:solidFill>
                <a:latin typeface="TH SarabunPSK" pitchFamily="34" charset="-34"/>
                <a:cs typeface="TH SarabunPSK" pitchFamily="34" charset="-34"/>
              </a:rPr>
              <a:t> อยู่ที่ระดับร้อยละ 14.1 ลดลงจากปี 2556 โดยต้นทุนค่าขนส่งสินค้ามีสัดส่วนอยู่ที่ร้อยละ 7.3 </a:t>
            </a:r>
            <a:r>
              <a:rPr lang="th-TH" sz="1800" b="1" spc="-20" dirty="0" smtClean="0">
                <a:solidFill>
                  <a:schemeClr val="tx1"/>
                </a:solidFill>
                <a:latin typeface="TH SarabunPSK" pitchFamily="34" charset="-34"/>
                <a:cs typeface="TH SarabunPSK" pitchFamily="34" charset="-34"/>
              </a:rPr>
              <a:t/>
            </a:r>
            <a:br>
              <a:rPr lang="th-TH" sz="1800" b="1" spc="-20" dirty="0" smtClean="0">
                <a:solidFill>
                  <a:schemeClr val="tx1"/>
                </a:solidFill>
                <a:latin typeface="TH SarabunPSK" pitchFamily="34" charset="-34"/>
                <a:cs typeface="TH SarabunPSK" pitchFamily="34" charset="-34"/>
              </a:rPr>
            </a:br>
            <a:r>
              <a:rPr lang="th-TH" sz="1800" b="1" spc="-20" dirty="0" smtClean="0">
                <a:solidFill>
                  <a:schemeClr val="tx1"/>
                </a:solidFill>
                <a:latin typeface="TH SarabunPSK" pitchFamily="34" charset="-34"/>
                <a:cs typeface="TH SarabunPSK" pitchFamily="34" charset="-34"/>
              </a:rPr>
              <a:t>ต้นทุน</a:t>
            </a:r>
            <a:r>
              <a:rPr lang="th-TH" sz="1800" b="1" spc="-20" dirty="0">
                <a:solidFill>
                  <a:schemeClr val="tx1"/>
                </a:solidFill>
                <a:latin typeface="TH SarabunPSK" pitchFamily="34" charset="-34"/>
                <a:cs typeface="TH SarabunPSK" pitchFamily="34" charset="-34"/>
              </a:rPr>
              <a:t>การเก็บรักษาสินค้าคงคลังและต้นทุนการบริหารจัดการมี</a:t>
            </a:r>
            <a:r>
              <a:rPr lang="th-TH" sz="1800" b="1" spc="-20" dirty="0" smtClean="0">
                <a:solidFill>
                  <a:schemeClr val="tx1"/>
                </a:solidFill>
                <a:latin typeface="TH SarabunPSK" pitchFamily="34" charset="-34"/>
                <a:cs typeface="TH SarabunPSK" pitchFamily="34" charset="-34"/>
              </a:rPr>
              <a:t>สัดส่วนเท่า</a:t>
            </a:r>
            <a:r>
              <a:rPr lang="th-TH" sz="1800" b="1" spc="-20" dirty="0">
                <a:solidFill>
                  <a:schemeClr val="tx1"/>
                </a:solidFill>
                <a:latin typeface="TH SarabunPSK" pitchFamily="34" charset="-34"/>
                <a:cs typeface="TH SarabunPSK" pitchFamily="34" charset="-34"/>
              </a:rPr>
              <a:t>เดิมอยู่ที่ร้อยละ 5.5 และร้อยละ 1.3 </a:t>
            </a:r>
            <a:r>
              <a:rPr lang="th-TH" sz="1800" b="1" spc="-20" dirty="0" smtClean="0">
                <a:solidFill>
                  <a:schemeClr val="tx1"/>
                </a:solidFill>
                <a:latin typeface="TH SarabunPSK" pitchFamily="34" charset="-34"/>
                <a:cs typeface="TH SarabunPSK" pitchFamily="34" charset="-34"/>
              </a:rPr>
              <a:t>ตามลำดับ</a:t>
            </a:r>
            <a:endParaRPr lang="th-TH" sz="1800" b="1" spc="-20" dirty="0">
              <a:solidFill>
                <a:schemeClr val="tx1"/>
              </a:solidFill>
              <a:latin typeface="TH SarabunPSK" pitchFamily="34" charset="-34"/>
              <a:cs typeface="TH SarabunPSK" pitchFamily="34" charset="-34"/>
            </a:endParaRPr>
          </a:p>
        </p:txBody>
      </p:sp>
      <p:pic>
        <p:nvPicPr>
          <p:cNvPr id="28" name="Picture 9"/>
          <p:cNvPicPr>
            <a:picLocks noChangeAspect="1" noChangeArrowheads="1"/>
          </p:cNvPicPr>
          <p:nvPr/>
        </p:nvPicPr>
        <p:blipFill>
          <a:blip r:embed="rId3" cstate="print">
            <a:extLst>
              <a:ext uri="{28A0092B-C50C-407E-A947-70E740481C1C}">
                <a14:useLocalDpi xmlns:a14="http://schemas.microsoft.com/office/drawing/2010/main" xmlns="" val="0"/>
              </a:ext>
            </a:extLst>
          </a:blip>
          <a:srcRect/>
          <a:stretch>
            <a:fillRect/>
          </a:stretch>
        </p:blipFill>
        <p:spPr bwMode="auto">
          <a:xfrm>
            <a:off x="35496" y="699542"/>
            <a:ext cx="5904656" cy="294771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nvGrpSpPr>
          <p:cNvPr id="2" name="Group 15"/>
          <p:cNvGrpSpPr>
            <a:grpSpLocks/>
          </p:cNvGrpSpPr>
          <p:nvPr/>
        </p:nvGrpSpPr>
        <p:grpSpPr bwMode="auto">
          <a:xfrm>
            <a:off x="5940152" y="627534"/>
            <a:ext cx="3275855" cy="2808312"/>
            <a:chOff x="-47371" y="3110702"/>
            <a:chExt cx="3915116" cy="2225712"/>
          </a:xfrm>
        </p:grpSpPr>
        <p:sp>
          <p:nvSpPr>
            <p:cNvPr id="36" name="Rounded Rectangle 35"/>
            <p:cNvSpPr/>
            <p:nvPr/>
          </p:nvSpPr>
          <p:spPr>
            <a:xfrm>
              <a:off x="-47371" y="3110702"/>
              <a:ext cx="3614515" cy="2225712"/>
            </a:xfrm>
            <a:prstGeom prst="roundRect">
              <a:avLst>
                <a:gd name="adj" fmla="val 9988"/>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th-TH"/>
            </a:p>
          </p:txBody>
        </p:sp>
        <p:sp>
          <p:nvSpPr>
            <p:cNvPr id="37" name="TextBox 36"/>
            <p:cNvSpPr txBox="1"/>
            <p:nvPr/>
          </p:nvSpPr>
          <p:spPr>
            <a:xfrm>
              <a:off x="123701" y="3167770"/>
              <a:ext cx="3744044" cy="2168643"/>
            </a:xfrm>
            <a:prstGeom prst="rect">
              <a:avLst/>
            </a:prstGeom>
            <a:noFill/>
          </p:spPr>
          <p:txBody>
            <a:bodyPr lIns="36000" tIns="0" rIns="0" bIns="0"/>
            <a:lstStyle/>
            <a:p>
              <a:pPr>
                <a:defRPr/>
              </a:pPr>
              <a:r>
                <a:rPr lang="th-TH" sz="1600" b="1" dirty="0">
                  <a:solidFill>
                    <a:srgbClr val="002060"/>
                  </a:solidFill>
                  <a:latin typeface="TH SarabunPSK" pitchFamily="34" charset="-34"/>
                  <a:cs typeface="TH SarabunPSK" pitchFamily="34" charset="-34"/>
                </a:rPr>
                <a:t>โครงสร้างต้นทุนโลจิสติกส์ต่อ </a:t>
              </a:r>
              <a:r>
                <a:rPr lang="en-US" sz="1600" b="1" dirty="0">
                  <a:solidFill>
                    <a:srgbClr val="002060"/>
                  </a:solidFill>
                  <a:latin typeface="TH SarabunPSK" pitchFamily="34" charset="-34"/>
                  <a:cs typeface="TH SarabunPSK" pitchFamily="34" charset="-34"/>
                </a:rPr>
                <a:t>GDP</a:t>
              </a:r>
              <a:r>
                <a:rPr lang="th-TH" sz="1600" b="1" dirty="0">
                  <a:solidFill>
                    <a:srgbClr val="002060"/>
                  </a:solidFill>
                  <a:latin typeface="TH SarabunPSK" pitchFamily="34" charset="-34"/>
                  <a:cs typeface="TH SarabunPSK" pitchFamily="34" charset="-34"/>
                </a:rPr>
                <a:t> ปี </a:t>
              </a:r>
              <a:r>
                <a:rPr lang="th-TH" sz="1600" b="1" dirty="0" smtClean="0">
                  <a:solidFill>
                    <a:srgbClr val="002060"/>
                  </a:solidFill>
                  <a:latin typeface="TH SarabunPSK" pitchFamily="34" charset="-34"/>
                  <a:cs typeface="TH SarabunPSK" pitchFamily="34" charset="-34"/>
                </a:rPr>
                <a:t>2557 </a:t>
              </a:r>
              <a:r>
                <a:rPr lang="th-TH" sz="1600" b="1" dirty="0">
                  <a:latin typeface="TH SarabunPSK" pitchFamily="34" charset="-34"/>
                  <a:cs typeface="TH SarabunPSK" pitchFamily="34" charset="-34"/>
                </a:rPr>
                <a:t>ประกอบด้วย</a:t>
              </a:r>
            </a:p>
            <a:p>
              <a:pPr marL="177800" indent="-177800">
                <a:spcBef>
                  <a:spcPts val="600"/>
                </a:spcBef>
                <a:buFont typeface="Arial" pitchFamily="34" charset="0"/>
                <a:buChar char="•"/>
                <a:defRPr/>
              </a:pPr>
              <a:r>
                <a:rPr lang="th-TH" sz="1600" b="1" dirty="0">
                  <a:latin typeface="TH SarabunPSK" pitchFamily="34" charset="-34"/>
                  <a:cs typeface="TH SarabunPSK" pitchFamily="34" charset="-34"/>
                </a:rPr>
                <a:t>ต้นทุนค่าขนส่งสินค้าร้อยละ </a:t>
              </a:r>
              <a:r>
                <a:rPr lang="th-TH" sz="1600" b="1" dirty="0" smtClean="0">
                  <a:latin typeface="TH SarabunPSK" pitchFamily="34" charset="-34"/>
                  <a:cs typeface="TH SarabunPSK" pitchFamily="34" charset="-34"/>
                </a:rPr>
                <a:t>7.3 </a:t>
              </a:r>
              <a:r>
                <a:rPr lang="th-TH" sz="1600" b="1" dirty="0">
                  <a:latin typeface="TH SarabunPSK" pitchFamily="34" charset="-34"/>
                  <a:cs typeface="TH SarabunPSK" pitchFamily="34" charset="-34"/>
                </a:rPr>
                <a:t>ของ</a:t>
              </a:r>
              <a:r>
                <a:rPr lang="en-US" sz="1600" b="1" dirty="0">
                  <a:latin typeface="TH SarabunPSK" pitchFamily="34" charset="-34"/>
                  <a:cs typeface="TH SarabunPSK" pitchFamily="34" charset="-34"/>
                </a:rPr>
                <a:t> GDP </a:t>
              </a:r>
              <a:br>
                <a:rPr lang="en-US" sz="1600" b="1" dirty="0">
                  <a:latin typeface="TH SarabunPSK" pitchFamily="34" charset="-34"/>
                  <a:cs typeface="TH SarabunPSK" pitchFamily="34" charset="-34"/>
                </a:rPr>
              </a:br>
              <a:r>
                <a:rPr lang="en-US" sz="1600" dirty="0">
                  <a:latin typeface="TH SarabunPSK" pitchFamily="34" charset="-34"/>
                  <a:cs typeface="TH SarabunPSK" pitchFamily="34" charset="-34"/>
                </a:rPr>
                <a:t>(</a:t>
              </a:r>
              <a:r>
                <a:rPr lang="th-TH" sz="1600" dirty="0">
                  <a:latin typeface="TH SarabunPSK" pitchFamily="34" charset="-34"/>
                  <a:cs typeface="TH SarabunPSK" pitchFamily="34" charset="-34"/>
                </a:rPr>
                <a:t>คิดเป็นมูลค่าประมาณ </a:t>
              </a:r>
              <a:r>
                <a:rPr lang="th-TH" sz="1600" dirty="0" smtClean="0">
                  <a:latin typeface="TH SarabunPSK" pitchFamily="34" charset="-34"/>
                  <a:cs typeface="TH SarabunPSK" pitchFamily="34" charset="-34"/>
                </a:rPr>
                <a:t>966.9 </a:t>
              </a:r>
              <a:r>
                <a:rPr lang="th-TH" sz="1600" dirty="0">
                  <a:latin typeface="TH SarabunPSK" pitchFamily="34" charset="-34"/>
                  <a:cs typeface="TH SarabunPSK" pitchFamily="34" charset="-34"/>
                </a:rPr>
                <a:t>พันล้านบาท</a:t>
              </a:r>
              <a:r>
                <a:rPr lang="en-US" sz="1600" dirty="0">
                  <a:latin typeface="TH SarabunPSK" pitchFamily="34" charset="-34"/>
                  <a:cs typeface="TH SarabunPSK" pitchFamily="34" charset="-34"/>
                </a:rPr>
                <a:t>)</a:t>
              </a:r>
              <a:r>
                <a:rPr lang="th-TH" sz="1600" dirty="0">
                  <a:latin typeface="TH SarabunPSK" pitchFamily="34" charset="-34"/>
                  <a:cs typeface="TH SarabunPSK" pitchFamily="34" charset="-34"/>
                </a:rPr>
                <a:t> </a:t>
              </a:r>
            </a:p>
            <a:p>
              <a:pPr marL="177800" indent="-177800">
                <a:spcBef>
                  <a:spcPts val="300"/>
                </a:spcBef>
                <a:buFont typeface="Arial" pitchFamily="34" charset="0"/>
                <a:buChar char="•"/>
                <a:defRPr/>
              </a:pPr>
              <a:r>
                <a:rPr lang="th-TH" sz="1600" b="1" dirty="0">
                  <a:latin typeface="TH SarabunPSK" pitchFamily="34" charset="-34"/>
                  <a:cs typeface="TH SarabunPSK" pitchFamily="34" charset="-34"/>
                </a:rPr>
                <a:t>ต้นทุนการเก็บรักษาสินค้าคงคลังร้อยละ 5.5 </a:t>
              </a:r>
              <a:r>
                <a:rPr lang="th-TH" sz="1600" b="1" dirty="0" smtClean="0">
                  <a:latin typeface="TH SarabunPSK" pitchFamily="34" charset="-34"/>
                  <a:cs typeface="TH SarabunPSK" pitchFamily="34" charset="-34"/>
                </a:rPr>
                <a:t/>
              </a:r>
              <a:br>
                <a:rPr lang="th-TH" sz="1600" b="1" dirty="0" smtClean="0">
                  <a:latin typeface="TH SarabunPSK" pitchFamily="34" charset="-34"/>
                  <a:cs typeface="TH SarabunPSK" pitchFamily="34" charset="-34"/>
                </a:rPr>
              </a:br>
              <a:r>
                <a:rPr lang="th-TH" sz="1600" b="1" dirty="0" smtClean="0">
                  <a:latin typeface="TH SarabunPSK" pitchFamily="34" charset="-34"/>
                  <a:cs typeface="TH SarabunPSK" pitchFamily="34" charset="-34"/>
                </a:rPr>
                <a:t>ของ</a:t>
              </a:r>
              <a:r>
                <a:rPr lang="en-US" sz="1600" b="1" dirty="0" smtClean="0">
                  <a:latin typeface="TH SarabunPSK" pitchFamily="34" charset="-34"/>
                  <a:cs typeface="TH SarabunPSK" pitchFamily="34" charset="-34"/>
                </a:rPr>
                <a:t> </a:t>
              </a:r>
              <a:r>
                <a:rPr lang="en-US" sz="1600" b="1" dirty="0">
                  <a:latin typeface="TH SarabunPSK" pitchFamily="34" charset="-34"/>
                  <a:cs typeface="TH SarabunPSK" pitchFamily="34" charset="-34"/>
                </a:rPr>
                <a:t>GDP </a:t>
              </a:r>
              <a:br>
                <a:rPr lang="en-US" sz="1600" b="1" dirty="0">
                  <a:latin typeface="TH SarabunPSK" pitchFamily="34" charset="-34"/>
                  <a:cs typeface="TH SarabunPSK" pitchFamily="34" charset="-34"/>
                </a:rPr>
              </a:br>
              <a:r>
                <a:rPr lang="en-US" sz="1600" dirty="0">
                  <a:latin typeface="TH SarabunPSK" pitchFamily="34" charset="-34"/>
                  <a:cs typeface="TH SarabunPSK" pitchFamily="34" charset="-34"/>
                </a:rPr>
                <a:t>(</a:t>
              </a:r>
              <a:r>
                <a:rPr lang="th-TH" sz="1600" dirty="0">
                  <a:latin typeface="TH SarabunPSK" pitchFamily="34" charset="-34"/>
                  <a:cs typeface="TH SarabunPSK" pitchFamily="34" charset="-34"/>
                </a:rPr>
                <a:t>คิดเป็นมูลค่าประมาณ </a:t>
              </a:r>
              <a:r>
                <a:rPr lang="th-TH" sz="1600" dirty="0" smtClean="0">
                  <a:latin typeface="TH SarabunPSK" pitchFamily="34" charset="-34"/>
                  <a:cs typeface="TH SarabunPSK" pitchFamily="34" charset="-34"/>
                </a:rPr>
                <a:t>731.7 </a:t>
              </a:r>
              <a:r>
                <a:rPr lang="th-TH" sz="1600" dirty="0">
                  <a:latin typeface="TH SarabunPSK" pitchFamily="34" charset="-34"/>
                  <a:cs typeface="TH SarabunPSK" pitchFamily="34" charset="-34"/>
                </a:rPr>
                <a:t>พันล้านบาท</a:t>
              </a:r>
              <a:r>
                <a:rPr lang="en-US" sz="1600" dirty="0">
                  <a:latin typeface="TH SarabunPSK" pitchFamily="34" charset="-34"/>
                  <a:cs typeface="TH SarabunPSK" pitchFamily="34" charset="-34"/>
                </a:rPr>
                <a:t>)</a:t>
              </a:r>
              <a:endParaRPr lang="th-TH" sz="1600" dirty="0">
                <a:latin typeface="TH SarabunPSK" pitchFamily="34" charset="-34"/>
                <a:cs typeface="TH SarabunPSK" pitchFamily="34" charset="-34"/>
              </a:endParaRPr>
            </a:p>
            <a:p>
              <a:pPr marL="177800" indent="-177800">
                <a:spcBef>
                  <a:spcPts val="300"/>
                </a:spcBef>
                <a:buFont typeface="Arial" pitchFamily="34" charset="0"/>
                <a:buChar char="•"/>
                <a:defRPr/>
              </a:pPr>
              <a:r>
                <a:rPr lang="th-TH" sz="1600" b="1" dirty="0">
                  <a:latin typeface="TH SarabunPSK" pitchFamily="34" charset="-34"/>
                  <a:cs typeface="TH SarabunPSK" pitchFamily="34" charset="-34"/>
                </a:rPr>
                <a:t>ต้นทุนการบริหารจัดการด้านโลจิ</a:t>
              </a:r>
              <a:r>
                <a:rPr lang="th-TH" sz="1600" b="1" dirty="0" err="1" smtClean="0">
                  <a:latin typeface="TH SarabunPSK" pitchFamily="34" charset="-34"/>
                  <a:cs typeface="TH SarabunPSK" pitchFamily="34" charset="-34"/>
                </a:rPr>
                <a:t>สติกส์</a:t>
              </a:r>
              <a:r>
                <a:rPr lang="th-TH" sz="1600" b="1" dirty="0" smtClean="0">
                  <a:latin typeface="TH SarabunPSK" pitchFamily="34" charset="-34"/>
                  <a:cs typeface="TH SarabunPSK" pitchFamily="34" charset="-34"/>
                </a:rPr>
                <a:t/>
              </a:r>
              <a:br>
                <a:rPr lang="th-TH" sz="1600" b="1" dirty="0" smtClean="0">
                  <a:latin typeface="TH SarabunPSK" pitchFamily="34" charset="-34"/>
                  <a:cs typeface="TH SarabunPSK" pitchFamily="34" charset="-34"/>
                </a:rPr>
              </a:br>
              <a:r>
                <a:rPr lang="th-TH" sz="1600" b="1" dirty="0" smtClean="0">
                  <a:latin typeface="TH SarabunPSK" pitchFamily="34" charset="-34"/>
                  <a:cs typeface="TH SarabunPSK" pitchFamily="34" charset="-34"/>
                </a:rPr>
                <a:t>ร้อย</a:t>
              </a:r>
              <a:r>
                <a:rPr lang="th-TH" sz="1600" b="1" dirty="0">
                  <a:latin typeface="TH SarabunPSK" pitchFamily="34" charset="-34"/>
                  <a:cs typeface="TH SarabunPSK" pitchFamily="34" charset="-34"/>
                </a:rPr>
                <a:t>ละ 1.3 ของ</a:t>
              </a:r>
              <a:r>
                <a:rPr lang="en-US" sz="1600" b="1" dirty="0">
                  <a:latin typeface="TH SarabunPSK" pitchFamily="34" charset="-34"/>
                  <a:cs typeface="TH SarabunPSK" pitchFamily="34" charset="-34"/>
                </a:rPr>
                <a:t> GDP </a:t>
              </a:r>
              <a:r>
                <a:rPr lang="en-US" sz="1600" dirty="0" smtClean="0">
                  <a:latin typeface="TH SarabunPSK" pitchFamily="34" charset="-34"/>
                  <a:cs typeface="TH SarabunPSK" pitchFamily="34" charset="-34"/>
                </a:rPr>
                <a:t>(</a:t>
              </a:r>
              <a:r>
                <a:rPr lang="th-TH" sz="1600" dirty="0">
                  <a:latin typeface="TH SarabunPSK" pitchFamily="34" charset="-34"/>
                  <a:cs typeface="TH SarabunPSK" pitchFamily="34" charset="-34"/>
                </a:rPr>
                <a:t>คิดเป็นมูลค่าประมาณ </a:t>
              </a:r>
              <a:r>
                <a:rPr lang="th-TH" sz="1600" dirty="0" smtClean="0">
                  <a:latin typeface="TH SarabunPSK" pitchFamily="34" charset="-34"/>
                  <a:cs typeface="TH SarabunPSK" pitchFamily="34" charset="-34"/>
                </a:rPr>
                <a:t/>
              </a:r>
              <a:br>
                <a:rPr lang="th-TH" sz="1600" dirty="0" smtClean="0">
                  <a:latin typeface="TH SarabunPSK" pitchFamily="34" charset="-34"/>
                  <a:cs typeface="TH SarabunPSK" pitchFamily="34" charset="-34"/>
                </a:rPr>
              </a:br>
              <a:r>
                <a:rPr lang="th-TH" sz="1600" dirty="0" smtClean="0">
                  <a:latin typeface="TH SarabunPSK" pitchFamily="34" charset="-34"/>
                  <a:cs typeface="TH SarabunPSK" pitchFamily="34" charset="-34"/>
                </a:rPr>
                <a:t>169.9 </a:t>
              </a:r>
              <a:r>
                <a:rPr lang="th-TH" sz="1600" dirty="0">
                  <a:latin typeface="TH SarabunPSK" pitchFamily="34" charset="-34"/>
                  <a:cs typeface="TH SarabunPSK" pitchFamily="34" charset="-34"/>
                </a:rPr>
                <a:t>พันล้านบาท</a:t>
              </a:r>
              <a:r>
                <a:rPr lang="en-US" sz="1600" dirty="0">
                  <a:latin typeface="TH SarabunPSK" pitchFamily="34" charset="-34"/>
                  <a:cs typeface="TH SarabunPSK" pitchFamily="34" charset="-34"/>
                </a:rPr>
                <a:t>)</a:t>
              </a:r>
              <a:endParaRPr lang="th-TH" sz="1600" dirty="0">
                <a:latin typeface="TH SarabunPSK" pitchFamily="34" charset="-34"/>
                <a:cs typeface="TH SarabunPSK" pitchFamily="34" charset="-34"/>
              </a:endParaRPr>
            </a:p>
          </p:txBody>
        </p:sp>
      </p:grpSp>
      <p:sp>
        <p:nvSpPr>
          <p:cNvPr id="38" name="TextBox 24"/>
          <p:cNvSpPr txBox="1">
            <a:spLocks noChangeArrowheads="1"/>
          </p:cNvSpPr>
          <p:nvPr/>
        </p:nvSpPr>
        <p:spPr bwMode="auto">
          <a:xfrm>
            <a:off x="6228779" y="3562295"/>
            <a:ext cx="2879725" cy="16158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36000" tIns="0" rIns="36000" bIns="0">
            <a:spAutoFit/>
          </a:bodyPr>
          <a:lstStyle>
            <a:lvl1pPr eaLnBrk="0" hangingPunct="0">
              <a:defRPr sz="2800">
                <a:solidFill>
                  <a:schemeClr val="tx1"/>
                </a:solidFill>
                <a:latin typeface="Arial" pitchFamily="34" charset="0"/>
                <a:cs typeface="Arial" pitchFamily="34" charset="0"/>
              </a:defRPr>
            </a:lvl1pPr>
            <a:lvl2pPr marL="742950" indent="-285750" eaLnBrk="0" hangingPunct="0">
              <a:defRPr sz="2800">
                <a:solidFill>
                  <a:schemeClr val="tx1"/>
                </a:solidFill>
                <a:latin typeface="Arial" pitchFamily="34" charset="0"/>
                <a:cs typeface="Arial" pitchFamily="34" charset="0"/>
              </a:defRPr>
            </a:lvl2pPr>
            <a:lvl3pPr marL="1143000" indent="-228600" eaLnBrk="0" hangingPunct="0">
              <a:defRPr sz="2800">
                <a:solidFill>
                  <a:schemeClr val="tx1"/>
                </a:solidFill>
                <a:latin typeface="Arial" pitchFamily="34" charset="0"/>
                <a:cs typeface="Arial" pitchFamily="34" charset="0"/>
              </a:defRPr>
            </a:lvl3pPr>
            <a:lvl4pPr marL="1600200" indent="-228600" eaLnBrk="0" hangingPunct="0">
              <a:defRPr sz="2800">
                <a:solidFill>
                  <a:schemeClr val="tx1"/>
                </a:solidFill>
                <a:latin typeface="Arial" pitchFamily="34" charset="0"/>
                <a:cs typeface="Arial" pitchFamily="34" charset="0"/>
              </a:defRPr>
            </a:lvl4pPr>
            <a:lvl5pPr marL="2057400" indent="-228600" eaLnBrk="0" hangingPunct="0">
              <a:defRPr sz="2800">
                <a:solidFill>
                  <a:schemeClr val="tx1"/>
                </a:solidFill>
                <a:latin typeface="Arial" pitchFamily="34" charset="0"/>
                <a:cs typeface="Arial" pitchFamily="34" charset="0"/>
              </a:defRPr>
            </a:lvl5pPr>
            <a:lvl6pPr marL="2514600" indent="-228600" eaLnBrk="0" fontAlgn="base" hangingPunct="0">
              <a:spcBef>
                <a:spcPct val="0"/>
              </a:spcBef>
              <a:spcAft>
                <a:spcPct val="0"/>
              </a:spcAft>
              <a:defRPr sz="2800">
                <a:solidFill>
                  <a:schemeClr val="tx1"/>
                </a:solidFill>
                <a:latin typeface="Arial" pitchFamily="34" charset="0"/>
                <a:cs typeface="Arial" pitchFamily="34" charset="0"/>
              </a:defRPr>
            </a:lvl6pPr>
            <a:lvl7pPr marL="2971800" indent="-228600" eaLnBrk="0" fontAlgn="base" hangingPunct="0">
              <a:spcBef>
                <a:spcPct val="0"/>
              </a:spcBef>
              <a:spcAft>
                <a:spcPct val="0"/>
              </a:spcAft>
              <a:defRPr sz="2800">
                <a:solidFill>
                  <a:schemeClr val="tx1"/>
                </a:solidFill>
                <a:latin typeface="Arial" pitchFamily="34" charset="0"/>
                <a:cs typeface="Arial" pitchFamily="34" charset="0"/>
              </a:defRPr>
            </a:lvl7pPr>
            <a:lvl8pPr marL="3429000" indent="-228600" eaLnBrk="0" fontAlgn="base" hangingPunct="0">
              <a:spcBef>
                <a:spcPct val="0"/>
              </a:spcBef>
              <a:spcAft>
                <a:spcPct val="0"/>
              </a:spcAft>
              <a:defRPr sz="2800">
                <a:solidFill>
                  <a:schemeClr val="tx1"/>
                </a:solidFill>
                <a:latin typeface="Arial" pitchFamily="34" charset="0"/>
                <a:cs typeface="Arial" pitchFamily="34" charset="0"/>
              </a:defRPr>
            </a:lvl8pPr>
            <a:lvl9pPr marL="3886200" indent="-228600" eaLnBrk="0" fontAlgn="base" hangingPunct="0">
              <a:spcBef>
                <a:spcPct val="0"/>
              </a:spcBef>
              <a:spcAft>
                <a:spcPct val="0"/>
              </a:spcAft>
              <a:defRPr sz="2800">
                <a:solidFill>
                  <a:schemeClr val="tx1"/>
                </a:solidFill>
                <a:latin typeface="Arial" pitchFamily="34" charset="0"/>
                <a:cs typeface="Arial" pitchFamily="34" charset="0"/>
              </a:defRPr>
            </a:lvl9pPr>
          </a:lstStyle>
          <a:p>
            <a:pPr algn="r" eaLnBrk="1" hangingPunct="1">
              <a:defRPr/>
            </a:pPr>
            <a:r>
              <a:rPr lang="th-TH" sz="1050" b="1" dirty="0">
                <a:solidFill>
                  <a:schemeClr val="tx1">
                    <a:lumMod val="75000"/>
                    <a:lumOff val="25000"/>
                  </a:schemeClr>
                </a:solidFill>
                <a:latin typeface="TH SarabunPSK" pitchFamily="34" charset="-34"/>
                <a:cs typeface="TH SarabunPSK" pitchFamily="34" charset="-34"/>
              </a:rPr>
              <a:t>ที่มา : สำนักงานคณะกรรมการพัฒนาการเศรษฐกิจและสังคมแห่งชาติ</a:t>
            </a:r>
            <a:endParaRPr lang="en-US" sz="1050" dirty="0">
              <a:solidFill>
                <a:schemeClr val="tx1">
                  <a:lumMod val="75000"/>
                  <a:lumOff val="25000"/>
                </a:schemeClr>
              </a:solidFill>
              <a:latin typeface="TH SarabunPSK" pitchFamily="34" charset="-34"/>
              <a:cs typeface="TH SarabunPSK" pitchFamily="34" charset="-34"/>
            </a:endParaRPr>
          </a:p>
        </p:txBody>
      </p:sp>
      <p:sp>
        <p:nvSpPr>
          <p:cNvPr id="22" name="RbNavigator"/>
          <p:cNvSpPr txBox="1"/>
          <p:nvPr/>
        </p:nvSpPr>
        <p:spPr>
          <a:xfrm>
            <a:off x="94808" y="92614"/>
            <a:ext cx="444744" cy="246888"/>
          </a:xfrm>
          <a:prstGeom prst="rect">
            <a:avLst/>
          </a:prstGeom>
          <a:solidFill>
            <a:srgbClr val="003F56"/>
          </a:solidFill>
          <a:ln w="9525">
            <a:noFill/>
          </a:ln>
        </p:spPr>
        <p:txBody>
          <a:bodyPr vert="horz" wrap="none" lIns="0" tIns="0" rIns="0" bIns="0" rtlCol="0" anchor="ctr">
            <a:noAutofit/>
          </a:bodyPr>
          <a:lstStyle/>
          <a:p>
            <a:pPr marL="0" marR="0" lvl="0" indent="0" algn="ctr" defTabSz="914400" eaLnBrk="1" fontAlgn="auto" latinLnBrk="0" hangingPunct="1">
              <a:lnSpc>
                <a:spcPct val="90000"/>
              </a:lnSpc>
              <a:spcBef>
                <a:spcPts val="400"/>
              </a:spcBef>
              <a:spcAft>
                <a:spcPts val="0"/>
              </a:spcAft>
              <a:buClr>
                <a:srgbClr val="000000"/>
              </a:buClr>
              <a:buSzPct val="100000"/>
              <a:buFontTx/>
              <a:buNone/>
              <a:tabLst/>
              <a:defRPr/>
            </a:pPr>
            <a:r>
              <a:rPr kumimoji="1" lang="th-TH" b="1" kern="0" noProof="0" dirty="0" smtClean="0">
                <a:solidFill>
                  <a:srgbClr val="FFFFFF"/>
                </a:solidFill>
                <a:latin typeface="TH SarabunPSK" pitchFamily="34" charset="-34"/>
                <a:cs typeface="TH SarabunPSK" pitchFamily="34" charset="-34"/>
              </a:rPr>
              <a:t>1</a:t>
            </a:r>
            <a:endParaRPr kumimoji="1" lang="en-US" b="1" i="0" u="none" strike="noStrike" kern="0" cap="none" spc="0" normalizeH="0" baseline="0" noProof="0" dirty="0" smtClean="0">
              <a:ln>
                <a:noFill/>
              </a:ln>
              <a:solidFill>
                <a:srgbClr val="FFFFFF"/>
              </a:solidFill>
              <a:effectLst/>
              <a:uLnTx/>
              <a:uFillTx/>
              <a:latin typeface="TH SarabunPSK" pitchFamily="34" charset="-34"/>
              <a:cs typeface="TH SarabunPSK" pitchFamily="34" charset="-34"/>
            </a:endParaRPr>
          </a:p>
        </p:txBody>
      </p:sp>
      <p:sp>
        <p:nvSpPr>
          <p:cNvPr id="23" name="RbSticker"/>
          <p:cNvSpPr txBox="1"/>
          <p:nvPr/>
        </p:nvSpPr>
        <p:spPr>
          <a:xfrm>
            <a:off x="642127" y="22749"/>
            <a:ext cx="3124253" cy="388761"/>
          </a:xfrm>
          <a:prstGeom prst="rect">
            <a:avLst/>
          </a:prstGeom>
          <a:noFill/>
          <a:ln w="9525">
            <a:noFill/>
          </a:ln>
        </p:spPr>
        <p:txBody>
          <a:bodyPr vert="horz" wrap="none" lIns="0" tIns="0" rIns="0" bIns="0" rtlCol="0" anchor="ctr">
            <a:spAutoFit/>
          </a:bodyPr>
          <a:lstStyle/>
          <a:p>
            <a:pPr>
              <a:lnSpc>
                <a:spcPct val="90000"/>
              </a:lnSpc>
              <a:spcBef>
                <a:spcPts val="400"/>
              </a:spcBef>
              <a:buSzPct val="100000"/>
              <a:defRPr/>
            </a:pPr>
            <a:r>
              <a:rPr lang="th-TH" b="1" kern="0" dirty="0" err="1" smtClean="0">
                <a:solidFill>
                  <a:srgbClr val="003F56"/>
                </a:solidFill>
                <a:latin typeface="TH SarabunPSK" pitchFamily="34" charset="-34"/>
                <a:cs typeface="TH SarabunPSK" pitchFamily="34" charset="-34"/>
              </a:rPr>
              <a:t>ต้นทุนโล</a:t>
            </a:r>
            <a:r>
              <a:rPr lang="th-TH" b="1" kern="0" dirty="0" smtClean="0">
                <a:solidFill>
                  <a:srgbClr val="003F56"/>
                </a:solidFill>
                <a:latin typeface="TH SarabunPSK" pitchFamily="34" charset="-34"/>
                <a:cs typeface="TH SarabunPSK" pitchFamily="34" charset="-34"/>
              </a:rPr>
              <a:t>จิ</a:t>
            </a:r>
            <a:r>
              <a:rPr lang="th-TH" b="1" kern="0" dirty="0" err="1" smtClean="0">
                <a:solidFill>
                  <a:srgbClr val="003F56"/>
                </a:solidFill>
                <a:latin typeface="TH SarabunPSK" pitchFamily="34" charset="-34"/>
                <a:cs typeface="TH SarabunPSK" pitchFamily="34" charset="-34"/>
              </a:rPr>
              <a:t>สติกส์</a:t>
            </a:r>
            <a:r>
              <a:rPr lang="th-TH" b="1" kern="0" dirty="0" smtClean="0">
                <a:solidFill>
                  <a:srgbClr val="003F56"/>
                </a:solidFill>
                <a:latin typeface="TH SarabunPSK" pitchFamily="34" charset="-34"/>
                <a:cs typeface="TH SarabunPSK" pitchFamily="34" charset="-34"/>
              </a:rPr>
              <a:t>ของประเทศไทย</a:t>
            </a:r>
          </a:p>
        </p:txBody>
      </p:sp>
    </p:spTree>
    <p:extLst>
      <p:ext uri="{BB962C8B-B14F-4D97-AF65-F5344CB8AC3E}">
        <p14:creationId xmlns:p14="http://schemas.microsoft.com/office/powerpoint/2010/main" xmlns="" val="3621880598"/>
      </p:ext>
    </p:extLst>
  </p:cSld>
  <p:clrMapOvr>
    <a:masterClrMapping/>
  </p:clrMapOvr>
  <p:transition>
    <p:fade thruBlk="1"/>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tgD5SXzVsEeSr6ZASM3NG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tgD5SXzVsEeSr6ZASM3NG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tgD5SXzVsEeSr6ZASM3NG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tgD5SXzVsEeSr6ZASM3NG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IiHQ5HaSq0KpPbr8Pt1lf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0574Lt1pfEeuusKCiCw0P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tAYihxDE5kuGURPGQNXaB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VftmelsgBUePgy_NUQgnr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tgD5SXzVsEeSr6ZASM3NG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tgD5SXzVsEeSr6ZASM3NGQ"/>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tgD5SXzVsEeSr6ZASM3NGQ"/>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tgD5SXzVsEeSr6ZASM3NG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tgD5SXzVsEeSr6ZASM3NG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tgD5SXzVsEeSr6ZASM3NG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tgD5SXzVsEeSr6ZASM3NG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IiHQ5HaSq0KpPbr8Pt1lfg"/>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0574Lt1pfEeuusKCiCw0PA"/>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tAYihxDE5kuGURPGQNXaB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VftmelsgBUePgy_NUQgnrA"/>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tgD5SXzVsEeSr6ZASM3NGQ"/>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tgD5SXzVsEeSr6ZASM3NGQ"/>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tgD5SXzVsEeSr6ZASM3NGQ"/>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tgD5SXzVsEeSr6ZASM3NGQ"/>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tgD5SXzVsEeSr6ZASM3NG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tgD5SXzVsEeSr6ZASM3NGQ"/>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tgD5SXzVsEeSr6ZASM3NGQ"/>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IiHQ5HaSq0KpPbr8Pt1lfg"/>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0574Lt1pfEeuusKCiCw0PA"/>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tAYihxDE5kuGURPGQNXaBA"/>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VftmelsgBUePgy_NUQgnr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tgD5SXzVsEeSr6ZASM3NGQ"/>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tgD5SXzVsEeSr6ZASM3NGQ"/>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HYAzBGeCg0iWUxkT4xEIf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tgD5SXzVsEeSr6ZASM3NGQ"/>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HYAzBGeCg0iWUxkT4xEIfQ"/>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HYAzBGeCg0iWUxkT4xEIfQ"/>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2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A4_RBSC_PPT">
  <a:themeElements>
    <a:clrScheme name="RBSCscreencolorBLUE">
      <a:dk1>
        <a:srgbClr val="000000"/>
      </a:dk1>
      <a:lt1>
        <a:srgbClr val="FFFFFF"/>
      </a:lt1>
      <a:dk2>
        <a:srgbClr val="716D6D"/>
      </a:dk2>
      <a:lt2>
        <a:srgbClr val="003F56"/>
      </a:lt2>
      <a:accent1>
        <a:srgbClr val="FFFFFF"/>
      </a:accent1>
      <a:accent2>
        <a:srgbClr val="DFD6CF"/>
      </a:accent2>
      <a:accent3>
        <a:srgbClr val="003F56"/>
      </a:accent3>
      <a:accent4>
        <a:srgbClr val="A3DCFF"/>
      </a:accent4>
      <a:accent5>
        <a:srgbClr val="DFD6CF"/>
      </a:accent5>
      <a:accent6>
        <a:srgbClr val="0091EA"/>
      </a:accent6>
      <a:hlink>
        <a:srgbClr val="003F56"/>
      </a:hlink>
      <a:folHlink>
        <a:srgbClr val="A3DCFF"/>
      </a:folHlink>
    </a:clrScheme>
    <a:fontScheme name="RBSCfontArialNarrow">
      <a:majorFont>
        <a:latin typeface="Arial Narrow"/>
        <a:ea typeface=""/>
        <a:cs typeface=""/>
        <a:font script="Grek" typeface="Arial Narrow"/>
        <a:font script="Cyrl" typeface="Arial Narrow"/>
        <a:font script="Jpan" typeface="MS PGothic"/>
        <a:font script="Hang" typeface="돋움"/>
        <a:font script="Hans" typeface="宋体"/>
        <a:font script="Hant" typeface="新細明體"/>
        <a:font script="Arab" typeface="Tahoma"/>
        <a:font script="Hebr" typeface="Levenim MT"/>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majorFont>
      <a:minorFont>
        <a:latin typeface="Arial Narrow"/>
        <a:ea typeface=""/>
        <a:cs typeface=""/>
        <a:font script="Grek" typeface="Arial Narrow"/>
        <a:font script="Cyrl" typeface="Arial Narrow"/>
        <a:font script="Jpan" typeface="MS PGothic"/>
        <a:font script="Hang" typeface="돋움"/>
        <a:font script="Hans" typeface="宋体"/>
        <a:font script="Hant" typeface="新細明體"/>
        <a:font script="Arab" typeface="Times New Roman"/>
        <a:font script="Hebr" typeface="David"/>
        <a:font script="Thai" typeface="EucrosiaUPC"/>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Narrow"/>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3"/>
          </a:solidFill>
        </a:ln>
        <a:effectLst/>
      </a:spPr>
      <a:bodyPr lIns="72000" tIns="72000" rIns="72000" bIns="108000" rtlCol="0" anchor="t" anchorCtr="0">
        <a:noAutofit/>
      </a:bodyPr>
      <a:lstStyle>
        <a:defPPr algn="l">
          <a:lnSpc>
            <a:spcPct val="90000"/>
          </a:lnSpc>
          <a:spcBef>
            <a:spcPts val="400"/>
          </a:spcBef>
          <a:defRPr sz="1500" b="0" dirty="0" smtClean="0"/>
        </a:defPPr>
      </a:lstStyle>
      <a:style>
        <a:lnRef idx="1">
          <a:schemeClr val="accent1"/>
        </a:lnRef>
        <a:fillRef idx="0">
          <a:schemeClr val="accent1"/>
        </a:fillRef>
        <a:effectRef idx="0">
          <a:schemeClr val="accent1"/>
        </a:effectRef>
        <a:fontRef idx="minor">
          <a:schemeClr val="tx1"/>
        </a:fontRef>
      </a:style>
    </a:spDef>
    <a:lnDef>
      <a:spPr>
        <a:ln w="9525">
          <a:solidFill>
            <a:schemeClr val="accent3"/>
          </a:solidFill>
        </a:ln>
        <a:effectLst/>
      </a:spPr>
      <a:bodyPr/>
      <a:lstStyle/>
      <a:style>
        <a:lnRef idx="1">
          <a:schemeClr val="accent1"/>
        </a:lnRef>
        <a:fillRef idx="0">
          <a:schemeClr val="accent1"/>
        </a:fillRef>
        <a:effectRef idx="0">
          <a:schemeClr val="accent1"/>
        </a:effectRef>
        <a:fontRef idx="minor">
          <a:schemeClr val="tx1"/>
        </a:fontRef>
      </a:style>
    </a:lnDef>
    <a:txDef>
      <a:spPr>
        <a:noFill/>
        <a:ln w="9525">
          <a:noFill/>
        </a:ln>
      </a:spPr>
      <a:bodyPr vert="horz" wrap="square" lIns="0" tIns="0" rIns="0" bIns="0" rtlCol="0">
        <a:spAutoFit/>
      </a:bodyPr>
      <a:lstStyle>
        <a:defPPr>
          <a:lnSpc>
            <a:spcPct val="90000"/>
          </a:lnSpc>
          <a:spcBef>
            <a:spcPts val="400"/>
          </a:spcBef>
          <a:buClr>
            <a:srgbClr val="000000"/>
          </a:buClr>
          <a:buSzPct val="100000"/>
          <a:defRPr sz="1500" b="0" noProof="0" dirty="0" smtClean="0">
            <a:latin typeface="+mn-lt"/>
            <a:cs typeface="Arial Narrow" pitchFamily="34" charset="0"/>
          </a:defRPr>
        </a:defPPr>
      </a:lstStyle>
    </a:txDef>
  </a:objectDefaults>
  <a:extraClrSchemeLst/>
</a:theme>
</file>

<file path=ppt/theme/theme4.xml><?xml version="1.0" encoding="utf-8"?>
<a:theme xmlns:a="http://schemas.openxmlformats.org/drawingml/2006/main" name="1_A4_RBSC_PPT">
  <a:themeElements>
    <a:clrScheme name="RBSCscreencolorBLUE">
      <a:dk1>
        <a:srgbClr val="000000"/>
      </a:dk1>
      <a:lt1>
        <a:srgbClr val="FFFFFF"/>
      </a:lt1>
      <a:dk2>
        <a:srgbClr val="716D6D"/>
      </a:dk2>
      <a:lt2>
        <a:srgbClr val="003F56"/>
      </a:lt2>
      <a:accent1>
        <a:srgbClr val="FFFFFF"/>
      </a:accent1>
      <a:accent2>
        <a:srgbClr val="DFD6CF"/>
      </a:accent2>
      <a:accent3>
        <a:srgbClr val="003F56"/>
      </a:accent3>
      <a:accent4>
        <a:srgbClr val="A3DCFF"/>
      </a:accent4>
      <a:accent5>
        <a:srgbClr val="DFD6CF"/>
      </a:accent5>
      <a:accent6>
        <a:srgbClr val="0091EA"/>
      </a:accent6>
      <a:hlink>
        <a:srgbClr val="003F56"/>
      </a:hlink>
      <a:folHlink>
        <a:srgbClr val="A3DCFF"/>
      </a:folHlink>
    </a:clrScheme>
    <a:fontScheme name="RBSCfontArialNarrow">
      <a:majorFont>
        <a:latin typeface="Arial Narrow"/>
        <a:ea typeface=""/>
        <a:cs typeface=""/>
        <a:font script="Grek" typeface="Arial Narrow"/>
        <a:font script="Cyrl" typeface="Arial Narrow"/>
        <a:font script="Jpan" typeface="MS PGothic"/>
        <a:font script="Hang" typeface="돋움"/>
        <a:font script="Hans" typeface="宋体"/>
        <a:font script="Hant" typeface="新細明體"/>
        <a:font script="Arab" typeface="Tahoma"/>
        <a:font script="Hebr" typeface="Levenim MT"/>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majorFont>
      <a:minorFont>
        <a:latin typeface="Arial Narrow"/>
        <a:ea typeface=""/>
        <a:cs typeface=""/>
        <a:font script="Grek" typeface="Arial Narrow"/>
        <a:font script="Cyrl" typeface="Arial Narrow"/>
        <a:font script="Jpan" typeface="MS PGothic"/>
        <a:font script="Hang" typeface="돋움"/>
        <a:font script="Hans" typeface="宋体"/>
        <a:font script="Hant" typeface="新細明體"/>
        <a:font script="Arab" typeface="Times New Roman"/>
        <a:font script="Hebr" typeface="David"/>
        <a:font script="Thai" typeface="EucrosiaUPC"/>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Narrow"/>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3"/>
          </a:solidFill>
        </a:ln>
        <a:effectLst/>
      </a:spPr>
      <a:bodyPr lIns="72000" tIns="72000" rIns="72000" bIns="108000" rtlCol="0" anchor="t" anchorCtr="0">
        <a:noAutofit/>
      </a:bodyPr>
      <a:lstStyle>
        <a:defPPr algn="l">
          <a:lnSpc>
            <a:spcPct val="90000"/>
          </a:lnSpc>
          <a:spcBef>
            <a:spcPts val="400"/>
          </a:spcBef>
          <a:defRPr sz="1500" b="0" dirty="0" smtClean="0"/>
        </a:defPPr>
      </a:lstStyle>
      <a:style>
        <a:lnRef idx="1">
          <a:schemeClr val="accent1"/>
        </a:lnRef>
        <a:fillRef idx="0">
          <a:schemeClr val="accent1"/>
        </a:fillRef>
        <a:effectRef idx="0">
          <a:schemeClr val="accent1"/>
        </a:effectRef>
        <a:fontRef idx="minor">
          <a:schemeClr val="tx1"/>
        </a:fontRef>
      </a:style>
    </a:spDef>
    <a:lnDef>
      <a:spPr>
        <a:ln w="9525">
          <a:solidFill>
            <a:schemeClr val="accent3"/>
          </a:solidFill>
        </a:ln>
        <a:effectLst/>
      </a:spPr>
      <a:bodyPr/>
      <a:lstStyle/>
      <a:style>
        <a:lnRef idx="1">
          <a:schemeClr val="accent1"/>
        </a:lnRef>
        <a:fillRef idx="0">
          <a:schemeClr val="accent1"/>
        </a:fillRef>
        <a:effectRef idx="0">
          <a:schemeClr val="accent1"/>
        </a:effectRef>
        <a:fontRef idx="minor">
          <a:schemeClr val="tx1"/>
        </a:fontRef>
      </a:style>
    </a:lnDef>
    <a:txDef>
      <a:spPr>
        <a:noFill/>
        <a:ln w="9525">
          <a:noFill/>
        </a:ln>
      </a:spPr>
      <a:bodyPr vert="horz" wrap="square" lIns="0" tIns="0" rIns="0" bIns="0" rtlCol="0">
        <a:spAutoFit/>
      </a:bodyPr>
      <a:lstStyle>
        <a:defPPr>
          <a:lnSpc>
            <a:spcPct val="90000"/>
          </a:lnSpc>
          <a:spcBef>
            <a:spcPts val="400"/>
          </a:spcBef>
          <a:buClr>
            <a:srgbClr val="000000"/>
          </a:buClr>
          <a:buSzPct val="100000"/>
          <a:defRPr sz="1500" b="0" noProof="0" dirty="0" smtClean="0">
            <a:latin typeface="+mn-lt"/>
            <a:cs typeface="Arial Narrow" pitchFamily="34" charset="0"/>
          </a:defRPr>
        </a:defPPr>
      </a:lstStyle>
    </a:txDef>
  </a:objectDefaults>
  <a:extraClrSchemeLst/>
</a:theme>
</file>

<file path=ppt/theme/theme5.xml><?xml version="1.0" encoding="utf-8"?>
<a:theme xmlns:a="http://schemas.openxmlformats.org/drawingml/2006/main" name="2_A4_RBSC_PPT">
  <a:themeElements>
    <a:clrScheme name="RBSCscreencolorBLUE">
      <a:dk1>
        <a:srgbClr val="000000"/>
      </a:dk1>
      <a:lt1>
        <a:srgbClr val="FFFFFF"/>
      </a:lt1>
      <a:dk2>
        <a:srgbClr val="716D6D"/>
      </a:dk2>
      <a:lt2>
        <a:srgbClr val="003F56"/>
      </a:lt2>
      <a:accent1>
        <a:srgbClr val="FFFFFF"/>
      </a:accent1>
      <a:accent2>
        <a:srgbClr val="DFD6CF"/>
      </a:accent2>
      <a:accent3>
        <a:srgbClr val="003F56"/>
      </a:accent3>
      <a:accent4>
        <a:srgbClr val="A3DCFF"/>
      </a:accent4>
      <a:accent5>
        <a:srgbClr val="DFD6CF"/>
      </a:accent5>
      <a:accent6>
        <a:srgbClr val="0091EA"/>
      </a:accent6>
      <a:hlink>
        <a:srgbClr val="003F56"/>
      </a:hlink>
      <a:folHlink>
        <a:srgbClr val="A3DCFF"/>
      </a:folHlink>
    </a:clrScheme>
    <a:fontScheme name="RBSCfontArialNarrow">
      <a:majorFont>
        <a:latin typeface="Arial Narrow"/>
        <a:ea typeface=""/>
        <a:cs typeface=""/>
        <a:font script="Grek" typeface="Arial Narrow"/>
        <a:font script="Cyrl" typeface="Arial Narrow"/>
        <a:font script="Jpan" typeface="MS PGothic"/>
        <a:font script="Hang" typeface="돋움"/>
        <a:font script="Hans" typeface="宋体"/>
        <a:font script="Hant" typeface="新細明體"/>
        <a:font script="Arab" typeface="Tahoma"/>
        <a:font script="Hebr" typeface="Levenim MT"/>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majorFont>
      <a:minorFont>
        <a:latin typeface="Arial Narrow"/>
        <a:ea typeface=""/>
        <a:cs typeface=""/>
        <a:font script="Grek" typeface="Arial Narrow"/>
        <a:font script="Cyrl" typeface="Arial Narrow"/>
        <a:font script="Jpan" typeface="MS PGothic"/>
        <a:font script="Hang" typeface="돋움"/>
        <a:font script="Hans" typeface="宋体"/>
        <a:font script="Hant" typeface="新細明體"/>
        <a:font script="Arab" typeface="Times New Roman"/>
        <a:font script="Hebr" typeface="David"/>
        <a:font script="Thai" typeface="EucrosiaUPC"/>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Narrow"/>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3"/>
          </a:solidFill>
        </a:ln>
        <a:effectLst/>
      </a:spPr>
      <a:bodyPr lIns="72000" tIns="72000" rIns="72000" bIns="108000" rtlCol="0" anchor="t" anchorCtr="0">
        <a:noAutofit/>
      </a:bodyPr>
      <a:lstStyle>
        <a:defPPr algn="l">
          <a:lnSpc>
            <a:spcPct val="90000"/>
          </a:lnSpc>
          <a:spcBef>
            <a:spcPts val="400"/>
          </a:spcBef>
          <a:defRPr sz="1500" b="0" dirty="0" smtClean="0"/>
        </a:defPPr>
      </a:lstStyle>
      <a:style>
        <a:lnRef idx="1">
          <a:schemeClr val="accent1"/>
        </a:lnRef>
        <a:fillRef idx="0">
          <a:schemeClr val="accent1"/>
        </a:fillRef>
        <a:effectRef idx="0">
          <a:schemeClr val="accent1"/>
        </a:effectRef>
        <a:fontRef idx="minor">
          <a:schemeClr val="tx1"/>
        </a:fontRef>
      </a:style>
    </a:spDef>
    <a:lnDef>
      <a:spPr>
        <a:ln w="9525">
          <a:solidFill>
            <a:schemeClr val="accent3"/>
          </a:solidFill>
        </a:ln>
        <a:effectLst/>
      </a:spPr>
      <a:bodyPr/>
      <a:lstStyle/>
      <a:style>
        <a:lnRef idx="1">
          <a:schemeClr val="accent1"/>
        </a:lnRef>
        <a:fillRef idx="0">
          <a:schemeClr val="accent1"/>
        </a:fillRef>
        <a:effectRef idx="0">
          <a:schemeClr val="accent1"/>
        </a:effectRef>
        <a:fontRef idx="minor">
          <a:schemeClr val="tx1"/>
        </a:fontRef>
      </a:style>
    </a:lnDef>
    <a:txDef>
      <a:spPr>
        <a:noFill/>
        <a:ln w="9525">
          <a:noFill/>
        </a:ln>
      </a:spPr>
      <a:bodyPr vert="horz" wrap="square" lIns="0" tIns="0" rIns="0" bIns="0" rtlCol="0">
        <a:spAutoFit/>
      </a:bodyPr>
      <a:lstStyle>
        <a:defPPr>
          <a:lnSpc>
            <a:spcPct val="90000"/>
          </a:lnSpc>
          <a:spcBef>
            <a:spcPts val="400"/>
          </a:spcBef>
          <a:buClr>
            <a:srgbClr val="000000"/>
          </a:buClr>
          <a:buSzPct val="100000"/>
          <a:defRPr sz="1500" b="0" noProof="0" dirty="0" smtClean="0">
            <a:latin typeface="+mn-lt"/>
            <a:cs typeface="Arial Narrow" pitchFamily="34" charset="0"/>
          </a:defRPr>
        </a:defPPr>
      </a:lstStyle>
    </a:txDef>
  </a:objectDefaults>
  <a:extraClrScheme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themeOverride>
</file>

<file path=docProps/app.xml><?xml version="1.0" encoding="utf-8"?>
<Properties xmlns="http://schemas.openxmlformats.org/officeDocument/2006/extended-properties" xmlns:vt="http://schemas.openxmlformats.org/officeDocument/2006/docPropsVTypes">
  <TotalTime>4730</TotalTime>
  <Words>7636</Words>
  <Application>Microsoft Office PowerPoint</Application>
  <PresentationFormat>นำเสนอทางหน้าจอ (16:9)</PresentationFormat>
  <Paragraphs>1390</Paragraphs>
  <Slides>80</Slides>
  <Notes>42</Notes>
  <HiddenSlides>0</HiddenSlides>
  <MMClips>0</MMClips>
  <ScaleCrop>false</ScaleCrop>
  <HeadingPairs>
    <vt:vector size="6" baseType="variant">
      <vt:variant>
        <vt:lpstr>ชุดรูปแบบ</vt:lpstr>
      </vt:variant>
      <vt:variant>
        <vt:i4>6</vt:i4>
      </vt:variant>
      <vt:variant>
        <vt:lpstr>เซิร์ฟเวอร์ OLE ฝังตัว</vt:lpstr>
      </vt:variant>
      <vt:variant>
        <vt:i4>2</vt:i4>
      </vt:variant>
      <vt:variant>
        <vt:lpstr>ชื่อเรื่องภาพนิ่ง</vt:lpstr>
      </vt:variant>
      <vt:variant>
        <vt:i4>80</vt:i4>
      </vt:variant>
    </vt:vector>
  </HeadingPairs>
  <TitlesOfParts>
    <vt:vector size="88" baseType="lpstr">
      <vt:lpstr>1_Office Theme</vt:lpstr>
      <vt:lpstr>2_Office Theme</vt:lpstr>
      <vt:lpstr>A4_RBSC_PPT</vt:lpstr>
      <vt:lpstr>1_A4_RBSC_PPT</vt:lpstr>
      <vt:lpstr>2_A4_RBSC_PPT</vt:lpstr>
      <vt:lpstr>Office Theme</vt:lpstr>
      <vt:lpstr>think-cell Slide</vt:lpstr>
      <vt:lpstr>Clip</vt:lpstr>
      <vt:lpstr>การพัฒนาเพื่ออนาคต ประเทศไทย</vt:lpstr>
      <vt:lpstr>ประเด็นการบรรยาย </vt:lpstr>
      <vt:lpstr>ภาพนิ่ง 3</vt:lpstr>
      <vt:lpstr>ภาพนิ่ง 4</vt:lpstr>
      <vt:lpstr>ภาพนิ่ง 5</vt:lpstr>
      <vt:lpstr>ภาพนิ่ง 6</vt:lpstr>
      <vt:lpstr>ภาพนิ่ง 7</vt:lpstr>
      <vt:lpstr>ประเด็นการบรรยาย </vt:lpstr>
      <vt:lpstr>ภาพนิ่ง 9</vt:lpstr>
      <vt:lpstr>ภาพนิ่ง 10</vt:lpstr>
      <vt:lpstr>ภาพนิ่ง 11</vt:lpstr>
      <vt:lpstr>ภาพนิ่ง 12</vt:lpstr>
      <vt:lpstr>ภาพนิ่ง 13</vt:lpstr>
      <vt:lpstr>ภาพนิ่ง 14</vt:lpstr>
      <vt:lpstr>ภาพนิ่ง 15</vt:lpstr>
      <vt:lpstr>ภาพนิ่ง 16</vt:lpstr>
      <vt:lpstr>ภาพนิ่ง 17</vt:lpstr>
      <vt:lpstr>ภาพนิ่ง 18</vt:lpstr>
      <vt:lpstr>ภาพนิ่ง 19</vt:lpstr>
      <vt:lpstr>ภาพนิ่ง 20</vt:lpstr>
      <vt:lpstr>ภาพนิ่ง 21</vt:lpstr>
      <vt:lpstr>ประเด็นการบรรยาย </vt:lpstr>
      <vt:lpstr>ภาพนิ่ง 23</vt:lpstr>
      <vt:lpstr>เขตเศรษฐกิจพิเศษในรูปแบบคลัสเตอร์เน้นอุตสาหกรรมแห่งอนาคต </vt:lpstr>
      <vt:lpstr>เขตเศรษฐกิจพิเศษในรูปแบบคลัสเตอร์อุตสาหกรรมอื่นๆ ที่มีศักยภาพ</vt:lpstr>
      <vt:lpstr>ภาพนิ่ง 26</vt:lpstr>
      <vt:lpstr>หลักการพัฒนาเขตเศรษฐกิจพิเศษ</vt:lpstr>
      <vt:lpstr>เขตเศรษฐกิจพิเศษชายแดนจะได้รับการสนับสนุน ทั้งในเรื่องสิทธิประโยชน์ การให้บริการโดยศูนย์บริการเบ็ดเสร็จ โครงสร้างพื้นฐาน และการบริหารจัดการแรงงานข้ามพรมแดน</vt:lpstr>
      <vt:lpstr>คณะกรรมการนโยบายเขตพัฒนาเศรษฐกิจพิเศษ (กนพ.) และอนุกรรมการ 6 ชุด ทำหน้าที่ขับเคลื่อนเขตเศรษฐกิจพิเศษ โดยจะทำงานเชื่อมโยงกับศูนย์บริการเบ็ดเสร็จในแต่ละพื้นที่ </vt:lpstr>
      <vt:lpstr>10 พื้นที่เขตพัฒนาเศรษฐกิจพิเศษชายแดนโดยส่วนใหญ่ตั้งอยู่ในแนวระเบียงเศรษฐกิจภายใต้แผนงาน GMS </vt:lpstr>
      <vt:lpstr>รัฐบาลอำนวยความสะดวกการจัดหาที่ดินเพื่อใช้ประโยชน์ในเขตเศรษฐกิจพิเศษ โดยให้หน่วยงานภาครัฐ หรือเอกชน หรือการนิคมอุตสาหกรรมแห่งประเทศไทยเช่า   </vt:lpstr>
      <vt:lpstr>รัฐบาลเตรียมแผนพัฒนาโครงสร้างพื้นฐาน การบริหารจัดการแรงงานต่างด้าว  และศูนย์บริการเบ็ดเสร็จ เพื่อสนับสนุนการพัฒนาเขตเศรษฐกิจพิเศษ  </vt:lpstr>
      <vt:lpstr>ตัวอย่าง : โครงการพัฒนาโครงสร้างพื้นฐานและด่านศุลกากรเพื่อสนับสนุนกิจกรรมในเขตเศรษฐกิจพิเศษแม่สอด  </vt:lpstr>
      <vt:lpstr>ภาพนิ่ง 34</vt:lpstr>
      <vt:lpstr>ภาพนิ่ง 35</vt:lpstr>
      <vt:lpstr>เขตเศรษฐกิจพิเศษบริเวณชายแดนของไทยจะส่งเสริมกิจกรรมเศรษฐกิจเชื่อมโยงประเทศในภูมิภาคและประเทศเพื่อนบ้าน โดยเฉพาะระหว่างเขตพัฒนาเศรษฐกิจพิเศษทั้งสองประเทศ</vt:lpstr>
      <vt:lpstr>ประเด็นการบรรยาย </vt:lpstr>
      <vt:lpstr>ภาพนิ่ง 38</vt:lpstr>
      <vt:lpstr>ภาพนิ่ง 39</vt:lpstr>
      <vt:lpstr>ภาพนิ่ง 40</vt:lpstr>
      <vt:lpstr>ภาพนิ่ง 41</vt:lpstr>
      <vt:lpstr>ภาพนิ่ง 42</vt:lpstr>
      <vt:lpstr>ภาพนิ่ง 43</vt:lpstr>
      <vt:lpstr> การอำนวยความสะดวกด้านการขนส่งข้ามแดนใน GMS </vt:lpstr>
      <vt:lpstr>ภาพนิ่ง 45</vt:lpstr>
      <vt:lpstr>ภาพนิ่ง 46</vt:lpstr>
      <vt:lpstr>ภาพนิ่ง 47</vt:lpstr>
      <vt:lpstr>ภาพนิ่ง 48</vt:lpstr>
      <vt:lpstr>ภาพนิ่ง 49</vt:lpstr>
      <vt:lpstr>ภาพนิ่ง 50</vt:lpstr>
      <vt:lpstr>ภาพนิ่ง 51</vt:lpstr>
      <vt:lpstr>ภาพนิ่ง 52</vt:lpstr>
      <vt:lpstr>ประเด็นการบรรยาย </vt:lpstr>
      <vt:lpstr>ภาพนิ่ง 54</vt:lpstr>
      <vt:lpstr>ภาพนิ่ง 55</vt:lpstr>
      <vt:lpstr>ภาพนิ่ง 56</vt:lpstr>
      <vt:lpstr>ภาพนิ่ง 57</vt:lpstr>
      <vt:lpstr>ภาพนิ่ง 58</vt:lpstr>
      <vt:lpstr>ภาพนิ่ง 59</vt:lpstr>
      <vt:lpstr>ข้อมูล Back-Up โลจิสติกส์</vt:lpstr>
      <vt:lpstr>ภาพนิ่ง 61</vt:lpstr>
      <vt:lpstr>3 ภารกิจ และ 7 ประเด็นยุทธศาสตร์</vt:lpstr>
      <vt:lpstr>ภาพนิ่ง 63</vt:lpstr>
      <vt:lpstr>ภาพนิ่ง 64</vt:lpstr>
      <vt:lpstr>ภาพนิ่ง 65</vt:lpstr>
      <vt:lpstr>3 ภารกิจ และ 7 ประเด็นยุทธศาสตร์</vt:lpstr>
      <vt:lpstr>ภาพนิ่ง 67</vt:lpstr>
      <vt:lpstr>ภาพนิ่ง 68</vt:lpstr>
      <vt:lpstr>ภาพนิ่ง 69</vt:lpstr>
      <vt:lpstr>3 ภารกิจ และ 7 ประเด็นยุทธศาสตร์</vt:lpstr>
      <vt:lpstr>ภาพนิ่ง 71</vt:lpstr>
      <vt:lpstr>ภาพนิ่ง 72</vt:lpstr>
      <vt:lpstr>ข้อมูล Back-Up เขตเศรษฐกิจพิเศษ</vt:lpstr>
      <vt:lpstr>มูลค่าการค้าชายแดนของพื้นที่เขตเศรษฐกิจพิเศษ 10 จังหวัด มีมูลค่าสูงถึง 968,515 ล้านบาท หรือร้อยละ 98 ของการค้าชายแดนรวมทั้งประเทศ  </vt:lpstr>
      <vt:lpstr>ภาพนิ่ง 75</vt:lpstr>
      <vt:lpstr>ภาพนิ่ง 76</vt:lpstr>
      <vt:lpstr>ข้อมูล Back-Up การเชื่อมโยงภูมิภาค</vt:lpstr>
      <vt:lpstr>ภาพนิ่ง 78</vt:lpstr>
      <vt:lpstr>ภาพนิ่ง 79</vt:lpstr>
      <vt:lpstr>ภาพนิ่ง 80</vt:lpstr>
    </vt:vector>
  </TitlesOfParts>
  <Company>NESDB</Company>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Narong Kongsung</dc:creator>
  <cp:lastModifiedBy>Moi</cp:lastModifiedBy>
  <cp:revision>449</cp:revision>
  <cp:lastPrinted>2015-09-17T10:21:24Z</cp:lastPrinted>
  <dcterms:created xsi:type="dcterms:W3CDTF">2015-08-31T07:11:34Z</dcterms:created>
  <dcterms:modified xsi:type="dcterms:W3CDTF">2015-09-20T10:48:09Z</dcterms:modified>
</cp:coreProperties>
</file>